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0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tags/tag914.xml" ContentType="application/vnd.openxmlformats-officedocument.presentationml.tags+xml"/>
  <Override PartName="/ppt/tags/tag915.xml" ContentType="application/vnd.openxmlformats-officedocument.presentationml.tags+xml"/>
  <Override PartName="/ppt/tags/tag916.xml" ContentType="application/vnd.openxmlformats-officedocument.presentationml.tags+xml"/>
  <Override PartName="/ppt/tags/tag917.xml" ContentType="application/vnd.openxmlformats-officedocument.presentationml.tags+xml"/>
  <Override PartName="/ppt/tags/tag918.xml" ContentType="application/vnd.openxmlformats-officedocument.presentationml.tags+xml"/>
  <Override PartName="/ppt/tags/tag919.xml" ContentType="application/vnd.openxmlformats-officedocument.presentationml.tags+xml"/>
  <Override PartName="/ppt/tags/tag920.xml" ContentType="application/vnd.openxmlformats-officedocument.presentationml.tags+xml"/>
  <Override PartName="/ppt/tags/tag921.xml" ContentType="application/vnd.openxmlformats-officedocument.presentationml.tags+xml"/>
  <Override PartName="/ppt/tags/tag922.xml" ContentType="application/vnd.openxmlformats-officedocument.presentationml.tags+xml"/>
  <Override PartName="/ppt/tags/tag923.xml" ContentType="application/vnd.openxmlformats-officedocument.presentationml.tags+xml"/>
  <Override PartName="/ppt/tags/tag924.xml" ContentType="application/vnd.openxmlformats-officedocument.presentationml.tags+xml"/>
  <Override PartName="/ppt/tags/tag925.xml" ContentType="application/vnd.openxmlformats-officedocument.presentationml.tags+xml"/>
  <Override PartName="/ppt/tags/tag926.xml" ContentType="application/vnd.openxmlformats-officedocument.presentationml.tags+xml"/>
  <Override PartName="/ppt/tags/tag927.xml" ContentType="application/vnd.openxmlformats-officedocument.presentationml.tags+xml"/>
  <Override PartName="/ppt/tags/tag928.xml" ContentType="application/vnd.openxmlformats-officedocument.presentationml.tags+xml"/>
  <Override PartName="/ppt/tags/tag929.xml" ContentType="application/vnd.openxmlformats-officedocument.presentationml.tags+xml"/>
  <Override PartName="/ppt/tags/tag930.xml" ContentType="application/vnd.openxmlformats-officedocument.presentationml.tags+xml"/>
  <Override PartName="/ppt/tags/tag931.xml" ContentType="application/vnd.openxmlformats-officedocument.presentationml.tags+xml"/>
  <Override PartName="/ppt/tags/tag932.xml" ContentType="application/vnd.openxmlformats-officedocument.presentationml.tags+xml"/>
  <Override PartName="/ppt/tags/tag933.xml" ContentType="application/vnd.openxmlformats-officedocument.presentationml.tags+xml"/>
  <Override PartName="/ppt/tags/tag934.xml" ContentType="application/vnd.openxmlformats-officedocument.presentationml.tags+xml"/>
  <Override PartName="/ppt/tags/tag935.xml" ContentType="application/vnd.openxmlformats-officedocument.presentationml.tags+xml"/>
  <Override PartName="/ppt/tags/tag936.xml" ContentType="application/vnd.openxmlformats-officedocument.presentationml.tags+xml"/>
  <Override PartName="/ppt/tags/tag937.xml" ContentType="application/vnd.openxmlformats-officedocument.presentationml.tags+xml"/>
  <Override PartName="/ppt/tags/tag938.xml" ContentType="application/vnd.openxmlformats-officedocument.presentationml.tags+xml"/>
  <Override PartName="/ppt/tags/tag939.xml" ContentType="application/vnd.openxmlformats-officedocument.presentationml.tags+xml"/>
  <Override PartName="/ppt/tags/tag940.xml" ContentType="application/vnd.openxmlformats-officedocument.presentationml.tags+xml"/>
  <Override PartName="/ppt/tags/tag941.xml" ContentType="application/vnd.openxmlformats-officedocument.presentationml.tags+xml"/>
  <Override PartName="/ppt/tags/tag942.xml" ContentType="application/vnd.openxmlformats-officedocument.presentationml.tags+xml"/>
  <Override PartName="/ppt/tags/tag943.xml" ContentType="application/vnd.openxmlformats-officedocument.presentationml.tags+xml"/>
  <Override PartName="/ppt/tags/tag944.xml" ContentType="application/vnd.openxmlformats-officedocument.presentationml.tags+xml"/>
  <Override PartName="/ppt/tags/tag945.xml" ContentType="application/vnd.openxmlformats-officedocument.presentationml.tags+xml"/>
  <Override PartName="/ppt/tags/tag946.xml" ContentType="application/vnd.openxmlformats-officedocument.presentationml.tags+xml"/>
  <Override PartName="/ppt/tags/tag947.xml" ContentType="application/vnd.openxmlformats-officedocument.presentationml.tags+xml"/>
  <Override PartName="/ppt/tags/tag948.xml" ContentType="application/vnd.openxmlformats-officedocument.presentationml.tags+xml"/>
  <Override PartName="/ppt/tags/tag949.xml" ContentType="application/vnd.openxmlformats-officedocument.presentationml.tags+xml"/>
  <Override PartName="/ppt/tags/tag950.xml" ContentType="application/vnd.openxmlformats-officedocument.presentationml.tags+xml"/>
  <Override PartName="/ppt/tags/tag951.xml" ContentType="application/vnd.openxmlformats-officedocument.presentationml.tags+xml"/>
  <Override PartName="/ppt/tags/tag952.xml" ContentType="application/vnd.openxmlformats-officedocument.presentationml.tags+xml"/>
  <Override PartName="/ppt/tags/tag953.xml" ContentType="application/vnd.openxmlformats-officedocument.presentationml.tags+xml"/>
  <Override PartName="/ppt/tags/tag954.xml" ContentType="application/vnd.openxmlformats-officedocument.presentationml.tags+xml"/>
  <Override PartName="/ppt/tags/tag955.xml" ContentType="application/vnd.openxmlformats-officedocument.presentationml.tags+xml"/>
  <Override PartName="/ppt/tags/tag956.xml" ContentType="application/vnd.openxmlformats-officedocument.presentationml.tags+xml"/>
  <Override PartName="/ppt/tags/tag957.xml" ContentType="application/vnd.openxmlformats-officedocument.presentationml.tags+xml"/>
  <Override PartName="/ppt/tags/tag958.xml" ContentType="application/vnd.openxmlformats-officedocument.presentationml.tags+xml"/>
  <Override PartName="/ppt/tags/tag959.xml" ContentType="application/vnd.openxmlformats-officedocument.presentationml.tags+xml"/>
  <Override PartName="/ppt/tags/tag960.xml" ContentType="application/vnd.openxmlformats-officedocument.presentationml.tags+xml"/>
  <Override PartName="/ppt/tags/tag961.xml" ContentType="application/vnd.openxmlformats-officedocument.presentationml.tags+xml"/>
  <Override PartName="/ppt/tags/tag962.xml" ContentType="application/vnd.openxmlformats-officedocument.presentationml.tags+xml"/>
  <Override PartName="/ppt/tags/tag963.xml" ContentType="application/vnd.openxmlformats-officedocument.presentationml.tags+xml"/>
  <Override PartName="/ppt/tags/tag964.xml" ContentType="application/vnd.openxmlformats-officedocument.presentationml.tags+xml"/>
  <Override PartName="/ppt/tags/tag965.xml" ContentType="application/vnd.openxmlformats-officedocument.presentationml.tags+xml"/>
  <Override PartName="/ppt/tags/tag966.xml" ContentType="application/vnd.openxmlformats-officedocument.presentationml.tags+xml"/>
  <Override PartName="/ppt/tags/tag967.xml" ContentType="application/vnd.openxmlformats-officedocument.presentationml.tags+xml"/>
  <Override PartName="/ppt/tags/tag968.xml" ContentType="application/vnd.openxmlformats-officedocument.presentationml.tags+xml"/>
  <Override PartName="/ppt/tags/tag969.xml" ContentType="application/vnd.openxmlformats-officedocument.presentationml.tags+xml"/>
  <Override PartName="/ppt/tags/tag970.xml" ContentType="application/vnd.openxmlformats-officedocument.presentationml.tags+xml"/>
  <Override PartName="/ppt/tags/tag971.xml" ContentType="application/vnd.openxmlformats-officedocument.presentationml.tags+xml"/>
  <Override PartName="/ppt/tags/tag972.xml" ContentType="application/vnd.openxmlformats-officedocument.presentationml.tags+xml"/>
  <Override PartName="/ppt/tags/tag973.xml" ContentType="application/vnd.openxmlformats-officedocument.presentationml.tags+xml"/>
  <Override PartName="/ppt/tags/tag974.xml" ContentType="application/vnd.openxmlformats-officedocument.presentationml.tags+xml"/>
  <Override PartName="/ppt/tags/tag975.xml" ContentType="application/vnd.openxmlformats-officedocument.presentationml.tags+xml"/>
  <Override PartName="/ppt/tags/tag976.xml" ContentType="application/vnd.openxmlformats-officedocument.presentationml.tags+xml"/>
  <Override PartName="/ppt/tags/tag977.xml" ContentType="application/vnd.openxmlformats-officedocument.presentationml.tags+xml"/>
  <Override PartName="/ppt/tags/tag978.xml" ContentType="application/vnd.openxmlformats-officedocument.presentationml.tags+xml"/>
  <Override PartName="/ppt/tags/tag979.xml" ContentType="application/vnd.openxmlformats-officedocument.presentationml.tags+xml"/>
  <Override PartName="/ppt/tags/tag980.xml" ContentType="application/vnd.openxmlformats-officedocument.presentationml.tags+xml"/>
  <Override PartName="/ppt/tags/tag981.xml" ContentType="application/vnd.openxmlformats-officedocument.presentationml.tags+xml"/>
  <Override PartName="/ppt/tags/tag982.xml" ContentType="application/vnd.openxmlformats-officedocument.presentationml.tags+xml"/>
  <Override PartName="/ppt/tags/tag983.xml" ContentType="application/vnd.openxmlformats-officedocument.presentationml.tags+xml"/>
  <Override PartName="/ppt/tags/tag984.xml" ContentType="application/vnd.openxmlformats-officedocument.presentationml.tags+xml"/>
  <Override PartName="/ppt/tags/tag985.xml" ContentType="application/vnd.openxmlformats-officedocument.presentationml.tags+xml"/>
  <Override PartName="/ppt/tags/tag986.xml" ContentType="application/vnd.openxmlformats-officedocument.presentationml.tags+xml"/>
  <Override PartName="/ppt/tags/tag987.xml" ContentType="application/vnd.openxmlformats-officedocument.presentationml.tags+xml"/>
  <Override PartName="/ppt/tags/tag988.xml" ContentType="application/vnd.openxmlformats-officedocument.presentationml.tags+xml"/>
  <Override PartName="/ppt/tags/tag989.xml" ContentType="application/vnd.openxmlformats-officedocument.presentationml.tags+xml"/>
  <Override PartName="/ppt/tags/tag990.xml" ContentType="application/vnd.openxmlformats-officedocument.presentationml.tags+xml"/>
  <Override PartName="/ppt/tags/tag991.xml" ContentType="application/vnd.openxmlformats-officedocument.presentationml.tags+xml"/>
  <Override PartName="/ppt/tags/tag992.xml" ContentType="application/vnd.openxmlformats-officedocument.presentationml.tags+xml"/>
  <Override PartName="/ppt/tags/tag993.xml" ContentType="application/vnd.openxmlformats-officedocument.presentationml.tags+xml"/>
  <Override PartName="/ppt/tags/tag994.xml" ContentType="application/vnd.openxmlformats-officedocument.presentationml.tags+xml"/>
  <Override PartName="/ppt/tags/tag995.xml" ContentType="application/vnd.openxmlformats-officedocument.presentationml.tags+xml"/>
  <Override PartName="/ppt/tags/tag996.xml" ContentType="application/vnd.openxmlformats-officedocument.presentationml.tags+xml"/>
  <Override PartName="/ppt/tags/tag997.xml" ContentType="application/vnd.openxmlformats-officedocument.presentationml.tags+xml"/>
  <Override PartName="/ppt/tags/tag998.xml" ContentType="application/vnd.openxmlformats-officedocument.presentationml.tags+xml"/>
  <Override PartName="/ppt/tags/tag999.xml" ContentType="application/vnd.openxmlformats-officedocument.presentationml.tags+xml"/>
  <Override PartName="/ppt/tags/tag1000.xml" ContentType="application/vnd.openxmlformats-officedocument.presentationml.tags+xml"/>
  <Override PartName="/ppt/tags/tag1001.xml" ContentType="application/vnd.openxmlformats-officedocument.presentationml.tags+xml"/>
  <Override PartName="/ppt/tags/tag1002.xml" ContentType="application/vnd.openxmlformats-officedocument.presentationml.tags+xml"/>
  <Override PartName="/ppt/tags/tag1003.xml" ContentType="application/vnd.openxmlformats-officedocument.presentationml.tags+xml"/>
  <Override PartName="/ppt/tags/tag1004.xml" ContentType="application/vnd.openxmlformats-officedocument.presentationml.tags+xml"/>
  <Override PartName="/ppt/tags/tag1005.xml" ContentType="application/vnd.openxmlformats-officedocument.presentationml.tags+xml"/>
  <Override PartName="/ppt/tags/tag1006.xml" ContentType="application/vnd.openxmlformats-officedocument.presentationml.tags+xml"/>
  <Override PartName="/ppt/tags/tag1007.xml" ContentType="application/vnd.openxmlformats-officedocument.presentationml.tags+xml"/>
  <Override PartName="/ppt/tags/tag1008.xml" ContentType="application/vnd.openxmlformats-officedocument.presentationml.tags+xml"/>
  <Override PartName="/ppt/tags/tag1009.xml" ContentType="application/vnd.openxmlformats-officedocument.presentationml.tags+xml"/>
  <Override PartName="/ppt/tags/tag1010.xml" ContentType="application/vnd.openxmlformats-officedocument.presentationml.tags+xml"/>
  <Override PartName="/ppt/tags/tag1011.xml" ContentType="application/vnd.openxmlformats-officedocument.presentationml.tags+xml"/>
  <Override PartName="/ppt/tags/tag1012.xml" ContentType="application/vnd.openxmlformats-officedocument.presentationml.tags+xml"/>
  <Override PartName="/ppt/tags/tag1013.xml" ContentType="application/vnd.openxmlformats-officedocument.presentationml.tags+xml"/>
  <Override PartName="/ppt/tags/tag1014.xml" ContentType="application/vnd.openxmlformats-officedocument.presentationml.tags+xml"/>
  <Override PartName="/ppt/tags/tag1015.xml" ContentType="application/vnd.openxmlformats-officedocument.presentationml.tags+xml"/>
  <Override PartName="/ppt/tags/tag1016.xml" ContentType="application/vnd.openxmlformats-officedocument.presentationml.tags+xml"/>
  <Override PartName="/ppt/tags/tag1017.xml" ContentType="application/vnd.openxmlformats-officedocument.presentationml.tags+xml"/>
  <Override PartName="/ppt/tags/tag1018.xml" ContentType="application/vnd.openxmlformats-officedocument.presentationml.tags+xml"/>
  <Override PartName="/ppt/tags/tag1019.xml" ContentType="application/vnd.openxmlformats-officedocument.presentationml.tags+xml"/>
  <Override PartName="/ppt/tags/tag1020.xml" ContentType="application/vnd.openxmlformats-officedocument.presentationml.tags+xml"/>
  <Override PartName="/ppt/tags/tag1021.xml" ContentType="application/vnd.openxmlformats-officedocument.presentationml.tags+xml"/>
  <Override PartName="/ppt/tags/tag1022.xml" ContentType="application/vnd.openxmlformats-officedocument.presentationml.tags+xml"/>
  <Override PartName="/ppt/tags/tag1023.xml" ContentType="application/vnd.openxmlformats-officedocument.presentationml.tags+xml"/>
  <Override PartName="/ppt/tags/tag1024.xml" ContentType="application/vnd.openxmlformats-officedocument.presentationml.tags+xml"/>
  <Override PartName="/ppt/tags/tag1025.xml" ContentType="application/vnd.openxmlformats-officedocument.presentationml.tags+xml"/>
  <Override PartName="/ppt/tags/tag1026.xml" ContentType="application/vnd.openxmlformats-officedocument.presentationml.tags+xml"/>
  <Override PartName="/ppt/tags/tag1027.xml" ContentType="application/vnd.openxmlformats-officedocument.presentationml.tags+xml"/>
  <Override PartName="/ppt/tags/tag1028.xml" ContentType="application/vnd.openxmlformats-officedocument.presentationml.tags+xml"/>
  <Override PartName="/ppt/tags/tag1029.xml" ContentType="application/vnd.openxmlformats-officedocument.presentationml.tags+xml"/>
  <Override PartName="/ppt/tags/tag1030.xml" ContentType="application/vnd.openxmlformats-officedocument.presentationml.tags+xml"/>
  <Override PartName="/ppt/tags/tag1031.xml" ContentType="application/vnd.openxmlformats-officedocument.presentationml.tags+xml"/>
  <Override PartName="/ppt/tags/tag1032.xml" ContentType="application/vnd.openxmlformats-officedocument.presentationml.tags+xml"/>
  <Override PartName="/ppt/tags/tag1033.xml" ContentType="application/vnd.openxmlformats-officedocument.presentationml.tags+xml"/>
  <Override PartName="/ppt/notesSlides/notesSlide4.xml" ContentType="application/vnd.openxmlformats-officedocument.presentationml.notesSlide+xml"/>
  <Override PartName="/ppt/media/image73.svg" ContentType="image/svg"/>
  <Override PartName="/ppt/tags/tag1034.xml" ContentType="application/vnd.openxmlformats-officedocument.presentationml.tags+xml"/>
  <Override PartName="/ppt/tags/tag1035.xml" ContentType="application/vnd.openxmlformats-officedocument.presentationml.tags+xml"/>
  <Override PartName="/ppt/tags/tag1036.xml" ContentType="application/vnd.openxmlformats-officedocument.presentationml.tags+xml"/>
  <Override PartName="/ppt/tags/tag1037.xml" ContentType="application/vnd.openxmlformats-officedocument.presentationml.tags+xml"/>
  <Override PartName="/ppt/tags/tag1038.xml" ContentType="application/vnd.openxmlformats-officedocument.presentationml.tags+xml"/>
  <Override PartName="/ppt/tags/tag1039.xml" ContentType="application/vnd.openxmlformats-officedocument.presentationml.tags+xml"/>
  <Override PartName="/ppt/tags/tag1040.xml" ContentType="application/vnd.openxmlformats-officedocument.presentationml.tags+xml"/>
  <Override PartName="/ppt/tags/tag1041.xml" ContentType="application/vnd.openxmlformats-officedocument.presentationml.tags+xml"/>
  <Override PartName="/ppt/tags/tag1042.xml" ContentType="application/vnd.openxmlformats-officedocument.presentationml.tags+xml"/>
  <Override PartName="/ppt/tags/tag1043.xml" ContentType="application/vnd.openxmlformats-officedocument.presentationml.tags+xml"/>
  <Override PartName="/ppt/tags/tag1044.xml" ContentType="application/vnd.openxmlformats-officedocument.presentationml.tags+xml"/>
  <Override PartName="/ppt/tags/tag1045.xml" ContentType="application/vnd.openxmlformats-officedocument.presentationml.tags+xml"/>
  <Override PartName="/ppt/tags/tag1046.xml" ContentType="application/vnd.openxmlformats-officedocument.presentationml.tags+xml"/>
  <Override PartName="/ppt/tags/tag1047.xml" ContentType="application/vnd.openxmlformats-officedocument.presentationml.tags+xml"/>
  <Override PartName="/ppt/tags/tag1048.xml" ContentType="application/vnd.openxmlformats-officedocument.presentationml.tags+xml"/>
  <Override PartName="/ppt/tags/tag1049.xml" ContentType="application/vnd.openxmlformats-officedocument.presentationml.tags+xml"/>
  <Override PartName="/ppt/tags/tag1050.xml" ContentType="application/vnd.openxmlformats-officedocument.presentationml.tags+xml"/>
  <Override PartName="/ppt/tags/tag1051.xml" ContentType="application/vnd.openxmlformats-officedocument.presentationml.tags+xml"/>
  <Override PartName="/ppt/tags/tag1052.xml" ContentType="application/vnd.openxmlformats-officedocument.presentationml.tags+xml"/>
  <Override PartName="/ppt/tags/tag1053.xml" ContentType="application/vnd.openxmlformats-officedocument.presentationml.tags+xml"/>
  <Override PartName="/ppt/tags/tag1054.xml" ContentType="application/vnd.openxmlformats-officedocument.presentationml.tags+xml"/>
  <Override PartName="/ppt/tags/tag1055.xml" ContentType="application/vnd.openxmlformats-officedocument.presentationml.tags+xml"/>
  <Override PartName="/ppt/tags/tag1056.xml" ContentType="application/vnd.openxmlformats-officedocument.presentationml.tags+xml"/>
  <Override PartName="/ppt/tags/tag1057.xml" ContentType="application/vnd.openxmlformats-officedocument.presentationml.tags+xml"/>
  <Override PartName="/ppt/tags/tag1058.xml" ContentType="application/vnd.openxmlformats-officedocument.presentationml.tags+xml"/>
  <Override PartName="/ppt/tags/tag1059.xml" ContentType="application/vnd.openxmlformats-officedocument.presentationml.tags+xml"/>
  <Override PartName="/ppt/tags/tag1060.xml" ContentType="application/vnd.openxmlformats-officedocument.presentationml.tags+xml"/>
  <Override PartName="/ppt/tags/tag1061.xml" ContentType="application/vnd.openxmlformats-officedocument.presentationml.tags+xml"/>
  <Override PartName="/ppt/tags/tag1062.xml" ContentType="application/vnd.openxmlformats-officedocument.presentationml.tags+xml"/>
  <Override PartName="/ppt/tags/tag1063.xml" ContentType="application/vnd.openxmlformats-officedocument.presentationml.tags+xml"/>
  <Override PartName="/ppt/tags/tag1064.xml" ContentType="application/vnd.openxmlformats-officedocument.presentationml.tags+xml"/>
  <Override PartName="/ppt/tags/tag1065.xml" ContentType="application/vnd.openxmlformats-officedocument.presentationml.tags+xml"/>
  <Override PartName="/ppt/tags/tag1066.xml" ContentType="application/vnd.openxmlformats-officedocument.presentationml.tags+xml"/>
  <Override PartName="/ppt/tags/tag1067.xml" ContentType="application/vnd.openxmlformats-officedocument.presentationml.tags+xml"/>
  <Override PartName="/ppt/tags/tag1068.xml" ContentType="application/vnd.openxmlformats-officedocument.presentationml.tags+xml"/>
  <Override PartName="/ppt/tags/tag1069.xml" ContentType="application/vnd.openxmlformats-officedocument.presentationml.tags+xml"/>
  <Override PartName="/ppt/tags/tag1070.xml" ContentType="application/vnd.openxmlformats-officedocument.presentationml.tags+xml"/>
  <Override PartName="/ppt/tags/tag1071.xml" ContentType="application/vnd.openxmlformats-officedocument.presentationml.tags+xml"/>
  <Override PartName="/ppt/tags/tag1072.xml" ContentType="application/vnd.openxmlformats-officedocument.presentationml.tags+xml"/>
  <Override PartName="/ppt/tags/tag1073.xml" ContentType="application/vnd.openxmlformats-officedocument.presentationml.tags+xml"/>
  <Override PartName="/ppt/tags/tag1074.xml" ContentType="application/vnd.openxmlformats-officedocument.presentationml.tags+xml"/>
  <Override PartName="/ppt/tags/tag1075.xml" ContentType="application/vnd.openxmlformats-officedocument.presentationml.tags+xml"/>
  <Override PartName="/ppt/tags/tag1076.xml" ContentType="application/vnd.openxmlformats-officedocument.presentationml.tags+xml"/>
  <Override PartName="/ppt/tags/tag1077.xml" ContentType="application/vnd.openxmlformats-officedocument.presentationml.tags+xml"/>
  <Override PartName="/ppt/tags/tag1078.xml" ContentType="application/vnd.openxmlformats-officedocument.presentationml.tags+xml"/>
  <Override PartName="/ppt/tags/tag1079.xml" ContentType="application/vnd.openxmlformats-officedocument.presentationml.tags+xml"/>
  <Override PartName="/ppt/tags/tag1080.xml" ContentType="application/vnd.openxmlformats-officedocument.presentationml.tags+xml"/>
  <Override PartName="/ppt/tags/tag1081.xml" ContentType="application/vnd.openxmlformats-officedocument.presentationml.tags+xml"/>
  <Override PartName="/ppt/tags/tag1082.xml" ContentType="application/vnd.openxmlformats-officedocument.presentationml.tags+xml"/>
  <Override PartName="/ppt/tags/tag1083.xml" ContentType="application/vnd.openxmlformats-officedocument.presentationml.tags+xml"/>
  <Override PartName="/ppt/tags/tag1084.xml" ContentType="application/vnd.openxmlformats-officedocument.presentationml.tags+xml"/>
  <Override PartName="/ppt/tags/tag1085.xml" ContentType="application/vnd.openxmlformats-officedocument.presentationml.tags+xml"/>
  <Override PartName="/ppt/tags/tag1086.xml" ContentType="application/vnd.openxmlformats-officedocument.presentationml.tags+xml"/>
  <Override PartName="/ppt/tags/tag1087.xml" ContentType="application/vnd.openxmlformats-officedocument.presentationml.tags+xml"/>
  <Override PartName="/ppt/tags/tag1088.xml" ContentType="application/vnd.openxmlformats-officedocument.presentationml.tags+xml"/>
  <Override PartName="/ppt/tags/tag1089.xml" ContentType="application/vnd.openxmlformats-officedocument.presentationml.tags+xml"/>
  <Override PartName="/ppt/tags/tag1090.xml" ContentType="application/vnd.openxmlformats-officedocument.presentationml.tags+xml"/>
  <Override PartName="/ppt/tags/tag1091.xml" ContentType="application/vnd.openxmlformats-officedocument.presentationml.tags+xml"/>
  <Override PartName="/ppt/tags/tag1092.xml" ContentType="application/vnd.openxmlformats-officedocument.presentationml.tags+xml"/>
  <Override PartName="/ppt/tags/tag1093.xml" ContentType="application/vnd.openxmlformats-officedocument.presentationml.tags+xml"/>
  <Override PartName="/ppt/tags/tag1094.xml" ContentType="application/vnd.openxmlformats-officedocument.presentationml.tags+xml"/>
  <Override PartName="/ppt/tags/tag1095.xml" ContentType="application/vnd.openxmlformats-officedocument.presentationml.tags+xml"/>
  <Override PartName="/ppt/tags/tag1096.xml" ContentType="application/vnd.openxmlformats-officedocument.presentationml.tags+xml"/>
  <Override PartName="/ppt/tags/tag1097.xml" ContentType="application/vnd.openxmlformats-officedocument.presentationml.tags+xml"/>
  <Override PartName="/ppt/tags/tag1098.xml" ContentType="application/vnd.openxmlformats-officedocument.presentationml.tags+xml"/>
  <Override PartName="/ppt/tags/tag1099.xml" ContentType="application/vnd.openxmlformats-officedocument.presentationml.tags+xml"/>
  <Override PartName="/ppt/tags/tag1100.xml" ContentType="application/vnd.openxmlformats-officedocument.presentationml.tags+xml"/>
  <Override PartName="/ppt/tags/tag1101.xml" ContentType="application/vnd.openxmlformats-officedocument.presentationml.tags+xml"/>
  <Override PartName="/ppt/tags/tag1102.xml" ContentType="application/vnd.openxmlformats-officedocument.presentationml.tags+xml"/>
  <Override PartName="/ppt/tags/tag1103.xml" ContentType="application/vnd.openxmlformats-officedocument.presentationml.tags+xml"/>
  <Override PartName="/ppt/tags/tag1104.xml" ContentType="application/vnd.openxmlformats-officedocument.presentationml.tags+xml"/>
  <Override PartName="/ppt/tags/tag1105.xml" ContentType="application/vnd.openxmlformats-officedocument.presentationml.tags+xml"/>
  <Override PartName="/ppt/tags/tag1106.xml" ContentType="application/vnd.openxmlformats-officedocument.presentationml.tags+xml"/>
  <Override PartName="/ppt/tags/tag1107.xml" ContentType="application/vnd.openxmlformats-officedocument.presentationml.tags+xml"/>
  <Override PartName="/ppt/tags/tag1108.xml" ContentType="application/vnd.openxmlformats-officedocument.presentationml.tags+xml"/>
  <Override PartName="/ppt/tags/tag1109.xml" ContentType="application/vnd.openxmlformats-officedocument.presentationml.tags+xml"/>
  <Override PartName="/ppt/tags/tag1110.xml" ContentType="application/vnd.openxmlformats-officedocument.presentationml.tags+xml"/>
  <Override PartName="/ppt/tags/tag1111.xml" ContentType="application/vnd.openxmlformats-officedocument.presentationml.tags+xml"/>
  <Override PartName="/ppt/tags/tag1112.xml" ContentType="application/vnd.openxmlformats-officedocument.presentationml.tags+xml"/>
  <Override PartName="/ppt/tags/tag1113.xml" ContentType="application/vnd.openxmlformats-officedocument.presentationml.tags+xml"/>
  <Override PartName="/ppt/tags/tag1114.xml" ContentType="application/vnd.openxmlformats-officedocument.presentationml.tags+xml"/>
  <Override PartName="/ppt/tags/tag1115.xml" ContentType="application/vnd.openxmlformats-officedocument.presentationml.tags+xml"/>
  <Override PartName="/ppt/tags/tag1116.xml" ContentType="application/vnd.openxmlformats-officedocument.presentationml.tags+xml"/>
  <Override PartName="/ppt/tags/tag1117.xml" ContentType="application/vnd.openxmlformats-officedocument.presentationml.tags+xml"/>
  <Override PartName="/ppt/tags/tag1118.xml" ContentType="application/vnd.openxmlformats-officedocument.presentationml.tags+xml"/>
  <Override PartName="/ppt/tags/tag1119.xml" ContentType="application/vnd.openxmlformats-officedocument.presentationml.tags+xml"/>
  <Override PartName="/ppt/tags/tag1120.xml" ContentType="application/vnd.openxmlformats-officedocument.presentationml.tags+xml"/>
  <Override PartName="/ppt/tags/tag1121.xml" ContentType="application/vnd.openxmlformats-officedocument.presentationml.tags+xml"/>
  <Override PartName="/ppt/tags/tag1122.xml" ContentType="application/vnd.openxmlformats-officedocument.presentationml.tags+xml"/>
  <Override PartName="/ppt/tags/tag1123.xml" ContentType="application/vnd.openxmlformats-officedocument.presentationml.tags+xml"/>
  <Override PartName="/ppt/tags/tag1124.xml" ContentType="application/vnd.openxmlformats-officedocument.presentationml.tags+xml"/>
  <Override PartName="/ppt/tags/tag1125.xml" ContentType="application/vnd.openxmlformats-officedocument.presentationml.tags+xml"/>
  <Override PartName="/ppt/tags/tag1126.xml" ContentType="application/vnd.openxmlformats-officedocument.presentationml.tags+xml"/>
  <Override PartName="/ppt/tags/tag1127.xml" ContentType="application/vnd.openxmlformats-officedocument.presentationml.tags+xml"/>
  <Override PartName="/ppt/tags/tag1128.xml" ContentType="application/vnd.openxmlformats-officedocument.presentationml.tags+xml"/>
  <Override PartName="/ppt/tags/tag1129.xml" ContentType="application/vnd.openxmlformats-officedocument.presentationml.tags+xml"/>
  <Override PartName="/ppt/tags/tag1130.xml" ContentType="application/vnd.openxmlformats-officedocument.presentationml.tags+xml"/>
  <Override PartName="/ppt/tags/tag1131.xml" ContentType="application/vnd.openxmlformats-officedocument.presentationml.tags+xml"/>
  <Override PartName="/ppt/tags/tag1132.xml" ContentType="application/vnd.openxmlformats-officedocument.presentationml.tags+xml"/>
  <Override PartName="/ppt/tags/tag1133.xml" ContentType="application/vnd.openxmlformats-officedocument.presentationml.tags+xml"/>
  <Override PartName="/ppt/tags/tag1134.xml" ContentType="application/vnd.openxmlformats-officedocument.presentationml.tags+xml"/>
  <Override PartName="/ppt/tags/tag1135.xml" ContentType="application/vnd.openxmlformats-officedocument.presentationml.tags+xml"/>
  <Override PartName="/ppt/tags/tag1136.xml" ContentType="application/vnd.openxmlformats-officedocument.presentationml.tags+xml"/>
  <Override PartName="/ppt/tags/tag1137.xml" ContentType="application/vnd.openxmlformats-officedocument.presentationml.tags+xml"/>
  <Override PartName="/ppt/tags/tag1138.xml" ContentType="application/vnd.openxmlformats-officedocument.presentationml.tags+xml"/>
  <Override PartName="/ppt/tags/tag1139.xml" ContentType="application/vnd.openxmlformats-officedocument.presentationml.tags+xml"/>
  <Override PartName="/ppt/tags/tag1140.xml" ContentType="application/vnd.openxmlformats-officedocument.presentationml.tags+xml"/>
  <Override PartName="/ppt/tags/tag1141.xml" ContentType="application/vnd.openxmlformats-officedocument.presentationml.tags+xml"/>
  <Override PartName="/ppt/tags/tag1142.xml" ContentType="application/vnd.openxmlformats-officedocument.presentationml.tags+xml"/>
  <Override PartName="/ppt/tags/tag1143.xml" ContentType="application/vnd.openxmlformats-officedocument.presentationml.tags+xml"/>
  <Override PartName="/ppt/tags/tag1144.xml" ContentType="application/vnd.openxmlformats-officedocument.presentationml.tags+xml"/>
  <Override PartName="/ppt/tags/tag1145.xml" ContentType="application/vnd.openxmlformats-officedocument.presentationml.tags+xml"/>
  <Override PartName="/ppt/tags/tag1146.xml" ContentType="application/vnd.openxmlformats-officedocument.presentationml.tags+xml"/>
  <Override PartName="/ppt/tags/tag1147.xml" ContentType="application/vnd.openxmlformats-officedocument.presentationml.tags+xml"/>
  <Override PartName="/ppt/tags/tag1148.xml" ContentType="application/vnd.openxmlformats-officedocument.presentationml.tags+xml"/>
  <Override PartName="/ppt/tags/tag1149.xml" ContentType="application/vnd.openxmlformats-officedocument.presentationml.tags+xml"/>
  <Override PartName="/ppt/tags/tag1150.xml" ContentType="application/vnd.openxmlformats-officedocument.presentationml.tags+xml"/>
  <Override PartName="/ppt/tags/tag1151.xml" ContentType="application/vnd.openxmlformats-officedocument.presentationml.tags+xml"/>
  <Override PartName="/ppt/tags/tag1152.xml" ContentType="application/vnd.openxmlformats-officedocument.presentationml.tags+xml"/>
  <Override PartName="/ppt/tags/tag1153.xml" ContentType="application/vnd.openxmlformats-officedocument.presentationml.tags+xml"/>
  <Override PartName="/ppt/tags/tag1154.xml" ContentType="application/vnd.openxmlformats-officedocument.presentationml.tags+xml"/>
  <Override PartName="/ppt/tags/tag1155.xml" ContentType="application/vnd.openxmlformats-officedocument.presentationml.tags+xml"/>
  <Override PartName="/ppt/tags/tag1156.xml" ContentType="application/vnd.openxmlformats-officedocument.presentationml.tags+xml"/>
  <Override PartName="/ppt/tags/tag1157.xml" ContentType="application/vnd.openxmlformats-officedocument.presentationml.tags+xml"/>
  <Override PartName="/ppt/tags/tag1158.xml" ContentType="application/vnd.openxmlformats-officedocument.presentationml.tags+xml"/>
  <Override PartName="/ppt/tags/tag1159.xml" ContentType="application/vnd.openxmlformats-officedocument.presentationml.tags+xml"/>
  <Override PartName="/ppt/tags/tag1160.xml" ContentType="application/vnd.openxmlformats-officedocument.presentationml.tags+xml"/>
  <Override PartName="/ppt/tags/tag1161.xml" ContentType="application/vnd.openxmlformats-officedocument.presentationml.tags+xml"/>
  <Override PartName="/ppt/tags/tag1162.xml" ContentType="application/vnd.openxmlformats-officedocument.presentationml.tags+xml"/>
  <Override PartName="/ppt/tags/tag1163.xml" ContentType="application/vnd.openxmlformats-officedocument.presentationml.tags+xml"/>
  <Override PartName="/ppt/tags/tag1164.xml" ContentType="application/vnd.openxmlformats-officedocument.presentationml.tags+xml"/>
  <Override PartName="/ppt/tags/tag1165.xml" ContentType="application/vnd.openxmlformats-officedocument.presentationml.tags+xml"/>
  <Override PartName="/ppt/tags/tag1166.xml" ContentType="application/vnd.openxmlformats-officedocument.presentationml.tags+xml"/>
  <Override PartName="/ppt/tags/tag1167.xml" ContentType="application/vnd.openxmlformats-officedocument.presentationml.tags+xml"/>
  <Override PartName="/ppt/tags/tag1168.xml" ContentType="application/vnd.openxmlformats-officedocument.presentationml.tags+xml"/>
  <Override PartName="/ppt/tags/tag1169.xml" ContentType="application/vnd.openxmlformats-officedocument.presentationml.tags+xml"/>
  <Override PartName="/ppt/tags/tag1170.xml" ContentType="application/vnd.openxmlformats-officedocument.presentationml.tags+xml"/>
  <Override PartName="/ppt/tags/tag1171.xml" ContentType="application/vnd.openxmlformats-officedocument.presentationml.tags+xml"/>
  <Override PartName="/ppt/tags/tag1172.xml" ContentType="application/vnd.openxmlformats-officedocument.presentationml.tags+xml"/>
  <Override PartName="/ppt/tags/tag1173.xml" ContentType="application/vnd.openxmlformats-officedocument.presentationml.tags+xml"/>
  <Override PartName="/ppt/tags/tag1174.xml" ContentType="application/vnd.openxmlformats-officedocument.presentationml.tags+xml"/>
  <Override PartName="/ppt/tags/tag1175.xml" ContentType="application/vnd.openxmlformats-officedocument.presentationml.tags+xml"/>
  <Override PartName="/ppt/tags/tag1176.xml" ContentType="application/vnd.openxmlformats-officedocument.presentationml.tags+xml"/>
  <Override PartName="/ppt/tags/tag1177.xml" ContentType="application/vnd.openxmlformats-officedocument.presentationml.tags+xml"/>
  <Override PartName="/ppt/tags/tag1178.xml" ContentType="application/vnd.openxmlformats-officedocument.presentationml.tags+xml"/>
  <Override PartName="/ppt/tags/tag1179.xml" ContentType="application/vnd.openxmlformats-officedocument.presentationml.tags+xml"/>
  <Override PartName="/ppt/tags/tag1180.xml" ContentType="application/vnd.openxmlformats-officedocument.presentationml.tags+xml"/>
  <Override PartName="/ppt/tags/tag1181.xml" ContentType="application/vnd.openxmlformats-officedocument.presentationml.tags+xml"/>
  <Override PartName="/ppt/tags/tag1182.xml" ContentType="application/vnd.openxmlformats-officedocument.presentationml.tags+xml"/>
  <Override PartName="/ppt/tags/tag1183.xml" ContentType="application/vnd.openxmlformats-officedocument.presentationml.tags+xml"/>
  <Override PartName="/ppt/tags/tag1184.xml" ContentType="application/vnd.openxmlformats-officedocument.presentationml.tags+xml"/>
  <Override PartName="/ppt/notesSlides/notesSlide5.xml" ContentType="application/vnd.openxmlformats-officedocument.presentationml.notesSlide+xml"/>
  <Override PartName="/ppt/media/image76.svg" ContentType="image/svg"/>
  <Override PartName="/ppt/charts/chart2.xml" ContentType="application/vnd.openxmlformats-officedocument.drawingml.chart+xml"/>
  <Override PartName="/ppt/tags/tag1185.xml" ContentType="application/vnd.openxmlformats-officedocument.presentationml.tags+xml"/>
  <Override PartName="/ppt/tags/tag1186.xml" ContentType="application/vnd.openxmlformats-officedocument.presentationml.tags+xml"/>
  <Override PartName="/ppt/tags/tag1187.xml" ContentType="application/vnd.openxmlformats-officedocument.presentationml.tags+xml"/>
  <Override PartName="/ppt/tags/tag1188.xml" ContentType="application/vnd.openxmlformats-officedocument.presentationml.tags+xml"/>
  <Override PartName="/ppt/notesSlides/notesSlide6.xml" ContentType="application/vnd.openxmlformats-officedocument.presentationml.notesSlide+xml"/>
  <Override PartName="/ppt/tags/tag1189.xml" ContentType="application/vnd.openxmlformats-officedocument.presentationml.tags+xml"/>
  <Override PartName="/ppt/tags/tag1190.xml" ContentType="application/vnd.openxmlformats-officedocument.presentationml.tags+xml"/>
  <Override PartName="/ppt/tags/tag1191.xml" ContentType="application/vnd.openxmlformats-officedocument.presentationml.tags+xml"/>
  <Override PartName="/ppt/tags/tag1192.xml" ContentType="application/vnd.openxmlformats-officedocument.presentationml.tags+xml"/>
  <Override PartName="/ppt/tags/tag1193.xml" ContentType="application/vnd.openxmlformats-officedocument.presentationml.tags+xml"/>
  <Override PartName="/ppt/tags/tag1194.xml" ContentType="application/vnd.openxmlformats-officedocument.presentationml.tags+xml"/>
  <Override PartName="/ppt/tags/tag1195.xml" ContentType="application/vnd.openxmlformats-officedocument.presentationml.tags+xml"/>
  <Override PartName="/ppt/tags/tag1196.xml" ContentType="application/vnd.openxmlformats-officedocument.presentationml.tags+xml"/>
  <Override PartName="/ppt/tags/tag1197.xml" ContentType="application/vnd.openxmlformats-officedocument.presentationml.tags+xml"/>
  <Override PartName="/ppt/tags/tag1198.xml" ContentType="application/vnd.openxmlformats-officedocument.presentationml.tags+xml"/>
  <Override PartName="/ppt/tags/tag1199.xml" ContentType="application/vnd.openxmlformats-officedocument.presentationml.tags+xml"/>
  <Override PartName="/ppt/tags/tag1200.xml" ContentType="application/vnd.openxmlformats-officedocument.presentationml.tags+xml"/>
  <Override PartName="/ppt/tags/tag1201.xml" ContentType="application/vnd.openxmlformats-officedocument.presentationml.tags+xml"/>
  <Override PartName="/ppt/tags/tag1202.xml" ContentType="application/vnd.openxmlformats-officedocument.presentationml.tags+xml"/>
  <Override PartName="/ppt/tags/tag1203.xml" ContentType="application/vnd.openxmlformats-officedocument.presentationml.tags+xml"/>
  <Override PartName="/ppt/tags/tag1204.xml" ContentType="application/vnd.openxmlformats-officedocument.presentationml.tags+xml"/>
  <Override PartName="/ppt/tags/tag1205.xml" ContentType="application/vnd.openxmlformats-officedocument.presentationml.tags+xml"/>
  <Override PartName="/ppt/tags/tag1206.xml" ContentType="application/vnd.openxmlformats-officedocument.presentationml.tags+xml"/>
  <Override PartName="/ppt/tags/tag1207.xml" ContentType="application/vnd.openxmlformats-officedocument.presentationml.tags+xml"/>
  <Override PartName="/ppt/tags/tag1208.xml" ContentType="application/vnd.openxmlformats-officedocument.presentationml.tags+xml"/>
  <Override PartName="/ppt/tags/tag1209.xml" ContentType="application/vnd.openxmlformats-officedocument.presentationml.tags+xml"/>
  <Override PartName="/ppt/tags/tag1210.xml" ContentType="application/vnd.openxmlformats-officedocument.presentationml.tags+xml"/>
  <Override PartName="/ppt/tags/tag1211.xml" ContentType="application/vnd.openxmlformats-officedocument.presentationml.tags+xml"/>
  <Override PartName="/ppt/tags/tag1212.xml" ContentType="application/vnd.openxmlformats-officedocument.presentationml.tags+xml"/>
  <Override PartName="/ppt/tags/tag1213.xml" ContentType="application/vnd.openxmlformats-officedocument.presentationml.tags+xml"/>
  <Override PartName="/ppt/tags/tag1214.xml" ContentType="application/vnd.openxmlformats-officedocument.presentationml.tags+xml"/>
  <Override PartName="/ppt/tags/tag1215.xml" ContentType="application/vnd.openxmlformats-officedocument.presentationml.tags+xml"/>
  <Override PartName="/ppt/tags/tag1216.xml" ContentType="application/vnd.openxmlformats-officedocument.presentationml.tags+xml"/>
  <Override PartName="/ppt/tags/tag1217.xml" ContentType="application/vnd.openxmlformats-officedocument.presentationml.tags+xml"/>
  <Override PartName="/ppt/tags/tag1218.xml" ContentType="application/vnd.openxmlformats-officedocument.presentationml.tags+xml"/>
  <Override PartName="/ppt/tags/tag1219.xml" ContentType="application/vnd.openxmlformats-officedocument.presentationml.tags+xml"/>
  <Override PartName="/ppt/notesSlides/notesSlide7.xml" ContentType="application/vnd.openxmlformats-officedocument.presentationml.notesSlide+xml"/>
  <Override PartName="/ppt/charts/chart3.xml" ContentType="application/vnd.openxmlformats-officedocument.drawingml.chart+xml"/>
  <Override PartName="/ppt/drawings/drawing1.xml" ContentType="application/vnd.openxmlformats-officedocument.drawingml.chartshapes+xml"/>
  <Override PartName="/ppt/tags/tag1220.xml" ContentType="application/vnd.openxmlformats-officedocument.presentationml.tags+xml"/>
  <Override PartName="/ppt/tags/tag1221.xml" ContentType="application/vnd.openxmlformats-officedocument.presentationml.tags+xml"/>
  <Override PartName="/ppt/notesSlides/notesSlide8.xml" ContentType="application/vnd.openxmlformats-officedocument.presentationml.notesSlide+xml"/>
  <Override PartName="/ppt/tags/tag1222.xml" ContentType="application/vnd.openxmlformats-officedocument.presentationml.tags+xml"/>
  <Override PartName="/ppt/notesSlides/notesSlide9.xml" ContentType="application/vnd.openxmlformats-officedocument.presentationml.notesSlide+xml"/>
  <Override PartName="/ppt/tags/tag1223.xml" ContentType="application/vnd.openxmlformats-officedocument.presentationml.tags+xml"/>
  <Override PartName="/ppt/tags/tag1224.xml" ContentType="application/vnd.openxmlformats-officedocument.presentationml.tags+xml"/>
  <Override PartName="/ppt/tags/tag1225.xml" ContentType="application/vnd.openxmlformats-officedocument.presentationml.tags+xml"/>
  <Override PartName="/ppt/tags/tag122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9"/>
  </p:notesMasterIdLst>
  <p:handoutMasterIdLst>
    <p:handoutMasterId r:id="rId20"/>
  </p:handoutMasterIdLst>
  <p:sldIdLst>
    <p:sldId id="276" r:id="rId2"/>
    <p:sldId id="2147308091" r:id="rId3"/>
    <p:sldId id="2147308092" r:id="rId4"/>
    <p:sldId id="2147308094" r:id="rId5"/>
    <p:sldId id="2147308096" r:id="rId6"/>
    <p:sldId id="258" r:id="rId7"/>
    <p:sldId id="261" r:id="rId8"/>
    <p:sldId id="2147472813" r:id="rId9"/>
    <p:sldId id="324" r:id="rId10"/>
    <p:sldId id="291" r:id="rId11"/>
    <p:sldId id="2147474339" r:id="rId12"/>
    <p:sldId id="290" r:id="rId13"/>
    <p:sldId id="2147472820" r:id="rId14"/>
    <p:sldId id="2147472934" r:id="rId15"/>
    <p:sldId id="2147472931" r:id="rId16"/>
    <p:sldId id="2147472814" r:id="rId17"/>
    <p:sldId id="2147308099" r:id="rId18"/>
  </p:sldIdLst>
  <p:sldSz cx="14630400" cy="8229600"/>
  <p:notesSz cx="7772400" cy="14173200"/>
  <p:defaultTextStyle>
    <a:defPPr>
      <a:defRPr lang="en-US"/>
    </a:defPPr>
    <a:lvl1pPr marL="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1pPr>
    <a:lvl2pPr marL="73152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2pPr>
    <a:lvl3pPr marL="146304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3pPr>
    <a:lvl4pPr marL="219456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4pPr>
    <a:lvl5pPr marL="292608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5pPr>
    <a:lvl6pPr marL="365760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6pPr>
    <a:lvl7pPr marL="438912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7pPr>
    <a:lvl8pPr marL="512064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8pPr>
    <a:lvl9pPr marL="585216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8" userDrawn="1">
          <p15:clr>
            <a:srgbClr val="A4A3A4"/>
          </p15:clr>
        </p15:guide>
        <p15:guide id="2" orient="horz" pos="2592" userDrawn="1">
          <p15:clr>
            <a:srgbClr val="A4A3A4"/>
          </p15:clr>
        </p15:guide>
        <p15:guide id="3" orient="horz" pos="4512" userDrawn="1">
          <p15:clr>
            <a:srgbClr val="A4A3A4"/>
          </p15:clr>
        </p15:guide>
        <p15:guide id="4" orient="horz" pos="4896" userDrawn="1">
          <p15:clr>
            <a:srgbClr val="A4A3A4"/>
          </p15:clr>
        </p15:guide>
        <p15:guide id="5" pos="7488" userDrawn="1">
          <p15:clr>
            <a:srgbClr val="A4A3A4"/>
          </p15:clr>
        </p15:guide>
        <p15:guide id="6" pos="432" userDrawn="1">
          <p15:clr>
            <a:srgbClr val="A4A3A4"/>
          </p15:clr>
        </p15:guide>
        <p15:guide id="7" pos="3024" userDrawn="1">
          <p15:clr>
            <a:srgbClr val="A4A3A4"/>
          </p15:clr>
        </p15:guide>
        <p15:guide id="8" pos="3312" userDrawn="1">
          <p15:clr>
            <a:srgbClr val="A4A3A4"/>
          </p15:clr>
        </p15:guide>
        <p15:guide id="9" pos="4464" userDrawn="1">
          <p15:clr>
            <a:srgbClr val="A4A3A4"/>
          </p15:clr>
        </p15:guide>
        <p15:guide id="10" pos="4608" userDrawn="1">
          <p15:clr>
            <a:srgbClr val="A4A3A4"/>
          </p15:clr>
        </p15:guide>
        <p15:guide id="11" pos="4752" userDrawn="1">
          <p15:clr>
            <a:srgbClr val="A4A3A4"/>
          </p15:clr>
        </p15:guide>
        <p15:guide id="12" pos="5904" userDrawn="1">
          <p15:clr>
            <a:srgbClr val="A4A3A4"/>
          </p15:clr>
        </p15:guide>
        <p15:guide id="13" pos="6192" userDrawn="1">
          <p15:clr>
            <a:srgbClr val="A4A3A4"/>
          </p15:clr>
        </p15:guide>
        <p15:guide id="14" pos="878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464" userDrawn="1">
          <p15:clr>
            <a:srgbClr val="A4A3A4"/>
          </p15:clr>
        </p15:guide>
        <p15:guide id="2" pos="244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69696"/>
    <a:srgbClr val="63666A"/>
    <a:srgbClr val="F9F048"/>
    <a:srgbClr val="FFCD00"/>
    <a:srgbClr val="D9DF23"/>
    <a:srgbClr val="666666"/>
    <a:srgbClr val="330072"/>
    <a:srgbClr val="60249E"/>
    <a:srgbClr val="1870B9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45BD5076-5073-49C7-9E08-65982F3C9860}">
  <a:tblStyle styleId="{45BD5076-5073-49C7-9E08-65982F3C9860}" styleName="DXC Table">
    <a:wholeTbl>
      <a:tcTxStyle>
        <a:fontRef idx="minor"/>
        <a:srgbClr val="000000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>
              <a:solidFill>
                <a:srgbClr val="000000"/>
              </a:solidFill>
            </a:ln>
          </a:top>
          <a:bottom>
            <a:ln w="6350">
              <a:solidFill>
                <a:srgbClr val="000000"/>
              </a:solidFill>
            </a:ln>
          </a:bottom>
          <a:insideH>
            <a:ln w="6350">
              <a:solidFill>
                <a:srgbClr val="000000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lastCol>
      <a:tcTxStyle b="on">
        <a:fontRef idx="major"/>
        <a:srgbClr val="000000"/>
      </a:tcTxStyle>
      <a:tcStyle>
        <a:tcBdr/>
      </a:tcStyle>
    </a:lastCol>
    <a:firstCol>
      <a:tcTxStyle b="on">
        <a:fontRef idx="major"/>
        <a:srgbClr val="000000"/>
      </a:tcTxStyle>
      <a:tcStyle>
        <a:tcBdr/>
      </a:tcStyle>
    </a:firstCol>
    <a:lastRow>
      <a:tcTxStyle b="on">
        <a:fontRef idx="major"/>
        <a:srgbClr val="000000"/>
      </a:tcTxStyle>
      <a:tcStyle>
        <a:tcBdr>
          <a:top>
            <a:ln w="19050">
              <a:solidFill>
                <a:srgbClr val="000000"/>
              </a:solidFill>
            </a:ln>
          </a:top>
          <a:bottom>
            <a:ln>
              <a:noFill/>
            </a:ln>
          </a:bottom>
        </a:tcBdr>
        <a:fill>
          <a:noFill/>
        </a:fill>
      </a:tcStyle>
    </a:lastRow>
    <a:firstRow>
      <a:tcTxStyle b="on">
        <a:fontRef idx="major"/>
        <a:srgbClr val="000000"/>
      </a:tcTxStyle>
      <a:tcStyle>
        <a:tcBdr>
          <a:top>
            <a:ln>
              <a:noFill/>
            </a:ln>
          </a:top>
          <a:bottom>
            <a:ln w="19050">
              <a:solidFill>
                <a:srgbClr val="000000"/>
              </a:solidFill>
            </a:ln>
          </a:bottom>
        </a:tcBdr>
        <a:fill>
          <a:noFill/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2" autoAdjust="0"/>
    <p:restoredTop sz="96236" autoAdjust="0"/>
  </p:normalViewPr>
  <p:slideViewPr>
    <p:cSldViewPr snapToGrid="0" snapToObjects="1" showGuides="1">
      <p:cViewPr varScale="1">
        <p:scale>
          <a:sx n="53" d="100"/>
          <a:sy n="53" d="100"/>
        </p:scale>
        <p:origin x="772" y="36"/>
      </p:cViewPr>
      <p:guideLst>
        <p:guide orient="horz" pos="408"/>
        <p:guide orient="horz" pos="2592"/>
        <p:guide orient="horz" pos="4512"/>
        <p:guide orient="horz" pos="4896"/>
        <p:guide pos="7488"/>
        <p:guide pos="432"/>
        <p:guide pos="3024"/>
        <p:guide pos="3312"/>
        <p:guide pos="4464"/>
        <p:guide pos="4608"/>
        <p:guide pos="4752"/>
        <p:guide pos="5904"/>
        <p:guide pos="6192"/>
        <p:guide pos="8784"/>
      </p:guideLst>
    </p:cSldViewPr>
  </p:slideViewPr>
  <p:outlineViewPr>
    <p:cViewPr>
      <p:scale>
        <a:sx n="33" d="100"/>
        <a:sy n="33" d="100"/>
      </p:scale>
      <p:origin x="0" y="-110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6456"/>
    </p:cViewPr>
  </p:sorterViewPr>
  <p:notesViewPr>
    <p:cSldViewPr snapToGrid="0" snapToObjects="1" showGuides="1">
      <p:cViewPr varScale="1">
        <p:scale>
          <a:sx n="59" d="100"/>
          <a:sy n="59" d="100"/>
        </p:scale>
        <p:origin x="1517" y="106"/>
      </p:cViewPr>
      <p:guideLst>
        <p:guide orient="horz" pos="4464"/>
        <p:guide pos="244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622333616018295E-2"/>
          <c:y val="0.10526315867900848"/>
          <c:w val="0.93475532531738281"/>
          <c:h val="0.78947371244430542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4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1"/>
              <c:layout>
                <c:manualLayout>
                  <c:x val="0.42032623291015625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 smtId="4294967295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7C0B-4503-9D5D-23283D7BC1F5}"/>
                </c:ext>
              </c:extLst>
            </c:dLbl>
            <c:dLbl>
              <c:idx val="2"/>
              <c:layout>
                <c:manualLayout>
                  <c:x val="0.30928480625152588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 smtId="4294967295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C0B-4503-9D5D-23283D7BC1F5}"/>
                </c:ext>
              </c:extLst>
            </c:dLbl>
            <c:dLbl>
              <c:idx val="3"/>
              <c:layout>
                <c:manualLayout>
                  <c:x val="0.2910915911197662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 smtId="4294967295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7C0B-4503-9D5D-23283D7BC1F5}"/>
                </c:ext>
              </c:extLst>
            </c:dLbl>
            <c:dLbl>
              <c:idx val="4"/>
              <c:layout>
                <c:manualLayout>
                  <c:x val="0.27038896083831787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 smtId="4294967295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7C0B-4503-9D5D-23283D7BC1F5}"/>
                </c:ext>
              </c:extLst>
            </c:dLbl>
            <c:dLbl>
              <c:idx val="5"/>
              <c:layout>
                <c:manualLayout>
                  <c:x val="0.25407779216766357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 smtId="4294967295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7C0B-4503-9D5D-23283D7BC1F5}"/>
                </c:ext>
              </c:extLst>
            </c:dLbl>
            <c:dLbl>
              <c:idx val="6"/>
              <c:layout>
                <c:manualLayout>
                  <c:x val="0.2001254707574844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 smtId="4294967295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7C0B-4503-9D5D-23283D7BC1F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252.31729055258501</c:v>
                </c:pt>
                <c:pt idx="1">
                  <c:v>190</c:v>
                </c:pt>
                <c:pt idx="2">
                  <c:v>130</c:v>
                </c:pt>
                <c:pt idx="3">
                  <c:v>120</c:v>
                </c:pt>
                <c:pt idx="4">
                  <c:v>110</c:v>
                </c:pt>
                <c:pt idx="5">
                  <c:v>100</c:v>
                </c:pt>
                <c:pt idx="6">
                  <c:v>80</c:v>
                </c:pt>
              </c:numCache>
            </c:numRef>
          </c:val>
          <c:extLst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>
            <c:ext xmlns:c16="http://schemas.microsoft.com/office/drawing/2014/chart" uri="{C3380CC4-5D6E-409C-BE32-E72D297353CC}">
              <c16:uniqueId val="{00000006-7C0B-4503-9D5D-23283D7BC1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442321968"/>
        <c:axId val="1"/>
      </c:barChart>
      <c:catAx>
        <c:axId val="1442321968"/>
        <c:scaling>
          <c:orientation val="maxMin"/>
        </c:scaling>
        <c:delete val="0"/>
        <c:axPos val="l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252.31729055258484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442321968"/>
        <c:crossesAt val="0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1304692625999451"/>
          <c:y val="1.6678038984537125E-2"/>
          <c:w val="0.52362209558486938"/>
          <c:h val="0.95395135879516602"/>
        </c:manualLayout>
      </c:layout>
      <c:barChart>
        <c:barDir val="bar"/>
        <c:grouping val="clustere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21</c:f>
              <c:strCache>
                <c:ptCount val="20"/>
                <c:pt idx="0">
                  <c:v>Other Consulting</c:v>
                </c:pt>
                <c:pt idx="1">
                  <c:v>Mobile (iOS, Android)</c:v>
                </c:pt>
                <c:pt idx="2">
                  <c:v>Functional/System Analyst</c:v>
                </c:pt>
                <c:pt idx="3">
                  <c:v>UI/UX Professional</c:v>
                </c:pt>
                <c:pt idx="4">
                  <c:v>Data Science &amp; BI Engineer</c:v>
                </c:pt>
                <c:pt idx="5">
                  <c:v>BPM Engineer</c:v>
                </c:pt>
                <c:pt idx="6">
                  <c:v>Big Data Engineer</c:v>
                </c:pt>
                <c:pt idx="7">
                  <c:v>Software/System Architect</c:v>
                </c:pt>
                <c:pt idx="8">
                  <c:v>L1-L3 Technical Support </c:v>
                </c:pt>
                <c:pt idx="9">
                  <c:v>Program Manager</c:v>
                </c:pt>
                <c:pt idx="10">
                  <c:v>Software Developer (C#/.Net)</c:v>
                </c:pt>
                <c:pt idx="11">
                  <c:v>Business Analyst</c:v>
                </c:pt>
                <c:pt idx="12">
                  <c:v>DevOps and DBA</c:v>
                </c:pt>
                <c:pt idx="13">
                  <c:v>Project Manager / Scrum Master</c:v>
                </c:pt>
                <c:pt idx="14">
                  <c:v>QA Automation</c:v>
                </c:pt>
                <c:pt idx="15">
                  <c:v>QA Manual</c:v>
                </c:pt>
                <c:pt idx="16">
                  <c:v>Software Developer (Other)</c:v>
                </c:pt>
                <c:pt idx="17">
                  <c:v>Packaged Software Engineer</c:v>
                </c:pt>
                <c:pt idx="18">
                  <c:v>Software Developer (C/C++)</c:v>
                </c:pt>
                <c:pt idx="19">
                  <c:v>Software Developer (Java)</c:v>
                </c:pt>
              </c:strCache>
            </c:strRef>
          </c:cat>
          <c:val>
            <c:numRef>
              <c:f>Sheet1!$C$2:$C$21</c:f>
              <c:numCache>
                <c:formatCode>0.0%</c:formatCode>
                <c:ptCount val="20"/>
                <c:pt idx="0">
                  <c:v>5.2108005684509701E-3</c:v>
                </c:pt>
                <c:pt idx="1">
                  <c:v>1.16397103606957E-2</c:v>
                </c:pt>
                <c:pt idx="2">
                  <c:v>1.2384110441903001E-2</c:v>
                </c:pt>
                <c:pt idx="3">
                  <c:v>1.3737565135007099E-2</c:v>
                </c:pt>
                <c:pt idx="4">
                  <c:v>1.5835419909318499E-2</c:v>
                </c:pt>
                <c:pt idx="5">
                  <c:v>1.5903092643973701E-2</c:v>
                </c:pt>
                <c:pt idx="6">
                  <c:v>2.01664749272518E-2</c:v>
                </c:pt>
                <c:pt idx="7">
                  <c:v>2.30087297827705E-2</c:v>
                </c:pt>
                <c:pt idx="8">
                  <c:v>2.71367665967382E-2</c:v>
                </c:pt>
                <c:pt idx="9">
                  <c:v>2.7272112066048598E-2</c:v>
                </c:pt>
                <c:pt idx="10">
                  <c:v>3.0046694186912099E-2</c:v>
                </c:pt>
                <c:pt idx="11">
                  <c:v>3.9588549773296303E-2</c:v>
                </c:pt>
                <c:pt idx="12">
                  <c:v>5.3732151316234697E-2</c:v>
                </c:pt>
                <c:pt idx="13">
                  <c:v>6.1920552209514798E-2</c:v>
                </c:pt>
                <c:pt idx="14">
                  <c:v>7.5725790079177097E-2</c:v>
                </c:pt>
                <c:pt idx="15">
                  <c:v>7.7282262976246893E-2</c:v>
                </c:pt>
                <c:pt idx="16">
                  <c:v>8.6147391216079006E-2</c:v>
                </c:pt>
                <c:pt idx="17">
                  <c:v>0.101847465656087</c:v>
                </c:pt>
                <c:pt idx="18">
                  <c:v>0.143669215673005</c:v>
                </c:pt>
                <c:pt idx="19">
                  <c:v>0.15774514448128801</c:v>
                </c:pt>
              </c:numCache>
            </c:numRef>
          </c:val>
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<c:ext xmlns:c16="http://schemas.microsoft.com/office/drawing/2014/chart" uri="{C3380CC4-5D6E-409C-BE32-E72D297353CC}">
              <c16:uniqueId val="{00000000-356F-4DF6-9AC7-D0DEC9DB58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188414208"/>
        <c:axId val="188624896"/>
      </c:barChar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HC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F1713B56-EF7D-4FDE-8C52-6FDE00DE878B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356F-4DF6-9AC7-D0DEC9DB583C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A5D4C745-8802-4952-9C15-BCCE06F4B1EC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356F-4DF6-9AC7-D0DEC9DB583C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17EAA735-C8C9-4072-8FEC-FA948CFD8634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356F-4DF6-9AC7-D0DEC9DB583C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C676458E-9954-499D-B2E2-D609D312C8EF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356F-4DF6-9AC7-D0DEC9DB583C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43E57BBD-4D9B-49CC-84A1-19D41AB6E694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356F-4DF6-9AC7-D0DEC9DB583C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EFD67D83-7687-40BD-8DEA-83E8A1BBDF74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356F-4DF6-9AC7-D0DEC9DB583C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25A824CD-A73F-4166-9A9E-FEB6355D719E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356F-4DF6-9AC7-D0DEC9DB583C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B699C1DE-199C-4E2F-A865-84655D0E4629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356F-4DF6-9AC7-D0DEC9DB583C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4524F082-AEA7-4CAF-A219-91D639DA8864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356F-4DF6-9AC7-D0DEC9DB583C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DCC5A1EF-BB6E-4AEA-AD57-974B20E952D8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356F-4DF6-9AC7-D0DEC9DB583C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54FA3F8E-FD4B-4DDA-B702-551BD00834B7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356F-4DF6-9AC7-D0DEC9DB583C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F98B8B98-302A-4DB0-BB3C-DB6F4A45B478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356F-4DF6-9AC7-D0DEC9DB583C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97885933-02BC-4D36-8D39-849B158A43AF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356F-4DF6-9AC7-D0DEC9DB583C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fld id="{3C919241-D8B3-42E1-926C-8A62A2DBBB9C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356F-4DF6-9AC7-D0DEC9DB583C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fld id="{EF23E56B-875D-479D-9744-93DFAE1F017D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356F-4DF6-9AC7-D0DEC9DB583C}"/>
                </c:ext>
              </c:extLst>
            </c:dLbl>
            <c:dLbl>
              <c:idx val="15"/>
              <c:tx>
                <c:rich>
                  <a:bodyPr/>
                  <a:lstStyle/>
                  <a:p>
                    <a:fld id="{513AC7AB-2802-4C20-A6CA-C912294F4E3D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356F-4DF6-9AC7-D0DEC9DB583C}"/>
                </c:ext>
              </c:extLst>
            </c:dLbl>
            <c:dLbl>
              <c:idx val="16"/>
              <c:tx>
                <c:rich>
                  <a:bodyPr/>
                  <a:lstStyle/>
                  <a:p>
                    <a:fld id="{A99F79AC-BC05-489C-8A75-6D9915474236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356F-4DF6-9AC7-D0DEC9DB583C}"/>
                </c:ext>
              </c:extLst>
            </c:dLbl>
            <c:dLbl>
              <c:idx val="17"/>
              <c:tx>
                <c:rich>
                  <a:bodyPr/>
                  <a:lstStyle/>
                  <a:p>
                    <a:fld id="{F70A6A9F-BCF8-42B1-B8A3-8B11B749E6B9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2-356F-4DF6-9AC7-D0DEC9DB583C}"/>
                </c:ext>
              </c:extLst>
            </c:dLbl>
            <c:dLbl>
              <c:idx val="18"/>
              <c:tx>
                <c:rich>
                  <a:bodyPr/>
                  <a:lstStyle/>
                  <a:p>
                    <a:fld id="{3F055239-2ADF-415D-97F0-6CA3372EC33E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356F-4DF6-9AC7-D0DEC9DB583C}"/>
                </c:ext>
              </c:extLst>
            </c:dLbl>
            <c:dLbl>
              <c:idx val="19"/>
              <c:tx>
                <c:rich>
                  <a:bodyPr/>
                  <a:lstStyle/>
                  <a:p>
                    <a:fld id="{05D2768A-173C-449B-9919-B3A4786AFA93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4-356F-4DF6-9AC7-D0DEC9DB583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 smtId="4294967295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Other Consulting</c:v>
                </c:pt>
                <c:pt idx="1">
                  <c:v>Mobile (iOS, Android)</c:v>
                </c:pt>
                <c:pt idx="2">
                  <c:v>Functional/System Analyst</c:v>
                </c:pt>
                <c:pt idx="3">
                  <c:v>UI/UX Professional</c:v>
                </c:pt>
                <c:pt idx="4">
                  <c:v>Data Science &amp; BI Engineer</c:v>
                </c:pt>
                <c:pt idx="5">
                  <c:v>BPM Engineer</c:v>
                </c:pt>
                <c:pt idx="6">
                  <c:v>Big Data Engineer</c:v>
                </c:pt>
                <c:pt idx="7">
                  <c:v>Software/System Architect</c:v>
                </c:pt>
                <c:pt idx="8">
                  <c:v>L1-L3 Technical Support </c:v>
                </c:pt>
                <c:pt idx="9">
                  <c:v>Program Manager</c:v>
                </c:pt>
                <c:pt idx="10">
                  <c:v>Software Developer (C#/.Net)</c:v>
                </c:pt>
                <c:pt idx="11">
                  <c:v>Business Analyst</c:v>
                </c:pt>
                <c:pt idx="12">
                  <c:v>DevOps and DBA</c:v>
                </c:pt>
                <c:pt idx="13">
                  <c:v>Project Manager / Scrum Master</c:v>
                </c:pt>
                <c:pt idx="14">
                  <c:v>QA Automation</c:v>
                </c:pt>
                <c:pt idx="15">
                  <c:v>QA Manual</c:v>
                </c:pt>
                <c:pt idx="16">
                  <c:v>Software Developer (Other)</c:v>
                </c:pt>
                <c:pt idx="17">
                  <c:v>Packaged Software Engineer</c:v>
                </c:pt>
                <c:pt idx="18">
                  <c:v>Software Developer (C/C++)</c:v>
                </c:pt>
                <c:pt idx="19">
                  <c:v>Software Developer (Java)</c:v>
                </c:pt>
              </c:strCache>
            </c:strRef>
          </c:cat>
          <c:val>
            <c:numRef>
              <c:f>Sheet1!$B$2:$B$21</c:f>
              <c:numCache>
                <c:formatCode>#,##0</c:formatCode>
                <c:ptCount val="20"/>
                <c:pt idx="0">
                  <c:v>77</c:v>
                </c:pt>
                <c:pt idx="1">
                  <c:v>172</c:v>
                </c:pt>
                <c:pt idx="2">
                  <c:v>183</c:v>
                </c:pt>
                <c:pt idx="3" formatCode="General">
                  <c:v>203</c:v>
                </c:pt>
                <c:pt idx="4">
                  <c:v>234</c:v>
                </c:pt>
                <c:pt idx="5" formatCode="General">
                  <c:v>235</c:v>
                </c:pt>
                <c:pt idx="6">
                  <c:v>298</c:v>
                </c:pt>
                <c:pt idx="7">
                  <c:v>340</c:v>
                </c:pt>
                <c:pt idx="8">
                  <c:v>401</c:v>
                </c:pt>
                <c:pt idx="9">
                  <c:v>403</c:v>
                </c:pt>
                <c:pt idx="10" formatCode="General">
                  <c:v>444</c:v>
                </c:pt>
                <c:pt idx="11">
                  <c:v>585</c:v>
                </c:pt>
                <c:pt idx="12">
                  <c:v>794</c:v>
                </c:pt>
                <c:pt idx="13">
                  <c:v>915</c:v>
                </c:pt>
                <c:pt idx="14">
                  <c:v>1119</c:v>
                </c:pt>
                <c:pt idx="15">
                  <c:v>1142</c:v>
                </c:pt>
                <c:pt idx="16" formatCode="General">
                  <c:v>1273</c:v>
                </c:pt>
                <c:pt idx="17">
                  <c:v>1505</c:v>
                </c:pt>
                <c:pt idx="18" formatCode="General">
                  <c:v>2123</c:v>
                </c:pt>
                <c:pt idx="19">
                  <c:v>2331</c:v>
                </c:pt>
              </c:numCache>
            </c:numRef>
          </c:val>
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<c:ext xmlns:c15="http://schemas.microsoft.com/office/drawing/2012/chart" uri="{02D57815-91ED-43cb-92C2-25804820EDAC}">
              <c15:datalabelsRange>
                <c15:f>Sheet1!$C$2:$C$21</c15:f>
                <c15:dlblRangeCache>
                  <c:ptCount val="20"/>
                  <c:pt idx="0">
                    <c:v>0.5%</c:v>
                  </c:pt>
                  <c:pt idx="1">
                    <c:v>1.2%</c:v>
                  </c:pt>
                  <c:pt idx="2">
                    <c:v>1.2%</c:v>
                  </c:pt>
                  <c:pt idx="3">
                    <c:v>1.4%</c:v>
                  </c:pt>
                  <c:pt idx="4">
                    <c:v>1.6%</c:v>
                  </c:pt>
                  <c:pt idx="5">
                    <c:v>1.6%</c:v>
                  </c:pt>
                  <c:pt idx="6">
                    <c:v>2.0%</c:v>
                  </c:pt>
                  <c:pt idx="7">
                    <c:v>2.3%</c:v>
                  </c:pt>
                  <c:pt idx="8">
                    <c:v>2.7%</c:v>
                  </c:pt>
                  <c:pt idx="9">
                    <c:v>2.7%</c:v>
                  </c:pt>
                  <c:pt idx="10">
                    <c:v>3.0%</c:v>
                  </c:pt>
                  <c:pt idx="11">
                    <c:v>4.0%</c:v>
                  </c:pt>
                  <c:pt idx="12">
                    <c:v>5.4%</c:v>
                  </c:pt>
                  <c:pt idx="13">
                    <c:v>6.2%</c:v>
                  </c:pt>
                  <c:pt idx="14">
                    <c:v>7.6%</c:v>
                  </c:pt>
                  <c:pt idx="15">
                    <c:v>7.7%</c:v>
                  </c:pt>
                  <c:pt idx="16">
                    <c:v>8.6%</c:v>
                  </c:pt>
                  <c:pt idx="17">
                    <c:v>10.2%</c:v>
                  </c:pt>
                  <c:pt idx="18">
                    <c:v>14.4%</c:v>
                  </c:pt>
                  <c:pt idx="19">
                    <c:v>15.8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5-356F-4DF6-9AC7-D0DEC9DB58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7"/>
        <c:axId val="2053603103"/>
        <c:axId val="2053585215"/>
      </c:barChart>
      <c:catAx>
        <c:axId val="18841420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b" anchorCtr="1"/>
          <a:lstStyle/>
          <a:p>
            <a:pPr>
              <a:defRPr kumimoji="0" lang="en-US" sz="1050" b="0" i="0" u="none" strike="noStrike" kern="1200" cap="none" spc="0" normalizeH="0" baseline="0" smtId="4294967295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defRPr>
            </a:pPr>
            <a:endParaRPr lang="en-US"/>
          </a:p>
        </c:txPr>
        <c:crossAx val="188624896"/>
        <c:crosses val="autoZero"/>
        <c:auto val="0"/>
        <c:lblAlgn val="ctr"/>
        <c:lblOffset val="100"/>
        <c:noMultiLvlLbl val="0"/>
      </c:catAx>
      <c:valAx>
        <c:axId val="188624896"/>
        <c:scaling>
          <c:orientation val="minMax"/>
        </c:scaling>
        <c:delete val="1"/>
        <c:axPos val="b"/>
        <c:numFmt formatCode="0.0%" sourceLinked="1"/>
        <c:majorTickMark val="out"/>
        <c:minorTickMark val="none"/>
        <c:tickLblPos val="none"/>
        <c:crossAx val="188414208"/>
        <c:crosses val="autoZero"/>
        <c:crossBetween val="between"/>
      </c:valAx>
      <c:valAx>
        <c:axId val="2053585215"/>
        <c:scaling>
          <c:orientation val="minMax"/>
        </c:scaling>
        <c:delete val="1"/>
        <c:axPos val="b"/>
        <c:numFmt formatCode="#,##0" sourceLinked="1"/>
        <c:majorTickMark val="out"/>
        <c:minorTickMark val="none"/>
        <c:tickLblPos val="nextTo"/>
        <c:crossAx val="2053603103"/>
        <c:crosses val="autoZero"/>
        <c:crossBetween val="between"/>
      </c:valAx>
      <c:catAx>
        <c:axId val="2053603103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053585215"/>
        <c:crosses val="autoZero"/>
        <c:auto val="0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32535308599472"/>
          <c:y val="8.4523819386959076E-2"/>
          <c:w val="0.7621501088142395"/>
          <c:h val="0.83897382020950317"/>
        </c:manualLayout>
      </c:layout>
      <c:doughnutChart>
        <c:varyColors val="1"/>
        <c:ser>
          <c:idx val="0"/>
          <c:order val="0"/>
          <c:tx>
            <c:strRef>
              <c:f>Arkusz1!$B$1</c:f>
              <c:strCache>
                <c:ptCount val="1"/>
                <c:pt idx="0">
                  <c:v>Key sources for vacancies closing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6="http://schemas.microsoft.com/office/drawing/2014/chart" uri="{C3380CC4-5D6E-409C-BE32-E72D297353CC}">
                <c16:uniqueId val="{00000001-9EEB-430C-BEC1-569CF329E360}"/>
              </c:ext>
            </c:extLst>
          </c:dPt>
          <c:dPt>
            <c:idx val="1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6="http://schemas.microsoft.com/office/drawing/2014/chart" uri="{C3380CC4-5D6E-409C-BE32-E72D297353CC}">
                <c16:uniqueId val="{00000003-9EEB-430C-BEC1-569CF329E360}"/>
              </c:ext>
            </c:extLst>
          </c:dPt>
          <c:dPt>
            <c:idx val="2"/>
            <c:bubble3D val="0"/>
            <c:spPr>
              <a:solidFill>
                <a:srgbClr val="0070C0"/>
              </a:solidFill>
              <a:ln w="19050">
                <a:solidFill>
                  <a:schemeClr val="lt1"/>
                </a:solidFill>
              </a:ln>
              <a:effectLst/>
            </c:spPr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6="http://schemas.microsoft.com/office/drawing/2014/chart" uri="{C3380CC4-5D6E-409C-BE32-E72D297353CC}">
                <c16:uniqueId val="{00000005-9EEB-430C-BEC1-569CF329E360}"/>
              </c:ext>
            </c:extLst>
          </c:dPt>
          <c:dPt>
            <c:idx val="3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6="http://schemas.microsoft.com/office/drawing/2014/chart" uri="{C3380CC4-5D6E-409C-BE32-E72D297353CC}">
                <c16:uniqueId val="{00000007-9EEB-430C-BEC1-569CF329E360}"/>
              </c:ext>
            </c:extLst>
          </c:dPt>
          <c:dLbls>
            <c:dLbl>
              <c:idx val="0"/>
              <c:layout>
                <c:manualLayout>
                  <c:x val="1.1822114698588848E-2"/>
                  <c:y val="-4.2886207811534405E-3"/>
                </c:manualLayout>
              </c:layout>
              <c:tx>
                <c:rich>
                  <a:bodyPr/>
                  <a:lstStyle/>
                  <a:p>
                    <a:endParaRPr lang="en-US" baseline="0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>
                    <c:manualLayout>
                      <c:w val="0.212308"/>
                      <c:h val="0.26840079999999999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1-9EEB-430C-BEC1-569CF329E360}"/>
                </c:ext>
              </c:extLst>
            </c:dLbl>
            <c:dLbl>
              <c:idx val="1"/>
              <c:delete val="1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EEB-430C-BEC1-569CF329E360}"/>
                </c:ext>
              </c:extLst>
            </c:dLbl>
            <c:dLbl>
              <c:idx val="2"/>
              <c:delete val="1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EEB-430C-BEC1-569CF329E360}"/>
                </c:ext>
              </c:extLst>
            </c:dLbl>
            <c:dLbl>
              <c:idx val="3"/>
              <c:delete val="1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9EEB-430C-BEC1-569CF329E36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l">
                  <a:defRPr sz="1000" b="1" i="0" u="none" strike="noStrike" kern="1200" baseline="0" smtId="4294967295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/>
            </c:extLst>
          </c:dLbls>
          <c:cat>
            <c:strRef>
              <c:f>Arkusz1!$A$2:$A$5</c:f>
              <c:strCache>
                <c:ptCount val="4"/>
                <c:pt idx="0">
                  <c:v>DXC career site</c:v>
                </c:pt>
                <c:pt idx="1">
                  <c:v>Job boards</c:v>
                </c:pt>
                <c:pt idx="2">
                  <c:v>Referral Program</c:v>
                </c:pt>
                <c:pt idx="3">
                  <c:v>Direct sourcing</c:v>
                </c:pt>
              </c:strCache>
            </c:strRef>
          </c:cat>
          <c:val>
            <c:numRef>
              <c:f>Arkusz1!$B$2:$B$5</c:f>
              <c:numCache>
                <c:formatCode>General</c:formatCode>
                <c:ptCount val="4"/>
                <c:pt idx="0">
                  <c:v>10</c:v>
                </c:pt>
                <c:pt idx="1">
                  <c:v>19</c:v>
                </c:pt>
                <c:pt idx="2">
                  <c:v>35</c:v>
                </c:pt>
                <c:pt idx="3">
                  <c:v>20</c:v>
                </c:pt>
              </c:numCache>
            </c:numRef>
          </c:val>
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<c:ext xmlns:c16="http://schemas.microsoft.com/office/drawing/2014/chart" uri="{C3380CC4-5D6E-409C-BE32-E72D297353CC}">
              <c16:uniqueId val="{00000008-9EEB-430C-BEC1-569CF329E36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4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5627</cdr:x>
      <cdr:y>0.04643</cdr:y>
    </cdr:from>
    <cdr:to>
      <cdr:x>0.09923</cdr:x>
      <cdr:y>0.08366</cdr:y>
    </cdr:to>
    <cdr:sp macro="" textlink="">
      <cdr:nvSpPr>
        <cdr:cNvPr id="2" name="Rectangle 2">
          <a:extLst xmlns:a="http://schemas.openxmlformats.org/drawingml/2006/main">
            <a:ext uri="{FF2B5EF4-FFF2-40B4-BE49-F238E27FC236}">
              <a16:creationId xmlns:a16="http://schemas.microsoft.com/office/drawing/2014/main" id="{73E4D14F-967B-404F-9391-4226298ED34C}"/>
            </a:ext>
          </a:extLst>
        </cdr:cNvPr>
        <cdr:cNvSpPr/>
      </cdr:nvSpPr>
      <cdr:spPr>
        <a:xfrm xmlns:a="http://schemas.openxmlformats.org/drawingml/2006/main">
          <a:off x="256620" y="187329"/>
          <a:ext cx="195962" cy="15020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en-US"/>
          </a:defPPr>
          <a:lvl1pPr marL="0" algn="l" defTabSz="1463040" rtl="0" eaLnBrk="1" latinLnBrk="0" hangingPunct="1">
            <a:defRPr sz="288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731520" algn="l" defTabSz="1463040" rtl="0" eaLnBrk="1" latinLnBrk="0" hangingPunct="1">
            <a:defRPr sz="288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1463040" algn="l" defTabSz="1463040" rtl="0" eaLnBrk="1" latinLnBrk="0" hangingPunct="1">
            <a:defRPr sz="288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2194560" algn="l" defTabSz="1463040" rtl="0" eaLnBrk="1" latinLnBrk="0" hangingPunct="1">
            <a:defRPr sz="288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2926080" algn="l" defTabSz="1463040" rtl="0" eaLnBrk="1" latinLnBrk="0" hangingPunct="1">
            <a:defRPr sz="288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3657600" algn="l" defTabSz="1463040" rtl="0" eaLnBrk="1" latinLnBrk="0" hangingPunct="1">
            <a:defRPr sz="288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4389120" algn="l" defTabSz="1463040" rtl="0" eaLnBrk="1" latinLnBrk="0" hangingPunct="1">
            <a:defRPr sz="288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5120640" algn="l" defTabSz="1463040" rtl="0" eaLnBrk="1" latinLnBrk="0" hangingPunct="1">
            <a:defRPr sz="288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5852160" algn="l" defTabSz="1463040" rtl="0" eaLnBrk="1" latinLnBrk="0" hangingPunct="1">
            <a:defRPr sz="288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 defTabSz="1097236">
            <a:spcBef>
              <a:spcPct val="0"/>
            </a:spcBef>
            <a:spcAft>
              <a:spcPct val="0"/>
            </a:spcAft>
            <a:defRPr kumimoji="0" sz="1800" b="0" i="0" normalizeH="0" noProof="0">
              <a:solidFill>
                <a:srgbClr val="000000"/>
              </a:solidFill>
              <a:uLnTx/>
              <a:uFillTx/>
              <a:latin typeface="+mn-lt"/>
              <a:ea typeface="+mn-ea"/>
              <a:cs typeface="+mn-cs"/>
            </a:defRPr>
          </a:pPr>
          <a:r>
            <a:rPr lang="en-US" sz="1200" dirty="0">
              <a:solidFill>
                <a:prstClr val="white"/>
              </a:solidFill>
              <a:latin typeface="Arial" pitchFamily="34" charset="0"/>
              <a:ea typeface="Open Sans" panose="020B0706030804020204" pitchFamily="34" charset="0"/>
              <a:cs typeface="Arial" pitchFamily="34" charset="0"/>
            </a:rPr>
            <a:t>Job boards </a:t>
          </a:r>
          <a:r>
            <a:rPr lang="en-US" sz="1400" b="1" dirty="0">
              <a:solidFill>
                <a:prstClr val="white"/>
              </a:solidFill>
              <a:latin typeface="Arial" pitchFamily="34" charset="0"/>
              <a:ea typeface="Open Sans" panose="020B0706030804020204" pitchFamily="34" charset="0"/>
              <a:cs typeface="Arial" pitchFamily="34" charset="0"/>
            </a:rPr>
            <a:t>19</a:t>
          </a:r>
          <a:r>
            <a:rPr lang="en-US" sz="1400" b="1" dirty="0">
              <a:solidFill>
                <a:prstClr val="white"/>
              </a:solidFill>
              <a:latin typeface="Arial" pitchFamily="34" charset="0"/>
              <a:ea typeface="Open Sans Extrabold" panose="020B0706030804020204" pitchFamily="34" charset="0"/>
              <a:cs typeface="Arial" pitchFamily="34" charset="0"/>
            </a:rPr>
            <a:t>%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368040" cy="708660"/>
          </a:xfrm>
          <a:prstGeom prst="rect">
            <a:avLst/>
          </a:prstGeom>
        </p:spPr>
        <p:txBody>
          <a:bodyPr vert="horz" lIns="125401" tIns="62700" rIns="125401" bIns="62700" rtlCol="0"/>
          <a:lstStyle>
            <a:lvl1pPr algn="l">
              <a:defRPr sz="1600"/>
            </a:lvl1pPr>
          </a:lstStyle>
          <a:p>
            <a:endParaRPr lang="en-US" dirty="0">
              <a:latin typeface="Arial"/>
              <a:cs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13462080"/>
            <a:ext cx="3368040" cy="708660"/>
          </a:xfrm>
          <a:prstGeom prst="rect">
            <a:avLst/>
          </a:prstGeom>
        </p:spPr>
        <p:txBody>
          <a:bodyPr vert="horz" lIns="125401" tIns="62700" rIns="125401" bIns="62700" rtlCol="0" anchor="b"/>
          <a:lstStyle>
            <a:lvl1pPr algn="l">
              <a:defRPr sz="1600"/>
            </a:lvl1pPr>
          </a:lstStyle>
          <a:p>
            <a:endParaRPr lang="en-US" dirty="0">
              <a:latin typeface="Arial"/>
              <a:cs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402561" y="13462080"/>
            <a:ext cx="3368040" cy="708660"/>
          </a:xfrm>
          <a:prstGeom prst="rect">
            <a:avLst/>
          </a:prstGeom>
        </p:spPr>
        <p:txBody>
          <a:bodyPr vert="horz" lIns="125401" tIns="62700" rIns="125401" bIns="62700" rtlCol="0" anchor="b"/>
          <a:lstStyle>
            <a:lvl1pPr algn="r">
              <a:defRPr sz="1600"/>
            </a:lvl1pPr>
          </a:lstStyle>
          <a:p>
            <a:fld id="{70AC7428-30A9-FD43-A0D8-DB91B17088EC}" type="slidenum">
              <a:rPr lang="en-US" smtClean="0">
                <a:latin typeface="Arial"/>
                <a:cs typeface="Arial"/>
              </a:rPr>
              <a:t>‹#›</a:t>
            </a:fld>
            <a:endParaRPr lang="en-US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476491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368040" cy="708660"/>
          </a:xfrm>
          <a:prstGeom prst="rect">
            <a:avLst/>
          </a:prstGeom>
        </p:spPr>
        <p:txBody>
          <a:bodyPr vert="horz" lIns="125401" tIns="62700" rIns="125401" bIns="62700" rtlCol="0"/>
          <a:lstStyle>
            <a:lvl1pPr algn="l">
              <a:defRPr sz="1600">
                <a:latin typeface="Arial"/>
                <a:cs typeface="Arial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402561" y="0"/>
            <a:ext cx="3368040" cy="708660"/>
          </a:xfrm>
          <a:prstGeom prst="rect">
            <a:avLst/>
          </a:prstGeom>
        </p:spPr>
        <p:txBody>
          <a:bodyPr vert="horz" lIns="125401" tIns="62700" rIns="125401" bIns="62700" rtlCol="0"/>
          <a:lstStyle>
            <a:lvl1pPr algn="r">
              <a:defRPr sz="1600">
                <a:latin typeface="Arial"/>
                <a:cs typeface="Arial"/>
              </a:defRPr>
            </a:lvl1pPr>
          </a:lstStyle>
          <a:p>
            <a:fld id="{73B26A0F-F4D6-9B4F-A87B-D8948CDE3BB4}" type="datetimeFigureOut">
              <a:rPr lang="en-US" smtClean="0"/>
              <a:pPr/>
              <a:t>2/3/202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838200" y="1063625"/>
            <a:ext cx="9448800" cy="53149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25401" tIns="62700" rIns="125401" bIns="6270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431800" y="6732270"/>
            <a:ext cx="6908800" cy="637794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13462080"/>
            <a:ext cx="3368040" cy="708660"/>
          </a:xfrm>
          <a:prstGeom prst="rect">
            <a:avLst/>
          </a:prstGeom>
        </p:spPr>
        <p:txBody>
          <a:bodyPr vert="horz" lIns="125401" tIns="62700" rIns="125401" bIns="62700" rtlCol="0" anchor="b"/>
          <a:lstStyle>
            <a:lvl1pPr algn="l">
              <a:defRPr sz="1600">
                <a:latin typeface="Arial"/>
                <a:cs typeface="Arial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402561" y="13462080"/>
            <a:ext cx="3368040" cy="708660"/>
          </a:xfrm>
          <a:prstGeom prst="rect">
            <a:avLst/>
          </a:prstGeom>
        </p:spPr>
        <p:txBody>
          <a:bodyPr vert="horz" lIns="125401" tIns="62700" rIns="125401" bIns="62700" rtlCol="0" anchor="b"/>
          <a:lstStyle>
            <a:lvl1pPr algn="r">
              <a:defRPr sz="1600">
                <a:latin typeface="Arial"/>
                <a:cs typeface="Arial"/>
              </a:defRPr>
            </a:lvl1pPr>
          </a:lstStyle>
          <a:p>
            <a:fld id="{7DE2E8FF-3D0C-9D4D-B4D1-3089215958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413495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Arial"/>
      </a:defRPr>
    </a:lvl1pPr>
    <a:lvl2pPr marL="73152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2pPr>
    <a:lvl3pPr marL="146304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3pPr>
    <a:lvl4pPr marL="219456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4pPr>
    <a:lvl5pPr marL="292608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5pPr>
    <a:lvl6pPr marL="365760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6pPr>
    <a:lvl7pPr marL="438912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7pPr>
    <a:lvl8pPr marL="512064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8pPr>
    <a:lvl9pPr marL="585216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913.xml"/><Relationship Id="rId2" Type="http://schemas.openxmlformats.org/officeDocument/2006/relationships/tags" Target="../tags/tag912.xml"/><Relationship Id="rId1" Type="http://schemas.openxmlformats.org/officeDocument/2006/relationships/tags" Target="../tags/tag911.xml"/><Relationship Id="rId5" Type="http://schemas.openxmlformats.org/officeDocument/2006/relationships/slide" Target="../slides/slide6.xml"/><Relationship Id="rId4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036.xml"/><Relationship Id="rId2" Type="http://schemas.openxmlformats.org/officeDocument/2006/relationships/tags" Target="../tags/tag1035.xml"/><Relationship Id="rId1" Type="http://schemas.openxmlformats.org/officeDocument/2006/relationships/tags" Target="../tags/tag1034.xml"/><Relationship Id="rId5" Type="http://schemas.openxmlformats.org/officeDocument/2006/relationships/slide" Target="../slides/slide7.xml"/><Relationship Id="rId4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187.xml"/><Relationship Id="rId2" Type="http://schemas.openxmlformats.org/officeDocument/2006/relationships/tags" Target="../tags/tag1186.xml"/><Relationship Id="rId1" Type="http://schemas.openxmlformats.org/officeDocument/2006/relationships/tags" Target="../tags/tag1185.xml"/><Relationship Id="rId5" Type="http://schemas.openxmlformats.org/officeDocument/2006/relationships/slide" Target="../slides/slide8.xml"/><Relationship Id="rId4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191.xml"/><Relationship Id="rId2" Type="http://schemas.openxmlformats.org/officeDocument/2006/relationships/tags" Target="../tags/tag1190.xml"/><Relationship Id="rId1" Type="http://schemas.openxmlformats.org/officeDocument/2006/relationships/tags" Target="../tags/tag1189.xml"/><Relationship Id="rId5" Type="http://schemas.openxmlformats.org/officeDocument/2006/relationships/slide" Target="../slides/slide9.xml"/><Relationship Id="rId4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1462981">
              <a:spcAft>
                <a:spcPts val="800"/>
              </a:spcAft>
              <a:defRPr/>
            </a:pPr>
            <a:r>
              <a:rPr lang="en-US" sz="2400" b="1" dirty="0">
                <a:solidFill>
                  <a:srgbClr val="5F249F"/>
                </a:solidFill>
                <a:latin typeface="Arial"/>
              </a:rPr>
              <a:t>Purpose</a:t>
            </a:r>
          </a:p>
          <a:p>
            <a:pPr defTabSz="1462981">
              <a:spcAft>
                <a:spcPts val="800"/>
              </a:spcAft>
              <a:defRPr/>
            </a:pPr>
            <a:r>
              <a:rPr lang="en-US" sz="2000" dirty="0">
                <a:solidFill>
                  <a:srgbClr val="000000"/>
                </a:solidFill>
                <a:latin typeface="Arial"/>
              </a:rPr>
              <a:t>Delivering excellence for our customers and colleagues</a:t>
            </a:r>
          </a:p>
          <a:p>
            <a:pPr marL="0" indent="0" defTabSz="978449">
              <a:buFont typeface="Arial" panose="020B0604020202020204" pitchFamily="34" charset="0"/>
              <a:buNone/>
              <a:defRPr/>
            </a:pPr>
            <a:endParaRPr lang="en-US" sz="2000" dirty="0"/>
          </a:p>
          <a:p>
            <a:pPr defTabSz="1462981">
              <a:spcAft>
                <a:spcPts val="800"/>
              </a:spcAft>
              <a:defRPr/>
            </a:pPr>
            <a:r>
              <a:rPr lang="en-US" sz="2400" b="1" dirty="0">
                <a:solidFill>
                  <a:srgbClr val="5F249F"/>
                </a:solidFill>
                <a:latin typeface="Arial"/>
              </a:rPr>
              <a:t>Mission</a:t>
            </a:r>
          </a:p>
          <a:p>
            <a:pPr defTabSz="914327">
              <a:lnSpc>
                <a:spcPct val="110000"/>
              </a:lnSpc>
              <a:spcAft>
                <a:spcPts val="667"/>
              </a:spcAft>
              <a:defRPr/>
            </a:pPr>
            <a:r>
              <a:rPr lang="en-US" sz="3600" b="0" i="0" kern="1200" dirty="0">
                <a:solidFill>
                  <a:schemeClr val="tx1"/>
                </a:solidFill>
                <a:effectLst/>
                <a:latin typeface="Arial"/>
                <a:ea typeface="+mn-ea"/>
                <a:cs typeface="Arial"/>
              </a:rPr>
              <a:t>Be an IT services company using the power of technology to build better futures for our customers, colleagues, environment and communities, helping our customers deliver business impact, and be the employer of choice.</a:t>
            </a:r>
          </a:p>
          <a:p>
            <a:pPr defTabSz="914327">
              <a:lnSpc>
                <a:spcPct val="110000"/>
              </a:lnSpc>
              <a:spcAft>
                <a:spcPts val="667"/>
              </a:spcAft>
              <a:defRPr/>
            </a:pPr>
            <a:endParaRPr lang="en-US" sz="2000" dirty="0"/>
          </a:p>
          <a:p>
            <a:pPr marL="0" marR="0" lvl="0" indent="0" algn="l" defTabSz="97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2000" b="1" dirty="0">
                <a:solidFill>
                  <a:srgbClr val="5F249F"/>
                </a:solidFill>
                <a:latin typeface="Arial"/>
              </a:rPr>
              <a:t>Our Values</a:t>
            </a:r>
          </a:p>
          <a:p>
            <a:pPr marL="0" marR="0" lvl="0" indent="0" algn="l" defTabSz="97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2400" b="1" dirty="0">
                <a:solidFill>
                  <a:srgbClr val="000000"/>
                </a:solidFill>
                <a:latin typeface="Arial"/>
              </a:rPr>
              <a:t>Deliver </a:t>
            </a:r>
            <a:r>
              <a:rPr lang="en-US" sz="2000" dirty="0">
                <a:solidFill>
                  <a:srgbClr val="000000"/>
                </a:solidFill>
                <a:latin typeface="Arial"/>
              </a:rPr>
              <a:t>... We do what we say we are going to do.</a:t>
            </a:r>
          </a:p>
          <a:p>
            <a:pPr marL="0" marR="0" lvl="0" indent="0" algn="l" defTabSz="1219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ig or small, we follow through on what we promise and deliver with dedication and expertise to delight our customers and earn their trust. </a:t>
            </a:r>
            <a:r>
              <a:rPr lang="en-US" sz="2000" i="1" kern="1200" dirty="0">
                <a:solidFill>
                  <a:schemeClr val="dk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ur mission critical technologies help our customers transform today and innovate for tomorrow. </a:t>
            </a:r>
            <a:endParaRPr lang="en-US" sz="2000" dirty="0"/>
          </a:p>
          <a:p>
            <a:pPr marL="0" indent="0" defTabSz="978449">
              <a:buFont typeface="Arial" panose="020B0604020202020204" pitchFamily="34" charset="0"/>
              <a:buNone/>
              <a:defRPr/>
            </a:pPr>
            <a:endParaRPr lang="en-US" sz="2000" dirty="0"/>
          </a:p>
          <a:p>
            <a:pPr marL="0" marR="0" lvl="0" indent="0" algn="l" defTabSz="97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2400" b="1" dirty="0">
                <a:solidFill>
                  <a:srgbClr val="000000"/>
                </a:solidFill>
                <a:latin typeface="Arial"/>
              </a:rPr>
              <a:t>Collaborate </a:t>
            </a:r>
            <a:r>
              <a:rPr lang="en-US" sz="2000" dirty="0">
                <a:solidFill>
                  <a:srgbClr val="000000"/>
                </a:solidFill>
                <a:latin typeface="Arial"/>
              </a:rPr>
              <a:t>... We work as a team – globally and locally.</a:t>
            </a:r>
          </a:p>
          <a:p>
            <a:pPr marL="0" marR="0" lvl="0" indent="0" algn="l" defTabSz="1219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i="1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e are a global team of highly specialized and talented people innovating together. We inspire and support each other so we can deliver excellence for our customers. When we innovate, we grow.</a:t>
            </a:r>
          </a:p>
          <a:p>
            <a:pPr marL="0" indent="0" defTabSz="978449">
              <a:buFont typeface="Arial" panose="020B0604020202020204" pitchFamily="34" charset="0"/>
              <a:buNone/>
              <a:defRPr/>
            </a:pPr>
            <a:endParaRPr lang="en-US" sz="2000" dirty="0"/>
          </a:p>
          <a:p>
            <a:pPr marL="0" marR="0" lvl="0" indent="0" algn="l" defTabSz="97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2000" b="0" dirty="0">
              <a:solidFill>
                <a:schemeClr val="tx1"/>
              </a:solidFill>
              <a:latin typeface="Arial"/>
            </a:endParaRPr>
          </a:p>
          <a:p>
            <a:pPr marL="0" marR="0" lvl="0" indent="0" algn="l" defTabSz="97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2400" b="1" dirty="0">
                <a:solidFill>
                  <a:srgbClr val="000000"/>
                </a:solidFill>
                <a:latin typeface="Arial"/>
              </a:rPr>
              <a:t>Community </a:t>
            </a:r>
            <a:r>
              <a:rPr lang="en-US" sz="2000" dirty="0">
                <a:solidFill>
                  <a:srgbClr val="000000"/>
                </a:solidFill>
                <a:latin typeface="Arial"/>
              </a:rPr>
              <a:t>... We believe in stewardship and building a sustainable company that supports our communities.</a:t>
            </a:r>
          </a:p>
          <a:p>
            <a:pPr marL="0" marR="0" lvl="0" indent="0" algn="l" defTabSz="97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2000" i="1" kern="12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e are committed to improving our company, customers and communities through technology, innovation and best practices with a focus on our Environmental, Social, Governance </a:t>
            </a:r>
            <a:r>
              <a:rPr lang="en-US" sz="2000" i="1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ESG)</a:t>
            </a:r>
            <a:r>
              <a:rPr lang="en-US" sz="2000" i="1" kern="12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initiatives to advance the sustainability of our operations and foster equity, </a:t>
            </a:r>
            <a:r>
              <a:rPr lang="en-US" sz="2000" i="1" kern="1200" dirty="0">
                <a:solidFill>
                  <a:schemeClr val="dk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clusion and diversity </a:t>
            </a:r>
            <a:r>
              <a:rPr lang="en-US" sz="2000" i="1" kern="12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 all elements of our business. </a:t>
            </a:r>
            <a:endParaRPr lang="en-US" sz="2000" dirty="0"/>
          </a:p>
          <a:p>
            <a:pPr marL="0" indent="0" defTabSz="978449">
              <a:buFont typeface="Arial" panose="020B0604020202020204" pitchFamily="34" charset="0"/>
              <a:buNone/>
              <a:defRPr/>
            </a:pPr>
            <a:endParaRPr lang="en-US" sz="2000" dirty="0"/>
          </a:p>
          <a:p>
            <a:pPr marL="0" marR="0" lvl="0" indent="0" algn="l" defTabSz="97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2400" b="1" dirty="0">
                <a:solidFill>
                  <a:srgbClr val="000000"/>
                </a:solidFill>
                <a:latin typeface="Arial"/>
              </a:rPr>
              <a:t>Care </a:t>
            </a:r>
            <a:r>
              <a:rPr lang="en-US" sz="2000" dirty="0">
                <a:solidFill>
                  <a:srgbClr val="000000"/>
                </a:solidFill>
                <a:latin typeface="Arial"/>
              </a:rPr>
              <a:t>... We take care of each other and foster a culture of inclusion and belonging.</a:t>
            </a:r>
          </a:p>
          <a:p>
            <a:pPr marL="0" marR="0" lvl="0" indent="0" algn="l" defTabSz="97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2000" i="1" kern="12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e foster a culture of inclusion and caring for each other. Our people are smart, talented, and embrace diversity to create an environment where everyone can reach their full potential. </a:t>
            </a:r>
            <a:endParaRPr lang="en-US" sz="2000" dirty="0"/>
          </a:p>
          <a:p>
            <a:pPr marL="0" indent="0" defTabSz="978449">
              <a:buFont typeface="Arial" panose="020B0604020202020204" pitchFamily="34" charset="0"/>
              <a:buNone/>
              <a:defRPr/>
            </a:pPr>
            <a:endParaRPr lang="en-US" sz="2000" dirty="0"/>
          </a:p>
          <a:p>
            <a:pPr marL="0" marR="0" lvl="0" indent="0" algn="l" defTabSz="97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2400" b="1" dirty="0">
                <a:solidFill>
                  <a:srgbClr val="000000"/>
                </a:solidFill>
                <a:latin typeface="Arial"/>
              </a:rPr>
              <a:t>Do</a:t>
            </a:r>
            <a:r>
              <a:rPr lang="en-US" sz="2800" b="1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2000" dirty="0">
                <a:solidFill>
                  <a:srgbClr val="000000"/>
                </a:solidFill>
                <a:latin typeface="Arial"/>
              </a:rPr>
              <a:t>the right thing … We act with integrity.</a:t>
            </a:r>
          </a:p>
          <a:p>
            <a:pPr marL="0" marR="0" lvl="0" indent="0" algn="l" defTabSz="97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2000" i="1" kern="12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e d</a:t>
            </a: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 the right thing. We act with integrity and treat everyone with respect. Our work ensures the success, safety and well-being of millions of people </a:t>
            </a: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nd communities </a:t>
            </a: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orldwide.</a:t>
            </a:r>
          </a:p>
          <a:p>
            <a:pPr marL="0" indent="0" defTabSz="978449">
              <a:buFont typeface="Arial" panose="020B0604020202020204" pitchFamily="34" charset="0"/>
              <a:buNone/>
              <a:defRPr/>
            </a:pPr>
            <a:endParaRPr lang="en-US" sz="2000" dirty="0"/>
          </a:p>
          <a:p>
            <a:pPr marL="0" indent="0" defTabSz="978449">
              <a:buFont typeface="Arial" panose="020B0604020202020204" pitchFamily="34" charset="0"/>
              <a:buNone/>
              <a:defRPr/>
            </a:pPr>
            <a:endParaRPr lang="en-US" sz="2000" dirty="0"/>
          </a:p>
          <a:p>
            <a:pPr marL="0" marR="0" lvl="0" indent="0" algn="l" defTabSz="97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2000" dirty="0"/>
              <a:t>Every day we Deliver </a:t>
            </a:r>
            <a:r>
              <a:rPr lang="en-US" sz="2000" dirty="0" err="1"/>
              <a:t>eXcellence</a:t>
            </a:r>
            <a:r>
              <a:rPr lang="en-US" sz="2000" dirty="0"/>
              <a:t> for our Customers and Colleagues. Our mission-critical IT services make our customers successful. Our commitment to stewardship and sustainability fosters community and a workforce that takes care of each other. We are DXC.</a:t>
            </a:r>
          </a:p>
          <a:p>
            <a:pPr marL="0" indent="0" defTabSz="978449">
              <a:buFont typeface="Arial" panose="020B0604020202020204" pitchFamily="34" charset="0"/>
              <a:buNone/>
              <a:defRPr/>
            </a:pPr>
            <a:endParaRPr lang="en-US" sz="20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97828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/>
            <a:r>
              <a:rPr lang="en-US" altLang="en-US" sz="2000" b="1" dirty="0"/>
              <a:t>Our History and how we developed across the years</a:t>
            </a:r>
          </a:p>
          <a:p>
            <a:pPr eaLnBrk="1"/>
            <a:r>
              <a:rPr lang="en-US" altLang="en-US" sz="2000" dirty="0"/>
              <a:t>Here we can see growth in </a:t>
            </a:r>
            <a:r>
              <a:rPr lang="en-US" altLang="en-US" sz="2000" b="1" dirty="0"/>
              <a:t>four</a:t>
            </a:r>
            <a:r>
              <a:rPr lang="en-US" altLang="en-US" sz="2000" dirty="0"/>
              <a:t> </a:t>
            </a:r>
            <a:r>
              <a:rPr lang="en-US" altLang="en-US" sz="2000" b="1" dirty="0"/>
              <a:t>dimensions</a:t>
            </a:r>
          </a:p>
          <a:p>
            <a:pPr eaLnBrk="1"/>
            <a:r>
              <a:rPr lang="en-US" altLang="en-US" sz="2000" b="1" dirty="0"/>
              <a:t>Locations</a:t>
            </a:r>
            <a:r>
              <a:rPr lang="en-US" altLang="en-US" sz="2000" dirty="0"/>
              <a:t> from start until now</a:t>
            </a:r>
          </a:p>
          <a:p>
            <a:pPr eaLnBrk="1"/>
            <a:r>
              <a:rPr lang="en-US" altLang="en-US" sz="2000" b="1" dirty="0"/>
              <a:t>Line</a:t>
            </a:r>
            <a:r>
              <a:rPr lang="en-US" altLang="en-US" sz="2000" dirty="0"/>
              <a:t> of </a:t>
            </a:r>
            <a:r>
              <a:rPr lang="en-US" altLang="en-US" sz="2000" b="1" dirty="0"/>
              <a:t>businesses</a:t>
            </a:r>
          </a:p>
          <a:p>
            <a:pPr eaLnBrk="1"/>
            <a:r>
              <a:rPr lang="en-US" altLang="en-US" sz="2000" b="1" dirty="0"/>
              <a:t>Acquisitions</a:t>
            </a:r>
            <a:r>
              <a:rPr lang="en-US" altLang="en-US" sz="2000" dirty="0"/>
              <a:t> or acquired companies and merges</a:t>
            </a:r>
          </a:p>
          <a:p>
            <a:pPr eaLnBrk="1"/>
            <a:r>
              <a:rPr lang="en-US" altLang="en-US" sz="2000" dirty="0"/>
              <a:t>And also how we grow from headcount across the years</a:t>
            </a:r>
          </a:p>
          <a:p>
            <a:pPr eaLnBrk="1"/>
            <a:endParaRPr lang="en-US" altLang="en-US" sz="2000" dirty="0"/>
          </a:p>
          <a:p>
            <a:pPr eaLnBrk="1"/>
            <a:r>
              <a:rPr lang="en-US" altLang="en-US" sz="2000" b="1" dirty="0"/>
              <a:t>Locations</a:t>
            </a:r>
          </a:p>
          <a:p>
            <a:pPr eaLnBrk="1"/>
            <a:r>
              <a:rPr lang="en-US" altLang="en-US" sz="2000" dirty="0"/>
              <a:t>We started on Russia</a:t>
            </a:r>
          </a:p>
          <a:p>
            <a:pPr eaLnBrk="1"/>
            <a:r>
              <a:rPr lang="en-US" altLang="en-US" sz="2000" dirty="0"/>
              <a:t>Then we continued in US</a:t>
            </a:r>
          </a:p>
          <a:p>
            <a:pPr eaLnBrk="1"/>
            <a:r>
              <a:rPr lang="en-US" altLang="en-US" sz="2000" dirty="0"/>
              <a:t>Then UK</a:t>
            </a:r>
          </a:p>
          <a:p>
            <a:pPr eaLnBrk="1"/>
            <a:r>
              <a:rPr lang="en-US" altLang="en-US" sz="2000" dirty="0"/>
              <a:t>Then Ukraine</a:t>
            </a:r>
          </a:p>
          <a:p>
            <a:pPr eaLnBrk="1"/>
            <a:r>
              <a:rPr lang="en-US" altLang="en-US" sz="2000" dirty="0"/>
              <a:t>Then Switzerland where is our HQ</a:t>
            </a:r>
          </a:p>
          <a:p>
            <a:pPr eaLnBrk="1"/>
            <a:r>
              <a:rPr lang="en-US" altLang="en-US" sz="2000" dirty="0"/>
              <a:t>And this year we can see 7 new locations opened Serbia, Turkey, Egypt, Portugal, Spain, Brazil Argentina </a:t>
            </a:r>
          </a:p>
          <a:p>
            <a:pPr eaLnBrk="1"/>
            <a:r>
              <a:rPr lang="en-US" altLang="en-US" sz="2000" dirty="0"/>
              <a:t>Also worth mentioning is that at the start of 2019, </a:t>
            </a:r>
          </a:p>
          <a:p>
            <a:pPr eaLnBrk="1"/>
            <a:r>
              <a:rPr lang="en-US" altLang="en-US" sz="2000" dirty="0"/>
              <a:t>We were acquired by DXC and </a:t>
            </a:r>
          </a:p>
          <a:p>
            <a:pPr eaLnBrk="1"/>
            <a:r>
              <a:rPr lang="en-US" altLang="en-US" sz="2000" dirty="0"/>
              <a:t>became a daughter company of DXC </a:t>
            </a:r>
          </a:p>
          <a:p>
            <a:pPr eaLnBrk="1"/>
            <a:r>
              <a:rPr lang="en-US" altLang="en-US" sz="2000" dirty="0"/>
              <a:t>however, Luxoft still operates with its name, identity, and own cultur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75069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DDFA6EAA-CE61-4754-A534-884FE32D21DB}" type="slidenum">
              <a:rPr kumimoji="0" lang="en-US" sz="144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t>6</a:t>
            </a:fld>
            <a:endParaRPr kumimoji="0" lang="en-US" sz="144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 panose="020B0606030504020204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7252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DDFA6EAA-CE61-4754-A534-884FE32D21DB}" type="slidenum">
              <a:rPr kumimoji="0" lang="en-US" sz="144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t>7</a:t>
            </a:fld>
            <a:endParaRPr kumimoji="0" lang="en-US" sz="144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 panose="020B0606030504020204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08985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pPr marL="0" marR="0" lvl="0" indent="0" algn="r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DDFA6EAA-CE61-4754-A534-884FE32D21DB}" type="slidenum">
              <a:rPr kumimoji="0" lang="en-US" sz="1728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cs typeface="Arial" pitchFamily="34" charset="0"/>
              </a:rPr>
              <a:pPr marL="0" marR="0" lvl="0" indent="0" algn="r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t>8</a:t>
            </a:fld>
            <a:endParaRPr kumimoji="0" lang="en-US" sz="172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 panose="020B0606030504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83328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56E740-0364-CE71-8C0B-C322AB677F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A360E7CA-912B-1EF8-3848-41847D7AFC2B}"/>
              </a:ext>
            </a:extLst>
          </p:cNvPr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C570395B-5DAB-A28A-F3D7-E37B4F84E4AE}"/>
              </a:ext>
            </a:extLst>
          </p:cNvPr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8B5C716-14CD-559A-54D8-E8C1037F3870}"/>
              </a:ext>
            </a:extLst>
          </p:cNvPr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pPr defTabSz="722376">
              <a:spcBef>
                <a:spcPct val="0"/>
              </a:spcBef>
              <a:spcAft>
                <a:spcPct val="0"/>
              </a:spcAft>
              <a:defRPr/>
            </a:pPr>
            <a:fld id="{E496EADC-A680-4ABC-A27F-A41A56A81FF0}" type="slidenum">
              <a:rPr lang="en-GB" sz="1100">
                <a:solidFill>
                  <a:prstClr val="black"/>
                </a:solidFill>
                <a:latin typeface="Aptos" panose="02110004020202020204"/>
                <a:cs typeface="+mn-cs"/>
              </a:rPr>
              <a:pPr defTabSz="722376">
                <a:spcBef>
                  <a:spcPct val="0"/>
                </a:spcBef>
                <a:spcAft>
                  <a:spcPct val="0"/>
                </a:spcAft>
                <a:defRPr/>
              </a:pPr>
              <a:t>9</a:t>
            </a:fld>
            <a:endParaRPr lang="en-GB" sz="1100">
              <a:solidFill>
                <a:prstClr val="black"/>
              </a:solidFill>
              <a:latin typeface="Aptos" panose="02110004020202020204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47843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/>
              <a:t>Speaker: Chetan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73690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/>
              <a:t>Speaker: Vanya</a:t>
            </a:r>
            <a:r>
              <a:rPr lang="en-US"/>
              <a:t>. Alteration of %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E8EF2F-F71A-443C-96D9-21CF31EE362C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829049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7CA8EB-691C-03E5-8C5F-F5122D951D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4893B605-F303-D6E2-1BA2-35047B763DE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0F15EAD6-F81C-3BB9-C918-96E86BFC0FC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/>
              <a:t>Speaker: Jaki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5F07966-FF6F-BE0B-0275-7AAB33315BA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E8EF2F-F71A-443C-96D9-21CF31EE362C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86066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6" Type="http://schemas.openxmlformats.org/officeDocument/2006/relationships/tags" Target="../tags/tag26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63" Type="http://schemas.openxmlformats.org/officeDocument/2006/relationships/tags" Target="../tags/tag63.xml"/><Relationship Id="rId68" Type="http://schemas.openxmlformats.org/officeDocument/2006/relationships/image" Target="../media/image12.jpeg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9" Type="http://schemas.openxmlformats.org/officeDocument/2006/relationships/tags" Target="../tags/tag29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66" Type="http://schemas.openxmlformats.org/officeDocument/2006/relationships/tags" Target="../tags/tag66.xml"/><Relationship Id="rId5" Type="http://schemas.openxmlformats.org/officeDocument/2006/relationships/tags" Target="../tags/tag5.xml"/><Relationship Id="rId61" Type="http://schemas.openxmlformats.org/officeDocument/2006/relationships/tags" Target="../tags/tag61.xml"/><Relationship Id="rId19" Type="http://schemas.openxmlformats.org/officeDocument/2006/relationships/tags" Target="../tags/tag1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56" Type="http://schemas.openxmlformats.org/officeDocument/2006/relationships/tags" Target="../tags/tag56.xml"/><Relationship Id="rId64" Type="http://schemas.openxmlformats.org/officeDocument/2006/relationships/tags" Target="../tags/tag64.xml"/><Relationship Id="rId69" Type="http://schemas.openxmlformats.org/officeDocument/2006/relationships/image" Target="../media/image13.png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tags" Target="../tags/tag59.xml"/><Relationship Id="rId67" Type="http://schemas.openxmlformats.org/officeDocument/2006/relationships/slideMaster" Target="../slideMasters/slideMaster1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62" Type="http://schemas.openxmlformats.org/officeDocument/2006/relationships/tags" Target="../tags/tag6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tags" Target="../tags/tag57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34" Type="http://schemas.openxmlformats.org/officeDocument/2006/relationships/tags" Target="../tags/tag34.xml"/><Relationship Id="rId50" Type="http://schemas.openxmlformats.org/officeDocument/2006/relationships/tags" Target="../tags/tag50.xml"/><Relationship Id="rId55" Type="http://schemas.openxmlformats.org/officeDocument/2006/relationships/tags" Target="../tags/tag5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7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eliver Excellenc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hape&#10;&#10;Description automatically generated">
            <a:extLst>
              <a:ext uri="{FF2B5EF4-FFF2-40B4-BE49-F238E27FC236}">
                <a16:creationId xmlns:a16="http://schemas.microsoft.com/office/drawing/2014/main" id="{6B86D8E4-D42C-4BA4-8C3D-EE6E0354EA3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777" y="0"/>
            <a:ext cx="14626846" cy="8229600"/>
          </a:xfrm>
          <a:prstGeom prst="rect">
            <a:avLst/>
          </a:prstGeom>
        </p:spPr>
      </p:pic>
      <p:grpSp>
        <p:nvGrpSpPr>
          <p:cNvPr id="9" name="Group 8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0" name="Straight Connector 9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6" name="Graphic 45">
            <a:extLst>
              <a:ext uri="{FF2B5EF4-FFF2-40B4-BE49-F238E27FC236}">
                <a16:creationId xmlns:a16="http://schemas.microsoft.com/office/drawing/2014/main" id="{D07C659E-3F10-46E2-9676-61137FD9384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88975" y="685801"/>
            <a:ext cx="1430092" cy="781050"/>
          </a:xfrm>
          <a:prstGeom prst="rect">
            <a:avLst/>
          </a:prstGeom>
        </p:spPr>
      </p:pic>
      <p:sp>
        <p:nvSpPr>
          <p:cNvPr id="47" name="Title 1">
            <a:extLst>
              <a:ext uri="{FF2B5EF4-FFF2-40B4-BE49-F238E27FC236}">
                <a16:creationId xmlns:a16="http://schemas.microsoft.com/office/drawing/2014/main" id="{0131F459-E553-4CE6-92F0-91E2F09BA9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68401" y="2781300"/>
            <a:ext cx="4858326" cy="2545080"/>
          </a:xfrm>
        </p:spPr>
        <p:txBody>
          <a:bodyPr anchor="ctr" anchorCtr="0">
            <a:no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8" name="Subtitle 2">
            <a:extLst>
              <a:ext uri="{FF2B5EF4-FFF2-40B4-BE49-F238E27FC236}">
                <a16:creationId xmlns:a16="http://schemas.microsoft.com/office/drawing/2014/main" id="{00FE735E-E3CF-4086-AF37-051864E157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68401" y="5494020"/>
            <a:ext cx="4858326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699D14CA-575C-EA7D-BE23-67723D5954E2}"/>
              </a:ext>
            </a:extLst>
          </p:cNvPr>
          <p:cNvSpPr txBox="1">
            <a:spLocks/>
          </p:cNvSpPr>
          <p:nvPr userDrawn="1"/>
        </p:nvSpPr>
        <p:spPr>
          <a:xfrm>
            <a:off x="685779" y="7631841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100" dirty="0">
                <a:solidFill>
                  <a:schemeClr val="tx1"/>
                </a:solidFill>
              </a:rPr>
              <a:t>© </a:t>
            </a:r>
            <a:fld id="{1C50FC3A-183C-4C20-B5A6-510A748E07ED}" type="datetimeyyyy">
              <a:rPr lang="en-US" sz="1100" smtClean="0">
                <a:solidFill>
                  <a:schemeClr val="tx1"/>
                </a:solidFill>
              </a:rPr>
              <a:t>2026</a:t>
            </a:fld>
            <a:r>
              <a:rPr lang="en-US" sz="1100" dirty="0">
                <a:solidFill>
                  <a:schemeClr val="tx1"/>
                </a:solidFill>
              </a:rPr>
              <a:t> DXC Technology Company. All rights reserved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EDC14C5-6F6B-9463-B1A8-DD5C5DA635CE}"/>
              </a:ext>
            </a:extLst>
          </p:cNvPr>
          <p:cNvSpPr txBox="1"/>
          <p:nvPr userDrawn="1"/>
        </p:nvSpPr>
        <p:spPr>
          <a:xfrm>
            <a:off x="688975" y="7947684"/>
            <a:ext cx="2354579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/>
            <a:r>
              <a:rPr lang="en-US" sz="800" b="1" dirty="0"/>
              <a:t>DXC Internal</a:t>
            </a:r>
          </a:p>
        </p:txBody>
      </p:sp>
    </p:spTree>
    <p:extLst>
      <p:ext uri="{BB962C8B-B14F-4D97-AF65-F5344CB8AC3E}">
        <p14:creationId xmlns:p14="http://schemas.microsoft.com/office/powerpoint/2010/main" val="3151270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w/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799" y="639763"/>
            <a:ext cx="10660075" cy="141763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4pPr marL="457200" indent="-228600">
              <a:buFont typeface="Arial" pitchFamily="34" charset="0"/>
              <a:buChar char="–"/>
              <a:defRPr/>
            </a:lvl4pPr>
            <a:lvl5pPr marL="685800" indent="-228600">
              <a:buFont typeface="Arial" pitchFamily="34" charset="0"/>
              <a:buChar char="–"/>
              <a:defRPr/>
            </a:lvl5pPr>
            <a:lvl6pPr marL="914400" indent="-228600">
              <a:buFont typeface="Arial" pitchFamily="34" charset="0"/>
              <a:buChar char="–"/>
              <a:defRPr baseline="0"/>
            </a:lvl6pPr>
            <a:lvl7pPr marL="1143000" indent="-228600">
              <a:buFont typeface="Arial" pitchFamily="34" charset="0"/>
              <a:buChar char="–"/>
              <a:defRPr baseline="0"/>
            </a:lvl7pPr>
            <a:lvl8pPr marL="1371600" indent="-228600">
              <a:buFont typeface="Arial" pitchFamily="34" charset="0"/>
              <a:buChar char="–"/>
              <a:defRPr baseline="0"/>
            </a:lvl8pPr>
            <a:lvl9pPr marL="1600200" indent="-228600"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Rectangle: Single Corner Rounded 3">
            <a:extLst>
              <a:ext uri="{FF2B5EF4-FFF2-40B4-BE49-F238E27FC236}">
                <a16:creationId xmlns:a16="http://schemas.microsoft.com/office/drawing/2014/main" id="{91994B2C-2165-46A4-99A0-7921C65A1197}"/>
              </a:ext>
            </a:extLst>
          </p:cNvPr>
          <p:cNvSpPr/>
          <p:nvPr userDrawn="1"/>
        </p:nvSpPr>
        <p:spPr>
          <a:xfrm rot="10800000">
            <a:off x="11477625" y="-3"/>
            <a:ext cx="3152768" cy="776048"/>
          </a:xfrm>
          <a:prstGeom prst="round1Rect">
            <a:avLst>
              <a:gd name="adj" fmla="val 39716"/>
            </a:avLst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A72A6A47-BB63-437D-9497-6B68158905D8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11715750" y="1"/>
            <a:ext cx="2601384" cy="776046"/>
          </a:xfrm>
        </p:spPr>
        <p:txBody>
          <a:bodyPr anchor="ctr" anchorCtr="0">
            <a:norm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 marL="457200" indent="-228600">
              <a:buFont typeface="Arial" pitchFamily="34" charset="0"/>
              <a:buChar char="–"/>
              <a:defRPr sz="1400"/>
            </a:lvl4pPr>
            <a:lvl5pPr marL="685800" indent="-228600">
              <a:buFont typeface="Arial" pitchFamily="34" charset="0"/>
              <a:buChar char="–"/>
              <a:defRPr sz="1400"/>
            </a:lvl5pPr>
            <a:lvl6pPr marL="914400" indent="-228600">
              <a:buFont typeface="Arial" pitchFamily="34" charset="0"/>
              <a:buChar char="–"/>
              <a:defRPr baseline="0"/>
            </a:lvl6pPr>
            <a:lvl7pPr marL="1143000" indent="-228600">
              <a:buFont typeface="Arial" pitchFamily="34" charset="0"/>
              <a:buChar char="–"/>
              <a:defRPr baseline="0"/>
            </a:lvl7pPr>
            <a:lvl8pPr marL="1371600" indent="-228600">
              <a:buFont typeface="Arial" pitchFamily="34" charset="0"/>
              <a:buChar char="–"/>
              <a:defRPr baseline="0"/>
            </a:lvl8pPr>
            <a:lvl9pPr marL="1600200" indent="-228600"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ext styles</a:t>
            </a:r>
          </a:p>
        </p:txBody>
      </p:sp>
    </p:spTree>
    <p:extLst>
      <p:ext uri="{BB962C8B-B14F-4D97-AF65-F5344CB8AC3E}">
        <p14:creationId xmlns:p14="http://schemas.microsoft.com/office/powerpoint/2010/main" val="1556754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600" indent="-228600">
              <a:buFont typeface="Arial" pitchFamily="34" charset="0"/>
              <a:buChar char="•"/>
              <a:defRPr b="0"/>
            </a:lvl1pPr>
            <a:lvl2pPr marL="457200" indent="-228600">
              <a:spcBef>
                <a:spcPts val="600"/>
              </a:spcBef>
              <a:buFont typeface="Arial" pitchFamily="34" charset="0"/>
              <a:buChar char="–"/>
              <a:defRPr b="0"/>
            </a:lvl2pPr>
            <a:lvl3pPr marL="685800" indent="-228600">
              <a:spcBef>
                <a:spcPts val="600"/>
              </a:spcBef>
              <a:buFont typeface="Arial" pitchFamily="34" charset="0"/>
              <a:buChar char="–"/>
              <a:defRPr b="0"/>
            </a:lvl3pPr>
            <a:lvl4pPr marL="914400" indent="-228600">
              <a:spcBef>
                <a:spcPts val="600"/>
              </a:spcBef>
              <a:buFont typeface="Arial" pitchFamily="34" charset="0"/>
              <a:buChar char="–"/>
              <a:defRPr b="0"/>
            </a:lvl4pPr>
            <a:lvl5pPr marL="1143000" indent="-228600">
              <a:spcBef>
                <a:spcPts val="600"/>
              </a:spcBef>
              <a:buFont typeface="Arial" pitchFamily="34" charset="0"/>
              <a:buChar char="–"/>
              <a:defRPr b="0"/>
            </a:lvl5pPr>
            <a:lvl6pPr marL="1371600" indent="-228600">
              <a:spcBef>
                <a:spcPts val="600"/>
              </a:spcBef>
              <a:buFont typeface="Arial" pitchFamily="34" charset="0"/>
              <a:buChar char="–"/>
              <a:defRPr baseline="0"/>
            </a:lvl6pPr>
            <a:lvl7pPr marL="1600200" indent="-228600">
              <a:spcBef>
                <a:spcPts val="600"/>
              </a:spcBef>
              <a:buFont typeface="Arial" pitchFamily="34" charset="0"/>
              <a:buChar char="–"/>
              <a:defRPr baseline="0"/>
            </a:lvl7pPr>
            <a:lvl8pPr marL="1828800" indent="-228600">
              <a:spcBef>
                <a:spcPts val="600"/>
              </a:spcBef>
              <a:buFont typeface="Arial" pitchFamily="34" charset="0"/>
              <a:buChar char="–"/>
              <a:defRPr baseline="0"/>
            </a:lvl8pPr>
            <a:lvl9pPr marL="2057400" indent="-228600">
              <a:spcBef>
                <a:spcPts val="600"/>
              </a:spcBef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057399"/>
            <a:ext cx="6400800" cy="5121276"/>
          </a:xfrm>
          <a:noFill/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 marL="457200" indent="-228600">
              <a:buFont typeface="Arial" pitchFamily="34" charset="0"/>
              <a:buChar char="–"/>
              <a:defRPr sz="2000"/>
            </a:lvl4pPr>
            <a:lvl5pPr marL="685800" indent="-228600">
              <a:buFont typeface="Arial" pitchFamily="34" charset="0"/>
              <a:buChar char="–"/>
              <a:defRPr sz="2000"/>
            </a:lvl5pPr>
            <a:lvl6pPr marL="914400" indent="-228600">
              <a:buFont typeface="Arial" pitchFamily="34" charset="0"/>
              <a:buChar char="–"/>
              <a:defRPr sz="2000" baseline="0"/>
            </a:lvl6pPr>
            <a:lvl7pPr marL="1143000" indent="-228600">
              <a:buFont typeface="Arial" pitchFamily="34" charset="0"/>
              <a:buChar char="–"/>
              <a:defRPr sz="2000" baseline="0"/>
            </a:lvl7pPr>
            <a:lvl8pPr marL="1371600" indent="-228600">
              <a:buFont typeface="Arial" pitchFamily="34" charset="0"/>
              <a:buChar char="–"/>
              <a:defRPr sz="2000" baseline="0"/>
            </a:lvl8pPr>
            <a:lvl9pPr marL="1600200" indent="-228600">
              <a:buFont typeface="Arial" pitchFamily="34" charset="0"/>
              <a:buChar char="–"/>
              <a:defRPr sz="2000"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43800" y="2057398"/>
            <a:ext cx="6400800" cy="512127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3453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57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3"/>
          <p:cNvSpPr>
            <a:spLocks noGrp="1"/>
          </p:cNvSpPr>
          <p:nvPr>
            <p:ph sz="half" idx="13"/>
          </p:nvPr>
        </p:nvSpPr>
        <p:spPr>
          <a:xfrm>
            <a:off x="9829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4742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4" name="Straight Connector 13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7315200" y="0"/>
            <a:ext cx="7315200" cy="8229600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6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5800" y="639763"/>
            <a:ext cx="6400800" cy="14176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/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>
          <a:xfrm>
            <a:off x="685800" y="2057398"/>
            <a:ext cx="6400800" cy="5121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4" name="Graphic 43">
            <a:extLst>
              <a:ext uri="{FF2B5EF4-FFF2-40B4-BE49-F238E27FC236}">
                <a16:creationId xmlns:a16="http://schemas.microsoft.com/office/drawing/2014/main" id="{C091593C-4446-42A7-AA75-762280E3CD0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5800" y="7580437"/>
            <a:ext cx="2286000" cy="259238"/>
          </a:xfrm>
          <a:prstGeom prst="rect">
            <a:avLst/>
          </a:prstGeom>
        </p:spPr>
      </p:pic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22E539CF-BB89-9CFA-7450-C2FA97C11654}"/>
              </a:ext>
            </a:extLst>
          </p:cNvPr>
          <p:cNvSpPr txBox="1">
            <a:spLocks/>
          </p:cNvSpPr>
          <p:nvPr userDrawn="1"/>
        </p:nvSpPr>
        <p:spPr>
          <a:xfrm>
            <a:off x="3398520" y="7580439"/>
            <a:ext cx="368808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tabLst/>
            </a:pPr>
            <a:r>
              <a:rPr lang="en-US" sz="1100" dirty="0"/>
              <a:t>© </a:t>
            </a:r>
            <a:fld id="{F0F03FDE-796C-4CED-8A2E-524BCF9DE0E5}" type="datetimeyyyy">
              <a:rPr lang="en-US" sz="1100" smtClean="0"/>
              <a:t>2026</a:t>
            </a:fld>
            <a:r>
              <a:rPr lang="en-US" sz="1100" dirty="0"/>
              <a:t> DXC Technology Company. All rights reserved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E582E9E-E0DC-215D-B4CB-8608A98E514C}"/>
              </a:ext>
            </a:extLst>
          </p:cNvPr>
          <p:cNvSpPr txBox="1"/>
          <p:nvPr userDrawn="1"/>
        </p:nvSpPr>
        <p:spPr>
          <a:xfrm>
            <a:off x="4709160" y="7868126"/>
            <a:ext cx="2354579" cy="215444"/>
          </a:xfrm>
          <a:prstGeom prst="rect">
            <a:avLst/>
          </a:prstGeom>
          <a:noFill/>
        </p:spPr>
        <p:txBody>
          <a:bodyPr wrap="square" rIns="0">
            <a:spAutoFit/>
          </a:bodyPr>
          <a:lstStyle/>
          <a:p>
            <a:pPr algn="r"/>
            <a:r>
              <a:rPr lang="en-US" sz="800" b="1" dirty="0"/>
              <a:t>DXC Internal</a:t>
            </a:r>
          </a:p>
        </p:txBody>
      </p:sp>
    </p:spTree>
    <p:extLst>
      <p:ext uri="{BB962C8B-B14F-4D97-AF65-F5344CB8AC3E}">
        <p14:creationId xmlns:p14="http://schemas.microsoft.com/office/powerpoint/2010/main" val="1015786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685800" y="2057399"/>
            <a:ext cx="11201400" cy="5121275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defRPr sz="5400">
                <a:solidFill>
                  <a:schemeClr val="accent1"/>
                </a:solidFill>
              </a:defRPr>
            </a:lvl1pPr>
            <a:lvl2pPr marL="0" indent="0">
              <a:spcBef>
                <a:spcPts val="900"/>
              </a:spcBef>
              <a:buFontTx/>
              <a:buNone/>
              <a:defRPr/>
            </a:lvl2pPr>
            <a:lvl3pPr marL="0" indent="0">
              <a:spcBef>
                <a:spcPts val="900"/>
              </a:spcBef>
              <a:buFontTx/>
              <a:buNone/>
              <a:defRPr/>
            </a:lvl3pPr>
            <a:lvl4pPr marL="0" indent="0">
              <a:spcBef>
                <a:spcPts val="900"/>
              </a:spcBef>
              <a:buFontTx/>
              <a:buNone/>
              <a:defRPr/>
            </a:lvl4pPr>
            <a:lvl5pPr marL="0" indent="0">
              <a:spcBef>
                <a:spcPts val="900"/>
              </a:spcBef>
              <a:buFontTx/>
              <a:buNone/>
              <a:defRPr/>
            </a:lvl5pPr>
            <a:lvl6pPr marL="0" indent="0">
              <a:spcBef>
                <a:spcPts val="900"/>
              </a:spcBef>
              <a:buFontTx/>
              <a:buNone/>
              <a:defRPr baseline="0"/>
            </a:lvl6pPr>
            <a:lvl7pPr marL="0" indent="0">
              <a:spcBef>
                <a:spcPts val="900"/>
              </a:spcBef>
              <a:buFontTx/>
              <a:buNone/>
              <a:defRPr baseline="0"/>
            </a:lvl7pPr>
            <a:lvl8pPr marL="0" indent="0">
              <a:spcBef>
                <a:spcPts val="900"/>
              </a:spcBef>
              <a:buFontTx/>
              <a:buNone/>
              <a:defRPr baseline="0"/>
            </a:lvl8pPr>
            <a:lvl9pPr marL="0" indent="0">
              <a:spcBef>
                <a:spcPts val="900"/>
              </a:spcBef>
              <a:buFontTx/>
              <a:buNone/>
              <a:defRPr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February 3, 2026</a:t>
            </a:fld>
            <a:endParaRPr lang="en-US" sz="1100" b="0" dirty="0">
              <a:solidFill>
                <a:schemeClr val="bg1"/>
              </a:solidFill>
            </a:endParaRPr>
          </a:p>
        </p:txBody>
      </p:sp>
      <p:sp>
        <p:nvSpPr>
          <p:cNvPr id="16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pic>
        <p:nvPicPr>
          <p:cNvPr id="45" name="Graphic 44">
            <a:extLst>
              <a:ext uri="{FF2B5EF4-FFF2-40B4-BE49-F238E27FC236}">
                <a16:creationId xmlns:a16="http://schemas.microsoft.com/office/drawing/2014/main" id="{DE47D048-F78A-4D25-83CC-A1FB3F93EB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5800" y="7561481"/>
            <a:ext cx="2468880" cy="279976"/>
          </a:xfrm>
          <a:prstGeom prst="rect">
            <a:avLst/>
          </a:prstGeom>
        </p:spPr>
      </p:pic>
      <p:sp>
        <p:nvSpPr>
          <p:cNvPr id="47" name="Text Box 115">
            <a:extLst>
              <a:ext uri="{FF2B5EF4-FFF2-40B4-BE49-F238E27FC236}">
                <a16:creationId xmlns:a16="http://schemas.microsoft.com/office/drawing/2014/main" id="{B207E4D1-23C4-49FF-8260-AC6970B95FC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pic>
        <p:nvPicPr>
          <p:cNvPr id="52" name="Graphic 51">
            <a:extLst>
              <a:ext uri="{FF2B5EF4-FFF2-40B4-BE49-F238E27FC236}">
                <a16:creationId xmlns:a16="http://schemas.microsoft.com/office/drawing/2014/main" id="{925DB904-DAE2-4F1E-A174-E29E8F75117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85800" y="7580437"/>
            <a:ext cx="2286000" cy="259238"/>
          </a:xfrm>
          <a:prstGeom prst="rect">
            <a:avLst/>
          </a:prstGeom>
        </p:spPr>
      </p:pic>
      <p:sp>
        <p:nvSpPr>
          <p:cNvPr id="56" name="Rectangle: Single Corner Rounded 55">
            <a:extLst>
              <a:ext uri="{FF2B5EF4-FFF2-40B4-BE49-F238E27FC236}">
                <a16:creationId xmlns:a16="http://schemas.microsoft.com/office/drawing/2014/main" id="{106C60A4-E521-4756-B4C4-7D4CE00E4F0A}"/>
              </a:ext>
            </a:extLst>
          </p:cNvPr>
          <p:cNvSpPr/>
          <p:nvPr userDrawn="1"/>
        </p:nvSpPr>
        <p:spPr>
          <a:xfrm>
            <a:off x="695325" y="2057398"/>
            <a:ext cx="11201400" cy="3200400"/>
          </a:xfrm>
          <a:prstGeom prst="round1Rect">
            <a:avLst>
              <a:gd name="adj" fmla="val 24915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7" name="Title 1">
            <a:extLst>
              <a:ext uri="{FF2B5EF4-FFF2-40B4-BE49-F238E27FC236}">
                <a16:creationId xmlns:a16="http://schemas.microsoft.com/office/drawing/2014/main" id="{083C3818-4368-434E-9D55-569CC18CE4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68400" y="2057400"/>
            <a:ext cx="9931400" cy="3200400"/>
          </a:xfrm>
        </p:spPr>
        <p:txBody>
          <a:bodyPr anchor="ctr" anchorCtr="0">
            <a:noAutofit/>
          </a:bodyPr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Subtitle 2">
            <a:extLst>
              <a:ext uri="{FF2B5EF4-FFF2-40B4-BE49-F238E27FC236}">
                <a16:creationId xmlns:a16="http://schemas.microsoft.com/office/drawing/2014/main" id="{A99EC16D-6BC6-4571-A314-8BE9BEF6FD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68400" y="5686106"/>
            <a:ext cx="9931399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rgbClr val="63666F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2E895AC-FD91-6796-E415-E379113518A8}"/>
              </a:ext>
            </a:extLst>
          </p:cNvPr>
          <p:cNvSpPr txBox="1"/>
          <p:nvPr userDrawn="1"/>
        </p:nvSpPr>
        <p:spPr>
          <a:xfrm>
            <a:off x="6137910" y="7868126"/>
            <a:ext cx="2354579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800" b="1" dirty="0"/>
              <a:t>DXC Internal</a:t>
            </a: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2D32F9C5-294A-36D8-523F-F0DB5B550F85}"/>
              </a:ext>
            </a:extLst>
          </p:cNvPr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© </a:t>
            </a:r>
            <a:fld id="{C0650B53-F5B1-403A-BD70-58B7AE2589AD}" type="datetimeyyyy">
              <a:rPr lang="en-US" sz="1100" smtClean="0"/>
              <a:t>2026</a:t>
            </a:fld>
            <a:r>
              <a:rPr lang="en-US" sz="1100" dirty="0"/>
              <a:t> DXC Technology Compan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087246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2" name="Rectangle: Single Corner Rounded 51">
            <a:extLst>
              <a:ext uri="{FF2B5EF4-FFF2-40B4-BE49-F238E27FC236}">
                <a16:creationId xmlns:a16="http://schemas.microsoft.com/office/drawing/2014/main" id="{16D803CF-5C46-4998-BEA0-760D4BDFAA5E}"/>
              </a:ext>
            </a:extLst>
          </p:cNvPr>
          <p:cNvSpPr/>
          <p:nvPr userDrawn="1"/>
        </p:nvSpPr>
        <p:spPr>
          <a:xfrm>
            <a:off x="685800" y="639764"/>
            <a:ext cx="8314499" cy="6538910"/>
          </a:xfrm>
          <a:prstGeom prst="round1Rect">
            <a:avLst>
              <a:gd name="adj" fmla="val 17070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8" name="Title 1">
            <a:extLst>
              <a:ext uri="{FF2B5EF4-FFF2-40B4-BE49-F238E27FC236}">
                <a16:creationId xmlns:a16="http://schemas.microsoft.com/office/drawing/2014/main" id="{B8034992-7FB5-4D10-85B6-A1E0AA858F1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14985" y="2117489"/>
            <a:ext cx="7217229" cy="2545080"/>
          </a:xfrm>
        </p:spPr>
        <p:txBody>
          <a:bodyPr anchor="ctr" anchorCtr="0">
            <a:noAutofit/>
          </a:bodyPr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9" name="Subtitle 2">
            <a:extLst>
              <a:ext uri="{FF2B5EF4-FFF2-40B4-BE49-F238E27FC236}">
                <a16:creationId xmlns:a16="http://schemas.microsoft.com/office/drawing/2014/main" id="{95862D04-C327-4882-82FB-72E8CCD130B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14985" y="4830209"/>
            <a:ext cx="7217229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6" name="Text Box 115">
            <a:extLst>
              <a:ext uri="{FF2B5EF4-FFF2-40B4-BE49-F238E27FC236}">
                <a16:creationId xmlns:a16="http://schemas.microsoft.com/office/drawing/2014/main" id="{B7410DDF-33B2-4E49-9D88-0AEC09F35B0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February 3, 2026</a:t>
            </a:fld>
            <a:endParaRPr lang="en-US" sz="1100" b="0" dirty="0">
              <a:solidFill>
                <a:schemeClr val="bg1"/>
              </a:solidFill>
            </a:endParaRPr>
          </a:p>
        </p:txBody>
      </p:sp>
      <p:sp>
        <p:nvSpPr>
          <p:cNvPr id="50" name="Text Box 115">
            <a:extLst>
              <a:ext uri="{FF2B5EF4-FFF2-40B4-BE49-F238E27FC236}">
                <a16:creationId xmlns:a16="http://schemas.microsoft.com/office/drawing/2014/main" id="{56CCFE87-E52F-4030-93DB-4F8A10CB8AF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pic>
        <p:nvPicPr>
          <p:cNvPr id="53" name="Graphic 52">
            <a:extLst>
              <a:ext uri="{FF2B5EF4-FFF2-40B4-BE49-F238E27FC236}">
                <a16:creationId xmlns:a16="http://schemas.microsoft.com/office/drawing/2014/main" id="{082CA323-F067-4A36-86B4-C9C89385A40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5800" y="7561481"/>
            <a:ext cx="2468880" cy="279976"/>
          </a:xfrm>
          <a:prstGeom prst="rect">
            <a:avLst/>
          </a:prstGeom>
        </p:spPr>
      </p:pic>
      <p:sp>
        <p:nvSpPr>
          <p:cNvPr id="55" name="Text Box 115">
            <a:extLst>
              <a:ext uri="{FF2B5EF4-FFF2-40B4-BE49-F238E27FC236}">
                <a16:creationId xmlns:a16="http://schemas.microsoft.com/office/drawing/2014/main" id="{95D42EA8-C373-4F2E-A7AA-89495E86AEA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pic>
        <p:nvPicPr>
          <p:cNvPr id="57" name="Graphic 56">
            <a:extLst>
              <a:ext uri="{FF2B5EF4-FFF2-40B4-BE49-F238E27FC236}">
                <a16:creationId xmlns:a16="http://schemas.microsoft.com/office/drawing/2014/main" id="{329D370C-B3C9-49CC-A16E-95762D2349B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85800" y="7580437"/>
            <a:ext cx="2286000" cy="25923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94508AD-91E3-175B-B8B1-AAF635213BCC}"/>
              </a:ext>
            </a:extLst>
          </p:cNvPr>
          <p:cNvSpPr txBox="1"/>
          <p:nvPr userDrawn="1"/>
        </p:nvSpPr>
        <p:spPr>
          <a:xfrm>
            <a:off x="6137910" y="7868126"/>
            <a:ext cx="2354579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800" b="1" dirty="0"/>
              <a:t>DXC Internal</a:t>
            </a: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B732A361-630E-4E1C-5468-3CF87B532CD2}"/>
              </a:ext>
            </a:extLst>
          </p:cNvPr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© </a:t>
            </a:r>
            <a:fld id="{C0650B53-F5B1-403A-BD70-58B7AE2589AD}" type="datetimeyyyy">
              <a:rPr lang="en-US" sz="1100" smtClean="0"/>
              <a:t>2026</a:t>
            </a:fld>
            <a:r>
              <a:rPr lang="en-US" sz="1100" dirty="0"/>
              <a:t> DXC Technology Compan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22168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February 3, 2026</a:t>
            </a:fld>
            <a:endParaRPr lang="en-US" sz="1100" b="0" dirty="0">
              <a:solidFill>
                <a:schemeClr val="bg1"/>
              </a:solidFill>
            </a:endParaRPr>
          </a:p>
        </p:txBody>
      </p:sp>
      <p:sp>
        <p:nvSpPr>
          <p:cNvPr id="16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pic>
        <p:nvPicPr>
          <p:cNvPr id="45" name="Graphic 44">
            <a:extLst>
              <a:ext uri="{FF2B5EF4-FFF2-40B4-BE49-F238E27FC236}">
                <a16:creationId xmlns:a16="http://schemas.microsoft.com/office/drawing/2014/main" id="{DE47D048-F78A-4D25-83CC-A1FB3F93EB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5800" y="7561481"/>
            <a:ext cx="2468880" cy="279976"/>
          </a:xfrm>
          <a:prstGeom prst="rect">
            <a:avLst/>
          </a:prstGeom>
        </p:spPr>
      </p:pic>
      <p:sp>
        <p:nvSpPr>
          <p:cNvPr id="47" name="Text Box 115">
            <a:extLst>
              <a:ext uri="{FF2B5EF4-FFF2-40B4-BE49-F238E27FC236}">
                <a16:creationId xmlns:a16="http://schemas.microsoft.com/office/drawing/2014/main" id="{B207E4D1-23C4-49FF-8260-AC6970B95FC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pic>
        <p:nvPicPr>
          <p:cNvPr id="52" name="Graphic 51">
            <a:extLst>
              <a:ext uri="{FF2B5EF4-FFF2-40B4-BE49-F238E27FC236}">
                <a16:creationId xmlns:a16="http://schemas.microsoft.com/office/drawing/2014/main" id="{925DB904-DAE2-4F1E-A174-E29E8F75117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85800" y="7580437"/>
            <a:ext cx="2286000" cy="259238"/>
          </a:xfrm>
          <a:prstGeom prst="rect">
            <a:avLst/>
          </a:prstGeom>
        </p:spPr>
      </p:pic>
      <p:sp>
        <p:nvSpPr>
          <p:cNvPr id="57" name="Title 1">
            <a:extLst>
              <a:ext uri="{FF2B5EF4-FFF2-40B4-BE49-F238E27FC236}">
                <a16:creationId xmlns:a16="http://schemas.microsoft.com/office/drawing/2014/main" id="{083C3818-4368-434E-9D55-569CC18CE4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5800" y="2242164"/>
            <a:ext cx="10414000" cy="2229067"/>
          </a:xfrm>
        </p:spPr>
        <p:txBody>
          <a:bodyPr anchor="ctr" anchorCtr="0">
            <a:noAutofit/>
          </a:bodyPr>
          <a:lstStyle>
            <a:lvl1pPr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Subtitle 2">
            <a:extLst>
              <a:ext uri="{FF2B5EF4-FFF2-40B4-BE49-F238E27FC236}">
                <a16:creationId xmlns:a16="http://schemas.microsoft.com/office/drawing/2014/main" id="{A99EC16D-6BC6-4571-A314-8BE9BEF6FD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5800" y="4620877"/>
            <a:ext cx="10413999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rgbClr val="63666F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AAE790F-24C5-5E49-0259-CC5B085B4498}"/>
              </a:ext>
            </a:extLst>
          </p:cNvPr>
          <p:cNvSpPr txBox="1"/>
          <p:nvPr userDrawn="1"/>
        </p:nvSpPr>
        <p:spPr>
          <a:xfrm>
            <a:off x="6137910" y="7868126"/>
            <a:ext cx="2354579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800" b="1" dirty="0"/>
              <a:t>DXC Internal</a:t>
            </a: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4C161121-7289-26AD-7FA4-2BDA9D0879CC}"/>
              </a:ext>
            </a:extLst>
          </p:cNvPr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© </a:t>
            </a:r>
            <a:fld id="{C0650B53-F5B1-403A-BD70-58B7AE2589AD}" type="datetimeyyyy">
              <a:rPr lang="en-US" sz="1100" smtClean="0"/>
              <a:t>2026</a:t>
            </a:fld>
            <a:r>
              <a:rPr lang="en-US" sz="1100" dirty="0"/>
              <a:t> DXC Technology Compan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985293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Pictur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1" name="Straight Connector 10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4630400" cy="8229600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pic>
        <p:nvPicPr>
          <p:cNvPr id="44" name="Graphic 43">
            <a:extLst>
              <a:ext uri="{FF2B5EF4-FFF2-40B4-BE49-F238E27FC236}">
                <a16:creationId xmlns:a16="http://schemas.microsoft.com/office/drawing/2014/main" id="{A2BEF977-E587-4D30-B5BF-3E5AC49DEA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5800" y="7579053"/>
            <a:ext cx="2286000" cy="25923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45D2EF1E-7434-766D-3D76-DF84707B08EE}"/>
              </a:ext>
            </a:extLst>
          </p:cNvPr>
          <p:cNvSpPr txBox="1"/>
          <p:nvPr userDrawn="1"/>
        </p:nvSpPr>
        <p:spPr>
          <a:xfrm>
            <a:off x="6137910" y="7868126"/>
            <a:ext cx="2354579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800" b="1" dirty="0">
                <a:solidFill>
                  <a:schemeClr val="bg1"/>
                </a:solidFill>
              </a:rPr>
              <a:t>DXC Internal</a:t>
            </a: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D1FF8FE1-C385-A895-C0A6-D7B7F720AB93}"/>
              </a:ext>
            </a:extLst>
          </p:cNvPr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© </a:t>
            </a:r>
            <a:fld id="{C0650B53-F5B1-403A-BD70-58B7AE2589AD}" type="datetimeyyyy">
              <a:rPr lang="en-US" sz="1100" smtClean="0">
                <a:solidFill>
                  <a:schemeClr val="bg1"/>
                </a:solidFill>
              </a:rPr>
              <a:t>2026</a:t>
            </a:fld>
            <a:r>
              <a:rPr lang="en-US" sz="1100" dirty="0">
                <a:solidFill>
                  <a:schemeClr val="bg1"/>
                </a:solidFill>
              </a:rPr>
              <a:t> DXC Technology Compan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240162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eliver Excellenc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hape&#10;&#10;Description automatically generated">
            <a:extLst>
              <a:ext uri="{FF2B5EF4-FFF2-40B4-BE49-F238E27FC236}">
                <a16:creationId xmlns:a16="http://schemas.microsoft.com/office/drawing/2014/main" id="{6B86D8E4-D42C-4BA4-8C3D-EE6E0354EA3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777" y="0"/>
            <a:ext cx="14626846" cy="8229600"/>
          </a:xfrm>
          <a:prstGeom prst="rect">
            <a:avLst/>
          </a:prstGeom>
        </p:spPr>
      </p:pic>
      <p:grpSp>
        <p:nvGrpSpPr>
          <p:cNvPr id="9" name="Group 8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0" name="Straight Connector 9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6" name="Graphic 45">
            <a:extLst>
              <a:ext uri="{FF2B5EF4-FFF2-40B4-BE49-F238E27FC236}">
                <a16:creationId xmlns:a16="http://schemas.microsoft.com/office/drawing/2014/main" id="{D07C659E-3F10-46E2-9676-61137FD9384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88975" y="685801"/>
            <a:ext cx="1430092" cy="781050"/>
          </a:xfrm>
          <a:prstGeom prst="rect">
            <a:avLst/>
          </a:prstGeom>
        </p:spPr>
      </p:pic>
      <p:sp>
        <p:nvSpPr>
          <p:cNvPr id="47" name="Title 1">
            <a:extLst>
              <a:ext uri="{FF2B5EF4-FFF2-40B4-BE49-F238E27FC236}">
                <a16:creationId xmlns:a16="http://schemas.microsoft.com/office/drawing/2014/main" id="{0131F459-E553-4CE6-92F0-91E2F09BA9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68401" y="2781300"/>
            <a:ext cx="4858326" cy="2545080"/>
          </a:xfrm>
        </p:spPr>
        <p:txBody>
          <a:bodyPr anchor="ctr" anchorCtr="0">
            <a:no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8" name="Subtitle 2">
            <a:extLst>
              <a:ext uri="{FF2B5EF4-FFF2-40B4-BE49-F238E27FC236}">
                <a16:creationId xmlns:a16="http://schemas.microsoft.com/office/drawing/2014/main" id="{00FE735E-E3CF-4086-AF37-051864E157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68401" y="5494020"/>
            <a:ext cx="4858326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699D14CA-575C-EA7D-BE23-67723D5954E2}"/>
              </a:ext>
            </a:extLst>
          </p:cNvPr>
          <p:cNvSpPr txBox="1">
            <a:spLocks/>
          </p:cNvSpPr>
          <p:nvPr userDrawn="1"/>
        </p:nvSpPr>
        <p:spPr>
          <a:xfrm>
            <a:off x="685779" y="7631841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100" dirty="0">
                <a:solidFill>
                  <a:schemeClr val="tx1"/>
                </a:solidFill>
              </a:rPr>
              <a:t>© </a:t>
            </a:r>
            <a:fld id="{1C50FC3A-183C-4C20-B5A6-510A748E07ED}" type="datetimeyyyy">
              <a:rPr lang="en-US" sz="1100" smtClean="0">
                <a:solidFill>
                  <a:schemeClr val="tx1"/>
                </a:solidFill>
              </a:rPr>
              <a:t>2026</a:t>
            </a:fld>
            <a:r>
              <a:rPr lang="en-US" sz="1100" dirty="0">
                <a:solidFill>
                  <a:schemeClr val="tx1"/>
                </a:solidFill>
              </a:rPr>
              <a:t> DXC Technology Company. All rights reserved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EDC14C5-6F6B-9463-B1A8-DD5C5DA635CE}"/>
              </a:ext>
            </a:extLst>
          </p:cNvPr>
          <p:cNvSpPr txBox="1"/>
          <p:nvPr userDrawn="1"/>
        </p:nvSpPr>
        <p:spPr>
          <a:xfrm>
            <a:off x="688975" y="7947684"/>
            <a:ext cx="2354579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/>
            <a:r>
              <a:rPr lang="en-US" sz="800" b="1" dirty="0"/>
              <a:t>DXC Internal</a:t>
            </a:r>
          </a:p>
        </p:txBody>
      </p:sp>
    </p:spTree>
    <p:extLst>
      <p:ext uri="{BB962C8B-B14F-4D97-AF65-F5344CB8AC3E}">
        <p14:creationId xmlns:p14="http://schemas.microsoft.com/office/powerpoint/2010/main" val="861467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XC Logo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8" name="Straight Connector 7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" name="Graphic 1">
            <a:extLst>
              <a:ext uri="{FF2B5EF4-FFF2-40B4-BE49-F238E27FC236}">
                <a16:creationId xmlns:a16="http://schemas.microsoft.com/office/drawing/2014/main" id="{204136C3-C0B2-4695-8464-42B084FBEA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09034" y="2856891"/>
            <a:ext cx="4612331" cy="2515817"/>
          </a:xfrm>
          <a:prstGeom prst="rect">
            <a:avLst/>
          </a:prstGeom>
        </p:spPr>
      </p:pic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8F34D9A9-59CB-C05C-24F8-DD60E7E9ADB0}"/>
              </a:ext>
            </a:extLst>
          </p:cNvPr>
          <p:cNvSpPr txBox="1">
            <a:spLocks/>
          </p:cNvSpPr>
          <p:nvPr userDrawn="1"/>
        </p:nvSpPr>
        <p:spPr>
          <a:xfrm>
            <a:off x="10347960" y="7580439"/>
            <a:ext cx="359664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tabLst/>
            </a:pPr>
            <a:r>
              <a:rPr lang="en-US" sz="1100" dirty="0">
                <a:solidFill>
                  <a:schemeClr val="tx1"/>
                </a:solidFill>
              </a:rPr>
              <a:t>© </a:t>
            </a:r>
            <a:fld id="{CF9733AE-80B1-4FDE-8D2E-3D7469571069}" type="datetimeyyyy">
              <a:rPr lang="en-US" sz="1100" smtClean="0">
                <a:solidFill>
                  <a:schemeClr val="tx1"/>
                </a:solidFill>
              </a:rPr>
              <a:t>2026</a:t>
            </a:fld>
            <a:r>
              <a:rPr lang="en-US" sz="1100" dirty="0">
                <a:solidFill>
                  <a:schemeClr val="tx1"/>
                </a:solidFill>
              </a:rPr>
              <a:t> DXC Technology Company. All rights reserved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83690A6-29F2-4FFB-4B4C-10CC900BA5DC}"/>
              </a:ext>
            </a:extLst>
          </p:cNvPr>
          <p:cNvSpPr txBox="1"/>
          <p:nvPr userDrawn="1"/>
        </p:nvSpPr>
        <p:spPr>
          <a:xfrm>
            <a:off x="11576685" y="7868126"/>
            <a:ext cx="2354579" cy="215444"/>
          </a:xfrm>
          <a:prstGeom prst="rect">
            <a:avLst/>
          </a:prstGeom>
          <a:noFill/>
        </p:spPr>
        <p:txBody>
          <a:bodyPr wrap="square" rIns="0">
            <a:spAutoFit/>
          </a:bodyPr>
          <a:lstStyle/>
          <a:p>
            <a:pPr algn="r"/>
            <a:r>
              <a:rPr lang="en-US" sz="800" b="1" dirty="0"/>
              <a:t>DXC Internal</a:t>
            </a:r>
          </a:p>
        </p:txBody>
      </p:sp>
    </p:spTree>
    <p:extLst>
      <p:ext uri="{BB962C8B-B14F-4D97-AF65-F5344CB8AC3E}">
        <p14:creationId xmlns:p14="http://schemas.microsoft.com/office/powerpoint/2010/main" val="1992805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057399"/>
            <a:ext cx="6400800" cy="5121276"/>
          </a:xfrm>
          <a:noFill/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 marL="457182" indent="-228590">
              <a:buFont typeface="Arial" pitchFamily="34" charset="0"/>
              <a:buChar char="–"/>
              <a:defRPr sz="2000"/>
            </a:lvl4pPr>
            <a:lvl5pPr marL="685772" indent="-228590">
              <a:buFont typeface="Arial" pitchFamily="34" charset="0"/>
              <a:buChar char="–"/>
              <a:defRPr sz="2000"/>
            </a:lvl5pPr>
            <a:lvl6pPr marL="914364" indent="-228590">
              <a:buFont typeface="Arial" pitchFamily="34" charset="0"/>
              <a:buChar char="–"/>
              <a:defRPr sz="2000" baseline="0"/>
            </a:lvl6pPr>
            <a:lvl7pPr marL="1142954" indent="-228590">
              <a:buFont typeface="Arial" pitchFamily="34" charset="0"/>
              <a:buChar char="–"/>
              <a:defRPr sz="2000" baseline="0"/>
            </a:lvl7pPr>
            <a:lvl8pPr marL="1371545" indent="-228590">
              <a:buFont typeface="Arial" pitchFamily="34" charset="0"/>
              <a:buChar char="–"/>
              <a:defRPr sz="2000" baseline="0"/>
            </a:lvl8pPr>
            <a:lvl9pPr marL="1600136" indent="-228590">
              <a:buFont typeface="Arial" pitchFamily="34" charset="0"/>
              <a:buChar char="–"/>
              <a:defRPr sz="2000" baseline="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43800" y="2057399"/>
            <a:ext cx="6400800" cy="512127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2863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0_Title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0" name="Picture 79">
            <a:extLst>
              <a:ext uri="{FF2B5EF4-FFF2-40B4-BE49-F238E27FC236}">
                <a16:creationId xmlns:a16="http://schemas.microsoft.com/office/drawing/2014/main" id="{3AA2B4E5-5144-4F4B-903B-6B8641A338A9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68">
            <a:alphaModFix amt="53000"/>
          </a:blip>
          <a:stretch>
            <a:fillRect/>
          </a:stretch>
        </p:blipFill>
        <p:spPr>
          <a:xfrm>
            <a:off x="0" y="7765"/>
            <a:ext cx="14630400" cy="821407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B86D8E4-D42C-4BA4-8C3D-EE6E0354EA3C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36504"/>
            <a:ext cx="14626847" cy="8212074"/>
          </a:xfrm>
          <a:prstGeom prst="rect">
            <a:avLst/>
          </a:prstGeom>
        </p:spPr>
      </p:pic>
      <p:grpSp>
        <p:nvGrpSpPr>
          <p:cNvPr id="9" name="Group 8"/>
          <p:cNvGrpSpPr/>
          <p:nvPr userDrawn="1">
            <p:custDataLst>
              <p:tags r:id="rId3"/>
            </p:custDataLst>
          </p:nvPr>
        </p:nvGrpSpPr>
        <p:grpSpPr>
          <a:xfrm>
            <a:off x="-91439" y="-91440"/>
            <a:ext cx="14813285" cy="8412480"/>
            <a:chOff x="-131674" y="-131674"/>
            <a:chExt cx="21331131" cy="12113971"/>
          </a:xfrm>
        </p:grpSpPr>
        <p:cxnSp>
          <p:nvCxnSpPr>
            <p:cNvPr id="10" name="Straight Connector 9"/>
            <p:cNvCxnSpPr/>
            <p:nvPr userDrawn="1">
              <p:custDataLst>
                <p:tags r:id="rId39"/>
              </p:custDataLst>
            </p:nvPr>
          </p:nvCxnSpPr>
          <p:spPr>
            <a:xfrm>
              <a:off x="-131674" y="921259"/>
              <a:ext cx="65837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>
              <p:custDataLst>
                <p:tags r:id="rId40"/>
              </p:custDataLst>
            </p:nvPr>
          </p:nvCxnSpPr>
          <p:spPr>
            <a:xfrm>
              <a:off x="-131674" y="2962655"/>
              <a:ext cx="65837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>
              <p:custDataLst>
                <p:tags r:id="rId41"/>
              </p:custDataLst>
            </p:nvPr>
          </p:nvCxnSpPr>
          <p:spPr>
            <a:xfrm>
              <a:off x="-131674" y="10337292"/>
              <a:ext cx="65837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>
              <p:custDataLst>
                <p:tags r:id="rId42"/>
              </p:custDataLst>
            </p:nvPr>
          </p:nvCxnSpPr>
          <p:spPr>
            <a:xfrm>
              <a:off x="21133620" y="921259"/>
              <a:ext cx="65837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>
              <p:custDataLst>
                <p:tags r:id="rId43"/>
              </p:custDataLst>
            </p:nvPr>
          </p:nvCxnSpPr>
          <p:spPr>
            <a:xfrm>
              <a:off x="21133620" y="2962655"/>
              <a:ext cx="65837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>
              <p:custDataLst>
                <p:tags r:id="rId44"/>
              </p:custDataLst>
            </p:nvPr>
          </p:nvCxnSpPr>
          <p:spPr>
            <a:xfrm>
              <a:off x="21133620" y="10337292"/>
              <a:ext cx="65837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>
              <p:custDataLst>
                <p:tags r:id="rId45"/>
              </p:custDataLst>
            </p:nvPr>
          </p:nvCxnSpPr>
          <p:spPr>
            <a:xfrm flipH="1">
              <a:off x="987552" y="-131674"/>
              <a:ext cx="0" cy="65837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>
              <p:custDataLst>
                <p:tags r:id="rId46"/>
              </p:custDataLst>
            </p:nvPr>
          </p:nvCxnSpPr>
          <p:spPr>
            <a:xfrm flipH="1">
              <a:off x="20080225" y="-131674"/>
              <a:ext cx="0" cy="65837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>
              <p:custDataLst>
                <p:tags r:id="rId47"/>
              </p:custDataLst>
            </p:nvPr>
          </p:nvCxnSpPr>
          <p:spPr>
            <a:xfrm flipH="1">
              <a:off x="987552" y="11916460"/>
              <a:ext cx="0" cy="65837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>
              <p:custDataLst>
                <p:tags r:id="rId48"/>
              </p:custDataLst>
            </p:nvPr>
          </p:nvCxnSpPr>
          <p:spPr>
            <a:xfrm flipH="1">
              <a:off x="20080225" y="11916460"/>
              <a:ext cx="0" cy="65837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>
              <p:custDataLst>
                <p:tags r:id="rId49"/>
              </p:custDataLst>
            </p:nvPr>
          </p:nvCxnSpPr>
          <p:spPr>
            <a:xfrm flipH="1">
              <a:off x="17117571" y="11916460"/>
              <a:ext cx="0" cy="65837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>
              <p:custDataLst>
                <p:tags r:id="rId50"/>
              </p:custDataLst>
            </p:nvPr>
          </p:nvCxnSpPr>
          <p:spPr>
            <a:xfrm flipH="1">
              <a:off x="10533890" y="-131674"/>
              <a:ext cx="0" cy="65837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>
              <p:custDataLst>
                <p:tags r:id="rId51"/>
              </p:custDataLst>
            </p:nvPr>
          </p:nvCxnSpPr>
          <p:spPr>
            <a:xfrm flipH="1">
              <a:off x="10533890" y="11916460"/>
              <a:ext cx="0" cy="65837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>
              <p:custDataLst>
                <p:tags r:id="rId52"/>
              </p:custDataLst>
            </p:nvPr>
          </p:nvCxnSpPr>
          <p:spPr>
            <a:xfrm flipH="1">
              <a:off x="10204704" y="-131674"/>
              <a:ext cx="0" cy="65837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>
              <p:custDataLst>
                <p:tags r:id="rId53"/>
              </p:custDataLst>
            </p:nvPr>
          </p:nvCxnSpPr>
          <p:spPr>
            <a:xfrm flipH="1">
              <a:off x="10863073" y="-131674"/>
              <a:ext cx="0" cy="65837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>
              <p:custDataLst>
                <p:tags r:id="rId54"/>
              </p:custDataLst>
            </p:nvPr>
          </p:nvCxnSpPr>
          <p:spPr>
            <a:xfrm flipH="1">
              <a:off x="10204704" y="11916460"/>
              <a:ext cx="0" cy="65837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>
              <p:custDataLst>
                <p:tags r:id="rId55"/>
              </p:custDataLst>
            </p:nvPr>
          </p:nvCxnSpPr>
          <p:spPr>
            <a:xfrm flipH="1">
              <a:off x="10863073" y="11916460"/>
              <a:ext cx="0" cy="65837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>
              <p:custDataLst>
                <p:tags r:id="rId56"/>
              </p:custDataLst>
            </p:nvPr>
          </p:nvCxnSpPr>
          <p:spPr>
            <a:xfrm flipH="1">
              <a:off x="7571232" y="-131674"/>
              <a:ext cx="0" cy="65837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>
              <p:custDataLst>
                <p:tags r:id="rId57"/>
              </p:custDataLst>
            </p:nvPr>
          </p:nvCxnSpPr>
          <p:spPr>
            <a:xfrm flipH="1">
              <a:off x="6912864" y="-131674"/>
              <a:ext cx="0" cy="65837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>
              <p:custDataLst>
                <p:tags r:id="rId58"/>
              </p:custDataLst>
            </p:nvPr>
          </p:nvCxnSpPr>
          <p:spPr>
            <a:xfrm flipH="1">
              <a:off x="13496544" y="-131674"/>
              <a:ext cx="0" cy="65837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>
              <p:custDataLst>
                <p:tags r:id="rId59"/>
              </p:custDataLst>
            </p:nvPr>
          </p:nvCxnSpPr>
          <p:spPr>
            <a:xfrm flipH="1">
              <a:off x="14154913" y="-131674"/>
              <a:ext cx="0" cy="65837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>
              <p:custDataLst>
                <p:tags r:id="rId60"/>
              </p:custDataLst>
            </p:nvPr>
          </p:nvCxnSpPr>
          <p:spPr>
            <a:xfrm flipH="1">
              <a:off x="7571232" y="11916460"/>
              <a:ext cx="0" cy="65837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>
              <p:custDataLst>
                <p:tags r:id="rId61"/>
              </p:custDataLst>
            </p:nvPr>
          </p:nvCxnSpPr>
          <p:spPr>
            <a:xfrm flipH="1">
              <a:off x="14154913" y="11916460"/>
              <a:ext cx="0" cy="65837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>
              <p:custDataLst>
                <p:tags r:id="rId62"/>
              </p:custDataLst>
            </p:nvPr>
          </p:nvCxnSpPr>
          <p:spPr>
            <a:xfrm flipH="1">
              <a:off x="6912864" y="11916460"/>
              <a:ext cx="0" cy="65837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>
              <p:custDataLst>
                <p:tags r:id="rId63"/>
              </p:custDataLst>
            </p:nvPr>
          </p:nvCxnSpPr>
          <p:spPr>
            <a:xfrm flipH="1">
              <a:off x="13496544" y="11916460"/>
              <a:ext cx="0" cy="65837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>
              <p:custDataLst>
                <p:tags r:id="rId64"/>
              </p:custDataLst>
            </p:nvPr>
          </p:nvCxnSpPr>
          <p:spPr>
            <a:xfrm flipH="1">
              <a:off x="17117571" y="-131674"/>
              <a:ext cx="0" cy="65837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>
              <p:custDataLst>
                <p:tags r:id="rId65"/>
              </p:custDataLst>
            </p:nvPr>
          </p:nvCxnSpPr>
          <p:spPr>
            <a:xfrm>
              <a:off x="21133620" y="11192256"/>
              <a:ext cx="65837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>
              <p:custDataLst>
                <p:tags r:id="rId66"/>
              </p:custDataLst>
            </p:nvPr>
          </p:nvCxnSpPr>
          <p:spPr>
            <a:xfrm>
              <a:off x="-131673" y="11192256"/>
              <a:ext cx="65837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7" name="Title 1">
            <a:extLst>
              <a:ext uri="{FF2B5EF4-FFF2-40B4-BE49-F238E27FC236}">
                <a16:creationId xmlns:a16="http://schemas.microsoft.com/office/drawing/2014/main" id="{0131F459-E553-4CE6-92F0-91E2F09BA9B3}"/>
              </a:ext>
            </a:extLst>
          </p:cNvPr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1168402" y="2781300"/>
            <a:ext cx="4858326" cy="2545080"/>
          </a:xfrm>
        </p:spPr>
        <p:txBody>
          <a:bodyPr anchor="ctr" anchorCtr="0">
            <a:no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8" name="Subtitle 2">
            <a:extLst>
              <a:ext uri="{FF2B5EF4-FFF2-40B4-BE49-F238E27FC236}">
                <a16:creationId xmlns:a16="http://schemas.microsoft.com/office/drawing/2014/main" id="{00FE735E-E3CF-4086-AF37-051864E157B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168402" y="5494020"/>
            <a:ext cx="4858326" cy="914400"/>
          </a:xfrm>
        </p:spPr>
        <p:txBody>
          <a:bodyPr>
            <a:noAutofit/>
          </a:bodyPr>
          <a:lstStyle>
            <a:lvl1pPr marL="0" indent="0" algn="l">
              <a:spcBef>
                <a:spcPct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4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29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3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58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3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87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2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1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AC870DA1-26C7-664B-9955-96858F512DB5}"/>
              </a:ext>
            </a:extLst>
          </p:cNvPr>
          <p:cNvGrpSpPr/>
          <p:nvPr userDrawn="1">
            <p:custDataLst>
              <p:tags r:id="rId6"/>
            </p:custDataLst>
          </p:nvPr>
        </p:nvGrpSpPr>
        <p:grpSpPr>
          <a:xfrm>
            <a:off x="557858" y="7580774"/>
            <a:ext cx="4266807" cy="275660"/>
            <a:chOff x="6350240" y="10916316"/>
            <a:chExt cx="6143401" cy="396951"/>
          </a:xfrm>
        </p:grpSpPr>
        <p:sp>
          <p:nvSpPr>
            <p:cNvPr id="44" name="Footer Placeholder 4">
              <a:extLst>
                <a:ext uri="{FF2B5EF4-FFF2-40B4-BE49-F238E27FC236}">
                  <a16:creationId xmlns:a16="http://schemas.microsoft.com/office/drawing/2014/main" id="{26E7E2E5-E3F7-5D4A-ACE3-274496C48704}"/>
                </a:ext>
              </a:extLst>
            </p:cNvPr>
            <p:cNvSpPr txBox="1"/>
            <p:nvPr userDrawn="1">
              <p:custDataLst>
                <p:tags r:id="rId36"/>
              </p:custDataLst>
            </p:nvPr>
          </p:nvSpPr>
          <p:spPr>
            <a:xfrm>
              <a:off x="7071788" y="10916316"/>
              <a:ext cx="5421853" cy="395021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ctr"/>
            <a:lstStyle>
              <a:defPPr>
                <a:defRPr lang="en-US"/>
              </a:defPPr>
              <a:lvl1pPr marL="0" algn="ctr" defTabSz="1316736" rtl="0" eaLnBrk="1" latinLnBrk="0" hangingPunct="1">
                <a:defRPr sz="115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58368" algn="l" defTabSz="1316736" rtl="0" eaLnBrk="1" latinLnBrk="0" hangingPunct="1">
                <a:defRPr sz="259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316736" algn="l" defTabSz="1316736" rtl="0" eaLnBrk="1" latinLnBrk="0" hangingPunct="1">
                <a:defRPr sz="259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975104" algn="l" defTabSz="1316736" rtl="0" eaLnBrk="1" latinLnBrk="0" hangingPunct="1">
                <a:defRPr sz="259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633472" algn="l" defTabSz="1316736" rtl="0" eaLnBrk="1" latinLnBrk="0" hangingPunct="1">
                <a:defRPr sz="259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291840" algn="l" defTabSz="1316736" rtl="0" eaLnBrk="1" latinLnBrk="0" hangingPunct="1">
                <a:defRPr sz="259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950208" algn="l" defTabSz="1316736" rtl="0" eaLnBrk="1" latinLnBrk="0" hangingPunct="1">
                <a:defRPr sz="259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608576" algn="l" defTabSz="1316736" rtl="0" eaLnBrk="1" latinLnBrk="0" hangingPunct="1">
                <a:defRPr sz="259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266944" algn="l" defTabSz="1316736" rtl="0" eaLnBrk="1" latinLnBrk="0" hangingPunct="1">
                <a:defRPr sz="259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algn="ctr" defTabSz="1097236">
                <a:buNone/>
                <a:defRPr kumimoji="0" sz="1152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kumimoji="0" lang="en-GB" sz="1100" b="0" i="0" normalizeH="0" noProof="0" err="1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rPr>
                <a:t>Luxoft, A DXC Technology Company. All rights reserved. </a:t>
              </a:r>
              <a:endParaRPr lang="en-US" sz="1100"/>
            </a:p>
          </p:txBody>
        </p:sp>
        <p:sp>
          <p:nvSpPr>
            <p:cNvPr id="45" name="Footer Placeholder 4">
              <a:extLst>
                <a:ext uri="{FF2B5EF4-FFF2-40B4-BE49-F238E27FC236}">
                  <a16:creationId xmlns:a16="http://schemas.microsoft.com/office/drawing/2014/main" id="{AE30A937-4C32-9648-A20F-136A21CC85FA}"/>
                </a:ext>
              </a:extLst>
            </p:cNvPr>
            <p:cNvSpPr txBox="1"/>
            <p:nvPr userDrawn="1">
              <p:custDataLst>
                <p:tags r:id="rId37"/>
              </p:custDataLst>
            </p:nvPr>
          </p:nvSpPr>
          <p:spPr>
            <a:xfrm>
              <a:off x="6350240" y="10918246"/>
              <a:ext cx="484094" cy="395021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ctr"/>
            <a:lstStyle>
              <a:defPPr>
                <a:defRPr lang="en-US"/>
              </a:defPPr>
              <a:lvl1pPr marL="0" algn="ctr" defTabSz="1316736" rtl="0" eaLnBrk="1" latinLnBrk="0" hangingPunct="1">
                <a:defRPr sz="115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58368" algn="l" defTabSz="1316736" rtl="0" eaLnBrk="1" latinLnBrk="0" hangingPunct="1">
                <a:defRPr sz="259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316736" algn="l" defTabSz="1316736" rtl="0" eaLnBrk="1" latinLnBrk="0" hangingPunct="1">
                <a:defRPr sz="259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975104" algn="l" defTabSz="1316736" rtl="0" eaLnBrk="1" latinLnBrk="0" hangingPunct="1">
                <a:defRPr sz="259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633472" algn="l" defTabSz="1316736" rtl="0" eaLnBrk="1" latinLnBrk="0" hangingPunct="1">
                <a:defRPr sz="259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291840" algn="l" defTabSz="1316736" rtl="0" eaLnBrk="1" latinLnBrk="0" hangingPunct="1">
                <a:defRPr sz="259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950208" algn="l" defTabSz="1316736" rtl="0" eaLnBrk="1" latinLnBrk="0" hangingPunct="1">
                <a:defRPr sz="259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608576" algn="l" defTabSz="1316736" rtl="0" eaLnBrk="1" latinLnBrk="0" hangingPunct="1">
                <a:defRPr sz="259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266944" algn="l" defTabSz="1316736" rtl="0" eaLnBrk="1" latinLnBrk="0" hangingPunct="1">
                <a:defRPr sz="259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algn="ctr" defTabSz="1097236">
                <a:buNone/>
                <a:defRPr kumimoji="0" sz="1152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kumimoji="0" lang="en-GB" sz="110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rPr>
                <a:t>©</a:t>
              </a:r>
              <a:endParaRPr lang="en-US" sz="1100"/>
            </a:p>
          </p:txBody>
        </p:sp>
        <p:sp>
          <p:nvSpPr>
            <p:cNvPr id="50" name="Footer Placeholder 4">
              <a:extLst>
                <a:ext uri="{FF2B5EF4-FFF2-40B4-BE49-F238E27FC236}">
                  <a16:creationId xmlns:a16="http://schemas.microsoft.com/office/drawing/2014/main" id="{CDA1472A-4CCB-1A4F-80D4-D3B0C32011A8}"/>
                </a:ext>
              </a:extLst>
            </p:cNvPr>
            <p:cNvSpPr txBox="1"/>
            <p:nvPr userDrawn="1">
              <p:custDataLst>
                <p:tags r:id="rId38"/>
              </p:custDataLst>
            </p:nvPr>
          </p:nvSpPr>
          <p:spPr>
            <a:xfrm>
              <a:off x="6621335" y="10948836"/>
              <a:ext cx="634404" cy="329184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ctr"/>
            <a:lstStyle>
              <a:defPPr>
                <a:defRPr lang="en-US"/>
              </a:defPPr>
              <a:lvl1pPr marL="0" algn="ctr" defTabSz="1316736" rtl="0" eaLnBrk="1" latinLnBrk="0" hangingPunct="1">
                <a:defRPr sz="115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58368" algn="l" defTabSz="1316736" rtl="0" eaLnBrk="1" latinLnBrk="0" hangingPunct="1">
                <a:defRPr sz="259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316736" algn="l" defTabSz="1316736" rtl="0" eaLnBrk="1" latinLnBrk="0" hangingPunct="1">
                <a:defRPr sz="259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975104" algn="l" defTabSz="1316736" rtl="0" eaLnBrk="1" latinLnBrk="0" hangingPunct="1">
                <a:defRPr sz="259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633472" algn="l" defTabSz="1316736" rtl="0" eaLnBrk="1" latinLnBrk="0" hangingPunct="1">
                <a:defRPr sz="259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291840" algn="l" defTabSz="1316736" rtl="0" eaLnBrk="1" latinLnBrk="0" hangingPunct="1">
                <a:defRPr sz="259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950208" algn="l" defTabSz="1316736" rtl="0" eaLnBrk="1" latinLnBrk="0" hangingPunct="1">
                <a:defRPr sz="259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608576" algn="l" defTabSz="1316736" rtl="0" eaLnBrk="1" latinLnBrk="0" hangingPunct="1">
                <a:defRPr sz="259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266944" algn="l" defTabSz="1316736" rtl="0" eaLnBrk="1" latinLnBrk="0" hangingPunct="1">
                <a:defRPr sz="259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algn="ctr" defTabSz="914363">
                <a:buNone/>
                <a:defRPr kumimoji="0" sz="9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fld id="{280A301F-15FE-3248-ADBA-4CACF8F9CB59}" type="datetimeyyyy">
                <a:rPr kumimoji="0" lang="ru-RU" sz="1100" b="0" i="0" normalizeH="0" noProof="0" smtClean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rPr>
                <a:pPr marL="0" algn="ctr" defTabSz="914363">
                  <a:buNone/>
                  <a:defRPr kumimoji="0" sz="9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t>2026</a:t>
              </a:fld>
              <a:endParaRPr lang="en-US" sz="1100"/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225E429F-D501-F64A-B8E7-3BA9D6EA2108}"/>
              </a:ext>
            </a:extLst>
          </p:cNvPr>
          <p:cNvGrpSpPr/>
          <p:nvPr userDrawn="1">
            <p:custDataLst>
              <p:tags r:id="rId7"/>
            </p:custDataLst>
          </p:nvPr>
        </p:nvGrpSpPr>
        <p:grpSpPr>
          <a:xfrm>
            <a:off x="905016" y="683954"/>
            <a:ext cx="1726463" cy="708022"/>
            <a:chOff x="901617" y="858123"/>
            <a:chExt cx="2071756" cy="849625"/>
          </a:xfrm>
        </p:grpSpPr>
        <p:sp>
          <p:nvSpPr>
            <p:cNvPr id="52" name="Graphic 20">
              <a:extLst>
                <a:ext uri="{FF2B5EF4-FFF2-40B4-BE49-F238E27FC236}">
                  <a16:creationId xmlns:a16="http://schemas.microsoft.com/office/drawing/2014/main" id="{1122C223-F24B-C748-9C41-0A204449D42D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>
              <a:off x="1182926" y="1026029"/>
              <a:ext cx="392453" cy="439338"/>
            </a:xfrm>
            <a:custGeom>
              <a:avLst/>
              <a:gdLst>
                <a:gd name="connsiteX0" fmla="*/ 249776 w 327044"/>
                <a:gd name="connsiteY0" fmla="*/ 263164 h 366115"/>
                <a:gd name="connsiteX1" fmla="*/ 77268 w 327044"/>
                <a:gd name="connsiteY1" fmla="*/ 203721 h 366115"/>
                <a:gd name="connsiteX2" fmla="*/ 77268 w 327044"/>
                <a:gd name="connsiteY2" fmla="*/ 0 h 366115"/>
                <a:gd name="connsiteX3" fmla="*/ 0 w 327044"/>
                <a:gd name="connsiteY3" fmla="*/ 0 h 366115"/>
                <a:gd name="connsiteX4" fmla="*/ 0 w 327044"/>
                <a:gd name="connsiteY4" fmla="*/ 203721 h 366115"/>
                <a:gd name="connsiteX5" fmla="*/ 162831 w 327044"/>
                <a:gd name="connsiteY5" fmla="*/ 366116 h 366115"/>
                <a:gd name="connsiteX6" fmla="*/ 253414 w 327044"/>
                <a:gd name="connsiteY6" fmla="*/ 320788 h 366115"/>
                <a:gd name="connsiteX7" fmla="*/ 263164 w 327044"/>
                <a:gd name="connsiteY7" fmla="*/ 360586 h 366115"/>
                <a:gd name="connsiteX8" fmla="*/ 327045 w 327044"/>
                <a:gd name="connsiteY8" fmla="*/ 360586 h 366115"/>
                <a:gd name="connsiteX9" fmla="*/ 327045 w 327044"/>
                <a:gd name="connsiteY9" fmla="*/ 218 h 366115"/>
                <a:gd name="connsiteX10" fmla="*/ 249776 w 327044"/>
                <a:gd name="connsiteY10" fmla="*/ 218 h 366115"/>
                <a:gd name="connsiteX11" fmla="*/ 249776 w 327044"/>
                <a:gd name="connsiteY11" fmla="*/ 263164 h 366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7044" h="366115">
                  <a:moveTo>
                    <a:pt x="249776" y="263164"/>
                  </a:moveTo>
                  <a:cubicBezTo>
                    <a:pt x="190988" y="330610"/>
                    <a:pt x="77268" y="294377"/>
                    <a:pt x="77268" y="203721"/>
                  </a:cubicBezTo>
                  <a:lnTo>
                    <a:pt x="77268" y="0"/>
                  </a:lnTo>
                  <a:lnTo>
                    <a:pt x="0" y="0"/>
                  </a:lnTo>
                  <a:lnTo>
                    <a:pt x="0" y="203721"/>
                  </a:lnTo>
                  <a:cubicBezTo>
                    <a:pt x="0" y="303035"/>
                    <a:pt x="71521" y="366116"/>
                    <a:pt x="162831" y="366116"/>
                  </a:cubicBezTo>
                  <a:cubicBezTo>
                    <a:pt x="186987" y="366116"/>
                    <a:pt x="230714" y="357094"/>
                    <a:pt x="253414" y="320788"/>
                  </a:cubicBezTo>
                  <a:lnTo>
                    <a:pt x="263164" y="360586"/>
                  </a:lnTo>
                  <a:lnTo>
                    <a:pt x="327045" y="360586"/>
                  </a:lnTo>
                  <a:lnTo>
                    <a:pt x="327045" y="218"/>
                  </a:lnTo>
                  <a:lnTo>
                    <a:pt x="249776" y="218"/>
                  </a:lnTo>
                  <a:lnTo>
                    <a:pt x="249776" y="263164"/>
                  </a:lnTo>
                  <a:close/>
                </a:path>
              </a:pathLst>
            </a:custGeom>
            <a:solidFill>
              <a:schemeClr val="accent1"/>
            </a:solidFill>
            <a:ln w="727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endParaRPr lang="en-US" sz="1800"/>
            </a:p>
          </p:txBody>
        </p:sp>
        <p:sp>
          <p:nvSpPr>
            <p:cNvPr id="53" name="Graphic 20">
              <a:extLst>
                <a:ext uri="{FF2B5EF4-FFF2-40B4-BE49-F238E27FC236}">
                  <a16:creationId xmlns:a16="http://schemas.microsoft.com/office/drawing/2014/main" id="{B2D1AF3D-FD9E-B64D-A8BA-AC0BDF38F8AD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2033726" y="1018171"/>
              <a:ext cx="450190" cy="450197"/>
            </a:xfrm>
            <a:custGeom>
              <a:avLst/>
              <a:gdLst>
                <a:gd name="connsiteX0" fmla="*/ 188100 w 375159"/>
                <a:gd name="connsiteY0" fmla="*/ 0 h 375164"/>
                <a:gd name="connsiteX1" fmla="*/ 22 w 375159"/>
                <a:gd name="connsiteY1" fmla="*/ 187423 h 375164"/>
                <a:gd name="connsiteX2" fmla="*/ 182155 w 375159"/>
                <a:gd name="connsiteY2" fmla="*/ 375144 h 375164"/>
                <a:gd name="connsiteX3" fmla="*/ 188100 w 375159"/>
                <a:gd name="connsiteY3" fmla="*/ 375138 h 375164"/>
                <a:gd name="connsiteX4" fmla="*/ 375159 w 375159"/>
                <a:gd name="connsiteY4" fmla="*/ 187423 h 375164"/>
                <a:gd name="connsiteX5" fmla="*/ 188100 w 375159"/>
                <a:gd name="connsiteY5" fmla="*/ 0 h 375164"/>
                <a:gd name="connsiteX6" fmla="*/ 188100 w 375159"/>
                <a:gd name="connsiteY6" fmla="*/ 305582 h 375164"/>
                <a:gd name="connsiteX7" fmla="*/ 77435 w 375159"/>
                <a:gd name="connsiteY7" fmla="*/ 187569 h 375164"/>
                <a:gd name="connsiteX8" fmla="*/ 188100 w 375159"/>
                <a:gd name="connsiteY8" fmla="*/ 70575 h 375164"/>
                <a:gd name="connsiteX9" fmla="*/ 297745 w 375159"/>
                <a:gd name="connsiteY9" fmla="*/ 187569 h 375164"/>
                <a:gd name="connsiteX10" fmla="*/ 188100 w 375159"/>
                <a:gd name="connsiteY10" fmla="*/ 305582 h 375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75159" h="375164">
                  <a:moveTo>
                    <a:pt x="188100" y="0"/>
                  </a:moveTo>
                  <a:cubicBezTo>
                    <a:pt x="80346" y="0"/>
                    <a:pt x="22" y="82070"/>
                    <a:pt x="22" y="187423"/>
                  </a:cubicBezTo>
                  <a:cubicBezTo>
                    <a:pt x="-1521" y="289557"/>
                    <a:pt x="80026" y="373602"/>
                    <a:pt x="182155" y="375144"/>
                  </a:cubicBezTo>
                  <a:cubicBezTo>
                    <a:pt x="184142" y="375173"/>
                    <a:pt x="186121" y="375171"/>
                    <a:pt x="188100" y="375138"/>
                  </a:cubicBezTo>
                  <a:cubicBezTo>
                    <a:pt x="296290" y="375138"/>
                    <a:pt x="375159" y="291976"/>
                    <a:pt x="375159" y="187423"/>
                  </a:cubicBezTo>
                  <a:cubicBezTo>
                    <a:pt x="375159" y="82871"/>
                    <a:pt x="296290" y="0"/>
                    <a:pt x="188100" y="0"/>
                  </a:cubicBezTo>
                  <a:close/>
                  <a:moveTo>
                    <a:pt x="188100" y="305582"/>
                  </a:moveTo>
                  <a:cubicBezTo>
                    <a:pt x="134914" y="305582"/>
                    <a:pt x="77435" y="267093"/>
                    <a:pt x="77435" y="187569"/>
                  </a:cubicBezTo>
                  <a:cubicBezTo>
                    <a:pt x="77435" y="108045"/>
                    <a:pt x="134914" y="70575"/>
                    <a:pt x="188100" y="70575"/>
                  </a:cubicBezTo>
                  <a:cubicBezTo>
                    <a:pt x="242741" y="70575"/>
                    <a:pt x="297745" y="107681"/>
                    <a:pt x="297745" y="187569"/>
                  </a:cubicBezTo>
                  <a:cubicBezTo>
                    <a:pt x="297745" y="267457"/>
                    <a:pt x="242741" y="305582"/>
                    <a:pt x="188100" y="305582"/>
                  </a:cubicBezTo>
                  <a:close/>
                </a:path>
              </a:pathLst>
            </a:custGeom>
            <a:solidFill>
              <a:schemeClr val="accent1"/>
            </a:solidFill>
            <a:ln w="727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endParaRPr lang="en-US" sz="1800"/>
            </a:p>
          </p:txBody>
        </p:sp>
        <p:sp>
          <p:nvSpPr>
            <p:cNvPr id="54" name="Graphic 20">
              <a:extLst>
                <a:ext uri="{FF2B5EF4-FFF2-40B4-BE49-F238E27FC236}">
                  <a16:creationId xmlns:a16="http://schemas.microsoft.com/office/drawing/2014/main" id="{C637D625-8A48-9F4D-9A7F-7320D505078F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2490991" y="858123"/>
              <a:ext cx="476095" cy="603196"/>
            </a:xfrm>
            <a:custGeom>
              <a:avLst/>
              <a:gdLst>
                <a:gd name="connsiteX0" fmla="*/ 328427 w 396746"/>
                <a:gd name="connsiteY0" fmla="*/ 386788 h 502663"/>
                <a:gd name="connsiteX1" fmla="*/ 328427 w 396746"/>
                <a:gd name="connsiteY1" fmla="*/ 205477 h 502663"/>
                <a:gd name="connsiteX2" fmla="*/ 395582 w 396746"/>
                <a:gd name="connsiteY2" fmla="*/ 205477 h 502663"/>
                <a:gd name="connsiteX3" fmla="*/ 395582 w 396746"/>
                <a:gd name="connsiteY3" fmla="*/ 139995 h 502663"/>
                <a:gd name="connsiteX4" fmla="*/ 328427 w 396746"/>
                <a:gd name="connsiteY4" fmla="*/ 139995 h 502663"/>
                <a:gd name="connsiteX5" fmla="*/ 328427 w 396746"/>
                <a:gd name="connsiteY5" fmla="*/ 40099 h 502663"/>
                <a:gd name="connsiteX6" fmla="*/ 253705 w 396746"/>
                <a:gd name="connsiteY6" fmla="*/ 48466 h 502663"/>
                <a:gd name="connsiteX7" fmla="*/ 253705 w 396746"/>
                <a:gd name="connsiteY7" fmla="*/ 140213 h 502663"/>
                <a:gd name="connsiteX8" fmla="*/ 127908 w 396746"/>
                <a:gd name="connsiteY8" fmla="*/ 140213 h 502663"/>
                <a:gd name="connsiteX9" fmla="*/ 127908 w 396746"/>
                <a:gd name="connsiteY9" fmla="*/ 113366 h 502663"/>
                <a:gd name="connsiteX10" fmla="*/ 175564 w 396746"/>
                <a:gd name="connsiteY10" fmla="*/ 65491 h 502663"/>
                <a:gd name="connsiteX11" fmla="*/ 203066 w 396746"/>
                <a:gd name="connsiteY11" fmla="*/ 68401 h 502663"/>
                <a:gd name="connsiteX12" fmla="*/ 203066 w 396746"/>
                <a:gd name="connsiteY12" fmla="*/ 2920 h 502663"/>
                <a:gd name="connsiteX13" fmla="*/ 169088 w 396746"/>
                <a:gd name="connsiteY13" fmla="*/ 9 h 502663"/>
                <a:gd name="connsiteX14" fmla="*/ 50930 w 396746"/>
                <a:gd name="connsiteY14" fmla="*/ 113147 h 502663"/>
                <a:gd name="connsiteX15" fmla="*/ 50930 w 396746"/>
                <a:gd name="connsiteY15" fmla="*/ 139995 h 502663"/>
                <a:gd name="connsiteX16" fmla="*/ 0 w 396746"/>
                <a:gd name="connsiteY16" fmla="*/ 139995 h 502663"/>
                <a:gd name="connsiteX17" fmla="*/ 0 w 396746"/>
                <a:gd name="connsiteY17" fmla="*/ 205477 h 502663"/>
                <a:gd name="connsiteX18" fmla="*/ 50930 w 396746"/>
                <a:gd name="connsiteY18" fmla="*/ 205477 h 502663"/>
                <a:gd name="connsiteX19" fmla="*/ 50930 w 396746"/>
                <a:gd name="connsiteY19" fmla="*/ 500508 h 502663"/>
                <a:gd name="connsiteX20" fmla="*/ 127908 w 396746"/>
                <a:gd name="connsiteY20" fmla="*/ 500508 h 502663"/>
                <a:gd name="connsiteX21" fmla="*/ 127908 w 396746"/>
                <a:gd name="connsiteY21" fmla="*/ 205477 h 502663"/>
                <a:gd name="connsiteX22" fmla="*/ 253705 w 396746"/>
                <a:gd name="connsiteY22" fmla="*/ 205477 h 502663"/>
                <a:gd name="connsiteX23" fmla="*/ 253705 w 396746"/>
                <a:gd name="connsiteY23" fmla="*/ 388971 h 502663"/>
                <a:gd name="connsiteX24" fmla="*/ 396747 w 396746"/>
                <a:gd name="connsiteY24" fmla="*/ 501454 h 502663"/>
                <a:gd name="connsiteX25" fmla="*/ 396747 w 396746"/>
                <a:gd name="connsiteY25" fmla="*/ 433644 h 502663"/>
                <a:gd name="connsiteX26" fmla="*/ 328136 w 396746"/>
                <a:gd name="connsiteY26" fmla="*/ 386788 h 502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96746" h="502663">
                  <a:moveTo>
                    <a:pt x="328427" y="386788"/>
                  </a:moveTo>
                  <a:lnTo>
                    <a:pt x="328427" y="205477"/>
                  </a:lnTo>
                  <a:lnTo>
                    <a:pt x="395582" y="205477"/>
                  </a:lnTo>
                  <a:lnTo>
                    <a:pt x="395582" y="139995"/>
                  </a:lnTo>
                  <a:lnTo>
                    <a:pt x="328427" y="139995"/>
                  </a:lnTo>
                  <a:lnTo>
                    <a:pt x="328427" y="40099"/>
                  </a:lnTo>
                  <a:lnTo>
                    <a:pt x="253705" y="48466"/>
                  </a:lnTo>
                  <a:lnTo>
                    <a:pt x="253705" y="140213"/>
                  </a:lnTo>
                  <a:lnTo>
                    <a:pt x="127908" y="140213"/>
                  </a:lnTo>
                  <a:lnTo>
                    <a:pt x="127908" y="113366"/>
                  </a:lnTo>
                  <a:cubicBezTo>
                    <a:pt x="127908" y="87609"/>
                    <a:pt x="143041" y="66946"/>
                    <a:pt x="175564" y="65491"/>
                  </a:cubicBezTo>
                  <a:cubicBezTo>
                    <a:pt x="184826" y="65125"/>
                    <a:pt x="194088" y="66105"/>
                    <a:pt x="203066" y="68401"/>
                  </a:cubicBezTo>
                  <a:lnTo>
                    <a:pt x="203066" y="2920"/>
                  </a:lnTo>
                  <a:cubicBezTo>
                    <a:pt x="191854" y="928"/>
                    <a:pt x="180482" y="-45"/>
                    <a:pt x="169088" y="9"/>
                  </a:cubicBezTo>
                  <a:cubicBezTo>
                    <a:pt x="96331" y="-718"/>
                    <a:pt x="50930" y="41336"/>
                    <a:pt x="50930" y="113147"/>
                  </a:cubicBezTo>
                  <a:lnTo>
                    <a:pt x="50930" y="139995"/>
                  </a:lnTo>
                  <a:lnTo>
                    <a:pt x="0" y="139995"/>
                  </a:lnTo>
                  <a:lnTo>
                    <a:pt x="0" y="205477"/>
                  </a:lnTo>
                  <a:lnTo>
                    <a:pt x="50930" y="205477"/>
                  </a:lnTo>
                  <a:lnTo>
                    <a:pt x="50930" y="500508"/>
                  </a:lnTo>
                  <a:lnTo>
                    <a:pt x="127908" y="500508"/>
                  </a:lnTo>
                  <a:lnTo>
                    <a:pt x="127908" y="205477"/>
                  </a:lnTo>
                  <a:lnTo>
                    <a:pt x="253705" y="205477"/>
                  </a:lnTo>
                  <a:lnTo>
                    <a:pt x="253705" y="388971"/>
                  </a:lnTo>
                  <a:cubicBezTo>
                    <a:pt x="253705" y="475698"/>
                    <a:pt x="313294" y="509749"/>
                    <a:pt x="396747" y="501454"/>
                  </a:cubicBezTo>
                  <a:lnTo>
                    <a:pt x="396747" y="433644"/>
                  </a:lnTo>
                  <a:cubicBezTo>
                    <a:pt x="345816" y="443030"/>
                    <a:pt x="328136" y="415819"/>
                    <a:pt x="328136" y="386788"/>
                  </a:cubicBezTo>
                  <a:close/>
                </a:path>
              </a:pathLst>
            </a:custGeom>
            <a:solidFill>
              <a:schemeClr val="accent1"/>
            </a:solidFill>
            <a:ln w="727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endParaRPr lang="en-US" sz="1800"/>
            </a:p>
          </p:txBody>
        </p:sp>
        <p:sp>
          <p:nvSpPr>
            <p:cNvPr id="55" name="Graphic 20">
              <a:extLst>
                <a:ext uri="{FF2B5EF4-FFF2-40B4-BE49-F238E27FC236}">
                  <a16:creationId xmlns:a16="http://schemas.microsoft.com/office/drawing/2014/main" id="{2956967C-7611-004A-AE93-DAE4CA67CC61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1616853" y="1026291"/>
              <a:ext cx="245861" cy="433226"/>
            </a:xfrm>
            <a:custGeom>
              <a:avLst/>
              <a:gdLst>
                <a:gd name="connsiteX0" fmla="*/ 92038 w 204885"/>
                <a:gd name="connsiteY0" fmla="*/ 0 h 361022"/>
                <a:gd name="connsiteX1" fmla="*/ 92038 w 204885"/>
                <a:gd name="connsiteY1" fmla="*/ 0 h 361022"/>
                <a:gd name="connsiteX2" fmla="*/ 2255 w 204885"/>
                <a:gd name="connsiteY2" fmla="*/ 0 h 361022"/>
                <a:gd name="connsiteX3" fmla="*/ 122305 w 204885"/>
                <a:gd name="connsiteY3" fmla="*/ 180075 h 361022"/>
                <a:gd name="connsiteX4" fmla="*/ 0 w 204885"/>
                <a:gd name="connsiteY4" fmla="*/ 361023 h 361022"/>
                <a:gd name="connsiteX5" fmla="*/ 82580 w 204885"/>
                <a:gd name="connsiteY5" fmla="*/ 361023 h 361022"/>
                <a:gd name="connsiteX6" fmla="*/ 204885 w 204885"/>
                <a:gd name="connsiteY6" fmla="*/ 180075 h 361022"/>
                <a:gd name="connsiteX7" fmla="*/ 92038 w 204885"/>
                <a:gd name="connsiteY7" fmla="*/ 0 h 361022"/>
                <a:gd name="connsiteX8" fmla="*/ 92038 w 204885"/>
                <a:gd name="connsiteY8" fmla="*/ 0 h 361022"/>
                <a:gd name="connsiteX9" fmla="*/ 92038 w 204885"/>
                <a:gd name="connsiteY9" fmla="*/ 0 h 361022"/>
                <a:gd name="connsiteX10" fmla="*/ 92038 w 204885"/>
                <a:gd name="connsiteY10" fmla="*/ 0 h 361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4885" h="361022">
                  <a:moveTo>
                    <a:pt x="92038" y="0"/>
                  </a:moveTo>
                  <a:lnTo>
                    <a:pt x="92038" y="0"/>
                  </a:lnTo>
                  <a:lnTo>
                    <a:pt x="2255" y="0"/>
                  </a:lnTo>
                  <a:lnTo>
                    <a:pt x="122305" y="180075"/>
                  </a:lnTo>
                  <a:lnTo>
                    <a:pt x="0" y="361023"/>
                  </a:lnTo>
                  <a:lnTo>
                    <a:pt x="82580" y="361023"/>
                  </a:lnTo>
                  <a:lnTo>
                    <a:pt x="204885" y="180075"/>
                  </a:lnTo>
                  <a:lnTo>
                    <a:pt x="92038" y="0"/>
                  </a:lnTo>
                  <a:lnTo>
                    <a:pt x="92038" y="0"/>
                  </a:lnTo>
                  <a:lnTo>
                    <a:pt x="92038" y="0"/>
                  </a:lnTo>
                  <a:lnTo>
                    <a:pt x="92038" y="0"/>
                  </a:lnTo>
                  <a:close/>
                </a:path>
              </a:pathLst>
            </a:custGeom>
            <a:solidFill>
              <a:schemeClr val="accent1"/>
            </a:solidFill>
            <a:ln w="727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endParaRPr lang="en-US" sz="1800"/>
            </a:p>
          </p:txBody>
        </p:sp>
        <p:sp>
          <p:nvSpPr>
            <p:cNvPr id="56" name="Graphic 20">
              <a:extLst>
                <a:ext uri="{FF2B5EF4-FFF2-40B4-BE49-F238E27FC236}">
                  <a16:creationId xmlns:a16="http://schemas.microsoft.com/office/drawing/2014/main" id="{5096AE4F-2B6B-2341-8F34-3B67E754EB8F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>
            <a:xfrm>
              <a:off x="1879740" y="1026291"/>
              <a:ext cx="156982" cy="162221"/>
            </a:xfrm>
            <a:custGeom>
              <a:avLst/>
              <a:gdLst>
                <a:gd name="connsiteX0" fmla="*/ 130818 w 130818"/>
                <a:gd name="connsiteY0" fmla="*/ 0 h 135183"/>
                <a:gd name="connsiteX1" fmla="*/ 47074 w 130818"/>
                <a:gd name="connsiteY1" fmla="*/ 0 h 135183"/>
                <a:gd name="connsiteX2" fmla="*/ 0 w 130818"/>
                <a:gd name="connsiteY2" fmla="*/ 71375 h 135183"/>
                <a:gd name="connsiteX3" fmla="*/ 40308 w 130818"/>
                <a:gd name="connsiteY3" fmla="*/ 135183 h 135183"/>
                <a:gd name="connsiteX4" fmla="*/ 130818 w 130818"/>
                <a:gd name="connsiteY4" fmla="*/ 0 h 135183"/>
                <a:gd name="connsiteX5" fmla="*/ 130818 w 130818"/>
                <a:gd name="connsiteY5" fmla="*/ 0 h 135183"/>
                <a:gd name="connsiteX6" fmla="*/ 130818 w 130818"/>
                <a:gd name="connsiteY6" fmla="*/ 0 h 1351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0818" h="135183">
                  <a:moveTo>
                    <a:pt x="130818" y="0"/>
                  </a:moveTo>
                  <a:lnTo>
                    <a:pt x="47074" y="0"/>
                  </a:lnTo>
                  <a:lnTo>
                    <a:pt x="0" y="71375"/>
                  </a:lnTo>
                  <a:lnTo>
                    <a:pt x="40308" y="135183"/>
                  </a:lnTo>
                  <a:lnTo>
                    <a:pt x="130818" y="0"/>
                  </a:lnTo>
                  <a:lnTo>
                    <a:pt x="130818" y="0"/>
                  </a:lnTo>
                  <a:lnTo>
                    <a:pt x="130818" y="0"/>
                  </a:lnTo>
                  <a:close/>
                </a:path>
              </a:pathLst>
            </a:custGeom>
            <a:solidFill>
              <a:schemeClr val="accent1"/>
            </a:solidFill>
            <a:ln w="727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endParaRPr lang="en-US" sz="1800"/>
            </a:p>
          </p:txBody>
        </p:sp>
        <p:sp>
          <p:nvSpPr>
            <p:cNvPr id="57" name="Graphic 20">
              <a:extLst>
                <a:ext uri="{FF2B5EF4-FFF2-40B4-BE49-F238E27FC236}">
                  <a16:creationId xmlns:a16="http://schemas.microsoft.com/office/drawing/2014/main" id="{A1475589-1762-0D48-B3C0-9FA51D16608B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1877470" y="1295115"/>
              <a:ext cx="160735" cy="164402"/>
            </a:xfrm>
            <a:custGeom>
              <a:avLst/>
              <a:gdLst>
                <a:gd name="connsiteX0" fmla="*/ 41981 w 133946"/>
                <a:gd name="connsiteY0" fmla="*/ 0 h 137002"/>
                <a:gd name="connsiteX1" fmla="*/ 0 w 133946"/>
                <a:gd name="connsiteY1" fmla="*/ 61335 h 137002"/>
                <a:gd name="connsiteX2" fmla="*/ 49839 w 133946"/>
                <a:gd name="connsiteY2" fmla="*/ 137002 h 137002"/>
                <a:gd name="connsiteX3" fmla="*/ 133947 w 133946"/>
                <a:gd name="connsiteY3" fmla="*/ 137002 h 137002"/>
                <a:gd name="connsiteX4" fmla="*/ 41981 w 133946"/>
                <a:gd name="connsiteY4" fmla="*/ 0 h 137002"/>
                <a:gd name="connsiteX5" fmla="*/ 41981 w 133946"/>
                <a:gd name="connsiteY5" fmla="*/ 0 h 137002"/>
                <a:gd name="connsiteX6" fmla="*/ 41981 w 133946"/>
                <a:gd name="connsiteY6" fmla="*/ 0 h 137002"/>
                <a:gd name="connsiteX7" fmla="*/ 41981 w 133946"/>
                <a:gd name="connsiteY7" fmla="*/ 0 h 137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3946" h="137002">
                  <a:moveTo>
                    <a:pt x="41981" y="0"/>
                  </a:moveTo>
                  <a:lnTo>
                    <a:pt x="0" y="61335"/>
                  </a:lnTo>
                  <a:lnTo>
                    <a:pt x="49839" y="137002"/>
                  </a:lnTo>
                  <a:lnTo>
                    <a:pt x="133947" y="137002"/>
                  </a:lnTo>
                  <a:lnTo>
                    <a:pt x="41981" y="0"/>
                  </a:lnTo>
                  <a:lnTo>
                    <a:pt x="41981" y="0"/>
                  </a:lnTo>
                  <a:lnTo>
                    <a:pt x="41981" y="0"/>
                  </a:lnTo>
                  <a:lnTo>
                    <a:pt x="41981" y="0"/>
                  </a:lnTo>
                  <a:close/>
                </a:path>
              </a:pathLst>
            </a:custGeom>
            <a:solidFill>
              <a:schemeClr val="accent1"/>
            </a:solidFill>
            <a:ln w="727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endParaRPr lang="en-US" sz="1800"/>
            </a:p>
          </p:txBody>
        </p:sp>
        <p:sp>
          <p:nvSpPr>
            <p:cNvPr id="58" name="Graphic 20">
              <a:extLst>
                <a:ext uri="{FF2B5EF4-FFF2-40B4-BE49-F238E27FC236}">
                  <a16:creationId xmlns:a16="http://schemas.microsoft.com/office/drawing/2014/main" id="{AB240A78-72A8-2445-A4A4-9544D5DBCD3A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>
              <a:off x="901617" y="906328"/>
              <a:ext cx="251712" cy="553189"/>
            </a:xfrm>
            <a:custGeom>
              <a:avLst/>
              <a:gdLst>
                <a:gd name="connsiteX0" fmla="*/ 110810 w 209760"/>
                <a:gd name="connsiteY0" fmla="*/ 389835 h 460991"/>
                <a:gd name="connsiteX1" fmla="*/ 77997 w 209760"/>
                <a:gd name="connsiteY1" fmla="*/ 356442 h 460991"/>
                <a:gd name="connsiteX2" fmla="*/ 77997 w 209760"/>
                <a:gd name="connsiteY2" fmla="*/ 356439 h 460991"/>
                <a:gd name="connsiteX3" fmla="*/ 77997 w 209760"/>
                <a:gd name="connsiteY3" fmla="*/ 8367 h 460991"/>
                <a:gd name="connsiteX4" fmla="*/ 1 w 209760"/>
                <a:gd name="connsiteY4" fmla="*/ 0 h 460991"/>
                <a:gd name="connsiteX5" fmla="*/ 1 w 209760"/>
                <a:gd name="connsiteY5" fmla="*/ 365170 h 460991"/>
                <a:gd name="connsiteX6" fmla="*/ 95094 w 209760"/>
                <a:gd name="connsiteY6" fmla="*/ 460991 h 460991"/>
                <a:gd name="connsiteX7" fmla="*/ 95313 w 209760"/>
                <a:gd name="connsiteY7" fmla="*/ 460992 h 460991"/>
                <a:gd name="connsiteX8" fmla="*/ 209761 w 209760"/>
                <a:gd name="connsiteY8" fmla="*/ 460992 h 460991"/>
                <a:gd name="connsiteX9" fmla="*/ 209761 w 209760"/>
                <a:gd name="connsiteY9" fmla="*/ 389835 h 460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9760" h="460991">
                  <a:moveTo>
                    <a:pt x="110810" y="389835"/>
                  </a:moveTo>
                  <a:cubicBezTo>
                    <a:pt x="92528" y="389675"/>
                    <a:pt x="77837" y="374724"/>
                    <a:pt x="77997" y="356442"/>
                  </a:cubicBezTo>
                  <a:cubicBezTo>
                    <a:pt x="77997" y="356441"/>
                    <a:pt x="77997" y="356440"/>
                    <a:pt x="77997" y="356439"/>
                  </a:cubicBezTo>
                  <a:lnTo>
                    <a:pt x="77997" y="8367"/>
                  </a:lnTo>
                  <a:lnTo>
                    <a:pt x="1" y="0"/>
                  </a:lnTo>
                  <a:lnTo>
                    <a:pt x="1" y="365170"/>
                  </a:lnTo>
                  <a:cubicBezTo>
                    <a:pt x="-200" y="417889"/>
                    <a:pt x="42375" y="460790"/>
                    <a:pt x="95094" y="460991"/>
                  </a:cubicBezTo>
                  <a:cubicBezTo>
                    <a:pt x="95167" y="460992"/>
                    <a:pt x="95240" y="460992"/>
                    <a:pt x="95313" y="460992"/>
                  </a:cubicBezTo>
                  <a:lnTo>
                    <a:pt x="209761" y="460992"/>
                  </a:lnTo>
                  <a:lnTo>
                    <a:pt x="209761" y="389835"/>
                  </a:lnTo>
                  <a:close/>
                </a:path>
              </a:pathLst>
            </a:custGeom>
            <a:solidFill>
              <a:schemeClr val="accent1"/>
            </a:solidFill>
            <a:ln w="727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endParaRPr lang="en-US" sz="1800"/>
            </a:p>
          </p:txBody>
        </p:sp>
        <p:sp>
          <p:nvSpPr>
            <p:cNvPr id="59" name="Graphic 20">
              <a:extLst>
                <a:ext uri="{FF2B5EF4-FFF2-40B4-BE49-F238E27FC236}">
                  <a16:creationId xmlns:a16="http://schemas.microsoft.com/office/drawing/2014/main" id="{31CA7232-7A9D-6849-B062-0C537456997A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>
            <a:xfrm>
              <a:off x="904586" y="1559401"/>
              <a:ext cx="97698" cy="115510"/>
            </a:xfrm>
            <a:custGeom>
              <a:avLst/>
              <a:gdLst>
                <a:gd name="connsiteX0" fmla="*/ 32595 w 81415"/>
                <a:gd name="connsiteY0" fmla="*/ 0 h 96258"/>
                <a:gd name="connsiteX1" fmla="*/ 48602 w 81415"/>
                <a:gd name="connsiteY1" fmla="*/ 0 h 96258"/>
                <a:gd name="connsiteX2" fmla="*/ 81416 w 81415"/>
                <a:gd name="connsiteY2" fmla="*/ 96258 h 96258"/>
                <a:gd name="connsiteX3" fmla="*/ 65918 w 81415"/>
                <a:gd name="connsiteY3" fmla="*/ 96258 h 96258"/>
                <a:gd name="connsiteX4" fmla="*/ 55805 w 81415"/>
                <a:gd name="connsiteY4" fmla="*/ 67155 h 96258"/>
                <a:gd name="connsiteX5" fmla="*/ 25392 w 81415"/>
                <a:gd name="connsiteY5" fmla="*/ 67155 h 96258"/>
                <a:gd name="connsiteX6" fmla="*/ 15716 w 81415"/>
                <a:gd name="connsiteY6" fmla="*/ 96258 h 96258"/>
                <a:gd name="connsiteX7" fmla="*/ 0 w 81415"/>
                <a:gd name="connsiteY7" fmla="*/ 96258 h 96258"/>
                <a:gd name="connsiteX8" fmla="*/ 32595 w 81415"/>
                <a:gd name="connsiteY8" fmla="*/ 0 h 96258"/>
                <a:gd name="connsiteX9" fmla="*/ 51076 w 81415"/>
                <a:gd name="connsiteY9" fmla="*/ 53841 h 96258"/>
                <a:gd name="connsiteX10" fmla="*/ 42709 w 81415"/>
                <a:gd name="connsiteY10" fmla="*/ 26265 h 96258"/>
                <a:gd name="connsiteX11" fmla="*/ 40526 w 81415"/>
                <a:gd name="connsiteY11" fmla="*/ 16516 h 96258"/>
                <a:gd name="connsiteX12" fmla="*/ 39798 w 81415"/>
                <a:gd name="connsiteY12" fmla="*/ 16516 h 96258"/>
                <a:gd name="connsiteX13" fmla="*/ 37761 w 81415"/>
                <a:gd name="connsiteY13" fmla="*/ 26265 h 96258"/>
                <a:gd name="connsiteX14" fmla="*/ 29685 w 81415"/>
                <a:gd name="connsiteY14" fmla="*/ 53841 h 96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1415" h="96258">
                  <a:moveTo>
                    <a:pt x="32595" y="0"/>
                  </a:moveTo>
                  <a:lnTo>
                    <a:pt x="48602" y="0"/>
                  </a:lnTo>
                  <a:lnTo>
                    <a:pt x="81416" y="96258"/>
                  </a:lnTo>
                  <a:lnTo>
                    <a:pt x="65918" y="96258"/>
                  </a:lnTo>
                  <a:lnTo>
                    <a:pt x="55805" y="67155"/>
                  </a:lnTo>
                  <a:lnTo>
                    <a:pt x="25392" y="67155"/>
                  </a:lnTo>
                  <a:lnTo>
                    <a:pt x="15716" y="96258"/>
                  </a:lnTo>
                  <a:lnTo>
                    <a:pt x="0" y="96258"/>
                  </a:lnTo>
                  <a:lnTo>
                    <a:pt x="32595" y="0"/>
                  </a:lnTo>
                  <a:close/>
                  <a:moveTo>
                    <a:pt x="51076" y="53841"/>
                  </a:moveTo>
                  <a:lnTo>
                    <a:pt x="42709" y="26265"/>
                  </a:lnTo>
                  <a:lnTo>
                    <a:pt x="40526" y="16516"/>
                  </a:lnTo>
                  <a:lnTo>
                    <a:pt x="39798" y="16516"/>
                  </a:lnTo>
                  <a:lnTo>
                    <a:pt x="37761" y="26265"/>
                  </a:lnTo>
                  <a:lnTo>
                    <a:pt x="29685" y="53841"/>
                  </a:lnTo>
                  <a:close/>
                </a:path>
              </a:pathLst>
            </a:custGeom>
            <a:solidFill>
              <a:schemeClr val="tx1"/>
            </a:solidFill>
            <a:ln w="727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endParaRPr lang="en-US" sz="1800"/>
            </a:p>
          </p:txBody>
        </p:sp>
        <p:sp>
          <p:nvSpPr>
            <p:cNvPr id="60" name="Graphic 20">
              <a:extLst>
                <a:ext uri="{FF2B5EF4-FFF2-40B4-BE49-F238E27FC236}">
                  <a16:creationId xmlns:a16="http://schemas.microsoft.com/office/drawing/2014/main" id="{48B7C478-FBA3-8242-9922-2BA1806EC05E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>
              <a:off x="1057988" y="1559916"/>
              <a:ext cx="90362" cy="115080"/>
            </a:xfrm>
            <a:custGeom>
              <a:avLst/>
              <a:gdLst>
                <a:gd name="connsiteX0" fmla="*/ 75159 w 75303"/>
                <a:gd name="connsiteY0" fmla="*/ 46644 h 95900"/>
                <a:gd name="connsiteX1" fmla="*/ 31504 w 75303"/>
                <a:gd name="connsiteY1" fmla="*/ 95900 h 95900"/>
                <a:gd name="connsiteX2" fmla="*/ 0 w 75303"/>
                <a:gd name="connsiteY2" fmla="*/ 95900 h 95900"/>
                <a:gd name="connsiteX3" fmla="*/ 0 w 75303"/>
                <a:gd name="connsiteY3" fmla="*/ 6 h 95900"/>
                <a:gd name="connsiteX4" fmla="*/ 31140 w 75303"/>
                <a:gd name="connsiteY4" fmla="*/ 6 h 95900"/>
                <a:gd name="connsiteX5" fmla="*/ 75304 w 75303"/>
                <a:gd name="connsiteY5" fmla="*/ 46571 h 95900"/>
                <a:gd name="connsiteX6" fmla="*/ 60607 w 75303"/>
                <a:gd name="connsiteY6" fmla="*/ 47808 h 95900"/>
                <a:gd name="connsiteX7" fmla="*/ 31504 w 75303"/>
                <a:gd name="connsiteY7" fmla="*/ 14048 h 95900"/>
                <a:gd name="connsiteX8" fmla="*/ 14551 w 75303"/>
                <a:gd name="connsiteY8" fmla="*/ 14048 h 95900"/>
                <a:gd name="connsiteX9" fmla="*/ 14551 w 75303"/>
                <a:gd name="connsiteY9" fmla="*/ 81931 h 95900"/>
                <a:gd name="connsiteX10" fmla="*/ 30849 w 75303"/>
                <a:gd name="connsiteY10" fmla="*/ 81931 h 95900"/>
                <a:gd name="connsiteX11" fmla="*/ 60534 w 75303"/>
                <a:gd name="connsiteY11" fmla="*/ 47808 h 95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5303" h="95900">
                  <a:moveTo>
                    <a:pt x="75159" y="46644"/>
                  </a:moveTo>
                  <a:cubicBezTo>
                    <a:pt x="75159" y="70945"/>
                    <a:pt x="62499" y="95900"/>
                    <a:pt x="31504" y="95900"/>
                  </a:cubicBezTo>
                  <a:lnTo>
                    <a:pt x="0" y="95900"/>
                  </a:lnTo>
                  <a:lnTo>
                    <a:pt x="0" y="6"/>
                  </a:lnTo>
                  <a:lnTo>
                    <a:pt x="31140" y="6"/>
                  </a:lnTo>
                  <a:cubicBezTo>
                    <a:pt x="61553" y="-431"/>
                    <a:pt x="75304" y="23070"/>
                    <a:pt x="75304" y="46571"/>
                  </a:cubicBezTo>
                  <a:close/>
                  <a:moveTo>
                    <a:pt x="60607" y="47808"/>
                  </a:moveTo>
                  <a:cubicBezTo>
                    <a:pt x="60607" y="30782"/>
                    <a:pt x="51876" y="14048"/>
                    <a:pt x="31504" y="14048"/>
                  </a:cubicBezTo>
                  <a:lnTo>
                    <a:pt x="14551" y="14048"/>
                  </a:lnTo>
                  <a:lnTo>
                    <a:pt x="14551" y="81931"/>
                  </a:lnTo>
                  <a:lnTo>
                    <a:pt x="30849" y="81931"/>
                  </a:lnTo>
                  <a:cubicBezTo>
                    <a:pt x="52167" y="81931"/>
                    <a:pt x="60534" y="64833"/>
                    <a:pt x="60534" y="47808"/>
                  </a:cubicBezTo>
                  <a:close/>
                </a:path>
              </a:pathLst>
            </a:custGeom>
            <a:solidFill>
              <a:schemeClr val="tx1"/>
            </a:solidFill>
            <a:ln w="727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endParaRPr lang="en-US" sz="1800"/>
            </a:p>
          </p:txBody>
        </p:sp>
        <p:sp>
          <p:nvSpPr>
            <p:cNvPr id="61" name="Graphic 20">
              <a:extLst>
                <a:ext uri="{FF2B5EF4-FFF2-40B4-BE49-F238E27FC236}">
                  <a16:creationId xmlns:a16="http://schemas.microsoft.com/office/drawing/2014/main" id="{2AA3A261-E2C0-9647-B155-CA4726FA6DB9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>
            <a:xfrm>
              <a:off x="1156298" y="1559400"/>
              <a:ext cx="96301" cy="115596"/>
            </a:xfrm>
            <a:custGeom>
              <a:avLst/>
              <a:gdLst>
                <a:gd name="connsiteX0" fmla="*/ 49912 w 80251"/>
                <a:gd name="connsiteY0" fmla="*/ 48384 h 96330"/>
                <a:gd name="connsiteX1" fmla="*/ 80252 w 80251"/>
                <a:gd name="connsiteY1" fmla="*/ 96331 h 96330"/>
                <a:gd name="connsiteX2" fmla="*/ 62499 w 80251"/>
                <a:gd name="connsiteY2" fmla="*/ 96331 h 96330"/>
                <a:gd name="connsiteX3" fmla="*/ 40235 w 80251"/>
                <a:gd name="connsiteY3" fmla="*/ 59443 h 96330"/>
                <a:gd name="connsiteX4" fmla="*/ 17753 w 80251"/>
                <a:gd name="connsiteY4" fmla="*/ 96331 h 96330"/>
                <a:gd name="connsiteX5" fmla="*/ 0 w 80251"/>
                <a:gd name="connsiteY5" fmla="*/ 96331 h 96330"/>
                <a:gd name="connsiteX6" fmla="*/ 30340 w 80251"/>
                <a:gd name="connsiteY6" fmla="*/ 48384 h 96330"/>
                <a:gd name="connsiteX7" fmla="*/ 437 w 80251"/>
                <a:gd name="connsiteY7" fmla="*/ 0 h 96330"/>
                <a:gd name="connsiteX8" fmla="*/ 17753 w 80251"/>
                <a:gd name="connsiteY8" fmla="*/ 0 h 96330"/>
                <a:gd name="connsiteX9" fmla="*/ 40235 w 80251"/>
                <a:gd name="connsiteY9" fmla="*/ 37106 h 96330"/>
                <a:gd name="connsiteX10" fmla="*/ 62499 w 80251"/>
                <a:gd name="connsiteY10" fmla="*/ 0 h 96330"/>
                <a:gd name="connsiteX11" fmla="*/ 79742 w 80251"/>
                <a:gd name="connsiteY11" fmla="*/ 0 h 96330"/>
                <a:gd name="connsiteX12" fmla="*/ 49912 w 80251"/>
                <a:gd name="connsiteY12" fmla="*/ 48384 h 96330"/>
                <a:gd name="connsiteX13" fmla="*/ 49912 w 80251"/>
                <a:gd name="connsiteY13" fmla="*/ 48384 h 96330"/>
                <a:gd name="connsiteX14" fmla="*/ 49912 w 80251"/>
                <a:gd name="connsiteY14" fmla="*/ 48384 h 96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0251" h="96330">
                  <a:moveTo>
                    <a:pt x="49912" y="48384"/>
                  </a:moveTo>
                  <a:lnTo>
                    <a:pt x="80252" y="96331"/>
                  </a:lnTo>
                  <a:lnTo>
                    <a:pt x="62499" y="96331"/>
                  </a:lnTo>
                  <a:lnTo>
                    <a:pt x="40235" y="59443"/>
                  </a:lnTo>
                  <a:lnTo>
                    <a:pt x="17753" y="96331"/>
                  </a:lnTo>
                  <a:lnTo>
                    <a:pt x="0" y="96331"/>
                  </a:lnTo>
                  <a:lnTo>
                    <a:pt x="30340" y="48384"/>
                  </a:lnTo>
                  <a:lnTo>
                    <a:pt x="437" y="0"/>
                  </a:lnTo>
                  <a:lnTo>
                    <a:pt x="17753" y="0"/>
                  </a:lnTo>
                  <a:lnTo>
                    <a:pt x="40235" y="37106"/>
                  </a:lnTo>
                  <a:lnTo>
                    <a:pt x="62499" y="0"/>
                  </a:lnTo>
                  <a:lnTo>
                    <a:pt x="79742" y="0"/>
                  </a:lnTo>
                  <a:lnTo>
                    <a:pt x="49912" y="48384"/>
                  </a:lnTo>
                  <a:lnTo>
                    <a:pt x="49912" y="48384"/>
                  </a:lnTo>
                  <a:lnTo>
                    <a:pt x="49912" y="48384"/>
                  </a:lnTo>
                  <a:close/>
                </a:path>
              </a:pathLst>
            </a:custGeom>
            <a:solidFill>
              <a:schemeClr val="tx1"/>
            </a:solidFill>
            <a:ln w="727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endParaRPr lang="en-US" sz="1800"/>
            </a:p>
          </p:txBody>
        </p:sp>
        <p:sp>
          <p:nvSpPr>
            <p:cNvPr id="62" name="Graphic 20">
              <a:extLst>
                <a:ext uri="{FF2B5EF4-FFF2-40B4-BE49-F238E27FC236}">
                  <a16:creationId xmlns:a16="http://schemas.microsoft.com/office/drawing/2014/main" id="{17FDE810-0DC8-234D-9ED7-353E3EA0FD1E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>
              <a:off x="1259934" y="1557967"/>
              <a:ext cx="99967" cy="119213"/>
            </a:xfrm>
            <a:custGeom>
              <a:avLst/>
              <a:gdLst>
                <a:gd name="connsiteX0" fmla="*/ 71084 w 83307"/>
                <a:gd name="connsiteY0" fmla="*/ 24986 h 99344"/>
                <a:gd name="connsiteX1" fmla="*/ 46201 w 83307"/>
                <a:gd name="connsiteY1" fmla="*/ 14000 h 99344"/>
                <a:gd name="connsiteX2" fmla="*/ 14843 w 83307"/>
                <a:gd name="connsiteY2" fmla="*/ 50015 h 99344"/>
                <a:gd name="connsiteX3" fmla="*/ 46201 w 83307"/>
                <a:gd name="connsiteY3" fmla="*/ 85302 h 99344"/>
                <a:gd name="connsiteX4" fmla="*/ 73267 w 83307"/>
                <a:gd name="connsiteY4" fmla="*/ 71624 h 99344"/>
                <a:gd name="connsiteX5" fmla="*/ 83307 w 83307"/>
                <a:gd name="connsiteY5" fmla="*/ 80355 h 99344"/>
                <a:gd name="connsiteX6" fmla="*/ 46201 w 83307"/>
                <a:gd name="connsiteY6" fmla="*/ 99344 h 99344"/>
                <a:gd name="connsiteX7" fmla="*/ 0 w 83307"/>
                <a:gd name="connsiteY7" fmla="*/ 50015 h 99344"/>
                <a:gd name="connsiteX8" fmla="*/ 46201 w 83307"/>
                <a:gd name="connsiteY8" fmla="*/ 30 h 99344"/>
                <a:gd name="connsiteX9" fmla="*/ 80470 w 83307"/>
                <a:gd name="connsiteY9" fmla="*/ 15892 h 99344"/>
                <a:gd name="connsiteX10" fmla="*/ 71084 w 83307"/>
                <a:gd name="connsiteY10" fmla="*/ 24986 h 99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3307" h="99344">
                  <a:moveTo>
                    <a:pt x="71084" y="24986"/>
                  </a:moveTo>
                  <a:cubicBezTo>
                    <a:pt x="64854" y="17783"/>
                    <a:pt x="55722" y="13752"/>
                    <a:pt x="46201" y="14000"/>
                  </a:cubicBezTo>
                  <a:cubicBezTo>
                    <a:pt x="25611" y="14436"/>
                    <a:pt x="14843" y="32626"/>
                    <a:pt x="14843" y="50015"/>
                  </a:cubicBezTo>
                  <a:cubicBezTo>
                    <a:pt x="14843" y="67404"/>
                    <a:pt x="25611" y="85302"/>
                    <a:pt x="46201" y="85302"/>
                  </a:cubicBezTo>
                  <a:cubicBezTo>
                    <a:pt x="56824" y="85062"/>
                    <a:pt x="66771" y="80035"/>
                    <a:pt x="73267" y="71624"/>
                  </a:cubicBezTo>
                  <a:lnTo>
                    <a:pt x="83307" y="80355"/>
                  </a:lnTo>
                  <a:cubicBezTo>
                    <a:pt x="74723" y="92294"/>
                    <a:pt x="60907" y="99366"/>
                    <a:pt x="46201" y="99344"/>
                  </a:cubicBezTo>
                  <a:cubicBezTo>
                    <a:pt x="15861" y="99344"/>
                    <a:pt x="0" y="74680"/>
                    <a:pt x="0" y="50015"/>
                  </a:cubicBezTo>
                  <a:cubicBezTo>
                    <a:pt x="0" y="25350"/>
                    <a:pt x="15861" y="30"/>
                    <a:pt x="46201" y="30"/>
                  </a:cubicBezTo>
                  <a:cubicBezTo>
                    <a:pt x="59505" y="-479"/>
                    <a:pt x="72248" y="5422"/>
                    <a:pt x="80470" y="15892"/>
                  </a:cubicBezTo>
                  <a:lnTo>
                    <a:pt x="71084" y="24986"/>
                  </a:lnTo>
                  <a:close/>
                </a:path>
              </a:pathLst>
            </a:custGeom>
            <a:solidFill>
              <a:schemeClr val="tx1"/>
            </a:solidFill>
            <a:ln w="727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endParaRPr lang="en-US" sz="1800"/>
            </a:p>
          </p:txBody>
        </p:sp>
        <p:sp>
          <p:nvSpPr>
            <p:cNvPr id="63" name="Graphic 20">
              <a:extLst>
                <a:ext uri="{FF2B5EF4-FFF2-40B4-BE49-F238E27FC236}">
                  <a16:creationId xmlns:a16="http://schemas.microsoft.com/office/drawing/2014/main" id="{CAEBDF65-680B-EE46-BAC9-0C8A9F3CACA5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>
            <a:xfrm>
              <a:off x="1407312" y="1559400"/>
              <a:ext cx="69583" cy="115596"/>
            </a:xfrm>
            <a:custGeom>
              <a:avLst/>
              <a:gdLst>
                <a:gd name="connsiteX0" fmla="*/ 57988 w 57987"/>
                <a:gd name="connsiteY0" fmla="*/ 0 h 96330"/>
                <a:gd name="connsiteX1" fmla="*/ 57988 w 57987"/>
                <a:gd name="connsiteY1" fmla="*/ 14260 h 96330"/>
                <a:gd name="connsiteX2" fmla="*/ 36670 w 57987"/>
                <a:gd name="connsiteY2" fmla="*/ 14260 h 96330"/>
                <a:gd name="connsiteX3" fmla="*/ 36670 w 57987"/>
                <a:gd name="connsiteY3" fmla="*/ 96331 h 96330"/>
                <a:gd name="connsiteX4" fmla="*/ 21827 w 57987"/>
                <a:gd name="connsiteY4" fmla="*/ 96331 h 96330"/>
                <a:gd name="connsiteX5" fmla="*/ 21827 w 57987"/>
                <a:gd name="connsiteY5" fmla="*/ 14260 h 96330"/>
                <a:gd name="connsiteX6" fmla="*/ 0 w 57987"/>
                <a:gd name="connsiteY6" fmla="*/ 14260 h 96330"/>
                <a:gd name="connsiteX7" fmla="*/ 0 w 57987"/>
                <a:gd name="connsiteY7" fmla="*/ 0 h 96330"/>
                <a:gd name="connsiteX8" fmla="*/ 57988 w 57987"/>
                <a:gd name="connsiteY8" fmla="*/ 0 h 96330"/>
                <a:gd name="connsiteX9" fmla="*/ 57988 w 57987"/>
                <a:gd name="connsiteY9" fmla="*/ 0 h 96330"/>
                <a:gd name="connsiteX10" fmla="*/ 57988 w 57987"/>
                <a:gd name="connsiteY10" fmla="*/ 0 h 96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7987" h="96330">
                  <a:moveTo>
                    <a:pt x="57988" y="0"/>
                  </a:moveTo>
                  <a:lnTo>
                    <a:pt x="57988" y="14260"/>
                  </a:lnTo>
                  <a:lnTo>
                    <a:pt x="36670" y="14260"/>
                  </a:lnTo>
                  <a:lnTo>
                    <a:pt x="36670" y="96331"/>
                  </a:lnTo>
                  <a:lnTo>
                    <a:pt x="21827" y="96331"/>
                  </a:lnTo>
                  <a:lnTo>
                    <a:pt x="21827" y="14260"/>
                  </a:lnTo>
                  <a:lnTo>
                    <a:pt x="0" y="14260"/>
                  </a:lnTo>
                  <a:lnTo>
                    <a:pt x="0" y="0"/>
                  </a:lnTo>
                  <a:lnTo>
                    <a:pt x="57988" y="0"/>
                  </a:lnTo>
                  <a:lnTo>
                    <a:pt x="57988" y="0"/>
                  </a:lnTo>
                  <a:lnTo>
                    <a:pt x="57988" y="0"/>
                  </a:lnTo>
                  <a:close/>
                </a:path>
              </a:pathLst>
            </a:custGeom>
            <a:solidFill>
              <a:schemeClr val="tx1"/>
            </a:solidFill>
            <a:ln w="727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endParaRPr lang="en-US" sz="1800"/>
            </a:p>
          </p:txBody>
        </p:sp>
        <p:sp>
          <p:nvSpPr>
            <p:cNvPr id="64" name="Graphic 20">
              <a:extLst>
                <a:ext uri="{FF2B5EF4-FFF2-40B4-BE49-F238E27FC236}">
                  <a16:creationId xmlns:a16="http://schemas.microsoft.com/office/drawing/2014/main" id="{4B5EDF52-47BF-9C41-9280-7C9FD94421C0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>
              <a:off x="1472748" y="1589697"/>
              <a:ext cx="78722" cy="86003"/>
            </a:xfrm>
            <a:custGeom>
              <a:avLst/>
              <a:gdLst>
                <a:gd name="connsiteX0" fmla="*/ 51986 w 65602"/>
                <a:gd name="connsiteY0" fmla="*/ 49402 h 71669"/>
                <a:gd name="connsiteX1" fmla="*/ 62026 w 65602"/>
                <a:gd name="connsiteY1" fmla="*/ 56242 h 71669"/>
                <a:gd name="connsiteX2" fmla="*/ 33578 w 65602"/>
                <a:gd name="connsiteY2" fmla="*/ 71666 h 71669"/>
                <a:gd name="connsiteX3" fmla="*/ 3 w 65602"/>
                <a:gd name="connsiteY3" fmla="*/ 39042 h 71669"/>
                <a:gd name="connsiteX4" fmla="*/ 110 w 65602"/>
                <a:gd name="connsiteY4" fmla="*/ 35869 h 71669"/>
                <a:gd name="connsiteX5" fmla="*/ 31985 w 65602"/>
                <a:gd name="connsiteY5" fmla="*/ 51 h 71669"/>
                <a:gd name="connsiteX6" fmla="*/ 33214 w 65602"/>
                <a:gd name="connsiteY6" fmla="*/ 0 h 71669"/>
                <a:gd name="connsiteX7" fmla="*/ 64937 w 65602"/>
                <a:gd name="connsiteY7" fmla="*/ 42199 h 71669"/>
                <a:gd name="connsiteX8" fmla="*/ 14006 w 65602"/>
                <a:gd name="connsiteY8" fmla="*/ 42199 h 71669"/>
                <a:gd name="connsiteX9" fmla="*/ 33578 w 65602"/>
                <a:gd name="connsiteY9" fmla="*/ 58206 h 71669"/>
                <a:gd name="connsiteX10" fmla="*/ 51986 w 65602"/>
                <a:gd name="connsiteY10" fmla="*/ 49111 h 71669"/>
                <a:gd name="connsiteX11" fmla="*/ 51986 w 65602"/>
                <a:gd name="connsiteY11" fmla="*/ 30995 h 71669"/>
                <a:gd name="connsiteX12" fmla="*/ 31408 w 65602"/>
                <a:gd name="connsiteY12" fmla="*/ 13737 h 71669"/>
                <a:gd name="connsiteX13" fmla="*/ 14152 w 65602"/>
                <a:gd name="connsiteY13" fmla="*/ 30995 h 71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602" h="71669">
                  <a:moveTo>
                    <a:pt x="51986" y="49402"/>
                  </a:moveTo>
                  <a:lnTo>
                    <a:pt x="62026" y="56242"/>
                  </a:lnTo>
                  <a:cubicBezTo>
                    <a:pt x="55677" y="65773"/>
                    <a:pt x="45027" y="71542"/>
                    <a:pt x="33578" y="71666"/>
                  </a:cubicBezTo>
                  <a:cubicBezTo>
                    <a:pt x="15297" y="71928"/>
                    <a:pt x="265" y="57318"/>
                    <a:pt x="3" y="39042"/>
                  </a:cubicBezTo>
                  <a:cubicBezTo>
                    <a:pt x="-12" y="37979"/>
                    <a:pt x="24" y="36924"/>
                    <a:pt x="110" y="35869"/>
                  </a:cubicBezTo>
                  <a:cubicBezTo>
                    <a:pt x="-980" y="17178"/>
                    <a:pt x="13291" y="1142"/>
                    <a:pt x="31985" y="51"/>
                  </a:cubicBezTo>
                  <a:cubicBezTo>
                    <a:pt x="32394" y="29"/>
                    <a:pt x="32804" y="7"/>
                    <a:pt x="33214" y="0"/>
                  </a:cubicBezTo>
                  <a:cubicBezTo>
                    <a:pt x="55042" y="0"/>
                    <a:pt x="68865" y="20372"/>
                    <a:pt x="64937" y="42199"/>
                  </a:cubicBezTo>
                  <a:lnTo>
                    <a:pt x="14006" y="42199"/>
                  </a:lnTo>
                  <a:cubicBezTo>
                    <a:pt x="15514" y="51731"/>
                    <a:pt x="23934" y="58621"/>
                    <a:pt x="33578" y="58206"/>
                  </a:cubicBezTo>
                  <a:cubicBezTo>
                    <a:pt x="40902" y="58701"/>
                    <a:pt x="47927" y="55230"/>
                    <a:pt x="51986" y="49111"/>
                  </a:cubicBezTo>
                  <a:close/>
                  <a:moveTo>
                    <a:pt x="51986" y="30995"/>
                  </a:moveTo>
                  <a:cubicBezTo>
                    <a:pt x="51068" y="20547"/>
                    <a:pt x="41856" y="12820"/>
                    <a:pt x="31408" y="13737"/>
                  </a:cubicBezTo>
                  <a:cubicBezTo>
                    <a:pt x="22232" y="14544"/>
                    <a:pt x="14957" y="21820"/>
                    <a:pt x="14152" y="30995"/>
                  </a:cubicBezTo>
                  <a:close/>
                </a:path>
              </a:pathLst>
            </a:custGeom>
            <a:solidFill>
              <a:schemeClr val="tx1"/>
            </a:solidFill>
            <a:ln w="727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endParaRPr lang="en-US" sz="1800"/>
            </a:p>
          </p:txBody>
        </p:sp>
        <p:sp>
          <p:nvSpPr>
            <p:cNvPr id="65" name="Graphic 20">
              <a:extLst>
                <a:ext uri="{FF2B5EF4-FFF2-40B4-BE49-F238E27FC236}">
                  <a16:creationId xmlns:a16="http://schemas.microsoft.com/office/drawing/2014/main" id="{372A44A3-0272-824D-80D7-AF645FD7295D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>
            <a:xfrm>
              <a:off x="1566350" y="1590563"/>
              <a:ext cx="72330" cy="86039"/>
            </a:xfrm>
            <a:custGeom>
              <a:avLst/>
              <a:gdLst>
                <a:gd name="connsiteX0" fmla="*/ 51254 w 60275"/>
                <a:gd name="connsiteY0" fmla="*/ 20305 h 71699"/>
                <a:gd name="connsiteX1" fmla="*/ 34738 w 60275"/>
                <a:gd name="connsiteY1" fmla="*/ 13830 h 71699"/>
                <a:gd name="connsiteX2" fmla="*/ 14540 w 60275"/>
                <a:gd name="connsiteY2" fmla="*/ 34522 h 71699"/>
                <a:gd name="connsiteX3" fmla="*/ 14657 w 60275"/>
                <a:gd name="connsiteY3" fmla="*/ 36457 h 71699"/>
                <a:gd name="connsiteX4" fmla="*/ 32766 w 60275"/>
                <a:gd name="connsiteY4" fmla="*/ 58204 h 71699"/>
                <a:gd name="connsiteX5" fmla="*/ 34738 w 60275"/>
                <a:gd name="connsiteY5" fmla="*/ 58285 h 71699"/>
                <a:gd name="connsiteX6" fmla="*/ 51908 w 60275"/>
                <a:gd name="connsiteY6" fmla="*/ 51009 h 71699"/>
                <a:gd name="connsiteX7" fmla="*/ 60275 w 60275"/>
                <a:gd name="connsiteY7" fmla="*/ 60031 h 71699"/>
                <a:gd name="connsiteX8" fmla="*/ 34738 w 60275"/>
                <a:gd name="connsiteY8" fmla="*/ 71672 h 71699"/>
                <a:gd name="connsiteX9" fmla="*/ 27 w 60275"/>
                <a:gd name="connsiteY9" fmla="*/ 39644 h 71699"/>
                <a:gd name="connsiteX10" fmla="*/ 105 w 60275"/>
                <a:gd name="connsiteY10" fmla="*/ 35657 h 71699"/>
                <a:gd name="connsiteX11" fmla="*/ 32511 w 60275"/>
                <a:gd name="connsiteY11" fmla="*/ 35 h 71699"/>
                <a:gd name="connsiteX12" fmla="*/ 34738 w 60275"/>
                <a:gd name="connsiteY12" fmla="*/ 6 h 71699"/>
                <a:gd name="connsiteX13" fmla="*/ 59548 w 60275"/>
                <a:gd name="connsiteY13" fmla="*/ 11283 h 71699"/>
                <a:gd name="connsiteX14" fmla="*/ 51545 w 60275"/>
                <a:gd name="connsiteY14" fmla="*/ 20305 h 71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0275" h="71699">
                  <a:moveTo>
                    <a:pt x="51254" y="20305"/>
                  </a:moveTo>
                  <a:cubicBezTo>
                    <a:pt x="46844" y="16012"/>
                    <a:pt x="40893" y="13677"/>
                    <a:pt x="34738" y="13830"/>
                  </a:cubicBezTo>
                  <a:cubicBezTo>
                    <a:pt x="23446" y="13968"/>
                    <a:pt x="14402" y="23230"/>
                    <a:pt x="14540" y="34522"/>
                  </a:cubicBezTo>
                  <a:cubicBezTo>
                    <a:pt x="14547" y="35169"/>
                    <a:pt x="14584" y="35817"/>
                    <a:pt x="14657" y="36457"/>
                  </a:cubicBezTo>
                  <a:cubicBezTo>
                    <a:pt x="13652" y="47458"/>
                    <a:pt x="21758" y="57200"/>
                    <a:pt x="32766" y="58204"/>
                  </a:cubicBezTo>
                  <a:cubicBezTo>
                    <a:pt x="33421" y="58263"/>
                    <a:pt x="34075" y="58292"/>
                    <a:pt x="34738" y="58285"/>
                  </a:cubicBezTo>
                  <a:cubicBezTo>
                    <a:pt x="41264" y="58546"/>
                    <a:pt x="47557" y="55883"/>
                    <a:pt x="51908" y="51009"/>
                  </a:cubicBezTo>
                  <a:lnTo>
                    <a:pt x="60275" y="60031"/>
                  </a:lnTo>
                  <a:cubicBezTo>
                    <a:pt x="53633" y="67125"/>
                    <a:pt x="44451" y="71308"/>
                    <a:pt x="34738" y="71672"/>
                  </a:cubicBezTo>
                  <a:cubicBezTo>
                    <a:pt x="16308" y="72414"/>
                    <a:pt x="768" y="58074"/>
                    <a:pt x="27" y="39644"/>
                  </a:cubicBezTo>
                  <a:cubicBezTo>
                    <a:pt x="-27" y="38313"/>
                    <a:pt x="0" y="36981"/>
                    <a:pt x="105" y="35657"/>
                  </a:cubicBezTo>
                  <a:cubicBezTo>
                    <a:pt x="-782" y="16871"/>
                    <a:pt x="13725" y="922"/>
                    <a:pt x="32511" y="35"/>
                  </a:cubicBezTo>
                  <a:cubicBezTo>
                    <a:pt x="33253" y="6"/>
                    <a:pt x="33995" y="-9"/>
                    <a:pt x="34738" y="6"/>
                  </a:cubicBezTo>
                  <a:cubicBezTo>
                    <a:pt x="44240" y="35"/>
                    <a:pt x="53276" y="4146"/>
                    <a:pt x="59548" y="11283"/>
                  </a:cubicBezTo>
                  <a:lnTo>
                    <a:pt x="51545" y="20305"/>
                  </a:lnTo>
                  <a:close/>
                </a:path>
              </a:pathLst>
            </a:custGeom>
            <a:solidFill>
              <a:schemeClr val="tx1"/>
            </a:solidFill>
            <a:ln w="727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endParaRPr lang="en-US" sz="1800"/>
            </a:p>
          </p:txBody>
        </p:sp>
        <p:sp>
          <p:nvSpPr>
            <p:cNvPr id="66" name="Graphic 20">
              <a:extLst>
                <a:ext uri="{FF2B5EF4-FFF2-40B4-BE49-F238E27FC236}">
                  <a16:creationId xmlns:a16="http://schemas.microsoft.com/office/drawing/2014/main" id="{4CA082D2-9926-C44B-A8ED-14A4E03784C2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>
              <a:off x="1654482" y="1559400"/>
              <a:ext cx="71184" cy="115510"/>
            </a:xfrm>
            <a:custGeom>
              <a:avLst/>
              <a:gdLst>
                <a:gd name="connsiteX0" fmla="*/ 14188 w 59320"/>
                <a:gd name="connsiteY0" fmla="*/ 0 h 96258"/>
                <a:gd name="connsiteX1" fmla="*/ 14188 w 59320"/>
                <a:gd name="connsiteY1" fmla="*/ 32013 h 96258"/>
                <a:gd name="connsiteX2" fmla="*/ 30122 w 59320"/>
                <a:gd name="connsiteY2" fmla="*/ 25902 h 96258"/>
                <a:gd name="connsiteX3" fmla="*/ 59283 w 59320"/>
                <a:gd name="connsiteY3" fmla="*/ 52254 h 96258"/>
                <a:gd name="connsiteX4" fmla="*/ 59225 w 59320"/>
                <a:gd name="connsiteY4" fmla="*/ 55951 h 96258"/>
                <a:gd name="connsiteX5" fmla="*/ 59225 w 59320"/>
                <a:gd name="connsiteY5" fmla="*/ 96258 h 96258"/>
                <a:gd name="connsiteX6" fmla="*/ 45110 w 59320"/>
                <a:gd name="connsiteY6" fmla="*/ 96258 h 96258"/>
                <a:gd name="connsiteX7" fmla="*/ 45110 w 59320"/>
                <a:gd name="connsiteY7" fmla="*/ 55951 h 96258"/>
                <a:gd name="connsiteX8" fmla="*/ 28601 w 59320"/>
                <a:gd name="connsiteY8" fmla="*/ 38845 h 96258"/>
                <a:gd name="connsiteX9" fmla="*/ 27793 w 59320"/>
                <a:gd name="connsiteY9" fmla="*/ 38853 h 96258"/>
                <a:gd name="connsiteX10" fmla="*/ 14042 w 59320"/>
                <a:gd name="connsiteY10" fmla="*/ 43800 h 96258"/>
                <a:gd name="connsiteX11" fmla="*/ 14042 w 59320"/>
                <a:gd name="connsiteY11" fmla="*/ 96258 h 96258"/>
                <a:gd name="connsiteX12" fmla="*/ 0 w 59320"/>
                <a:gd name="connsiteY12" fmla="*/ 96258 h 96258"/>
                <a:gd name="connsiteX13" fmla="*/ 0 w 59320"/>
                <a:gd name="connsiteY13" fmla="*/ 0 h 96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320" h="96258">
                  <a:moveTo>
                    <a:pt x="14188" y="0"/>
                  </a:moveTo>
                  <a:lnTo>
                    <a:pt x="14188" y="32013"/>
                  </a:lnTo>
                  <a:cubicBezTo>
                    <a:pt x="18604" y="28143"/>
                    <a:pt x="24250" y="25974"/>
                    <a:pt x="30122" y="25902"/>
                  </a:cubicBezTo>
                  <a:cubicBezTo>
                    <a:pt x="45452" y="25123"/>
                    <a:pt x="58512" y="36924"/>
                    <a:pt x="59283" y="52254"/>
                  </a:cubicBezTo>
                  <a:cubicBezTo>
                    <a:pt x="59348" y="53484"/>
                    <a:pt x="59326" y="54721"/>
                    <a:pt x="59225" y="55951"/>
                  </a:cubicBezTo>
                  <a:lnTo>
                    <a:pt x="59225" y="96258"/>
                  </a:lnTo>
                  <a:lnTo>
                    <a:pt x="45110" y="96258"/>
                  </a:lnTo>
                  <a:lnTo>
                    <a:pt x="45110" y="55951"/>
                  </a:lnTo>
                  <a:cubicBezTo>
                    <a:pt x="45277" y="46667"/>
                    <a:pt x="37885" y="39013"/>
                    <a:pt x="28601" y="38845"/>
                  </a:cubicBezTo>
                  <a:cubicBezTo>
                    <a:pt x="28332" y="38845"/>
                    <a:pt x="28063" y="38845"/>
                    <a:pt x="27793" y="38853"/>
                  </a:cubicBezTo>
                  <a:cubicBezTo>
                    <a:pt x="22795" y="38991"/>
                    <a:pt x="17978" y="40722"/>
                    <a:pt x="14042" y="43800"/>
                  </a:cubicBezTo>
                  <a:lnTo>
                    <a:pt x="14042" y="96258"/>
                  </a:lnTo>
                  <a:lnTo>
                    <a:pt x="0" y="9625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727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endParaRPr lang="en-US" sz="1800"/>
            </a:p>
          </p:txBody>
        </p:sp>
        <p:sp>
          <p:nvSpPr>
            <p:cNvPr id="67" name="Graphic 20">
              <a:extLst>
                <a:ext uri="{FF2B5EF4-FFF2-40B4-BE49-F238E27FC236}">
                  <a16:creationId xmlns:a16="http://schemas.microsoft.com/office/drawing/2014/main" id="{96C01C8F-072F-324A-8540-A91A7F1FFE2E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>
            <a:xfrm>
              <a:off x="1748690" y="1590436"/>
              <a:ext cx="71914" cy="84473"/>
            </a:xfrm>
            <a:custGeom>
              <a:avLst/>
              <a:gdLst>
                <a:gd name="connsiteX0" fmla="*/ 11496 w 59928"/>
                <a:gd name="connsiteY0" fmla="*/ 1202 h 70394"/>
                <a:gd name="connsiteX1" fmla="*/ 13315 w 59928"/>
                <a:gd name="connsiteY1" fmla="*/ 9569 h 70394"/>
                <a:gd name="connsiteX2" fmla="*/ 29903 w 59928"/>
                <a:gd name="connsiteY2" fmla="*/ 111 h 70394"/>
                <a:gd name="connsiteX3" fmla="*/ 59821 w 59928"/>
                <a:gd name="connsiteY3" fmla="*/ 25125 h 70394"/>
                <a:gd name="connsiteX4" fmla="*/ 59807 w 59928"/>
                <a:gd name="connsiteY4" fmla="*/ 30160 h 70394"/>
                <a:gd name="connsiteX5" fmla="*/ 59807 w 59928"/>
                <a:gd name="connsiteY5" fmla="*/ 70395 h 70394"/>
                <a:gd name="connsiteX6" fmla="*/ 45764 w 59928"/>
                <a:gd name="connsiteY6" fmla="*/ 70395 h 70394"/>
                <a:gd name="connsiteX7" fmla="*/ 45764 w 59928"/>
                <a:gd name="connsiteY7" fmla="*/ 30160 h 70394"/>
                <a:gd name="connsiteX8" fmla="*/ 28368 w 59928"/>
                <a:gd name="connsiteY8" fmla="*/ 12923 h 70394"/>
                <a:gd name="connsiteX9" fmla="*/ 14042 w 59928"/>
                <a:gd name="connsiteY9" fmla="*/ 20628 h 70394"/>
                <a:gd name="connsiteX10" fmla="*/ 14042 w 59928"/>
                <a:gd name="connsiteY10" fmla="*/ 70395 h 70394"/>
                <a:gd name="connsiteX11" fmla="*/ 0 w 59928"/>
                <a:gd name="connsiteY11" fmla="*/ 70395 h 70394"/>
                <a:gd name="connsiteX12" fmla="*/ 0 w 59928"/>
                <a:gd name="connsiteY12" fmla="*/ 1202 h 70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928" h="70394">
                  <a:moveTo>
                    <a:pt x="11496" y="1202"/>
                  </a:moveTo>
                  <a:lnTo>
                    <a:pt x="13315" y="9569"/>
                  </a:lnTo>
                  <a:cubicBezTo>
                    <a:pt x="17025" y="3960"/>
                    <a:pt x="23188" y="453"/>
                    <a:pt x="29903" y="111"/>
                  </a:cubicBezTo>
                  <a:cubicBezTo>
                    <a:pt x="45073" y="-1242"/>
                    <a:pt x="58468" y="9955"/>
                    <a:pt x="59821" y="25125"/>
                  </a:cubicBezTo>
                  <a:cubicBezTo>
                    <a:pt x="59967" y="26798"/>
                    <a:pt x="59967" y="28486"/>
                    <a:pt x="59807" y="30160"/>
                  </a:cubicBezTo>
                  <a:lnTo>
                    <a:pt x="59807" y="70395"/>
                  </a:lnTo>
                  <a:lnTo>
                    <a:pt x="45764" y="70395"/>
                  </a:lnTo>
                  <a:lnTo>
                    <a:pt x="45764" y="30160"/>
                  </a:lnTo>
                  <a:cubicBezTo>
                    <a:pt x="45721" y="20599"/>
                    <a:pt x="37936" y="12880"/>
                    <a:pt x="28368" y="12923"/>
                  </a:cubicBezTo>
                  <a:cubicBezTo>
                    <a:pt x="22613" y="12945"/>
                    <a:pt x="17236" y="15834"/>
                    <a:pt x="14042" y="20628"/>
                  </a:cubicBezTo>
                  <a:lnTo>
                    <a:pt x="14042" y="70395"/>
                  </a:lnTo>
                  <a:lnTo>
                    <a:pt x="0" y="70395"/>
                  </a:lnTo>
                  <a:lnTo>
                    <a:pt x="0" y="1202"/>
                  </a:lnTo>
                  <a:close/>
                </a:path>
              </a:pathLst>
            </a:custGeom>
            <a:solidFill>
              <a:schemeClr val="tx1"/>
            </a:solidFill>
            <a:ln w="727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endParaRPr lang="en-US" sz="1800"/>
            </a:p>
          </p:txBody>
        </p:sp>
        <p:sp>
          <p:nvSpPr>
            <p:cNvPr id="68" name="Graphic 20">
              <a:extLst>
                <a:ext uri="{FF2B5EF4-FFF2-40B4-BE49-F238E27FC236}">
                  <a16:creationId xmlns:a16="http://schemas.microsoft.com/office/drawing/2014/main" id="{09806A65-AB68-3A44-AE7D-6EF3A0CCD90F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>
            <a:xfrm>
              <a:off x="1833816" y="1590526"/>
              <a:ext cx="85945" cy="85956"/>
            </a:xfrm>
            <a:custGeom>
              <a:avLst/>
              <a:gdLst>
                <a:gd name="connsiteX0" fmla="*/ 37398 w 71621"/>
                <a:gd name="connsiteY0" fmla="*/ 71557 h 71630"/>
                <a:gd name="connsiteX1" fmla="*/ 37 w 71621"/>
                <a:gd name="connsiteY1" fmla="*/ 37398 h 71630"/>
                <a:gd name="connsiteX2" fmla="*/ 34196 w 71621"/>
                <a:gd name="connsiteY2" fmla="*/ 37 h 71630"/>
                <a:gd name="connsiteX3" fmla="*/ 71557 w 71621"/>
                <a:gd name="connsiteY3" fmla="*/ 34196 h 71630"/>
                <a:gd name="connsiteX4" fmla="*/ 71594 w 71621"/>
                <a:gd name="connsiteY4" fmla="*/ 35688 h 71630"/>
                <a:gd name="connsiteX5" fmla="*/ 38445 w 71621"/>
                <a:gd name="connsiteY5" fmla="*/ 71601 h 71630"/>
                <a:gd name="connsiteX6" fmla="*/ 37034 w 71621"/>
                <a:gd name="connsiteY6" fmla="*/ 71630 h 71630"/>
                <a:gd name="connsiteX7" fmla="*/ 37398 w 71621"/>
                <a:gd name="connsiteY7" fmla="*/ 58316 h 71630"/>
                <a:gd name="connsiteX8" fmla="*/ 57864 w 71621"/>
                <a:gd name="connsiteY8" fmla="*/ 37310 h 71630"/>
                <a:gd name="connsiteX9" fmla="*/ 57770 w 71621"/>
                <a:gd name="connsiteY9" fmla="*/ 35615 h 71630"/>
                <a:gd name="connsiteX10" fmla="*/ 39122 w 71621"/>
                <a:gd name="connsiteY10" fmla="*/ 13519 h 71630"/>
                <a:gd name="connsiteX11" fmla="*/ 17026 w 71621"/>
                <a:gd name="connsiteY11" fmla="*/ 32166 h 71630"/>
                <a:gd name="connsiteX12" fmla="*/ 17026 w 71621"/>
                <a:gd name="connsiteY12" fmla="*/ 35615 h 71630"/>
                <a:gd name="connsiteX13" fmla="*/ 36001 w 71621"/>
                <a:gd name="connsiteY13" fmla="*/ 58243 h 71630"/>
                <a:gd name="connsiteX14" fmla="*/ 37398 w 71621"/>
                <a:gd name="connsiteY14" fmla="*/ 58316 h 71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1621" h="71630">
                  <a:moveTo>
                    <a:pt x="37398" y="71557"/>
                  </a:moveTo>
                  <a:cubicBezTo>
                    <a:pt x="17644" y="72438"/>
                    <a:pt x="917" y="57144"/>
                    <a:pt x="37" y="37398"/>
                  </a:cubicBezTo>
                  <a:cubicBezTo>
                    <a:pt x="-851" y="17644"/>
                    <a:pt x="14450" y="917"/>
                    <a:pt x="34196" y="37"/>
                  </a:cubicBezTo>
                  <a:cubicBezTo>
                    <a:pt x="53950" y="-851"/>
                    <a:pt x="70677" y="14443"/>
                    <a:pt x="71557" y="34196"/>
                  </a:cubicBezTo>
                  <a:cubicBezTo>
                    <a:pt x="71579" y="34691"/>
                    <a:pt x="71594" y="35193"/>
                    <a:pt x="71594" y="35688"/>
                  </a:cubicBezTo>
                  <a:cubicBezTo>
                    <a:pt x="72358" y="54758"/>
                    <a:pt x="57515" y="70837"/>
                    <a:pt x="38445" y="71601"/>
                  </a:cubicBezTo>
                  <a:cubicBezTo>
                    <a:pt x="37972" y="71623"/>
                    <a:pt x="37507" y="71630"/>
                    <a:pt x="37034" y="71630"/>
                  </a:cubicBezTo>
                  <a:close/>
                  <a:moveTo>
                    <a:pt x="37398" y="58316"/>
                  </a:moveTo>
                  <a:cubicBezTo>
                    <a:pt x="48850" y="58163"/>
                    <a:pt x="58010" y="48762"/>
                    <a:pt x="57864" y="37310"/>
                  </a:cubicBezTo>
                  <a:cubicBezTo>
                    <a:pt x="57857" y="36743"/>
                    <a:pt x="57821" y="36175"/>
                    <a:pt x="57770" y="35615"/>
                  </a:cubicBezTo>
                  <a:cubicBezTo>
                    <a:pt x="58723" y="24367"/>
                    <a:pt x="50370" y="14472"/>
                    <a:pt x="39122" y="13519"/>
                  </a:cubicBezTo>
                  <a:cubicBezTo>
                    <a:pt x="27866" y="12566"/>
                    <a:pt x="17979" y="20918"/>
                    <a:pt x="17026" y="32166"/>
                  </a:cubicBezTo>
                  <a:cubicBezTo>
                    <a:pt x="16931" y="33316"/>
                    <a:pt x="16931" y="34466"/>
                    <a:pt x="17026" y="35615"/>
                  </a:cubicBezTo>
                  <a:cubicBezTo>
                    <a:pt x="16022" y="47104"/>
                    <a:pt x="24512" y="57231"/>
                    <a:pt x="36001" y="58243"/>
                  </a:cubicBezTo>
                  <a:cubicBezTo>
                    <a:pt x="36466" y="58279"/>
                    <a:pt x="36932" y="58308"/>
                    <a:pt x="37398" y="58316"/>
                  </a:cubicBezTo>
                  <a:close/>
                </a:path>
              </a:pathLst>
            </a:custGeom>
            <a:solidFill>
              <a:schemeClr val="tx1"/>
            </a:solidFill>
            <a:ln w="727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endParaRPr lang="en-US" sz="1800"/>
            </a:p>
          </p:txBody>
        </p:sp>
        <p:sp>
          <p:nvSpPr>
            <p:cNvPr id="69" name="Graphic 20">
              <a:extLst>
                <a:ext uri="{FF2B5EF4-FFF2-40B4-BE49-F238E27FC236}">
                  <a16:creationId xmlns:a16="http://schemas.microsoft.com/office/drawing/2014/main" id="{D4D07482-BBEE-234C-B773-C36564929385}"/>
                </a:ext>
              </a:extLst>
            </p:cNvPr>
            <p:cNvSpPr/>
            <p:nvPr>
              <p:custDataLst>
                <p:tags r:id="rId25"/>
              </p:custDataLst>
            </p:nvPr>
          </p:nvSpPr>
          <p:spPr>
            <a:xfrm>
              <a:off x="1937188" y="1559400"/>
              <a:ext cx="28810" cy="115864"/>
            </a:xfrm>
            <a:custGeom>
              <a:avLst/>
              <a:gdLst>
                <a:gd name="connsiteX0" fmla="*/ 24010 w 24009"/>
                <a:gd name="connsiteY0" fmla="*/ 96258 h 96553"/>
                <a:gd name="connsiteX1" fmla="*/ 0 w 24009"/>
                <a:gd name="connsiteY1" fmla="*/ 74940 h 96553"/>
                <a:gd name="connsiteX2" fmla="*/ 0 w 24009"/>
                <a:gd name="connsiteY2" fmla="*/ 0 h 96553"/>
                <a:gd name="connsiteX3" fmla="*/ 14188 w 24009"/>
                <a:gd name="connsiteY3" fmla="*/ 0 h 96553"/>
                <a:gd name="connsiteX4" fmla="*/ 14188 w 24009"/>
                <a:gd name="connsiteY4" fmla="*/ 74940 h 96553"/>
                <a:gd name="connsiteX5" fmla="*/ 24010 w 24009"/>
                <a:gd name="connsiteY5" fmla="*/ 82944 h 96553"/>
                <a:gd name="connsiteX6" fmla="*/ 24010 w 24009"/>
                <a:gd name="connsiteY6" fmla="*/ 96258 h 96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009" h="96553">
                  <a:moveTo>
                    <a:pt x="24010" y="96258"/>
                  </a:moveTo>
                  <a:cubicBezTo>
                    <a:pt x="8367" y="98150"/>
                    <a:pt x="0" y="90947"/>
                    <a:pt x="0" y="74940"/>
                  </a:cubicBezTo>
                  <a:lnTo>
                    <a:pt x="0" y="0"/>
                  </a:lnTo>
                  <a:lnTo>
                    <a:pt x="14188" y="0"/>
                  </a:lnTo>
                  <a:lnTo>
                    <a:pt x="14188" y="74940"/>
                  </a:lnTo>
                  <a:cubicBezTo>
                    <a:pt x="14188" y="80615"/>
                    <a:pt x="16007" y="83671"/>
                    <a:pt x="24010" y="82944"/>
                  </a:cubicBezTo>
                  <a:lnTo>
                    <a:pt x="24010" y="96258"/>
                  </a:lnTo>
                  <a:close/>
                </a:path>
              </a:pathLst>
            </a:custGeom>
            <a:solidFill>
              <a:schemeClr val="tx1"/>
            </a:solidFill>
            <a:ln w="727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endParaRPr lang="en-US" sz="1800"/>
            </a:p>
          </p:txBody>
        </p:sp>
        <p:sp>
          <p:nvSpPr>
            <p:cNvPr id="70" name="Graphic 20">
              <a:extLst>
                <a:ext uri="{FF2B5EF4-FFF2-40B4-BE49-F238E27FC236}">
                  <a16:creationId xmlns:a16="http://schemas.microsoft.com/office/drawing/2014/main" id="{CDE0BEBB-19D9-0244-96C8-63A8E54ABD33}"/>
                </a:ext>
              </a:extLst>
            </p:cNvPr>
            <p:cNvSpPr/>
            <p:nvPr>
              <p:custDataLst>
                <p:tags r:id="rId26"/>
              </p:custDataLst>
            </p:nvPr>
          </p:nvSpPr>
          <p:spPr>
            <a:xfrm>
              <a:off x="1971505" y="1590521"/>
              <a:ext cx="85949" cy="85913"/>
            </a:xfrm>
            <a:custGeom>
              <a:avLst/>
              <a:gdLst>
                <a:gd name="connsiteX0" fmla="*/ 37321 w 71624"/>
                <a:gd name="connsiteY0" fmla="*/ 71561 h 71594"/>
                <a:gd name="connsiteX1" fmla="*/ 33 w 71624"/>
                <a:gd name="connsiteY1" fmla="*/ 37321 h 71594"/>
                <a:gd name="connsiteX2" fmla="*/ 34266 w 71624"/>
                <a:gd name="connsiteY2" fmla="*/ 33 h 71594"/>
                <a:gd name="connsiteX3" fmla="*/ 71561 w 71624"/>
                <a:gd name="connsiteY3" fmla="*/ 34273 h 71594"/>
                <a:gd name="connsiteX4" fmla="*/ 71590 w 71624"/>
                <a:gd name="connsiteY4" fmla="*/ 35619 h 71594"/>
                <a:gd name="connsiteX5" fmla="*/ 38740 w 71624"/>
                <a:gd name="connsiteY5" fmla="*/ 71525 h 71594"/>
                <a:gd name="connsiteX6" fmla="*/ 37321 w 71624"/>
                <a:gd name="connsiteY6" fmla="*/ 71561 h 71594"/>
                <a:gd name="connsiteX7" fmla="*/ 37321 w 71624"/>
                <a:gd name="connsiteY7" fmla="*/ 58319 h 71594"/>
                <a:gd name="connsiteX8" fmla="*/ 57643 w 71624"/>
                <a:gd name="connsiteY8" fmla="*/ 37321 h 71594"/>
                <a:gd name="connsiteX9" fmla="*/ 57548 w 71624"/>
                <a:gd name="connsiteY9" fmla="*/ 35619 h 71594"/>
                <a:gd name="connsiteX10" fmla="*/ 39461 w 71624"/>
                <a:gd name="connsiteY10" fmla="*/ 13326 h 71594"/>
                <a:gd name="connsiteX11" fmla="*/ 17168 w 71624"/>
                <a:gd name="connsiteY11" fmla="*/ 31414 h 71594"/>
                <a:gd name="connsiteX12" fmla="*/ 17168 w 71624"/>
                <a:gd name="connsiteY12" fmla="*/ 35619 h 71594"/>
                <a:gd name="connsiteX13" fmla="*/ 35990 w 71624"/>
                <a:gd name="connsiteY13" fmla="*/ 58239 h 71594"/>
                <a:gd name="connsiteX14" fmla="*/ 37321 w 71624"/>
                <a:gd name="connsiteY14" fmla="*/ 58319 h 71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1624" h="71594">
                  <a:moveTo>
                    <a:pt x="37321" y="71561"/>
                  </a:moveTo>
                  <a:cubicBezTo>
                    <a:pt x="17568" y="72405"/>
                    <a:pt x="870" y="57075"/>
                    <a:pt x="33" y="37321"/>
                  </a:cubicBezTo>
                  <a:cubicBezTo>
                    <a:pt x="-811" y="17575"/>
                    <a:pt x="14512" y="877"/>
                    <a:pt x="34266" y="33"/>
                  </a:cubicBezTo>
                  <a:cubicBezTo>
                    <a:pt x="54019" y="-811"/>
                    <a:pt x="70717" y="14519"/>
                    <a:pt x="71561" y="34273"/>
                  </a:cubicBezTo>
                  <a:cubicBezTo>
                    <a:pt x="71576" y="34717"/>
                    <a:pt x="71590" y="35168"/>
                    <a:pt x="71590" y="35619"/>
                  </a:cubicBezTo>
                  <a:cubicBezTo>
                    <a:pt x="72434" y="54609"/>
                    <a:pt x="57723" y="70681"/>
                    <a:pt x="38740" y="71525"/>
                  </a:cubicBezTo>
                  <a:cubicBezTo>
                    <a:pt x="38267" y="71547"/>
                    <a:pt x="37794" y="71561"/>
                    <a:pt x="37321" y="71561"/>
                  </a:cubicBezTo>
                  <a:close/>
                  <a:moveTo>
                    <a:pt x="37321" y="58319"/>
                  </a:moveTo>
                  <a:cubicBezTo>
                    <a:pt x="48730" y="58137"/>
                    <a:pt x="57832" y="48737"/>
                    <a:pt x="57643" y="37321"/>
                  </a:cubicBezTo>
                  <a:cubicBezTo>
                    <a:pt x="57635" y="36754"/>
                    <a:pt x="57606" y="36186"/>
                    <a:pt x="57548" y="35619"/>
                  </a:cubicBezTo>
                  <a:cubicBezTo>
                    <a:pt x="58712" y="24465"/>
                    <a:pt x="50614" y="14490"/>
                    <a:pt x="39461" y="13326"/>
                  </a:cubicBezTo>
                  <a:cubicBezTo>
                    <a:pt x="28307" y="12169"/>
                    <a:pt x="18332" y="20267"/>
                    <a:pt x="17168" y="31414"/>
                  </a:cubicBezTo>
                  <a:cubicBezTo>
                    <a:pt x="17022" y="32810"/>
                    <a:pt x="17022" y="34222"/>
                    <a:pt x="17168" y="35619"/>
                  </a:cubicBezTo>
                  <a:cubicBezTo>
                    <a:pt x="16120" y="47064"/>
                    <a:pt x="24545" y="57192"/>
                    <a:pt x="35990" y="58239"/>
                  </a:cubicBezTo>
                  <a:cubicBezTo>
                    <a:pt x="36434" y="58283"/>
                    <a:pt x="36878" y="58305"/>
                    <a:pt x="37321" y="58319"/>
                  </a:cubicBezTo>
                  <a:close/>
                </a:path>
              </a:pathLst>
            </a:custGeom>
            <a:solidFill>
              <a:schemeClr val="tx1"/>
            </a:solidFill>
            <a:ln w="727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endParaRPr lang="en-US" sz="1800"/>
            </a:p>
          </p:txBody>
        </p:sp>
        <p:sp>
          <p:nvSpPr>
            <p:cNvPr id="71" name="Graphic 20">
              <a:extLst>
                <a:ext uri="{FF2B5EF4-FFF2-40B4-BE49-F238E27FC236}">
                  <a16:creationId xmlns:a16="http://schemas.microsoft.com/office/drawing/2014/main" id="{8BBCBCE3-64B4-5944-8183-C4333A715DDC}"/>
                </a:ext>
              </a:extLst>
            </p:cNvPr>
            <p:cNvSpPr/>
            <p:nvPr>
              <p:custDataLst>
                <p:tags r:id="rId27"/>
              </p:custDataLst>
            </p:nvPr>
          </p:nvSpPr>
          <p:spPr>
            <a:xfrm>
              <a:off x="2071470" y="1590918"/>
              <a:ext cx="71072" cy="116830"/>
            </a:xfrm>
            <a:custGeom>
              <a:avLst/>
              <a:gdLst>
                <a:gd name="connsiteX0" fmla="*/ 29831 w 59227"/>
                <a:gd name="connsiteY0" fmla="*/ 291 h 97358"/>
                <a:gd name="connsiteX1" fmla="*/ 45837 w 59227"/>
                <a:gd name="connsiteY1" fmla="*/ 7567 h 97358"/>
                <a:gd name="connsiteX2" fmla="*/ 48384 w 59227"/>
                <a:gd name="connsiteY2" fmla="*/ 1164 h 97358"/>
                <a:gd name="connsiteX3" fmla="*/ 59225 w 59227"/>
                <a:gd name="connsiteY3" fmla="*/ 1164 h 97358"/>
                <a:gd name="connsiteX4" fmla="*/ 59225 w 59227"/>
                <a:gd name="connsiteY4" fmla="*/ 69338 h 97358"/>
                <a:gd name="connsiteX5" fmla="*/ 31948 w 59227"/>
                <a:gd name="connsiteY5" fmla="*/ 97357 h 97358"/>
                <a:gd name="connsiteX6" fmla="*/ 29467 w 59227"/>
                <a:gd name="connsiteY6" fmla="*/ 97277 h 97358"/>
                <a:gd name="connsiteX7" fmla="*/ 2183 w 59227"/>
                <a:gd name="connsiteY7" fmla="*/ 85199 h 97358"/>
                <a:gd name="connsiteX8" fmla="*/ 9458 w 59227"/>
                <a:gd name="connsiteY8" fmla="*/ 75741 h 97358"/>
                <a:gd name="connsiteX9" fmla="*/ 29103 w 59227"/>
                <a:gd name="connsiteY9" fmla="*/ 84835 h 97358"/>
                <a:gd name="connsiteX10" fmla="*/ 45422 w 59227"/>
                <a:gd name="connsiteY10" fmla="*/ 72299 h 97358"/>
                <a:gd name="connsiteX11" fmla="*/ 45473 w 59227"/>
                <a:gd name="connsiteY11" fmla="*/ 68974 h 97358"/>
                <a:gd name="connsiteX12" fmla="*/ 45473 w 59227"/>
                <a:gd name="connsiteY12" fmla="*/ 64463 h 97358"/>
                <a:gd name="connsiteX13" fmla="*/ 30194 w 59227"/>
                <a:gd name="connsiteY13" fmla="*/ 70502 h 97358"/>
                <a:gd name="connsiteX14" fmla="*/ 0 w 59227"/>
                <a:gd name="connsiteY14" fmla="*/ 35433 h 97358"/>
                <a:gd name="connsiteX15" fmla="*/ 29831 w 59227"/>
                <a:gd name="connsiteY15" fmla="*/ 0 h 97358"/>
                <a:gd name="connsiteX16" fmla="*/ 45473 w 59227"/>
                <a:gd name="connsiteY16" fmla="*/ 51221 h 97358"/>
                <a:gd name="connsiteX17" fmla="*/ 45473 w 59227"/>
                <a:gd name="connsiteY17" fmla="*/ 19135 h 97358"/>
                <a:gd name="connsiteX18" fmla="*/ 33105 w 59227"/>
                <a:gd name="connsiteY18" fmla="*/ 12733 h 97358"/>
                <a:gd name="connsiteX19" fmla="*/ 13809 w 59227"/>
                <a:gd name="connsiteY19" fmla="*/ 33425 h 97358"/>
                <a:gd name="connsiteX20" fmla="*/ 13969 w 59227"/>
                <a:gd name="connsiteY20" fmla="*/ 35360 h 97358"/>
                <a:gd name="connsiteX21" fmla="*/ 31431 w 59227"/>
                <a:gd name="connsiteY21" fmla="*/ 57988 h 97358"/>
                <a:gd name="connsiteX22" fmla="*/ 45983 w 59227"/>
                <a:gd name="connsiteY22" fmla="*/ 51585 h 97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9227" h="97358">
                  <a:moveTo>
                    <a:pt x="29831" y="291"/>
                  </a:moveTo>
                  <a:cubicBezTo>
                    <a:pt x="36015" y="73"/>
                    <a:pt x="41937" y="2765"/>
                    <a:pt x="45837" y="7567"/>
                  </a:cubicBezTo>
                  <a:lnTo>
                    <a:pt x="48384" y="1164"/>
                  </a:lnTo>
                  <a:lnTo>
                    <a:pt x="59225" y="1164"/>
                  </a:lnTo>
                  <a:lnTo>
                    <a:pt x="59225" y="69338"/>
                  </a:lnTo>
                  <a:cubicBezTo>
                    <a:pt x="59428" y="84602"/>
                    <a:pt x="47220" y="97153"/>
                    <a:pt x="31948" y="97357"/>
                  </a:cubicBezTo>
                  <a:cubicBezTo>
                    <a:pt x="31126" y="97364"/>
                    <a:pt x="30296" y="97342"/>
                    <a:pt x="29467" y="97277"/>
                  </a:cubicBezTo>
                  <a:cubicBezTo>
                    <a:pt x="19070" y="97291"/>
                    <a:pt x="9160" y="92904"/>
                    <a:pt x="2183" y="85199"/>
                  </a:cubicBezTo>
                  <a:lnTo>
                    <a:pt x="9458" y="75741"/>
                  </a:lnTo>
                  <a:cubicBezTo>
                    <a:pt x="14508" y="81299"/>
                    <a:pt x="21594" y="84581"/>
                    <a:pt x="29103" y="84835"/>
                  </a:cubicBezTo>
                  <a:cubicBezTo>
                    <a:pt x="37070" y="85876"/>
                    <a:pt x="44375" y="80266"/>
                    <a:pt x="45422" y="72299"/>
                  </a:cubicBezTo>
                  <a:cubicBezTo>
                    <a:pt x="45568" y="71193"/>
                    <a:pt x="45583" y="70080"/>
                    <a:pt x="45473" y="68974"/>
                  </a:cubicBezTo>
                  <a:lnTo>
                    <a:pt x="45473" y="64463"/>
                  </a:lnTo>
                  <a:cubicBezTo>
                    <a:pt x="41414" y="68472"/>
                    <a:pt x="35899" y="70655"/>
                    <a:pt x="30194" y="70502"/>
                  </a:cubicBezTo>
                  <a:cubicBezTo>
                    <a:pt x="12369" y="70502"/>
                    <a:pt x="0" y="53913"/>
                    <a:pt x="0" y="35433"/>
                  </a:cubicBezTo>
                  <a:cubicBezTo>
                    <a:pt x="0" y="14333"/>
                    <a:pt x="13824" y="364"/>
                    <a:pt x="29831" y="0"/>
                  </a:cubicBezTo>
                  <a:close/>
                  <a:moveTo>
                    <a:pt x="45473" y="51221"/>
                  </a:moveTo>
                  <a:lnTo>
                    <a:pt x="45473" y="19135"/>
                  </a:lnTo>
                  <a:cubicBezTo>
                    <a:pt x="42578" y="15184"/>
                    <a:pt x="38001" y="12813"/>
                    <a:pt x="33105" y="12733"/>
                  </a:cubicBezTo>
                  <a:cubicBezTo>
                    <a:pt x="22060" y="13118"/>
                    <a:pt x="13424" y="22388"/>
                    <a:pt x="13809" y="33425"/>
                  </a:cubicBezTo>
                  <a:cubicBezTo>
                    <a:pt x="13831" y="34072"/>
                    <a:pt x="13882" y="34720"/>
                    <a:pt x="13969" y="35360"/>
                  </a:cubicBezTo>
                  <a:cubicBezTo>
                    <a:pt x="13969" y="47438"/>
                    <a:pt x="20154" y="57988"/>
                    <a:pt x="31431" y="57988"/>
                  </a:cubicBezTo>
                  <a:cubicBezTo>
                    <a:pt x="37092" y="58694"/>
                    <a:pt x="42680" y="56234"/>
                    <a:pt x="45983" y="51585"/>
                  </a:cubicBezTo>
                  <a:close/>
                </a:path>
              </a:pathLst>
            </a:custGeom>
            <a:solidFill>
              <a:schemeClr val="tx1"/>
            </a:solidFill>
            <a:ln w="727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endParaRPr lang="en-US" sz="1800"/>
            </a:p>
          </p:txBody>
        </p:sp>
        <p:sp>
          <p:nvSpPr>
            <p:cNvPr id="72" name="Graphic 20">
              <a:extLst>
                <a:ext uri="{FF2B5EF4-FFF2-40B4-BE49-F238E27FC236}">
                  <a16:creationId xmlns:a16="http://schemas.microsoft.com/office/drawing/2014/main" id="{4D0B9AC8-E7F7-B74D-A324-61FDCA70F0FD}"/>
                </a:ext>
              </a:extLst>
            </p:cNvPr>
            <p:cNvSpPr/>
            <p:nvPr>
              <p:custDataLst>
                <p:tags r:id="rId28"/>
              </p:custDataLst>
            </p:nvPr>
          </p:nvSpPr>
          <p:spPr>
            <a:xfrm>
              <a:off x="2152929" y="1592055"/>
              <a:ext cx="79274" cy="114466"/>
            </a:xfrm>
            <a:custGeom>
              <a:avLst/>
              <a:gdLst>
                <a:gd name="connsiteX0" fmla="*/ 10186 w 66063"/>
                <a:gd name="connsiteY0" fmla="*/ 82944 h 95388"/>
                <a:gd name="connsiteX1" fmla="*/ 22482 w 66063"/>
                <a:gd name="connsiteY1" fmla="*/ 76905 h 95388"/>
                <a:gd name="connsiteX2" fmla="*/ 26484 w 66063"/>
                <a:gd name="connsiteY2" fmla="*/ 66646 h 95388"/>
                <a:gd name="connsiteX3" fmla="*/ 0 w 66063"/>
                <a:gd name="connsiteY3" fmla="*/ 0 h 95388"/>
                <a:gd name="connsiteX4" fmla="*/ 15279 w 66063"/>
                <a:gd name="connsiteY4" fmla="*/ 0 h 95388"/>
                <a:gd name="connsiteX5" fmla="*/ 34123 w 66063"/>
                <a:gd name="connsiteY5" fmla="*/ 49621 h 95388"/>
                <a:gd name="connsiteX6" fmla="*/ 50785 w 66063"/>
                <a:gd name="connsiteY6" fmla="*/ 0 h 95388"/>
                <a:gd name="connsiteX7" fmla="*/ 66064 w 66063"/>
                <a:gd name="connsiteY7" fmla="*/ 0 h 95388"/>
                <a:gd name="connsiteX8" fmla="*/ 35578 w 66063"/>
                <a:gd name="connsiteY8" fmla="*/ 82216 h 95388"/>
                <a:gd name="connsiteX9" fmla="*/ 10186 w 66063"/>
                <a:gd name="connsiteY9" fmla="*/ 95094 h 95388"/>
                <a:gd name="connsiteX10" fmla="*/ 10186 w 66063"/>
                <a:gd name="connsiteY10" fmla="*/ 82944 h 95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063" h="95388">
                  <a:moveTo>
                    <a:pt x="10186" y="82944"/>
                  </a:moveTo>
                  <a:cubicBezTo>
                    <a:pt x="18480" y="84108"/>
                    <a:pt x="21391" y="80324"/>
                    <a:pt x="22482" y="76905"/>
                  </a:cubicBezTo>
                  <a:lnTo>
                    <a:pt x="26484" y="66646"/>
                  </a:lnTo>
                  <a:lnTo>
                    <a:pt x="0" y="0"/>
                  </a:lnTo>
                  <a:lnTo>
                    <a:pt x="15279" y="0"/>
                  </a:lnTo>
                  <a:lnTo>
                    <a:pt x="34123" y="49621"/>
                  </a:lnTo>
                  <a:lnTo>
                    <a:pt x="50785" y="0"/>
                  </a:lnTo>
                  <a:lnTo>
                    <a:pt x="66064" y="0"/>
                  </a:lnTo>
                  <a:lnTo>
                    <a:pt x="35578" y="82216"/>
                  </a:lnTo>
                  <a:cubicBezTo>
                    <a:pt x="30849" y="94367"/>
                    <a:pt x="20663" y="96258"/>
                    <a:pt x="10186" y="95094"/>
                  </a:cubicBezTo>
                  <a:lnTo>
                    <a:pt x="10186" y="82944"/>
                  </a:lnTo>
                  <a:close/>
                </a:path>
              </a:pathLst>
            </a:custGeom>
            <a:solidFill>
              <a:schemeClr val="tx1"/>
            </a:solidFill>
            <a:ln w="727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endParaRPr lang="en-US" sz="1800"/>
            </a:p>
          </p:txBody>
        </p:sp>
        <p:sp>
          <p:nvSpPr>
            <p:cNvPr id="73" name="Graphic 20">
              <a:extLst>
                <a:ext uri="{FF2B5EF4-FFF2-40B4-BE49-F238E27FC236}">
                  <a16:creationId xmlns:a16="http://schemas.microsoft.com/office/drawing/2014/main" id="{7C9006F7-41C8-8640-A216-6C2C687660EF}"/>
                </a:ext>
              </a:extLst>
            </p:cNvPr>
            <p:cNvSpPr/>
            <p:nvPr>
              <p:custDataLst>
                <p:tags r:id="rId29"/>
              </p:custDataLst>
            </p:nvPr>
          </p:nvSpPr>
          <p:spPr>
            <a:xfrm>
              <a:off x="2280313" y="1557967"/>
              <a:ext cx="99967" cy="119215"/>
            </a:xfrm>
            <a:custGeom>
              <a:avLst/>
              <a:gdLst>
                <a:gd name="connsiteX0" fmla="*/ 71084 w 83307"/>
                <a:gd name="connsiteY0" fmla="*/ 24987 h 99345"/>
                <a:gd name="connsiteX1" fmla="*/ 46274 w 83307"/>
                <a:gd name="connsiteY1" fmla="*/ 14001 h 99345"/>
                <a:gd name="connsiteX2" fmla="*/ 15061 w 83307"/>
                <a:gd name="connsiteY2" fmla="*/ 50016 h 99345"/>
                <a:gd name="connsiteX3" fmla="*/ 46274 w 83307"/>
                <a:gd name="connsiteY3" fmla="*/ 85303 h 99345"/>
                <a:gd name="connsiteX4" fmla="*/ 72903 w 83307"/>
                <a:gd name="connsiteY4" fmla="*/ 71625 h 99345"/>
                <a:gd name="connsiteX5" fmla="*/ 83307 w 83307"/>
                <a:gd name="connsiteY5" fmla="*/ 80356 h 99345"/>
                <a:gd name="connsiteX6" fmla="*/ 46274 w 83307"/>
                <a:gd name="connsiteY6" fmla="*/ 99345 h 99345"/>
                <a:gd name="connsiteX7" fmla="*/ 0 w 83307"/>
                <a:gd name="connsiteY7" fmla="*/ 50016 h 99345"/>
                <a:gd name="connsiteX8" fmla="*/ 46274 w 83307"/>
                <a:gd name="connsiteY8" fmla="*/ 31 h 99345"/>
                <a:gd name="connsiteX9" fmla="*/ 80033 w 83307"/>
                <a:gd name="connsiteY9" fmla="*/ 15892 h 99345"/>
                <a:gd name="connsiteX10" fmla="*/ 71084 w 83307"/>
                <a:gd name="connsiteY10" fmla="*/ 24987 h 99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3307" h="99345">
                  <a:moveTo>
                    <a:pt x="71084" y="24987"/>
                  </a:moveTo>
                  <a:cubicBezTo>
                    <a:pt x="64798" y="17900"/>
                    <a:pt x="55747" y="13892"/>
                    <a:pt x="46274" y="14001"/>
                  </a:cubicBezTo>
                  <a:cubicBezTo>
                    <a:pt x="25465" y="14437"/>
                    <a:pt x="15061" y="32627"/>
                    <a:pt x="15061" y="50016"/>
                  </a:cubicBezTo>
                  <a:cubicBezTo>
                    <a:pt x="15061" y="67405"/>
                    <a:pt x="25829" y="85303"/>
                    <a:pt x="46274" y="85303"/>
                  </a:cubicBezTo>
                  <a:cubicBezTo>
                    <a:pt x="56794" y="85143"/>
                    <a:pt x="66646" y="80086"/>
                    <a:pt x="72903" y="71625"/>
                  </a:cubicBezTo>
                  <a:lnTo>
                    <a:pt x="83307" y="80356"/>
                  </a:lnTo>
                  <a:cubicBezTo>
                    <a:pt x="74707" y="92237"/>
                    <a:pt x="60942" y="99294"/>
                    <a:pt x="46274" y="99345"/>
                  </a:cubicBezTo>
                  <a:cubicBezTo>
                    <a:pt x="16152" y="99345"/>
                    <a:pt x="0" y="74680"/>
                    <a:pt x="0" y="50016"/>
                  </a:cubicBezTo>
                  <a:cubicBezTo>
                    <a:pt x="0" y="25351"/>
                    <a:pt x="16152" y="31"/>
                    <a:pt x="46274" y="31"/>
                  </a:cubicBezTo>
                  <a:cubicBezTo>
                    <a:pt x="59436" y="-485"/>
                    <a:pt x="72030" y="5430"/>
                    <a:pt x="80033" y="15892"/>
                  </a:cubicBezTo>
                  <a:lnTo>
                    <a:pt x="71084" y="24987"/>
                  </a:lnTo>
                  <a:close/>
                </a:path>
              </a:pathLst>
            </a:custGeom>
            <a:solidFill>
              <a:schemeClr val="tx1"/>
            </a:solidFill>
            <a:ln w="727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endParaRPr lang="en-US" sz="1800"/>
            </a:p>
          </p:txBody>
        </p:sp>
        <p:sp>
          <p:nvSpPr>
            <p:cNvPr id="74" name="Graphic 20">
              <a:extLst>
                <a:ext uri="{FF2B5EF4-FFF2-40B4-BE49-F238E27FC236}">
                  <a16:creationId xmlns:a16="http://schemas.microsoft.com/office/drawing/2014/main" id="{BF2FF71D-9AC3-8541-B021-5A754EB1C924}"/>
                </a:ext>
              </a:extLst>
            </p:cNvPr>
            <p:cNvSpPr/>
            <p:nvPr>
              <p:custDataLst>
                <p:tags r:id="rId30"/>
              </p:custDataLst>
            </p:nvPr>
          </p:nvSpPr>
          <p:spPr>
            <a:xfrm>
              <a:off x="2392610" y="1590571"/>
              <a:ext cx="82037" cy="85824"/>
            </a:xfrm>
            <a:custGeom>
              <a:avLst/>
              <a:gdLst>
                <a:gd name="connsiteX0" fmla="*/ 34182 w 68364"/>
                <a:gd name="connsiteY0" fmla="*/ 71521 h 71520"/>
                <a:gd name="connsiteX1" fmla="*/ 37 w 68364"/>
                <a:gd name="connsiteY1" fmla="*/ 34145 h 71520"/>
                <a:gd name="connsiteX2" fmla="*/ 34182 w 68364"/>
                <a:gd name="connsiteY2" fmla="*/ 0 h 71520"/>
                <a:gd name="connsiteX3" fmla="*/ 68328 w 68364"/>
                <a:gd name="connsiteY3" fmla="*/ 37376 h 71520"/>
                <a:gd name="connsiteX4" fmla="*/ 34182 w 68364"/>
                <a:gd name="connsiteY4" fmla="*/ 71521 h 71520"/>
                <a:gd name="connsiteX5" fmla="*/ 34182 w 68364"/>
                <a:gd name="connsiteY5" fmla="*/ 58279 h 71520"/>
                <a:gd name="connsiteX6" fmla="*/ 54147 w 68364"/>
                <a:gd name="connsiteY6" fmla="*/ 37077 h 71520"/>
                <a:gd name="connsiteX7" fmla="*/ 54045 w 68364"/>
                <a:gd name="connsiteY7" fmla="*/ 35578 h 71520"/>
                <a:gd name="connsiteX8" fmla="*/ 36038 w 68364"/>
                <a:gd name="connsiteY8" fmla="*/ 13351 h 71520"/>
                <a:gd name="connsiteX9" fmla="*/ 34182 w 68364"/>
                <a:gd name="connsiteY9" fmla="*/ 13242 h 71520"/>
                <a:gd name="connsiteX10" fmla="*/ 13607 w 68364"/>
                <a:gd name="connsiteY10" fmla="*/ 34131 h 71520"/>
                <a:gd name="connsiteX11" fmla="*/ 13665 w 68364"/>
                <a:gd name="connsiteY11" fmla="*/ 35578 h 71520"/>
                <a:gd name="connsiteX12" fmla="*/ 32946 w 68364"/>
                <a:gd name="connsiteY12" fmla="*/ 58213 h 71520"/>
                <a:gd name="connsiteX13" fmla="*/ 34182 w 68364"/>
                <a:gd name="connsiteY13" fmla="*/ 58279 h 7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8364" h="71520">
                  <a:moveTo>
                    <a:pt x="34182" y="71521"/>
                  </a:moveTo>
                  <a:cubicBezTo>
                    <a:pt x="14436" y="70633"/>
                    <a:pt x="-858" y="53899"/>
                    <a:pt x="37" y="34145"/>
                  </a:cubicBezTo>
                  <a:cubicBezTo>
                    <a:pt x="867" y="15643"/>
                    <a:pt x="15680" y="837"/>
                    <a:pt x="34182" y="0"/>
                  </a:cubicBezTo>
                  <a:cubicBezTo>
                    <a:pt x="53929" y="888"/>
                    <a:pt x="69222" y="17622"/>
                    <a:pt x="68328" y="37376"/>
                  </a:cubicBezTo>
                  <a:cubicBezTo>
                    <a:pt x="67498" y="55878"/>
                    <a:pt x="52685" y="70684"/>
                    <a:pt x="34182" y="71521"/>
                  </a:cubicBezTo>
                  <a:close/>
                  <a:moveTo>
                    <a:pt x="34182" y="58279"/>
                  </a:moveTo>
                  <a:cubicBezTo>
                    <a:pt x="45547" y="57937"/>
                    <a:pt x="54489" y="48449"/>
                    <a:pt x="54147" y="37077"/>
                  </a:cubicBezTo>
                  <a:cubicBezTo>
                    <a:pt x="54133" y="36575"/>
                    <a:pt x="54096" y="36080"/>
                    <a:pt x="54045" y="35578"/>
                  </a:cubicBezTo>
                  <a:cubicBezTo>
                    <a:pt x="55209" y="24468"/>
                    <a:pt x="47148" y="14515"/>
                    <a:pt x="36038" y="13351"/>
                  </a:cubicBezTo>
                  <a:cubicBezTo>
                    <a:pt x="35427" y="13286"/>
                    <a:pt x="34801" y="13249"/>
                    <a:pt x="34182" y="13242"/>
                  </a:cubicBezTo>
                  <a:cubicBezTo>
                    <a:pt x="22730" y="13329"/>
                    <a:pt x="13519" y="22679"/>
                    <a:pt x="13607" y="34131"/>
                  </a:cubicBezTo>
                  <a:cubicBezTo>
                    <a:pt x="13607" y="34618"/>
                    <a:pt x="13628" y="35098"/>
                    <a:pt x="13665" y="35578"/>
                  </a:cubicBezTo>
                  <a:cubicBezTo>
                    <a:pt x="12741" y="47154"/>
                    <a:pt x="21370" y="57289"/>
                    <a:pt x="32946" y="58213"/>
                  </a:cubicBezTo>
                  <a:cubicBezTo>
                    <a:pt x="33360" y="58250"/>
                    <a:pt x="33768" y="58272"/>
                    <a:pt x="34182" y="58279"/>
                  </a:cubicBezTo>
                  <a:close/>
                </a:path>
              </a:pathLst>
            </a:custGeom>
            <a:solidFill>
              <a:schemeClr val="tx1"/>
            </a:solidFill>
            <a:ln w="727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endParaRPr lang="en-US" sz="1800"/>
            </a:p>
          </p:txBody>
        </p:sp>
        <p:sp>
          <p:nvSpPr>
            <p:cNvPr id="75" name="Graphic 20">
              <a:extLst>
                <a:ext uri="{FF2B5EF4-FFF2-40B4-BE49-F238E27FC236}">
                  <a16:creationId xmlns:a16="http://schemas.microsoft.com/office/drawing/2014/main" id="{3B1188F4-6F32-A64B-8166-0722097CA93C}"/>
                </a:ext>
              </a:extLst>
            </p:cNvPr>
            <p:cNvSpPr/>
            <p:nvPr>
              <p:custDataLst>
                <p:tags r:id="rId31"/>
              </p:custDataLst>
            </p:nvPr>
          </p:nvSpPr>
          <p:spPr>
            <a:xfrm>
              <a:off x="2493697" y="1590533"/>
              <a:ext cx="117605" cy="84378"/>
            </a:xfrm>
            <a:custGeom>
              <a:avLst/>
              <a:gdLst>
                <a:gd name="connsiteX0" fmla="*/ 49111 w 98004"/>
                <a:gd name="connsiteY0" fmla="*/ 11818 h 70315"/>
                <a:gd name="connsiteX1" fmla="*/ 70138 w 98004"/>
                <a:gd name="connsiteY1" fmla="*/ 31 h 70315"/>
                <a:gd name="connsiteX2" fmla="*/ 98004 w 98004"/>
                <a:gd name="connsiteY2" fmla="*/ 30080 h 70315"/>
                <a:gd name="connsiteX3" fmla="*/ 98004 w 98004"/>
                <a:gd name="connsiteY3" fmla="*/ 70315 h 70315"/>
                <a:gd name="connsiteX4" fmla="*/ 84108 w 98004"/>
                <a:gd name="connsiteY4" fmla="*/ 70315 h 70315"/>
                <a:gd name="connsiteX5" fmla="*/ 84108 w 98004"/>
                <a:gd name="connsiteY5" fmla="*/ 29644 h 70315"/>
                <a:gd name="connsiteX6" fmla="*/ 70356 w 98004"/>
                <a:gd name="connsiteY6" fmla="*/ 12910 h 70315"/>
                <a:gd name="connsiteX7" fmla="*/ 55805 w 98004"/>
                <a:gd name="connsiteY7" fmla="*/ 29280 h 70315"/>
                <a:gd name="connsiteX8" fmla="*/ 55805 w 98004"/>
                <a:gd name="connsiteY8" fmla="*/ 70315 h 70315"/>
                <a:gd name="connsiteX9" fmla="*/ 42345 w 98004"/>
                <a:gd name="connsiteY9" fmla="*/ 70315 h 70315"/>
                <a:gd name="connsiteX10" fmla="*/ 42345 w 98004"/>
                <a:gd name="connsiteY10" fmla="*/ 29280 h 70315"/>
                <a:gd name="connsiteX11" fmla="*/ 14115 w 98004"/>
                <a:gd name="connsiteY11" fmla="*/ 18657 h 70315"/>
                <a:gd name="connsiteX12" fmla="*/ 14115 w 98004"/>
                <a:gd name="connsiteY12" fmla="*/ 70315 h 70315"/>
                <a:gd name="connsiteX13" fmla="*/ 0 w 98004"/>
                <a:gd name="connsiteY13" fmla="*/ 70315 h 70315"/>
                <a:gd name="connsiteX14" fmla="*/ 0 w 98004"/>
                <a:gd name="connsiteY14" fmla="*/ 1123 h 70315"/>
                <a:gd name="connsiteX15" fmla="*/ 11350 w 98004"/>
                <a:gd name="connsiteY15" fmla="*/ 1123 h 70315"/>
                <a:gd name="connsiteX16" fmla="*/ 13169 w 98004"/>
                <a:gd name="connsiteY16" fmla="*/ 8399 h 70315"/>
                <a:gd name="connsiteX17" fmla="*/ 29831 w 98004"/>
                <a:gd name="connsiteY17" fmla="*/ 395 h 70315"/>
                <a:gd name="connsiteX18" fmla="*/ 49038 w 98004"/>
                <a:gd name="connsiteY18" fmla="*/ 11818 h 70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8004" h="70315">
                  <a:moveTo>
                    <a:pt x="49111" y="11818"/>
                  </a:moveTo>
                  <a:cubicBezTo>
                    <a:pt x="53258" y="4157"/>
                    <a:pt x="61444" y="-427"/>
                    <a:pt x="70138" y="31"/>
                  </a:cubicBezTo>
                  <a:cubicBezTo>
                    <a:pt x="85345" y="31"/>
                    <a:pt x="98004" y="7962"/>
                    <a:pt x="98004" y="30080"/>
                  </a:cubicBezTo>
                  <a:lnTo>
                    <a:pt x="98004" y="70315"/>
                  </a:lnTo>
                  <a:lnTo>
                    <a:pt x="84108" y="70315"/>
                  </a:lnTo>
                  <a:lnTo>
                    <a:pt x="84108" y="29644"/>
                  </a:lnTo>
                  <a:cubicBezTo>
                    <a:pt x="84108" y="17493"/>
                    <a:pt x="77560" y="12910"/>
                    <a:pt x="70356" y="12910"/>
                  </a:cubicBezTo>
                  <a:cubicBezTo>
                    <a:pt x="63153" y="12910"/>
                    <a:pt x="55805" y="17857"/>
                    <a:pt x="55805" y="29280"/>
                  </a:cubicBezTo>
                  <a:lnTo>
                    <a:pt x="55805" y="70315"/>
                  </a:lnTo>
                  <a:lnTo>
                    <a:pt x="42345" y="70315"/>
                  </a:lnTo>
                  <a:lnTo>
                    <a:pt x="42345" y="29280"/>
                  </a:lnTo>
                  <a:cubicBezTo>
                    <a:pt x="43436" y="10290"/>
                    <a:pt x="23937" y="7453"/>
                    <a:pt x="14115" y="18657"/>
                  </a:cubicBezTo>
                  <a:lnTo>
                    <a:pt x="14115" y="70315"/>
                  </a:lnTo>
                  <a:lnTo>
                    <a:pt x="0" y="70315"/>
                  </a:lnTo>
                  <a:lnTo>
                    <a:pt x="0" y="1123"/>
                  </a:lnTo>
                  <a:lnTo>
                    <a:pt x="11350" y="1123"/>
                  </a:lnTo>
                  <a:lnTo>
                    <a:pt x="13169" y="8399"/>
                  </a:lnTo>
                  <a:cubicBezTo>
                    <a:pt x="17025" y="3102"/>
                    <a:pt x="23282" y="97"/>
                    <a:pt x="29831" y="395"/>
                  </a:cubicBezTo>
                  <a:cubicBezTo>
                    <a:pt x="37943" y="17"/>
                    <a:pt x="45495" y="4513"/>
                    <a:pt x="49038" y="11818"/>
                  </a:cubicBezTo>
                  <a:close/>
                </a:path>
              </a:pathLst>
            </a:custGeom>
            <a:solidFill>
              <a:schemeClr val="tx1"/>
            </a:solidFill>
            <a:ln w="727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endParaRPr lang="en-US" sz="1800"/>
            </a:p>
          </p:txBody>
        </p:sp>
        <p:sp>
          <p:nvSpPr>
            <p:cNvPr id="76" name="Graphic 20">
              <a:extLst>
                <a:ext uri="{FF2B5EF4-FFF2-40B4-BE49-F238E27FC236}">
                  <a16:creationId xmlns:a16="http://schemas.microsoft.com/office/drawing/2014/main" id="{7B46880C-522F-9C49-9071-85B94A0DCC6E}"/>
                </a:ext>
              </a:extLst>
            </p:cNvPr>
            <p:cNvSpPr/>
            <p:nvPr>
              <p:custDataLst>
                <p:tags r:id="rId32"/>
              </p:custDataLst>
            </p:nvPr>
          </p:nvSpPr>
          <p:spPr>
            <a:xfrm>
              <a:off x="2634264" y="1591501"/>
              <a:ext cx="71767" cy="114578"/>
            </a:xfrm>
            <a:custGeom>
              <a:avLst/>
              <a:gdLst>
                <a:gd name="connsiteX0" fmla="*/ 28594 w 59806"/>
                <a:gd name="connsiteY0" fmla="*/ 70527 h 95482"/>
                <a:gd name="connsiteX1" fmla="*/ 13387 w 59806"/>
                <a:gd name="connsiteY1" fmla="*/ 63687 h 95482"/>
                <a:gd name="connsiteX2" fmla="*/ 13387 w 59806"/>
                <a:gd name="connsiteY2" fmla="*/ 95482 h 95482"/>
                <a:gd name="connsiteX3" fmla="*/ 0 w 59806"/>
                <a:gd name="connsiteY3" fmla="*/ 95482 h 95482"/>
                <a:gd name="connsiteX4" fmla="*/ 0 w 59806"/>
                <a:gd name="connsiteY4" fmla="*/ 898 h 95482"/>
                <a:gd name="connsiteX5" fmla="*/ 11569 w 59806"/>
                <a:gd name="connsiteY5" fmla="*/ 898 h 95482"/>
                <a:gd name="connsiteX6" fmla="*/ 13751 w 59806"/>
                <a:gd name="connsiteY6" fmla="*/ 7300 h 95482"/>
                <a:gd name="connsiteX7" fmla="*/ 30049 w 59806"/>
                <a:gd name="connsiteY7" fmla="*/ 24 h 95482"/>
                <a:gd name="connsiteX8" fmla="*/ 59807 w 59806"/>
                <a:gd name="connsiteY8" fmla="*/ 35603 h 95482"/>
                <a:gd name="connsiteX9" fmla="*/ 28594 w 59806"/>
                <a:gd name="connsiteY9" fmla="*/ 70745 h 95482"/>
                <a:gd name="connsiteX10" fmla="*/ 46056 w 59806"/>
                <a:gd name="connsiteY10" fmla="*/ 34948 h 95482"/>
                <a:gd name="connsiteX11" fmla="*/ 26120 w 59806"/>
                <a:gd name="connsiteY11" fmla="*/ 12684 h 95482"/>
                <a:gd name="connsiteX12" fmla="*/ 13751 w 59806"/>
                <a:gd name="connsiteY12" fmla="*/ 18723 h 95482"/>
                <a:gd name="connsiteX13" fmla="*/ 13751 w 59806"/>
                <a:gd name="connsiteY13" fmla="*/ 50082 h 95482"/>
                <a:gd name="connsiteX14" fmla="*/ 27502 w 59806"/>
                <a:gd name="connsiteY14" fmla="*/ 57357 h 95482"/>
                <a:gd name="connsiteX15" fmla="*/ 46056 w 59806"/>
                <a:gd name="connsiteY15" fmla="*/ 35021 h 95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9806" h="95482">
                  <a:moveTo>
                    <a:pt x="28594" y="70527"/>
                  </a:moveTo>
                  <a:cubicBezTo>
                    <a:pt x="22744" y="70716"/>
                    <a:pt x="17134" y="68191"/>
                    <a:pt x="13387" y="63687"/>
                  </a:cubicBezTo>
                  <a:lnTo>
                    <a:pt x="13387" y="95482"/>
                  </a:lnTo>
                  <a:lnTo>
                    <a:pt x="0" y="95482"/>
                  </a:lnTo>
                  <a:lnTo>
                    <a:pt x="0" y="898"/>
                  </a:lnTo>
                  <a:lnTo>
                    <a:pt x="11569" y="898"/>
                  </a:lnTo>
                  <a:lnTo>
                    <a:pt x="13751" y="7300"/>
                  </a:lnTo>
                  <a:cubicBezTo>
                    <a:pt x="17709" y="2411"/>
                    <a:pt x="23770" y="-288"/>
                    <a:pt x="30049" y="24"/>
                  </a:cubicBezTo>
                  <a:cubicBezTo>
                    <a:pt x="44964" y="24"/>
                    <a:pt x="59807" y="12102"/>
                    <a:pt x="59807" y="35603"/>
                  </a:cubicBezTo>
                  <a:cubicBezTo>
                    <a:pt x="59807" y="54083"/>
                    <a:pt x="46783" y="71109"/>
                    <a:pt x="28594" y="70745"/>
                  </a:cubicBezTo>
                  <a:close/>
                  <a:moveTo>
                    <a:pt x="46056" y="34948"/>
                  </a:moveTo>
                  <a:cubicBezTo>
                    <a:pt x="46056" y="18359"/>
                    <a:pt x="35870" y="13121"/>
                    <a:pt x="26120" y="12684"/>
                  </a:cubicBezTo>
                  <a:cubicBezTo>
                    <a:pt x="21245" y="12495"/>
                    <a:pt x="16603" y="14765"/>
                    <a:pt x="13751" y="18723"/>
                  </a:cubicBezTo>
                  <a:lnTo>
                    <a:pt x="13751" y="50082"/>
                  </a:lnTo>
                  <a:cubicBezTo>
                    <a:pt x="16545" y="54956"/>
                    <a:pt x="21900" y="57794"/>
                    <a:pt x="27502" y="57357"/>
                  </a:cubicBezTo>
                  <a:cubicBezTo>
                    <a:pt x="39144" y="57357"/>
                    <a:pt x="46056" y="47171"/>
                    <a:pt x="46056" y="35021"/>
                  </a:cubicBezTo>
                  <a:close/>
                </a:path>
              </a:pathLst>
            </a:custGeom>
            <a:solidFill>
              <a:schemeClr val="tx1"/>
            </a:solidFill>
            <a:ln w="727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endParaRPr lang="en-US" sz="1800"/>
            </a:p>
          </p:txBody>
        </p:sp>
        <p:sp>
          <p:nvSpPr>
            <p:cNvPr id="77" name="Graphic 20">
              <a:extLst>
                <a:ext uri="{FF2B5EF4-FFF2-40B4-BE49-F238E27FC236}">
                  <a16:creationId xmlns:a16="http://schemas.microsoft.com/office/drawing/2014/main" id="{3BD42715-342B-6842-A1DE-DEDA3F5A35D5}"/>
                </a:ext>
              </a:extLst>
            </p:cNvPr>
            <p:cNvSpPr/>
            <p:nvPr>
              <p:custDataLst>
                <p:tags r:id="rId33"/>
              </p:custDataLst>
            </p:nvPr>
          </p:nvSpPr>
          <p:spPr>
            <a:xfrm>
              <a:off x="2720086" y="1588844"/>
              <a:ext cx="68890" cy="86976"/>
            </a:xfrm>
            <a:custGeom>
              <a:avLst/>
              <a:gdLst>
                <a:gd name="connsiteX0" fmla="*/ 46568 w 57408"/>
                <a:gd name="connsiteY0" fmla="*/ 71649 h 72480"/>
                <a:gd name="connsiteX1" fmla="*/ 44094 w 57408"/>
                <a:gd name="connsiteY1" fmla="*/ 63282 h 72480"/>
                <a:gd name="connsiteX2" fmla="*/ 25687 w 57408"/>
                <a:gd name="connsiteY2" fmla="*/ 72377 h 72480"/>
                <a:gd name="connsiteX3" fmla="*/ 105 w 57408"/>
                <a:gd name="connsiteY3" fmla="*/ 51161 h 72480"/>
                <a:gd name="connsiteX4" fmla="*/ 3 w 57408"/>
                <a:gd name="connsiteY4" fmla="*/ 48585 h 72480"/>
                <a:gd name="connsiteX5" fmla="*/ 30343 w 57408"/>
                <a:gd name="connsiteY5" fmla="*/ 25521 h 72480"/>
                <a:gd name="connsiteX6" fmla="*/ 44094 w 57408"/>
                <a:gd name="connsiteY6" fmla="*/ 29668 h 72480"/>
                <a:gd name="connsiteX7" fmla="*/ 44094 w 57408"/>
                <a:gd name="connsiteY7" fmla="*/ 26612 h 72480"/>
                <a:gd name="connsiteX8" fmla="*/ 27797 w 57408"/>
                <a:gd name="connsiteY8" fmla="*/ 13007 h 72480"/>
                <a:gd name="connsiteX9" fmla="*/ 9753 w 57408"/>
                <a:gd name="connsiteY9" fmla="*/ 18682 h 72480"/>
                <a:gd name="connsiteX10" fmla="*/ 4005 w 57408"/>
                <a:gd name="connsiteY10" fmla="*/ 9296 h 72480"/>
                <a:gd name="connsiteX11" fmla="*/ 57409 w 57408"/>
                <a:gd name="connsiteY11" fmla="*/ 26612 h 72480"/>
                <a:gd name="connsiteX12" fmla="*/ 57409 w 57408"/>
                <a:gd name="connsiteY12" fmla="*/ 71649 h 72480"/>
                <a:gd name="connsiteX13" fmla="*/ 44094 w 57408"/>
                <a:gd name="connsiteY13" fmla="*/ 53096 h 72480"/>
                <a:gd name="connsiteX14" fmla="*/ 44094 w 57408"/>
                <a:gd name="connsiteY14" fmla="*/ 41746 h 72480"/>
                <a:gd name="connsiteX15" fmla="*/ 30707 w 57408"/>
                <a:gd name="connsiteY15" fmla="*/ 36871 h 72480"/>
                <a:gd name="connsiteX16" fmla="*/ 13391 w 57408"/>
                <a:gd name="connsiteY16" fmla="*/ 48585 h 72480"/>
                <a:gd name="connsiteX17" fmla="*/ 28888 w 57408"/>
                <a:gd name="connsiteY17" fmla="*/ 59935 h 72480"/>
                <a:gd name="connsiteX18" fmla="*/ 44094 w 57408"/>
                <a:gd name="connsiteY18" fmla="*/ 53096 h 72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7408" h="72480">
                  <a:moveTo>
                    <a:pt x="46568" y="71649"/>
                  </a:moveTo>
                  <a:lnTo>
                    <a:pt x="44094" y="63282"/>
                  </a:lnTo>
                  <a:cubicBezTo>
                    <a:pt x="40216" y="69597"/>
                    <a:pt x="33057" y="73133"/>
                    <a:pt x="25687" y="72377"/>
                  </a:cubicBezTo>
                  <a:cubicBezTo>
                    <a:pt x="12765" y="73585"/>
                    <a:pt x="1306" y="64090"/>
                    <a:pt x="105" y="51161"/>
                  </a:cubicBezTo>
                  <a:cubicBezTo>
                    <a:pt x="25" y="50309"/>
                    <a:pt x="-11" y="49444"/>
                    <a:pt x="3" y="48585"/>
                  </a:cubicBezTo>
                  <a:cubicBezTo>
                    <a:pt x="3" y="35707"/>
                    <a:pt x="9753" y="24793"/>
                    <a:pt x="30343" y="25521"/>
                  </a:cubicBezTo>
                  <a:cubicBezTo>
                    <a:pt x="35261" y="25310"/>
                    <a:pt x="40107" y="26772"/>
                    <a:pt x="44094" y="29668"/>
                  </a:cubicBezTo>
                  <a:lnTo>
                    <a:pt x="44094" y="26612"/>
                  </a:lnTo>
                  <a:cubicBezTo>
                    <a:pt x="44094" y="15699"/>
                    <a:pt x="35727" y="12643"/>
                    <a:pt x="27797" y="13007"/>
                  </a:cubicBezTo>
                  <a:cubicBezTo>
                    <a:pt x="21365" y="13138"/>
                    <a:pt x="15100" y="15109"/>
                    <a:pt x="9753" y="18682"/>
                  </a:cubicBezTo>
                  <a:lnTo>
                    <a:pt x="4005" y="9296"/>
                  </a:lnTo>
                  <a:cubicBezTo>
                    <a:pt x="22049" y="-6638"/>
                    <a:pt x="57409" y="-2854"/>
                    <a:pt x="57409" y="26612"/>
                  </a:cubicBezTo>
                  <a:lnTo>
                    <a:pt x="57409" y="71649"/>
                  </a:lnTo>
                  <a:close/>
                  <a:moveTo>
                    <a:pt x="44094" y="53096"/>
                  </a:moveTo>
                  <a:lnTo>
                    <a:pt x="44094" y="41746"/>
                  </a:lnTo>
                  <a:cubicBezTo>
                    <a:pt x="40238" y="38777"/>
                    <a:pt x="35567" y="37075"/>
                    <a:pt x="30707" y="36871"/>
                  </a:cubicBezTo>
                  <a:cubicBezTo>
                    <a:pt x="21685" y="36871"/>
                    <a:pt x="13391" y="40218"/>
                    <a:pt x="13391" y="48585"/>
                  </a:cubicBezTo>
                  <a:cubicBezTo>
                    <a:pt x="13391" y="56952"/>
                    <a:pt x="18047" y="59935"/>
                    <a:pt x="28888" y="59935"/>
                  </a:cubicBezTo>
                  <a:cubicBezTo>
                    <a:pt x="34665" y="59761"/>
                    <a:pt x="40129" y="57301"/>
                    <a:pt x="44094" y="53096"/>
                  </a:cubicBezTo>
                  <a:close/>
                </a:path>
              </a:pathLst>
            </a:custGeom>
            <a:solidFill>
              <a:schemeClr val="tx1"/>
            </a:solidFill>
            <a:ln w="727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endParaRPr lang="en-US" sz="1800"/>
            </a:p>
          </p:txBody>
        </p:sp>
        <p:sp>
          <p:nvSpPr>
            <p:cNvPr id="78" name="Graphic 20">
              <a:extLst>
                <a:ext uri="{FF2B5EF4-FFF2-40B4-BE49-F238E27FC236}">
                  <a16:creationId xmlns:a16="http://schemas.microsoft.com/office/drawing/2014/main" id="{73A73280-C4D5-D547-8800-713D4858DDBF}"/>
                </a:ext>
              </a:extLst>
            </p:cNvPr>
            <p:cNvSpPr/>
            <p:nvPr>
              <p:custDataLst>
                <p:tags r:id="rId34"/>
              </p:custDataLst>
            </p:nvPr>
          </p:nvSpPr>
          <p:spPr>
            <a:xfrm>
              <a:off x="2811940" y="1590438"/>
              <a:ext cx="71993" cy="84472"/>
            </a:xfrm>
            <a:custGeom>
              <a:avLst/>
              <a:gdLst>
                <a:gd name="connsiteX0" fmla="*/ 11568 w 59994"/>
                <a:gd name="connsiteY0" fmla="*/ 1201 h 70393"/>
                <a:gd name="connsiteX1" fmla="*/ 13315 w 59994"/>
                <a:gd name="connsiteY1" fmla="*/ 9568 h 70393"/>
                <a:gd name="connsiteX2" fmla="*/ 29903 w 59994"/>
                <a:gd name="connsiteY2" fmla="*/ 109 h 70393"/>
                <a:gd name="connsiteX3" fmla="*/ 59887 w 59994"/>
                <a:gd name="connsiteY3" fmla="*/ 25203 h 70393"/>
                <a:gd name="connsiteX4" fmla="*/ 59879 w 59994"/>
                <a:gd name="connsiteY4" fmla="*/ 30158 h 70393"/>
                <a:gd name="connsiteX5" fmla="*/ 59879 w 59994"/>
                <a:gd name="connsiteY5" fmla="*/ 70393 h 70393"/>
                <a:gd name="connsiteX6" fmla="*/ 45764 w 59994"/>
                <a:gd name="connsiteY6" fmla="*/ 70393 h 70393"/>
                <a:gd name="connsiteX7" fmla="*/ 45764 w 59994"/>
                <a:gd name="connsiteY7" fmla="*/ 30158 h 70393"/>
                <a:gd name="connsiteX8" fmla="*/ 14042 w 59994"/>
                <a:gd name="connsiteY8" fmla="*/ 20627 h 70393"/>
                <a:gd name="connsiteX9" fmla="*/ 14042 w 59994"/>
                <a:gd name="connsiteY9" fmla="*/ 70393 h 70393"/>
                <a:gd name="connsiteX10" fmla="*/ 0 w 59994"/>
                <a:gd name="connsiteY10" fmla="*/ 70393 h 70393"/>
                <a:gd name="connsiteX11" fmla="*/ 0 w 59994"/>
                <a:gd name="connsiteY11" fmla="*/ 1201 h 70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9994" h="70393">
                  <a:moveTo>
                    <a:pt x="11568" y="1201"/>
                  </a:moveTo>
                  <a:lnTo>
                    <a:pt x="13315" y="9568"/>
                  </a:lnTo>
                  <a:cubicBezTo>
                    <a:pt x="17047" y="3973"/>
                    <a:pt x="23195" y="473"/>
                    <a:pt x="29903" y="109"/>
                  </a:cubicBezTo>
                  <a:cubicBezTo>
                    <a:pt x="45110" y="-1237"/>
                    <a:pt x="58533" y="9997"/>
                    <a:pt x="59887" y="25203"/>
                  </a:cubicBezTo>
                  <a:cubicBezTo>
                    <a:pt x="60032" y="26855"/>
                    <a:pt x="60032" y="28514"/>
                    <a:pt x="59879" y="30158"/>
                  </a:cubicBezTo>
                  <a:lnTo>
                    <a:pt x="59879" y="70393"/>
                  </a:lnTo>
                  <a:lnTo>
                    <a:pt x="45764" y="70393"/>
                  </a:lnTo>
                  <a:lnTo>
                    <a:pt x="45764" y="30158"/>
                  </a:lnTo>
                  <a:cubicBezTo>
                    <a:pt x="45764" y="12624"/>
                    <a:pt x="24883" y="7312"/>
                    <a:pt x="14042" y="20627"/>
                  </a:cubicBezTo>
                  <a:lnTo>
                    <a:pt x="14042" y="70393"/>
                  </a:lnTo>
                  <a:lnTo>
                    <a:pt x="0" y="70393"/>
                  </a:lnTo>
                  <a:lnTo>
                    <a:pt x="0" y="1201"/>
                  </a:lnTo>
                  <a:close/>
                </a:path>
              </a:pathLst>
            </a:custGeom>
            <a:solidFill>
              <a:schemeClr val="tx1"/>
            </a:solidFill>
            <a:ln w="727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endParaRPr lang="en-US" sz="1800"/>
            </a:p>
          </p:txBody>
        </p:sp>
        <p:sp>
          <p:nvSpPr>
            <p:cNvPr id="79" name="Graphic 20">
              <a:extLst>
                <a:ext uri="{FF2B5EF4-FFF2-40B4-BE49-F238E27FC236}">
                  <a16:creationId xmlns:a16="http://schemas.microsoft.com/office/drawing/2014/main" id="{A87395C7-A7F1-1B4F-82AC-F85EEE1160C2}"/>
                </a:ext>
              </a:extLst>
            </p:cNvPr>
            <p:cNvSpPr/>
            <p:nvPr>
              <p:custDataLst>
                <p:tags r:id="rId35"/>
              </p:custDataLst>
            </p:nvPr>
          </p:nvSpPr>
          <p:spPr>
            <a:xfrm>
              <a:off x="2894884" y="1592055"/>
              <a:ext cx="78490" cy="114466"/>
            </a:xfrm>
            <a:custGeom>
              <a:avLst/>
              <a:gdLst>
                <a:gd name="connsiteX0" fmla="*/ 10404 w 65409"/>
                <a:gd name="connsiteY0" fmla="*/ 82944 h 95388"/>
                <a:gd name="connsiteX1" fmla="*/ 22264 w 65409"/>
                <a:gd name="connsiteY1" fmla="*/ 76905 h 95388"/>
                <a:gd name="connsiteX2" fmla="*/ 26193 w 65409"/>
                <a:gd name="connsiteY2" fmla="*/ 66646 h 95388"/>
                <a:gd name="connsiteX3" fmla="*/ 0 w 65409"/>
                <a:gd name="connsiteY3" fmla="*/ 0 h 95388"/>
                <a:gd name="connsiteX4" fmla="*/ 15061 w 65409"/>
                <a:gd name="connsiteY4" fmla="*/ 0 h 95388"/>
                <a:gd name="connsiteX5" fmla="*/ 33759 w 65409"/>
                <a:gd name="connsiteY5" fmla="*/ 49621 h 95388"/>
                <a:gd name="connsiteX6" fmla="*/ 50275 w 65409"/>
                <a:gd name="connsiteY6" fmla="*/ 0 h 95388"/>
                <a:gd name="connsiteX7" fmla="*/ 65409 w 65409"/>
                <a:gd name="connsiteY7" fmla="*/ 0 h 95388"/>
                <a:gd name="connsiteX8" fmla="*/ 35215 w 65409"/>
                <a:gd name="connsiteY8" fmla="*/ 82216 h 95388"/>
                <a:gd name="connsiteX9" fmla="*/ 10041 w 65409"/>
                <a:gd name="connsiteY9" fmla="*/ 95094 h 95388"/>
                <a:gd name="connsiteX10" fmla="*/ 10041 w 65409"/>
                <a:gd name="connsiteY10" fmla="*/ 82944 h 95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5409" h="95388">
                  <a:moveTo>
                    <a:pt x="10404" y="82944"/>
                  </a:moveTo>
                  <a:cubicBezTo>
                    <a:pt x="18335" y="84108"/>
                    <a:pt x="21172" y="80324"/>
                    <a:pt x="22264" y="76905"/>
                  </a:cubicBezTo>
                  <a:lnTo>
                    <a:pt x="26193" y="66646"/>
                  </a:lnTo>
                  <a:lnTo>
                    <a:pt x="0" y="0"/>
                  </a:lnTo>
                  <a:lnTo>
                    <a:pt x="15061" y="0"/>
                  </a:lnTo>
                  <a:lnTo>
                    <a:pt x="33759" y="49621"/>
                  </a:lnTo>
                  <a:lnTo>
                    <a:pt x="50275" y="0"/>
                  </a:lnTo>
                  <a:lnTo>
                    <a:pt x="65409" y="0"/>
                  </a:lnTo>
                  <a:lnTo>
                    <a:pt x="35215" y="82216"/>
                  </a:lnTo>
                  <a:cubicBezTo>
                    <a:pt x="30558" y="94367"/>
                    <a:pt x="20663" y="96258"/>
                    <a:pt x="10041" y="95094"/>
                  </a:cubicBezTo>
                  <a:lnTo>
                    <a:pt x="10041" y="82944"/>
                  </a:lnTo>
                  <a:close/>
                </a:path>
              </a:pathLst>
            </a:custGeom>
            <a:solidFill>
              <a:schemeClr val="tx1"/>
            </a:solidFill>
            <a:ln w="727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3697078857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DB01FC3-FAB1-4D4B-8C1E-CF0B657461B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5800" y="1127126"/>
            <a:ext cx="13258800" cy="33337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1pPr>
            <a:lvl2pPr marL="7314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29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59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8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1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845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Purple Tab Shape 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: Single Corner Rounded 43">
            <a:extLst>
              <a:ext uri="{FF2B5EF4-FFF2-40B4-BE49-F238E27FC236}">
                <a16:creationId xmlns:a16="http://schemas.microsoft.com/office/drawing/2014/main" id="{2C9C6690-9226-4F0C-A542-C330AFCC2AF3}"/>
              </a:ext>
            </a:extLst>
          </p:cNvPr>
          <p:cNvSpPr/>
          <p:nvPr userDrawn="1"/>
        </p:nvSpPr>
        <p:spPr>
          <a:xfrm>
            <a:off x="685802" y="2539999"/>
            <a:ext cx="6629396" cy="4996181"/>
          </a:xfrm>
          <a:prstGeom prst="round1Rect">
            <a:avLst>
              <a:gd name="adj" fmla="val 18188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0" name="Straight Connector 9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3" name="Title 1">
            <a:extLst>
              <a:ext uri="{FF2B5EF4-FFF2-40B4-BE49-F238E27FC236}">
                <a16:creationId xmlns:a16="http://schemas.microsoft.com/office/drawing/2014/main" id="{32FF021F-9D63-4AEC-B29B-F9D3753BE2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68400" y="3105150"/>
            <a:ext cx="5609471" cy="2066925"/>
          </a:xfrm>
        </p:spPr>
        <p:txBody>
          <a:bodyPr anchor="ctr" anchorCtr="0">
            <a:no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5" name="Subtitle 2">
            <a:extLst>
              <a:ext uri="{FF2B5EF4-FFF2-40B4-BE49-F238E27FC236}">
                <a16:creationId xmlns:a16="http://schemas.microsoft.com/office/drawing/2014/main" id="{D9BF61BC-E8BB-4C55-B47E-8C398FC207E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68401" y="5513070"/>
            <a:ext cx="5609471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46" name="Graphic 45">
            <a:extLst>
              <a:ext uri="{FF2B5EF4-FFF2-40B4-BE49-F238E27FC236}">
                <a16:creationId xmlns:a16="http://schemas.microsoft.com/office/drawing/2014/main" id="{D07C659E-3F10-46E2-9676-61137FD9384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8975" y="685801"/>
            <a:ext cx="1430092" cy="781050"/>
          </a:xfrm>
          <a:prstGeom prst="rect">
            <a:avLst/>
          </a:prstGeom>
        </p:spPr>
      </p:pic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3599529D-40A1-0E76-7D85-B0D6B82DA4B6}"/>
              </a:ext>
            </a:extLst>
          </p:cNvPr>
          <p:cNvSpPr txBox="1">
            <a:spLocks/>
          </p:cNvSpPr>
          <p:nvPr userDrawn="1"/>
        </p:nvSpPr>
        <p:spPr>
          <a:xfrm>
            <a:off x="685779" y="7631841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100" dirty="0">
                <a:solidFill>
                  <a:schemeClr val="tx1"/>
                </a:solidFill>
              </a:rPr>
              <a:t>© </a:t>
            </a:r>
            <a:fld id="{1C50FC3A-183C-4C20-B5A6-510A748E07ED}" type="datetimeyyyy">
              <a:rPr lang="en-US" sz="1100" smtClean="0">
                <a:solidFill>
                  <a:schemeClr val="tx1"/>
                </a:solidFill>
              </a:rPr>
              <a:t>2026</a:t>
            </a:fld>
            <a:r>
              <a:rPr lang="en-US" sz="1100" dirty="0">
                <a:solidFill>
                  <a:schemeClr val="tx1"/>
                </a:solidFill>
              </a:rPr>
              <a:t> DXC Technology Company. All rights reserved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C180A8D-DB2A-C6BC-3C3A-7E50A8449317}"/>
              </a:ext>
            </a:extLst>
          </p:cNvPr>
          <p:cNvSpPr txBox="1"/>
          <p:nvPr userDrawn="1"/>
        </p:nvSpPr>
        <p:spPr>
          <a:xfrm>
            <a:off x="688975" y="7947684"/>
            <a:ext cx="2354579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/>
            <a:r>
              <a:rPr lang="en-US" sz="800" b="1" dirty="0"/>
              <a:t>DXC Internal</a:t>
            </a:r>
          </a:p>
        </p:txBody>
      </p:sp>
    </p:spTree>
    <p:extLst>
      <p:ext uri="{BB962C8B-B14F-4D97-AF65-F5344CB8AC3E}">
        <p14:creationId xmlns:p14="http://schemas.microsoft.com/office/powerpoint/2010/main" val="4147726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Purple Tab Shape 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615E599E-00B8-2360-B58B-C2FB625B35C0}"/>
              </a:ext>
            </a:extLst>
          </p:cNvPr>
          <p:cNvGrpSpPr/>
          <p:nvPr userDrawn="1"/>
        </p:nvGrpSpPr>
        <p:grpSpPr>
          <a:xfrm>
            <a:off x="0" y="0"/>
            <a:ext cx="14630400" cy="8229600"/>
            <a:chOff x="0" y="0"/>
            <a:chExt cx="14630400" cy="8229600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45A6E545-A5C2-3920-0CFE-77A276191F0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0"/>
              <a:ext cx="14630400" cy="8229600"/>
            </a:xfrm>
            <a:prstGeom prst="rect">
              <a:avLst/>
            </a:prstGeom>
          </p:spPr>
        </p:pic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65D99BCE-7D2A-D36B-1362-DBB5989B2E7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88975" y="685801"/>
              <a:ext cx="1430092" cy="781050"/>
            </a:xfrm>
            <a:prstGeom prst="rect">
              <a:avLst/>
            </a:prstGeom>
          </p:spPr>
        </p:pic>
      </p:grpSp>
      <p:sp>
        <p:nvSpPr>
          <p:cNvPr id="44" name="Rectangle: Single Corner Rounded 43">
            <a:extLst>
              <a:ext uri="{FF2B5EF4-FFF2-40B4-BE49-F238E27FC236}">
                <a16:creationId xmlns:a16="http://schemas.microsoft.com/office/drawing/2014/main" id="{2C9C6690-9226-4F0C-A542-C330AFCC2AF3}"/>
              </a:ext>
            </a:extLst>
          </p:cNvPr>
          <p:cNvSpPr/>
          <p:nvPr userDrawn="1"/>
        </p:nvSpPr>
        <p:spPr>
          <a:xfrm>
            <a:off x="685802" y="2539999"/>
            <a:ext cx="6629396" cy="4996181"/>
          </a:xfrm>
          <a:prstGeom prst="round1Rect">
            <a:avLst>
              <a:gd name="adj" fmla="val 18188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0" name="Straight Connector 9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3" name="Title 1">
            <a:extLst>
              <a:ext uri="{FF2B5EF4-FFF2-40B4-BE49-F238E27FC236}">
                <a16:creationId xmlns:a16="http://schemas.microsoft.com/office/drawing/2014/main" id="{32FF021F-9D63-4AEC-B29B-F9D3753BE2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68400" y="3105150"/>
            <a:ext cx="5609471" cy="2066925"/>
          </a:xfrm>
        </p:spPr>
        <p:txBody>
          <a:bodyPr anchor="ctr" anchorCtr="0">
            <a:no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altLang="en-US" sz="4800" dirty="0">
                <a:solidFill>
                  <a:srgbClr val="FFFFFF"/>
                </a:solidFill>
              </a:rPr>
              <a:t>LUX-015 </a:t>
            </a:r>
            <a:br>
              <a:rPr lang="en-US" altLang="en-US" sz="4800" dirty="0">
                <a:solidFill>
                  <a:srgbClr val="FFFFFF"/>
                </a:solidFill>
              </a:rPr>
            </a:br>
            <a:r>
              <a:rPr lang="en-US" altLang="en-US" sz="4800" dirty="0">
                <a:solidFill>
                  <a:srgbClr val="FFFFFF"/>
                </a:solidFill>
              </a:rPr>
              <a:t>Welcome on Board</a:t>
            </a:r>
            <a:endParaRPr lang="en-US" dirty="0"/>
          </a:p>
        </p:txBody>
      </p:sp>
      <p:sp>
        <p:nvSpPr>
          <p:cNvPr id="45" name="Subtitle 2">
            <a:extLst>
              <a:ext uri="{FF2B5EF4-FFF2-40B4-BE49-F238E27FC236}">
                <a16:creationId xmlns:a16="http://schemas.microsoft.com/office/drawing/2014/main" id="{D9BF61BC-E8BB-4C55-B47E-8C398FC207E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68401" y="5513070"/>
            <a:ext cx="5609471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en-US" sz="2800" dirty="0">
                <a:solidFill>
                  <a:srgbClr val="FFFFFF"/>
                </a:solidFill>
              </a:rPr>
              <a:t>Induction Training</a:t>
            </a:r>
            <a:endParaRPr lang="en-US" dirty="0"/>
          </a:p>
        </p:txBody>
      </p:sp>
      <p:pic>
        <p:nvPicPr>
          <p:cNvPr id="46" name="Graphic 45">
            <a:extLst>
              <a:ext uri="{FF2B5EF4-FFF2-40B4-BE49-F238E27FC236}">
                <a16:creationId xmlns:a16="http://schemas.microsoft.com/office/drawing/2014/main" id="{D07C659E-3F10-46E2-9676-61137FD9384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88975" y="685801"/>
            <a:ext cx="1430092" cy="781050"/>
          </a:xfrm>
          <a:prstGeom prst="rect">
            <a:avLst/>
          </a:prstGeom>
        </p:spPr>
      </p:pic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3599529D-40A1-0E76-7D85-B0D6B82DA4B6}"/>
              </a:ext>
            </a:extLst>
          </p:cNvPr>
          <p:cNvSpPr txBox="1">
            <a:spLocks/>
          </p:cNvSpPr>
          <p:nvPr userDrawn="1"/>
        </p:nvSpPr>
        <p:spPr>
          <a:xfrm>
            <a:off x="685779" y="7631841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100" dirty="0">
                <a:solidFill>
                  <a:schemeClr val="tx1"/>
                </a:solidFill>
              </a:rPr>
              <a:t>© </a:t>
            </a:r>
            <a:fld id="{1C50FC3A-183C-4C20-B5A6-510A748E07ED}" type="datetimeyyyy">
              <a:rPr lang="en-US" sz="1100" smtClean="0">
                <a:solidFill>
                  <a:schemeClr val="tx1"/>
                </a:solidFill>
              </a:rPr>
              <a:t>2026</a:t>
            </a:fld>
            <a:r>
              <a:rPr lang="en-US" sz="1100" dirty="0">
                <a:solidFill>
                  <a:schemeClr val="tx1"/>
                </a:solidFill>
              </a:rPr>
              <a:t> DXC Technology Company. All rights reserved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C180A8D-DB2A-C6BC-3C3A-7E50A8449317}"/>
              </a:ext>
            </a:extLst>
          </p:cNvPr>
          <p:cNvSpPr txBox="1"/>
          <p:nvPr userDrawn="1"/>
        </p:nvSpPr>
        <p:spPr>
          <a:xfrm>
            <a:off x="688975" y="7947684"/>
            <a:ext cx="2354579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/>
            <a:r>
              <a:rPr lang="en-US" sz="800" b="1" dirty="0"/>
              <a:t>DXC Internal</a:t>
            </a:r>
          </a:p>
        </p:txBody>
      </p:sp>
    </p:spTree>
    <p:extLst>
      <p:ext uri="{BB962C8B-B14F-4D97-AF65-F5344CB8AC3E}">
        <p14:creationId xmlns:p14="http://schemas.microsoft.com/office/powerpoint/2010/main" val="1898964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Purple Tab Shape 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: Single Corner Rounded 43">
            <a:extLst>
              <a:ext uri="{FF2B5EF4-FFF2-40B4-BE49-F238E27FC236}">
                <a16:creationId xmlns:a16="http://schemas.microsoft.com/office/drawing/2014/main" id="{2C9C6690-9226-4F0C-A542-C330AFCC2AF3}"/>
              </a:ext>
            </a:extLst>
          </p:cNvPr>
          <p:cNvSpPr/>
          <p:nvPr userDrawn="1"/>
        </p:nvSpPr>
        <p:spPr>
          <a:xfrm>
            <a:off x="685802" y="2539999"/>
            <a:ext cx="8869678" cy="4996181"/>
          </a:xfrm>
          <a:prstGeom prst="round1Rect">
            <a:avLst>
              <a:gd name="adj" fmla="val 22528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0" name="Straight Connector 9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3" name="Title 1">
            <a:extLst>
              <a:ext uri="{FF2B5EF4-FFF2-40B4-BE49-F238E27FC236}">
                <a16:creationId xmlns:a16="http://schemas.microsoft.com/office/drawing/2014/main" id="{32FF021F-9D63-4AEC-B29B-F9D3753BE2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68400" y="3105150"/>
            <a:ext cx="7353431" cy="2256367"/>
          </a:xfrm>
        </p:spPr>
        <p:txBody>
          <a:bodyPr anchor="ctr" anchorCtr="0">
            <a:noAutofit/>
          </a:bodyPr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5" name="Subtitle 2">
            <a:extLst>
              <a:ext uri="{FF2B5EF4-FFF2-40B4-BE49-F238E27FC236}">
                <a16:creationId xmlns:a16="http://schemas.microsoft.com/office/drawing/2014/main" id="{D9BF61BC-E8BB-4C55-B47E-8C398FC207E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68401" y="5741670"/>
            <a:ext cx="7353431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46" name="Graphic 45">
            <a:extLst>
              <a:ext uri="{FF2B5EF4-FFF2-40B4-BE49-F238E27FC236}">
                <a16:creationId xmlns:a16="http://schemas.microsoft.com/office/drawing/2014/main" id="{D07C659E-3F10-46E2-9676-61137FD9384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8975" y="685801"/>
            <a:ext cx="1430092" cy="781050"/>
          </a:xfrm>
          <a:prstGeom prst="rect">
            <a:avLst/>
          </a:prstGeom>
        </p:spPr>
      </p:pic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CB4FEDAD-D9AC-5055-EC0B-C2C18EDCB1A5}"/>
              </a:ext>
            </a:extLst>
          </p:cNvPr>
          <p:cNvSpPr txBox="1">
            <a:spLocks/>
          </p:cNvSpPr>
          <p:nvPr userDrawn="1"/>
        </p:nvSpPr>
        <p:spPr>
          <a:xfrm>
            <a:off x="685779" y="7631841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100" dirty="0">
                <a:solidFill>
                  <a:schemeClr val="tx1"/>
                </a:solidFill>
              </a:rPr>
              <a:t>© </a:t>
            </a:r>
            <a:fld id="{1C50FC3A-183C-4C20-B5A6-510A748E07ED}" type="datetimeyyyy">
              <a:rPr lang="en-US" sz="1100" smtClean="0">
                <a:solidFill>
                  <a:schemeClr val="tx1"/>
                </a:solidFill>
              </a:rPr>
              <a:t>2026</a:t>
            </a:fld>
            <a:r>
              <a:rPr lang="en-US" sz="1100" dirty="0">
                <a:solidFill>
                  <a:schemeClr val="tx1"/>
                </a:solidFill>
              </a:rPr>
              <a:t> DXC Technology Company. All rights reserved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A9924A5-8581-CD5B-9BAA-0A89DC9072DA}"/>
              </a:ext>
            </a:extLst>
          </p:cNvPr>
          <p:cNvSpPr txBox="1"/>
          <p:nvPr userDrawn="1"/>
        </p:nvSpPr>
        <p:spPr>
          <a:xfrm>
            <a:off x="688975" y="7947684"/>
            <a:ext cx="2354579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/>
            <a:r>
              <a:rPr lang="en-US" sz="800" b="1" dirty="0"/>
              <a:t>DXC Internal</a:t>
            </a:r>
          </a:p>
        </p:txBody>
      </p:sp>
    </p:spTree>
    <p:extLst>
      <p:ext uri="{BB962C8B-B14F-4D97-AF65-F5344CB8AC3E}">
        <p14:creationId xmlns:p14="http://schemas.microsoft.com/office/powerpoint/2010/main" val="7408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Purple Tab Shape 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: Single Corner Rounded 43">
            <a:extLst>
              <a:ext uri="{FF2B5EF4-FFF2-40B4-BE49-F238E27FC236}">
                <a16:creationId xmlns:a16="http://schemas.microsoft.com/office/drawing/2014/main" id="{2C9C6690-9226-4F0C-A542-C330AFCC2AF3}"/>
              </a:ext>
            </a:extLst>
          </p:cNvPr>
          <p:cNvSpPr/>
          <p:nvPr userDrawn="1"/>
        </p:nvSpPr>
        <p:spPr>
          <a:xfrm>
            <a:off x="685800" y="2057400"/>
            <a:ext cx="11201400" cy="3200400"/>
          </a:xfrm>
          <a:prstGeom prst="round1Rect">
            <a:avLst>
              <a:gd name="adj" fmla="val 28348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0" name="Straight Connector 9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3" name="Title 1">
            <a:extLst>
              <a:ext uri="{FF2B5EF4-FFF2-40B4-BE49-F238E27FC236}">
                <a16:creationId xmlns:a16="http://schemas.microsoft.com/office/drawing/2014/main" id="{32FF021F-9D63-4AEC-B29B-F9D3753BE2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68399" y="2057401"/>
            <a:ext cx="9931400" cy="3181087"/>
          </a:xfrm>
        </p:spPr>
        <p:txBody>
          <a:bodyPr anchor="ctr" anchorCtr="0">
            <a:noAutofit/>
          </a:bodyPr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5" name="Subtitle 2">
            <a:extLst>
              <a:ext uri="{FF2B5EF4-FFF2-40B4-BE49-F238E27FC236}">
                <a16:creationId xmlns:a16="http://schemas.microsoft.com/office/drawing/2014/main" id="{D9BF61BC-E8BB-4C55-B47E-8C398FC207E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68399" y="5678701"/>
            <a:ext cx="9931399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rgbClr val="63666F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46" name="Graphic 45">
            <a:extLst>
              <a:ext uri="{FF2B5EF4-FFF2-40B4-BE49-F238E27FC236}">
                <a16:creationId xmlns:a16="http://schemas.microsoft.com/office/drawing/2014/main" id="{D07C659E-3F10-46E2-9676-61137FD9384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8975" y="685801"/>
            <a:ext cx="1430092" cy="781050"/>
          </a:xfrm>
          <a:prstGeom prst="rect">
            <a:avLst/>
          </a:prstGeom>
        </p:spPr>
      </p:pic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811AA6E9-2517-36A8-DAEB-C9596B6F0B28}"/>
              </a:ext>
            </a:extLst>
          </p:cNvPr>
          <p:cNvSpPr txBox="1">
            <a:spLocks/>
          </p:cNvSpPr>
          <p:nvPr userDrawn="1"/>
        </p:nvSpPr>
        <p:spPr>
          <a:xfrm>
            <a:off x="685779" y="7631841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100" dirty="0">
                <a:solidFill>
                  <a:schemeClr val="tx1"/>
                </a:solidFill>
              </a:rPr>
              <a:t>© </a:t>
            </a:r>
            <a:fld id="{1C50FC3A-183C-4C20-B5A6-510A748E07ED}" type="datetimeyyyy">
              <a:rPr lang="en-US" sz="1100" smtClean="0">
                <a:solidFill>
                  <a:schemeClr val="tx1"/>
                </a:solidFill>
              </a:rPr>
              <a:t>2026</a:t>
            </a:fld>
            <a:r>
              <a:rPr lang="en-US" sz="1100" dirty="0">
                <a:solidFill>
                  <a:schemeClr val="tx1"/>
                </a:solidFill>
              </a:rPr>
              <a:t> DXC Technology Company. All rights reserved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8E2E492-CE4D-50EF-E8FB-DE2CAAB63D88}"/>
              </a:ext>
            </a:extLst>
          </p:cNvPr>
          <p:cNvSpPr txBox="1"/>
          <p:nvPr userDrawn="1"/>
        </p:nvSpPr>
        <p:spPr>
          <a:xfrm>
            <a:off x="688975" y="7947684"/>
            <a:ext cx="2354579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/>
            <a:r>
              <a:rPr lang="en-US" sz="800" b="1" dirty="0"/>
              <a:t>DXC Internal</a:t>
            </a:r>
          </a:p>
        </p:txBody>
      </p:sp>
    </p:spTree>
    <p:extLst>
      <p:ext uri="{BB962C8B-B14F-4D97-AF65-F5344CB8AC3E}">
        <p14:creationId xmlns:p14="http://schemas.microsoft.com/office/powerpoint/2010/main" val="2951163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2057399"/>
            <a:ext cx="13258800" cy="5121276"/>
          </a:xfrm>
        </p:spPr>
        <p:txBody>
          <a:bodyPr numCol="2" spcCol="457200">
            <a:normAutofit/>
          </a:bodyPr>
          <a:lstStyle>
            <a:lvl1pPr marL="457200" indent="-457200">
              <a:spcBef>
                <a:spcPts val="900"/>
              </a:spcBef>
              <a:buFont typeface="+mj-lt"/>
              <a:buAutoNum type="arabicPeriod"/>
              <a:tabLst>
                <a:tab pos="6337300" algn="r"/>
              </a:tabLst>
              <a:defRPr sz="2000"/>
            </a:lvl1pPr>
            <a:lvl2pPr marL="6858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2pPr>
            <a:lvl3pPr marL="9144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3pPr>
            <a:lvl4pPr marL="11430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4pPr>
            <a:lvl5pPr marL="13716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5pPr>
            <a:lvl6pPr marL="16002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6pPr>
            <a:lvl7pPr marL="18288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7pPr>
            <a:lvl8pPr marL="20574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8pPr>
            <a:lvl9pPr marL="22860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2854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4pPr marL="457200" indent="-228600">
              <a:buFont typeface="Arial" pitchFamily="34" charset="0"/>
              <a:buChar char="–"/>
              <a:defRPr/>
            </a:lvl4pPr>
            <a:lvl5pPr marL="685800" indent="-228600">
              <a:buFont typeface="Arial" pitchFamily="34" charset="0"/>
              <a:buChar char="–"/>
              <a:defRPr/>
            </a:lvl5pPr>
            <a:lvl6pPr marL="914400" indent="-228600">
              <a:buFont typeface="Arial" pitchFamily="34" charset="0"/>
              <a:buChar char="–"/>
              <a:defRPr baseline="0"/>
            </a:lvl6pPr>
            <a:lvl7pPr marL="1143000" indent="-228600">
              <a:buFont typeface="Arial" pitchFamily="34" charset="0"/>
              <a:buChar char="–"/>
              <a:defRPr baseline="0"/>
            </a:lvl7pPr>
            <a:lvl8pPr marL="1371600" indent="-228600">
              <a:buFont typeface="Arial" pitchFamily="34" charset="0"/>
              <a:buChar char="–"/>
              <a:defRPr baseline="0"/>
            </a:lvl8pPr>
            <a:lvl9pPr marL="1600200" indent="-228600"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9626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2" name="Straight Connector 11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685800" y="639763"/>
            <a:ext cx="13258800" cy="141763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685799" y="2057399"/>
            <a:ext cx="13258799" cy="51212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1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pic>
        <p:nvPicPr>
          <p:cNvPr id="46" name="Graphic 45">
            <a:extLst>
              <a:ext uri="{FF2B5EF4-FFF2-40B4-BE49-F238E27FC236}">
                <a16:creationId xmlns:a16="http://schemas.microsoft.com/office/drawing/2014/main" id="{B6FF065E-2B34-4360-B045-0F02C20A28BE}"/>
              </a:ext>
            </a:extLst>
          </p:cNvPr>
          <p:cNvPicPr>
            <a:picLocks noChangeAspect="1"/>
          </p:cNvPicPr>
          <p:nvPr userDrawn="1"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685800" y="7580437"/>
            <a:ext cx="2286000" cy="25923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3A257A4-768C-E187-247E-ABE6DEB0035E}"/>
              </a:ext>
            </a:extLst>
          </p:cNvPr>
          <p:cNvSpPr txBox="1"/>
          <p:nvPr userDrawn="1"/>
        </p:nvSpPr>
        <p:spPr>
          <a:xfrm>
            <a:off x="6137910" y="7868126"/>
            <a:ext cx="2354579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800" b="1" dirty="0"/>
              <a:t>DXC Interna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D449BE-CF0C-B5BE-D973-8117818C3A4F}"/>
              </a:ext>
            </a:extLst>
          </p:cNvPr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© </a:t>
            </a:r>
            <a:fld id="{C0650B53-F5B1-403A-BD70-58B7AE2589AD}" type="datetimeyyyy">
              <a:rPr lang="en-US" sz="1100" smtClean="0"/>
              <a:t>2026</a:t>
            </a:fld>
            <a:r>
              <a:rPr lang="en-US" sz="1100" dirty="0"/>
              <a:t> DXC Technology Compan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12899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40" r:id="rId2"/>
    <p:sldLayoutId id="2147483839" r:id="rId3"/>
    <p:sldLayoutId id="2147483841" r:id="rId4"/>
    <p:sldLayoutId id="2147483833" r:id="rId5"/>
    <p:sldLayoutId id="2147483834" r:id="rId6"/>
    <p:sldLayoutId id="2147483659" r:id="rId7"/>
    <p:sldLayoutId id="2147483667" r:id="rId8"/>
    <p:sldLayoutId id="2147483650" r:id="rId9"/>
    <p:sldLayoutId id="2147483752" r:id="rId10"/>
    <p:sldLayoutId id="2147483666" r:id="rId11"/>
    <p:sldLayoutId id="2147483652" r:id="rId12"/>
    <p:sldLayoutId id="2147483660" r:id="rId13"/>
    <p:sldLayoutId id="2147483662" r:id="rId14"/>
    <p:sldLayoutId id="2147483663" r:id="rId15"/>
    <p:sldLayoutId id="2147483835" r:id="rId16"/>
    <p:sldLayoutId id="2147483836" r:id="rId17"/>
    <p:sldLayoutId id="2147483837" r:id="rId18"/>
    <p:sldLayoutId id="2147483655" r:id="rId19"/>
    <p:sldLayoutId id="2147483692" r:id="rId20"/>
    <p:sldLayoutId id="2147483842" r:id="rId21"/>
    <p:sldLayoutId id="2147483843" r:id="rId22"/>
    <p:sldLayoutId id="2147483844" r:id="rId2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1463040" rtl="0" eaLnBrk="1" latinLnBrk="0" hangingPunct="1">
        <a:lnSpc>
          <a:spcPct val="85000"/>
        </a:lnSpc>
        <a:spcBef>
          <a:spcPct val="0"/>
        </a:spcBef>
        <a:buNone/>
        <a:defRPr sz="36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1463040" rtl="0" eaLnBrk="1" latinLnBrk="0" hangingPunct="1">
        <a:spcBef>
          <a:spcPts val="1200"/>
        </a:spcBef>
        <a:buFontTx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463040" rtl="0" eaLnBrk="1" latinLnBrk="0" hangingPunct="1">
        <a:spcBef>
          <a:spcPts val="1200"/>
        </a:spcBef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defTabSz="1463040" rtl="0" eaLnBrk="1" latinLnBrk="0" hangingPunct="1">
        <a:spcBef>
          <a:spcPts val="1200"/>
        </a:spcBef>
        <a:buFont typeface="Arial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4572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6858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9144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1430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6002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73152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46304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219456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92608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65760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438912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512064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585216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3" userDrawn="1">
          <p15:clr>
            <a:srgbClr val="F26B43"/>
          </p15:clr>
        </p15:guide>
        <p15:guide id="2" pos="4608" userDrawn="1">
          <p15:clr>
            <a:srgbClr val="F26B43"/>
          </p15:clr>
        </p15:guide>
        <p15:guide id="3" pos="432" userDrawn="1">
          <p15:clr>
            <a:srgbClr val="F26B43"/>
          </p15:clr>
        </p15:guide>
        <p15:guide id="4" pos="3024" userDrawn="1">
          <p15:clr>
            <a:srgbClr val="F26B43"/>
          </p15:clr>
        </p15:guide>
        <p15:guide id="5" pos="3312" userDrawn="1">
          <p15:clr>
            <a:srgbClr val="F26B43"/>
          </p15:clr>
        </p15:guide>
        <p15:guide id="6" pos="4464" userDrawn="1">
          <p15:clr>
            <a:srgbClr val="F26B43"/>
          </p15:clr>
        </p15:guide>
        <p15:guide id="7" pos="4752" userDrawn="1">
          <p15:clr>
            <a:srgbClr val="F26B43"/>
          </p15:clr>
        </p15:guide>
        <p15:guide id="8" pos="5904" userDrawn="1">
          <p15:clr>
            <a:srgbClr val="F26B43"/>
          </p15:clr>
        </p15:guide>
        <p15:guide id="9" pos="6192" userDrawn="1">
          <p15:clr>
            <a:srgbClr val="F26B43"/>
          </p15:clr>
        </p15:guide>
        <p15:guide id="10" pos="7488" userDrawn="1">
          <p15:clr>
            <a:srgbClr val="F26B43"/>
          </p15:clr>
        </p15:guide>
        <p15:guide id="11" pos="8784" userDrawn="1">
          <p15:clr>
            <a:srgbClr val="F26B43"/>
          </p15:clr>
        </p15:guide>
        <p15:guide id="12" orient="horz" pos="1296" userDrawn="1">
          <p15:clr>
            <a:srgbClr val="F26B43"/>
          </p15:clr>
        </p15:guide>
        <p15:guide id="13" orient="horz" pos="4522" userDrawn="1">
          <p15:clr>
            <a:srgbClr val="F26B43"/>
          </p15:clr>
        </p15:guide>
        <p15:guide id="14" orient="horz" pos="489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4" Type="http://schemas.openxmlformats.org/officeDocument/2006/relationships/image" Target="../media/image14.png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1204.xml"/><Relationship Id="rId18" Type="http://schemas.openxmlformats.org/officeDocument/2006/relationships/tags" Target="../tags/tag1209.xml"/><Relationship Id="rId26" Type="http://schemas.openxmlformats.org/officeDocument/2006/relationships/tags" Target="../tags/tag1217.xml"/><Relationship Id="rId3" Type="http://schemas.openxmlformats.org/officeDocument/2006/relationships/tags" Target="../tags/tag1194.xml"/><Relationship Id="rId21" Type="http://schemas.openxmlformats.org/officeDocument/2006/relationships/tags" Target="../tags/tag1212.xml"/><Relationship Id="rId7" Type="http://schemas.openxmlformats.org/officeDocument/2006/relationships/tags" Target="../tags/tag1198.xml"/><Relationship Id="rId12" Type="http://schemas.openxmlformats.org/officeDocument/2006/relationships/tags" Target="../tags/tag1203.xml"/><Relationship Id="rId17" Type="http://schemas.openxmlformats.org/officeDocument/2006/relationships/tags" Target="../tags/tag1208.xml"/><Relationship Id="rId25" Type="http://schemas.openxmlformats.org/officeDocument/2006/relationships/tags" Target="../tags/tag1216.xml"/><Relationship Id="rId33" Type="http://schemas.microsoft.com/office/2007/relationships/hdphoto" Target="../media/hdphoto1.wdp"/><Relationship Id="rId2" Type="http://schemas.openxmlformats.org/officeDocument/2006/relationships/tags" Target="../tags/tag1193.xml"/><Relationship Id="rId16" Type="http://schemas.openxmlformats.org/officeDocument/2006/relationships/tags" Target="../tags/tag1207.xml"/><Relationship Id="rId20" Type="http://schemas.openxmlformats.org/officeDocument/2006/relationships/tags" Target="../tags/tag1211.xml"/><Relationship Id="rId29" Type="http://schemas.openxmlformats.org/officeDocument/2006/relationships/slideLayout" Target="../slideLayouts/slideLayout23.xml"/><Relationship Id="rId1" Type="http://schemas.openxmlformats.org/officeDocument/2006/relationships/tags" Target="../tags/tag1192.xml"/><Relationship Id="rId6" Type="http://schemas.openxmlformats.org/officeDocument/2006/relationships/tags" Target="../tags/tag1197.xml"/><Relationship Id="rId11" Type="http://schemas.openxmlformats.org/officeDocument/2006/relationships/tags" Target="../tags/tag1202.xml"/><Relationship Id="rId24" Type="http://schemas.openxmlformats.org/officeDocument/2006/relationships/tags" Target="../tags/tag1215.xml"/><Relationship Id="rId32" Type="http://schemas.openxmlformats.org/officeDocument/2006/relationships/image" Target="../media/image82.png"/><Relationship Id="rId5" Type="http://schemas.openxmlformats.org/officeDocument/2006/relationships/tags" Target="../tags/tag1196.xml"/><Relationship Id="rId15" Type="http://schemas.openxmlformats.org/officeDocument/2006/relationships/tags" Target="../tags/tag1206.xml"/><Relationship Id="rId23" Type="http://schemas.openxmlformats.org/officeDocument/2006/relationships/tags" Target="../tags/tag1214.xml"/><Relationship Id="rId28" Type="http://schemas.openxmlformats.org/officeDocument/2006/relationships/tags" Target="../tags/tag1219.xml"/><Relationship Id="rId10" Type="http://schemas.openxmlformats.org/officeDocument/2006/relationships/tags" Target="../tags/tag1201.xml"/><Relationship Id="rId19" Type="http://schemas.openxmlformats.org/officeDocument/2006/relationships/tags" Target="../tags/tag1210.xml"/><Relationship Id="rId31" Type="http://schemas.openxmlformats.org/officeDocument/2006/relationships/chart" Target="../charts/chart3.xml"/><Relationship Id="rId4" Type="http://schemas.openxmlformats.org/officeDocument/2006/relationships/tags" Target="../tags/tag1195.xml"/><Relationship Id="rId9" Type="http://schemas.openxmlformats.org/officeDocument/2006/relationships/tags" Target="../tags/tag1200.xml"/><Relationship Id="rId14" Type="http://schemas.openxmlformats.org/officeDocument/2006/relationships/tags" Target="../tags/tag1205.xml"/><Relationship Id="rId22" Type="http://schemas.openxmlformats.org/officeDocument/2006/relationships/tags" Target="../tags/tag1213.xml"/><Relationship Id="rId27" Type="http://schemas.openxmlformats.org/officeDocument/2006/relationships/tags" Target="../tags/tag1218.xml"/><Relationship Id="rId30" Type="http://schemas.openxmlformats.org/officeDocument/2006/relationships/notesSlide" Target="../notesSlides/notesSlide7.xml"/><Relationship Id="rId8" Type="http://schemas.openxmlformats.org/officeDocument/2006/relationships/tags" Target="../tags/tag119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221.xml"/><Relationship Id="rId1" Type="http://schemas.openxmlformats.org/officeDocument/2006/relationships/tags" Target="../tags/tag1220.xml"/><Relationship Id="rId4" Type="http://schemas.openxmlformats.org/officeDocument/2006/relationships/notesSlide" Target="../notesSlides/notesSlide8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jpeg"/><Relationship Id="rId13" Type="http://schemas.openxmlformats.org/officeDocument/2006/relationships/image" Target="../media/image92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86.png"/><Relationship Id="rId12" Type="http://schemas.openxmlformats.org/officeDocument/2006/relationships/image" Target="../media/image91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222.xml"/><Relationship Id="rId6" Type="http://schemas.openxmlformats.org/officeDocument/2006/relationships/image" Target="../media/image85.jpeg"/><Relationship Id="rId11" Type="http://schemas.openxmlformats.org/officeDocument/2006/relationships/image" Target="../media/image90.png"/><Relationship Id="rId5" Type="http://schemas.openxmlformats.org/officeDocument/2006/relationships/image" Target="../media/image84.png"/><Relationship Id="rId15" Type="http://schemas.openxmlformats.org/officeDocument/2006/relationships/image" Target="../media/image94.png"/><Relationship Id="rId10" Type="http://schemas.openxmlformats.org/officeDocument/2006/relationships/image" Target="../media/image89.png"/><Relationship Id="rId4" Type="http://schemas.openxmlformats.org/officeDocument/2006/relationships/image" Target="../media/image83.png"/><Relationship Id="rId9" Type="http://schemas.openxmlformats.org/officeDocument/2006/relationships/image" Target="../media/image88.png"/><Relationship Id="rId14" Type="http://schemas.openxmlformats.org/officeDocument/2006/relationships/image" Target="../media/image93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1.png"/><Relationship Id="rId3" Type="http://schemas.openxmlformats.org/officeDocument/2006/relationships/image" Target="../media/image96.emf"/><Relationship Id="rId7" Type="http://schemas.openxmlformats.org/officeDocument/2006/relationships/image" Target="../media/image100.jpeg"/><Relationship Id="rId2" Type="http://schemas.openxmlformats.org/officeDocument/2006/relationships/image" Target="../media/image95.jpe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99.jpeg"/><Relationship Id="rId5" Type="http://schemas.openxmlformats.org/officeDocument/2006/relationships/image" Target="../media/image98.png"/><Relationship Id="rId4" Type="http://schemas.openxmlformats.org/officeDocument/2006/relationships/image" Target="../media/image97.jp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jpeg"/><Relationship Id="rId2" Type="http://schemas.openxmlformats.org/officeDocument/2006/relationships/image" Target="../media/image102.jpe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04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image" Target="../media/image105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108.jpeg"/><Relationship Id="rId4" Type="http://schemas.openxmlformats.org/officeDocument/2006/relationships/image" Target="../media/image107.sv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1.emf"/><Relationship Id="rId3" Type="http://schemas.openxmlformats.org/officeDocument/2006/relationships/tags" Target="../tags/tag1225.xml"/><Relationship Id="rId7" Type="http://schemas.openxmlformats.org/officeDocument/2006/relationships/image" Target="../media/image110.png"/><Relationship Id="rId2" Type="http://schemas.openxmlformats.org/officeDocument/2006/relationships/tags" Target="../tags/tag1224.xml"/><Relationship Id="rId1" Type="http://schemas.openxmlformats.org/officeDocument/2006/relationships/tags" Target="../tags/tag1223.xml"/><Relationship Id="rId6" Type="http://schemas.openxmlformats.org/officeDocument/2006/relationships/image" Target="../media/image109.jpeg"/><Relationship Id="rId5" Type="http://schemas.openxmlformats.org/officeDocument/2006/relationships/slideLayout" Target="../slideLayouts/slideLayout8.xml"/><Relationship Id="rId10" Type="http://schemas.openxmlformats.org/officeDocument/2006/relationships/image" Target="../media/image113.jpeg"/><Relationship Id="rId4" Type="http://schemas.openxmlformats.org/officeDocument/2006/relationships/tags" Target="../tags/tag1226.xml"/><Relationship Id="rId9" Type="http://schemas.openxmlformats.org/officeDocument/2006/relationships/image" Target="../media/image112.jpe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12" Type="http://schemas.openxmlformats.org/officeDocument/2006/relationships/image" Target="../media/image24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8.svg"/><Relationship Id="rId11" Type="http://schemas.openxmlformats.org/officeDocument/2006/relationships/image" Target="../media/image23.png"/><Relationship Id="rId5" Type="http://schemas.openxmlformats.org/officeDocument/2006/relationships/image" Target="../media/image17.png"/><Relationship Id="rId10" Type="http://schemas.openxmlformats.org/officeDocument/2006/relationships/image" Target="../media/image22.svg"/><Relationship Id="rId4" Type="http://schemas.openxmlformats.org/officeDocument/2006/relationships/image" Target="../media/image16.svg"/><Relationship Id="rId9" Type="http://schemas.openxmlformats.org/officeDocument/2006/relationships/image" Target="../media/image2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image" Target="../media/image35.png"/><Relationship Id="rId18" Type="http://schemas.openxmlformats.org/officeDocument/2006/relationships/image" Target="../media/image1.png"/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12" Type="http://schemas.openxmlformats.org/officeDocument/2006/relationships/image" Target="../media/image34.png"/><Relationship Id="rId17" Type="http://schemas.openxmlformats.org/officeDocument/2006/relationships/image" Target="../media/image39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38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8.png"/><Relationship Id="rId11" Type="http://schemas.openxmlformats.org/officeDocument/2006/relationships/image" Target="../media/image33.png"/><Relationship Id="rId5" Type="http://schemas.openxmlformats.org/officeDocument/2006/relationships/image" Target="../media/image27.png"/><Relationship Id="rId15" Type="http://schemas.openxmlformats.org/officeDocument/2006/relationships/image" Target="../media/image37.png"/><Relationship Id="rId10" Type="http://schemas.openxmlformats.org/officeDocument/2006/relationships/image" Target="../media/image32.png"/><Relationship Id="rId19" Type="http://schemas.openxmlformats.org/officeDocument/2006/relationships/image" Target="../media/image2.svg"/><Relationship Id="rId4" Type="http://schemas.openxmlformats.org/officeDocument/2006/relationships/image" Target="../media/image26.png"/><Relationship Id="rId9" Type="http://schemas.openxmlformats.org/officeDocument/2006/relationships/image" Target="../media/image31.png"/><Relationship Id="rId14" Type="http://schemas.openxmlformats.org/officeDocument/2006/relationships/image" Target="../media/image36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jpeg"/><Relationship Id="rId3" Type="http://schemas.openxmlformats.org/officeDocument/2006/relationships/image" Target="../media/image41.jpeg"/><Relationship Id="rId7" Type="http://schemas.openxmlformats.org/officeDocument/2006/relationships/image" Target="../media/image45.jpe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4.jpeg"/><Relationship Id="rId5" Type="http://schemas.openxmlformats.org/officeDocument/2006/relationships/image" Target="../media/image43.jpeg"/><Relationship Id="rId4" Type="http://schemas.openxmlformats.org/officeDocument/2006/relationships/image" Target="../media/image42.jpeg"/><Relationship Id="rId9" Type="http://schemas.openxmlformats.org/officeDocument/2006/relationships/image" Target="../media/image47.jpeg"/></Relationships>
</file>

<file path=ppt/slides/_rels/slide5.xml.rels><?xml version="1.0" encoding="UTF-8" standalone="yes"?>
<Relationships xmlns="http://schemas.openxmlformats.org/package/2006/relationships"><Relationship Id="rId117" Type="http://schemas.openxmlformats.org/officeDocument/2006/relationships/tags" Target="../tags/tag185.xml"/><Relationship Id="rId21" Type="http://schemas.openxmlformats.org/officeDocument/2006/relationships/tags" Target="../tags/tag89.xml"/><Relationship Id="rId324" Type="http://schemas.openxmlformats.org/officeDocument/2006/relationships/tags" Target="../tags/tag392.xml"/><Relationship Id="rId531" Type="http://schemas.openxmlformats.org/officeDocument/2006/relationships/tags" Target="../tags/tag599.xml"/><Relationship Id="rId170" Type="http://schemas.openxmlformats.org/officeDocument/2006/relationships/tags" Target="../tags/tag238.xml"/><Relationship Id="rId268" Type="http://schemas.openxmlformats.org/officeDocument/2006/relationships/tags" Target="../tags/tag336.xml"/><Relationship Id="rId475" Type="http://schemas.openxmlformats.org/officeDocument/2006/relationships/tags" Target="../tags/tag543.xml"/><Relationship Id="rId32" Type="http://schemas.openxmlformats.org/officeDocument/2006/relationships/tags" Target="../tags/tag100.xml"/><Relationship Id="rId128" Type="http://schemas.openxmlformats.org/officeDocument/2006/relationships/tags" Target="../tags/tag196.xml"/><Relationship Id="rId335" Type="http://schemas.openxmlformats.org/officeDocument/2006/relationships/tags" Target="../tags/tag403.xml"/><Relationship Id="rId542" Type="http://schemas.openxmlformats.org/officeDocument/2006/relationships/tags" Target="../tags/tag610.xml"/><Relationship Id="rId181" Type="http://schemas.openxmlformats.org/officeDocument/2006/relationships/tags" Target="../tags/tag249.xml"/><Relationship Id="rId402" Type="http://schemas.openxmlformats.org/officeDocument/2006/relationships/tags" Target="../tags/tag470.xml"/><Relationship Id="rId279" Type="http://schemas.openxmlformats.org/officeDocument/2006/relationships/tags" Target="../tags/tag347.xml"/><Relationship Id="rId486" Type="http://schemas.openxmlformats.org/officeDocument/2006/relationships/tags" Target="../tags/tag554.xml"/><Relationship Id="rId43" Type="http://schemas.openxmlformats.org/officeDocument/2006/relationships/tags" Target="../tags/tag111.xml"/><Relationship Id="rId139" Type="http://schemas.openxmlformats.org/officeDocument/2006/relationships/tags" Target="../tags/tag207.xml"/><Relationship Id="rId346" Type="http://schemas.openxmlformats.org/officeDocument/2006/relationships/tags" Target="../tags/tag414.xml"/><Relationship Id="rId192" Type="http://schemas.openxmlformats.org/officeDocument/2006/relationships/tags" Target="../tags/tag260.xml"/><Relationship Id="rId206" Type="http://schemas.openxmlformats.org/officeDocument/2006/relationships/tags" Target="../tags/tag274.xml"/><Relationship Id="rId413" Type="http://schemas.openxmlformats.org/officeDocument/2006/relationships/tags" Target="../tags/tag481.xml"/><Relationship Id="rId248" Type="http://schemas.openxmlformats.org/officeDocument/2006/relationships/tags" Target="../tags/tag316.xml"/><Relationship Id="rId455" Type="http://schemas.openxmlformats.org/officeDocument/2006/relationships/tags" Target="../tags/tag523.xml"/><Relationship Id="rId497" Type="http://schemas.openxmlformats.org/officeDocument/2006/relationships/tags" Target="../tags/tag565.xml"/><Relationship Id="rId12" Type="http://schemas.openxmlformats.org/officeDocument/2006/relationships/tags" Target="../tags/tag80.xml"/><Relationship Id="rId108" Type="http://schemas.openxmlformats.org/officeDocument/2006/relationships/tags" Target="../tags/tag176.xml"/><Relationship Id="rId315" Type="http://schemas.openxmlformats.org/officeDocument/2006/relationships/tags" Target="../tags/tag383.xml"/><Relationship Id="rId357" Type="http://schemas.openxmlformats.org/officeDocument/2006/relationships/tags" Target="../tags/tag425.xml"/><Relationship Id="rId522" Type="http://schemas.openxmlformats.org/officeDocument/2006/relationships/tags" Target="../tags/tag590.xml"/><Relationship Id="rId54" Type="http://schemas.openxmlformats.org/officeDocument/2006/relationships/tags" Target="../tags/tag122.xml"/><Relationship Id="rId96" Type="http://schemas.openxmlformats.org/officeDocument/2006/relationships/tags" Target="../tags/tag164.xml"/><Relationship Id="rId161" Type="http://schemas.openxmlformats.org/officeDocument/2006/relationships/tags" Target="../tags/tag229.xml"/><Relationship Id="rId217" Type="http://schemas.openxmlformats.org/officeDocument/2006/relationships/tags" Target="../tags/tag285.xml"/><Relationship Id="rId399" Type="http://schemas.openxmlformats.org/officeDocument/2006/relationships/tags" Target="../tags/tag467.xml"/><Relationship Id="rId259" Type="http://schemas.openxmlformats.org/officeDocument/2006/relationships/tags" Target="../tags/tag327.xml"/><Relationship Id="rId424" Type="http://schemas.openxmlformats.org/officeDocument/2006/relationships/tags" Target="../tags/tag492.xml"/><Relationship Id="rId466" Type="http://schemas.openxmlformats.org/officeDocument/2006/relationships/tags" Target="../tags/tag534.xml"/><Relationship Id="rId23" Type="http://schemas.openxmlformats.org/officeDocument/2006/relationships/tags" Target="../tags/tag91.xml"/><Relationship Id="rId119" Type="http://schemas.openxmlformats.org/officeDocument/2006/relationships/tags" Target="../tags/tag187.xml"/><Relationship Id="rId270" Type="http://schemas.openxmlformats.org/officeDocument/2006/relationships/tags" Target="../tags/tag338.xml"/><Relationship Id="rId326" Type="http://schemas.openxmlformats.org/officeDocument/2006/relationships/tags" Target="../tags/tag394.xml"/><Relationship Id="rId533" Type="http://schemas.openxmlformats.org/officeDocument/2006/relationships/tags" Target="../tags/tag601.xml"/><Relationship Id="rId65" Type="http://schemas.openxmlformats.org/officeDocument/2006/relationships/tags" Target="../tags/tag133.xml"/><Relationship Id="rId130" Type="http://schemas.openxmlformats.org/officeDocument/2006/relationships/tags" Target="../tags/tag198.xml"/><Relationship Id="rId368" Type="http://schemas.openxmlformats.org/officeDocument/2006/relationships/tags" Target="../tags/tag436.xml"/><Relationship Id="rId172" Type="http://schemas.openxmlformats.org/officeDocument/2006/relationships/tags" Target="../tags/tag240.xml"/><Relationship Id="rId228" Type="http://schemas.openxmlformats.org/officeDocument/2006/relationships/tags" Target="../tags/tag296.xml"/><Relationship Id="rId435" Type="http://schemas.openxmlformats.org/officeDocument/2006/relationships/tags" Target="../tags/tag503.xml"/><Relationship Id="rId477" Type="http://schemas.openxmlformats.org/officeDocument/2006/relationships/tags" Target="../tags/tag545.xml"/><Relationship Id="rId281" Type="http://schemas.openxmlformats.org/officeDocument/2006/relationships/tags" Target="../tags/tag349.xml"/><Relationship Id="rId337" Type="http://schemas.openxmlformats.org/officeDocument/2006/relationships/tags" Target="../tags/tag405.xml"/><Relationship Id="rId502" Type="http://schemas.openxmlformats.org/officeDocument/2006/relationships/tags" Target="../tags/tag570.xml"/><Relationship Id="rId34" Type="http://schemas.openxmlformats.org/officeDocument/2006/relationships/tags" Target="../tags/tag102.xml"/><Relationship Id="rId76" Type="http://schemas.openxmlformats.org/officeDocument/2006/relationships/tags" Target="../tags/tag144.xml"/><Relationship Id="rId141" Type="http://schemas.openxmlformats.org/officeDocument/2006/relationships/tags" Target="../tags/tag209.xml"/><Relationship Id="rId379" Type="http://schemas.openxmlformats.org/officeDocument/2006/relationships/tags" Target="../tags/tag447.xml"/><Relationship Id="rId544" Type="http://schemas.openxmlformats.org/officeDocument/2006/relationships/tags" Target="../tags/tag612.xml"/><Relationship Id="rId7" Type="http://schemas.openxmlformats.org/officeDocument/2006/relationships/tags" Target="../tags/tag75.xml"/><Relationship Id="rId183" Type="http://schemas.openxmlformats.org/officeDocument/2006/relationships/tags" Target="../tags/tag251.xml"/><Relationship Id="rId239" Type="http://schemas.openxmlformats.org/officeDocument/2006/relationships/tags" Target="../tags/tag307.xml"/><Relationship Id="rId390" Type="http://schemas.openxmlformats.org/officeDocument/2006/relationships/tags" Target="../tags/tag458.xml"/><Relationship Id="rId404" Type="http://schemas.openxmlformats.org/officeDocument/2006/relationships/tags" Target="../tags/tag472.xml"/><Relationship Id="rId446" Type="http://schemas.openxmlformats.org/officeDocument/2006/relationships/tags" Target="../tags/tag514.xml"/><Relationship Id="rId250" Type="http://schemas.openxmlformats.org/officeDocument/2006/relationships/tags" Target="../tags/tag318.xml"/><Relationship Id="rId292" Type="http://schemas.openxmlformats.org/officeDocument/2006/relationships/tags" Target="../tags/tag360.xml"/><Relationship Id="rId306" Type="http://schemas.openxmlformats.org/officeDocument/2006/relationships/tags" Target="../tags/tag374.xml"/><Relationship Id="rId488" Type="http://schemas.openxmlformats.org/officeDocument/2006/relationships/tags" Target="../tags/tag556.xml"/><Relationship Id="rId45" Type="http://schemas.openxmlformats.org/officeDocument/2006/relationships/tags" Target="../tags/tag113.xml"/><Relationship Id="rId87" Type="http://schemas.openxmlformats.org/officeDocument/2006/relationships/tags" Target="../tags/tag155.xml"/><Relationship Id="rId110" Type="http://schemas.openxmlformats.org/officeDocument/2006/relationships/tags" Target="../tags/tag178.xml"/><Relationship Id="rId348" Type="http://schemas.openxmlformats.org/officeDocument/2006/relationships/tags" Target="../tags/tag416.xml"/><Relationship Id="rId513" Type="http://schemas.openxmlformats.org/officeDocument/2006/relationships/tags" Target="../tags/tag581.xml"/><Relationship Id="rId152" Type="http://schemas.openxmlformats.org/officeDocument/2006/relationships/tags" Target="../tags/tag220.xml"/><Relationship Id="rId194" Type="http://schemas.openxmlformats.org/officeDocument/2006/relationships/tags" Target="../tags/tag262.xml"/><Relationship Id="rId208" Type="http://schemas.openxmlformats.org/officeDocument/2006/relationships/tags" Target="../tags/tag276.xml"/><Relationship Id="rId415" Type="http://schemas.openxmlformats.org/officeDocument/2006/relationships/tags" Target="../tags/tag483.xml"/><Relationship Id="rId457" Type="http://schemas.openxmlformats.org/officeDocument/2006/relationships/tags" Target="../tags/tag525.xml"/><Relationship Id="rId261" Type="http://schemas.openxmlformats.org/officeDocument/2006/relationships/tags" Target="../tags/tag329.xml"/><Relationship Id="rId499" Type="http://schemas.openxmlformats.org/officeDocument/2006/relationships/tags" Target="../tags/tag567.xml"/><Relationship Id="rId14" Type="http://schemas.openxmlformats.org/officeDocument/2006/relationships/tags" Target="../tags/tag82.xml"/><Relationship Id="rId56" Type="http://schemas.openxmlformats.org/officeDocument/2006/relationships/tags" Target="../tags/tag124.xml"/><Relationship Id="rId317" Type="http://schemas.openxmlformats.org/officeDocument/2006/relationships/tags" Target="../tags/tag385.xml"/><Relationship Id="rId359" Type="http://schemas.openxmlformats.org/officeDocument/2006/relationships/tags" Target="../tags/tag427.xml"/><Relationship Id="rId524" Type="http://schemas.openxmlformats.org/officeDocument/2006/relationships/tags" Target="../tags/tag592.xml"/><Relationship Id="rId98" Type="http://schemas.openxmlformats.org/officeDocument/2006/relationships/tags" Target="../tags/tag166.xml"/><Relationship Id="rId121" Type="http://schemas.openxmlformats.org/officeDocument/2006/relationships/tags" Target="../tags/tag189.xml"/><Relationship Id="rId163" Type="http://schemas.openxmlformats.org/officeDocument/2006/relationships/tags" Target="../tags/tag231.xml"/><Relationship Id="rId219" Type="http://schemas.openxmlformats.org/officeDocument/2006/relationships/tags" Target="../tags/tag287.xml"/><Relationship Id="rId370" Type="http://schemas.openxmlformats.org/officeDocument/2006/relationships/tags" Target="../tags/tag438.xml"/><Relationship Id="rId426" Type="http://schemas.openxmlformats.org/officeDocument/2006/relationships/tags" Target="../tags/tag494.xml"/><Relationship Id="rId230" Type="http://schemas.openxmlformats.org/officeDocument/2006/relationships/tags" Target="../tags/tag298.xml"/><Relationship Id="rId468" Type="http://schemas.openxmlformats.org/officeDocument/2006/relationships/tags" Target="../tags/tag536.xml"/><Relationship Id="rId25" Type="http://schemas.openxmlformats.org/officeDocument/2006/relationships/tags" Target="../tags/tag93.xml"/><Relationship Id="rId67" Type="http://schemas.openxmlformats.org/officeDocument/2006/relationships/tags" Target="../tags/tag135.xml"/><Relationship Id="rId272" Type="http://schemas.openxmlformats.org/officeDocument/2006/relationships/tags" Target="../tags/tag340.xml"/><Relationship Id="rId328" Type="http://schemas.openxmlformats.org/officeDocument/2006/relationships/tags" Target="../tags/tag396.xml"/><Relationship Id="rId535" Type="http://schemas.openxmlformats.org/officeDocument/2006/relationships/tags" Target="../tags/tag603.xml"/><Relationship Id="rId132" Type="http://schemas.openxmlformats.org/officeDocument/2006/relationships/tags" Target="../tags/tag200.xml"/><Relationship Id="rId174" Type="http://schemas.openxmlformats.org/officeDocument/2006/relationships/tags" Target="../tags/tag242.xml"/><Relationship Id="rId381" Type="http://schemas.openxmlformats.org/officeDocument/2006/relationships/tags" Target="../tags/tag449.xml"/><Relationship Id="rId241" Type="http://schemas.openxmlformats.org/officeDocument/2006/relationships/tags" Target="../tags/tag309.xml"/><Relationship Id="rId437" Type="http://schemas.openxmlformats.org/officeDocument/2006/relationships/tags" Target="../tags/tag505.xml"/><Relationship Id="rId479" Type="http://schemas.openxmlformats.org/officeDocument/2006/relationships/tags" Target="../tags/tag547.xml"/><Relationship Id="rId36" Type="http://schemas.openxmlformats.org/officeDocument/2006/relationships/tags" Target="../tags/tag104.xml"/><Relationship Id="rId283" Type="http://schemas.openxmlformats.org/officeDocument/2006/relationships/tags" Target="../tags/tag351.xml"/><Relationship Id="rId339" Type="http://schemas.openxmlformats.org/officeDocument/2006/relationships/tags" Target="../tags/tag407.xml"/><Relationship Id="rId490" Type="http://schemas.openxmlformats.org/officeDocument/2006/relationships/tags" Target="../tags/tag558.xml"/><Relationship Id="rId504" Type="http://schemas.openxmlformats.org/officeDocument/2006/relationships/tags" Target="../tags/tag572.xml"/><Relationship Id="rId78" Type="http://schemas.openxmlformats.org/officeDocument/2006/relationships/tags" Target="../tags/tag146.xml"/><Relationship Id="rId101" Type="http://schemas.openxmlformats.org/officeDocument/2006/relationships/tags" Target="../tags/tag169.xml"/><Relationship Id="rId143" Type="http://schemas.openxmlformats.org/officeDocument/2006/relationships/tags" Target="../tags/tag211.xml"/><Relationship Id="rId185" Type="http://schemas.openxmlformats.org/officeDocument/2006/relationships/tags" Target="../tags/tag253.xml"/><Relationship Id="rId350" Type="http://schemas.openxmlformats.org/officeDocument/2006/relationships/tags" Target="../tags/tag418.xml"/><Relationship Id="rId406" Type="http://schemas.openxmlformats.org/officeDocument/2006/relationships/tags" Target="../tags/tag474.xml"/><Relationship Id="rId9" Type="http://schemas.openxmlformats.org/officeDocument/2006/relationships/tags" Target="../tags/tag77.xml"/><Relationship Id="rId210" Type="http://schemas.openxmlformats.org/officeDocument/2006/relationships/tags" Target="../tags/tag278.xml"/><Relationship Id="rId392" Type="http://schemas.openxmlformats.org/officeDocument/2006/relationships/tags" Target="../tags/tag460.xml"/><Relationship Id="rId448" Type="http://schemas.openxmlformats.org/officeDocument/2006/relationships/tags" Target="../tags/tag516.xml"/><Relationship Id="rId252" Type="http://schemas.openxmlformats.org/officeDocument/2006/relationships/tags" Target="../tags/tag320.xml"/><Relationship Id="rId294" Type="http://schemas.openxmlformats.org/officeDocument/2006/relationships/tags" Target="../tags/tag362.xml"/><Relationship Id="rId308" Type="http://schemas.openxmlformats.org/officeDocument/2006/relationships/tags" Target="../tags/tag376.xml"/><Relationship Id="rId515" Type="http://schemas.openxmlformats.org/officeDocument/2006/relationships/tags" Target="../tags/tag583.xml"/><Relationship Id="rId47" Type="http://schemas.openxmlformats.org/officeDocument/2006/relationships/tags" Target="../tags/tag115.xml"/><Relationship Id="rId89" Type="http://schemas.openxmlformats.org/officeDocument/2006/relationships/tags" Target="../tags/tag157.xml"/><Relationship Id="rId112" Type="http://schemas.openxmlformats.org/officeDocument/2006/relationships/tags" Target="../tags/tag180.xml"/><Relationship Id="rId154" Type="http://schemas.openxmlformats.org/officeDocument/2006/relationships/tags" Target="../tags/tag222.xml"/><Relationship Id="rId361" Type="http://schemas.openxmlformats.org/officeDocument/2006/relationships/tags" Target="../tags/tag429.xml"/><Relationship Id="rId196" Type="http://schemas.openxmlformats.org/officeDocument/2006/relationships/tags" Target="../tags/tag264.xml"/><Relationship Id="rId417" Type="http://schemas.openxmlformats.org/officeDocument/2006/relationships/tags" Target="../tags/tag485.xml"/><Relationship Id="rId459" Type="http://schemas.openxmlformats.org/officeDocument/2006/relationships/tags" Target="../tags/tag527.xml"/><Relationship Id="rId16" Type="http://schemas.openxmlformats.org/officeDocument/2006/relationships/tags" Target="../tags/tag84.xml"/><Relationship Id="rId221" Type="http://schemas.openxmlformats.org/officeDocument/2006/relationships/tags" Target="../tags/tag289.xml"/><Relationship Id="rId263" Type="http://schemas.openxmlformats.org/officeDocument/2006/relationships/tags" Target="../tags/tag331.xml"/><Relationship Id="rId319" Type="http://schemas.openxmlformats.org/officeDocument/2006/relationships/tags" Target="../tags/tag387.xml"/><Relationship Id="rId470" Type="http://schemas.openxmlformats.org/officeDocument/2006/relationships/tags" Target="../tags/tag538.xml"/><Relationship Id="rId526" Type="http://schemas.openxmlformats.org/officeDocument/2006/relationships/tags" Target="../tags/tag594.xml"/><Relationship Id="rId58" Type="http://schemas.openxmlformats.org/officeDocument/2006/relationships/tags" Target="../tags/tag126.xml"/><Relationship Id="rId123" Type="http://schemas.openxmlformats.org/officeDocument/2006/relationships/tags" Target="../tags/tag191.xml"/><Relationship Id="rId330" Type="http://schemas.openxmlformats.org/officeDocument/2006/relationships/tags" Target="../tags/tag398.xml"/><Relationship Id="rId165" Type="http://schemas.openxmlformats.org/officeDocument/2006/relationships/tags" Target="../tags/tag233.xml"/><Relationship Id="rId372" Type="http://schemas.openxmlformats.org/officeDocument/2006/relationships/tags" Target="../tags/tag440.xml"/><Relationship Id="rId428" Type="http://schemas.openxmlformats.org/officeDocument/2006/relationships/tags" Target="../tags/tag496.xml"/><Relationship Id="rId232" Type="http://schemas.openxmlformats.org/officeDocument/2006/relationships/tags" Target="../tags/tag300.xml"/><Relationship Id="rId274" Type="http://schemas.openxmlformats.org/officeDocument/2006/relationships/tags" Target="../tags/tag342.xml"/><Relationship Id="rId481" Type="http://schemas.openxmlformats.org/officeDocument/2006/relationships/tags" Target="../tags/tag549.xml"/><Relationship Id="rId27" Type="http://schemas.openxmlformats.org/officeDocument/2006/relationships/tags" Target="../tags/tag95.xml"/><Relationship Id="rId69" Type="http://schemas.openxmlformats.org/officeDocument/2006/relationships/tags" Target="../tags/tag137.xml"/><Relationship Id="rId134" Type="http://schemas.openxmlformats.org/officeDocument/2006/relationships/tags" Target="../tags/tag202.xml"/><Relationship Id="rId537" Type="http://schemas.openxmlformats.org/officeDocument/2006/relationships/tags" Target="../tags/tag605.xml"/><Relationship Id="rId80" Type="http://schemas.openxmlformats.org/officeDocument/2006/relationships/tags" Target="../tags/tag148.xml"/><Relationship Id="rId176" Type="http://schemas.openxmlformats.org/officeDocument/2006/relationships/tags" Target="../tags/tag244.xml"/><Relationship Id="rId341" Type="http://schemas.openxmlformats.org/officeDocument/2006/relationships/tags" Target="../tags/tag409.xml"/><Relationship Id="rId383" Type="http://schemas.openxmlformats.org/officeDocument/2006/relationships/tags" Target="../tags/tag451.xml"/><Relationship Id="rId439" Type="http://schemas.openxmlformats.org/officeDocument/2006/relationships/tags" Target="../tags/tag507.xml"/><Relationship Id="rId201" Type="http://schemas.openxmlformats.org/officeDocument/2006/relationships/tags" Target="../tags/tag269.xml"/><Relationship Id="rId243" Type="http://schemas.openxmlformats.org/officeDocument/2006/relationships/tags" Target="../tags/tag311.xml"/><Relationship Id="rId285" Type="http://schemas.openxmlformats.org/officeDocument/2006/relationships/tags" Target="../tags/tag353.xml"/><Relationship Id="rId450" Type="http://schemas.openxmlformats.org/officeDocument/2006/relationships/tags" Target="../tags/tag518.xml"/><Relationship Id="rId506" Type="http://schemas.openxmlformats.org/officeDocument/2006/relationships/tags" Target="../tags/tag574.xml"/><Relationship Id="rId38" Type="http://schemas.openxmlformats.org/officeDocument/2006/relationships/tags" Target="../tags/tag106.xml"/><Relationship Id="rId103" Type="http://schemas.openxmlformats.org/officeDocument/2006/relationships/tags" Target="../tags/tag171.xml"/><Relationship Id="rId310" Type="http://schemas.openxmlformats.org/officeDocument/2006/relationships/tags" Target="../tags/tag378.xml"/><Relationship Id="rId492" Type="http://schemas.openxmlformats.org/officeDocument/2006/relationships/tags" Target="../tags/tag560.xml"/><Relationship Id="rId91" Type="http://schemas.openxmlformats.org/officeDocument/2006/relationships/tags" Target="../tags/tag159.xml"/><Relationship Id="rId145" Type="http://schemas.openxmlformats.org/officeDocument/2006/relationships/tags" Target="../tags/tag213.xml"/><Relationship Id="rId187" Type="http://schemas.openxmlformats.org/officeDocument/2006/relationships/tags" Target="../tags/tag255.xml"/><Relationship Id="rId352" Type="http://schemas.openxmlformats.org/officeDocument/2006/relationships/tags" Target="../tags/tag420.xml"/><Relationship Id="rId394" Type="http://schemas.openxmlformats.org/officeDocument/2006/relationships/tags" Target="../tags/tag462.xml"/><Relationship Id="rId408" Type="http://schemas.openxmlformats.org/officeDocument/2006/relationships/tags" Target="../tags/tag476.xml"/><Relationship Id="rId212" Type="http://schemas.openxmlformats.org/officeDocument/2006/relationships/tags" Target="../tags/tag280.xml"/><Relationship Id="rId254" Type="http://schemas.openxmlformats.org/officeDocument/2006/relationships/tags" Target="../tags/tag322.xml"/><Relationship Id="rId49" Type="http://schemas.openxmlformats.org/officeDocument/2006/relationships/tags" Target="../tags/tag117.xml"/><Relationship Id="rId114" Type="http://schemas.openxmlformats.org/officeDocument/2006/relationships/tags" Target="../tags/tag182.xml"/><Relationship Id="rId296" Type="http://schemas.openxmlformats.org/officeDocument/2006/relationships/tags" Target="../tags/tag364.xml"/><Relationship Id="rId461" Type="http://schemas.openxmlformats.org/officeDocument/2006/relationships/tags" Target="../tags/tag529.xml"/><Relationship Id="rId517" Type="http://schemas.openxmlformats.org/officeDocument/2006/relationships/tags" Target="../tags/tag585.xml"/><Relationship Id="rId60" Type="http://schemas.openxmlformats.org/officeDocument/2006/relationships/tags" Target="../tags/tag128.xml"/><Relationship Id="rId156" Type="http://schemas.openxmlformats.org/officeDocument/2006/relationships/tags" Target="../tags/tag224.xml"/><Relationship Id="rId198" Type="http://schemas.openxmlformats.org/officeDocument/2006/relationships/tags" Target="../tags/tag266.xml"/><Relationship Id="rId321" Type="http://schemas.openxmlformats.org/officeDocument/2006/relationships/tags" Target="../tags/tag389.xml"/><Relationship Id="rId363" Type="http://schemas.openxmlformats.org/officeDocument/2006/relationships/tags" Target="../tags/tag431.xml"/><Relationship Id="rId419" Type="http://schemas.openxmlformats.org/officeDocument/2006/relationships/tags" Target="../tags/tag487.xml"/><Relationship Id="rId223" Type="http://schemas.openxmlformats.org/officeDocument/2006/relationships/tags" Target="../tags/tag291.xml"/><Relationship Id="rId430" Type="http://schemas.openxmlformats.org/officeDocument/2006/relationships/tags" Target="../tags/tag498.xml"/><Relationship Id="rId18" Type="http://schemas.openxmlformats.org/officeDocument/2006/relationships/tags" Target="../tags/tag86.xml"/><Relationship Id="rId265" Type="http://schemas.openxmlformats.org/officeDocument/2006/relationships/tags" Target="../tags/tag333.xml"/><Relationship Id="rId472" Type="http://schemas.openxmlformats.org/officeDocument/2006/relationships/tags" Target="../tags/tag540.xml"/><Relationship Id="rId528" Type="http://schemas.openxmlformats.org/officeDocument/2006/relationships/tags" Target="../tags/tag596.xml"/><Relationship Id="rId125" Type="http://schemas.openxmlformats.org/officeDocument/2006/relationships/tags" Target="../tags/tag193.xml"/><Relationship Id="rId167" Type="http://schemas.openxmlformats.org/officeDocument/2006/relationships/tags" Target="../tags/tag235.xml"/><Relationship Id="rId332" Type="http://schemas.openxmlformats.org/officeDocument/2006/relationships/tags" Target="../tags/tag400.xml"/><Relationship Id="rId374" Type="http://schemas.openxmlformats.org/officeDocument/2006/relationships/tags" Target="../tags/tag442.xml"/><Relationship Id="rId71" Type="http://schemas.openxmlformats.org/officeDocument/2006/relationships/tags" Target="../tags/tag139.xml"/><Relationship Id="rId234" Type="http://schemas.openxmlformats.org/officeDocument/2006/relationships/tags" Target="../tags/tag302.xml"/><Relationship Id="rId2" Type="http://schemas.openxmlformats.org/officeDocument/2006/relationships/tags" Target="../tags/tag70.xml"/><Relationship Id="rId29" Type="http://schemas.openxmlformats.org/officeDocument/2006/relationships/tags" Target="../tags/tag97.xml"/><Relationship Id="rId276" Type="http://schemas.openxmlformats.org/officeDocument/2006/relationships/tags" Target="../tags/tag344.xml"/><Relationship Id="rId441" Type="http://schemas.openxmlformats.org/officeDocument/2006/relationships/tags" Target="../tags/tag509.xml"/><Relationship Id="rId483" Type="http://schemas.openxmlformats.org/officeDocument/2006/relationships/tags" Target="../tags/tag551.xml"/><Relationship Id="rId539" Type="http://schemas.openxmlformats.org/officeDocument/2006/relationships/tags" Target="../tags/tag607.xml"/><Relationship Id="rId40" Type="http://schemas.openxmlformats.org/officeDocument/2006/relationships/tags" Target="../tags/tag108.xml"/><Relationship Id="rId136" Type="http://schemas.openxmlformats.org/officeDocument/2006/relationships/tags" Target="../tags/tag204.xml"/><Relationship Id="rId178" Type="http://schemas.openxmlformats.org/officeDocument/2006/relationships/tags" Target="../tags/tag246.xml"/><Relationship Id="rId301" Type="http://schemas.openxmlformats.org/officeDocument/2006/relationships/tags" Target="../tags/tag369.xml"/><Relationship Id="rId343" Type="http://schemas.openxmlformats.org/officeDocument/2006/relationships/tags" Target="../tags/tag411.xml"/><Relationship Id="rId82" Type="http://schemas.openxmlformats.org/officeDocument/2006/relationships/tags" Target="../tags/tag150.xml"/><Relationship Id="rId203" Type="http://schemas.openxmlformats.org/officeDocument/2006/relationships/tags" Target="../tags/tag271.xml"/><Relationship Id="rId385" Type="http://schemas.openxmlformats.org/officeDocument/2006/relationships/tags" Target="../tags/tag453.xml"/><Relationship Id="rId245" Type="http://schemas.openxmlformats.org/officeDocument/2006/relationships/tags" Target="../tags/tag313.xml"/><Relationship Id="rId287" Type="http://schemas.openxmlformats.org/officeDocument/2006/relationships/tags" Target="../tags/tag355.xml"/><Relationship Id="rId410" Type="http://schemas.openxmlformats.org/officeDocument/2006/relationships/tags" Target="../tags/tag478.xml"/><Relationship Id="rId452" Type="http://schemas.openxmlformats.org/officeDocument/2006/relationships/tags" Target="../tags/tag520.xml"/><Relationship Id="rId494" Type="http://schemas.openxmlformats.org/officeDocument/2006/relationships/tags" Target="../tags/tag562.xml"/><Relationship Id="rId508" Type="http://schemas.openxmlformats.org/officeDocument/2006/relationships/tags" Target="../tags/tag576.xml"/><Relationship Id="rId105" Type="http://schemas.openxmlformats.org/officeDocument/2006/relationships/tags" Target="../tags/tag173.xml"/><Relationship Id="rId147" Type="http://schemas.openxmlformats.org/officeDocument/2006/relationships/tags" Target="../tags/tag215.xml"/><Relationship Id="rId312" Type="http://schemas.openxmlformats.org/officeDocument/2006/relationships/tags" Target="../tags/tag380.xml"/><Relationship Id="rId354" Type="http://schemas.openxmlformats.org/officeDocument/2006/relationships/tags" Target="../tags/tag422.xml"/><Relationship Id="rId51" Type="http://schemas.openxmlformats.org/officeDocument/2006/relationships/tags" Target="../tags/tag119.xml"/><Relationship Id="rId93" Type="http://schemas.openxmlformats.org/officeDocument/2006/relationships/tags" Target="../tags/tag161.xml"/><Relationship Id="rId189" Type="http://schemas.openxmlformats.org/officeDocument/2006/relationships/tags" Target="../tags/tag257.xml"/><Relationship Id="rId396" Type="http://schemas.openxmlformats.org/officeDocument/2006/relationships/tags" Target="../tags/tag464.xml"/><Relationship Id="rId214" Type="http://schemas.openxmlformats.org/officeDocument/2006/relationships/tags" Target="../tags/tag282.xml"/><Relationship Id="rId256" Type="http://schemas.openxmlformats.org/officeDocument/2006/relationships/tags" Target="../tags/tag324.xml"/><Relationship Id="rId298" Type="http://schemas.openxmlformats.org/officeDocument/2006/relationships/tags" Target="../tags/tag366.xml"/><Relationship Id="rId421" Type="http://schemas.openxmlformats.org/officeDocument/2006/relationships/tags" Target="../tags/tag489.xml"/><Relationship Id="rId463" Type="http://schemas.openxmlformats.org/officeDocument/2006/relationships/tags" Target="../tags/tag531.xml"/><Relationship Id="rId519" Type="http://schemas.openxmlformats.org/officeDocument/2006/relationships/tags" Target="../tags/tag587.xml"/><Relationship Id="rId116" Type="http://schemas.openxmlformats.org/officeDocument/2006/relationships/tags" Target="../tags/tag184.xml"/><Relationship Id="rId158" Type="http://schemas.openxmlformats.org/officeDocument/2006/relationships/tags" Target="../tags/tag226.xml"/><Relationship Id="rId323" Type="http://schemas.openxmlformats.org/officeDocument/2006/relationships/tags" Target="../tags/tag391.xml"/><Relationship Id="rId530" Type="http://schemas.openxmlformats.org/officeDocument/2006/relationships/tags" Target="../tags/tag598.xml"/><Relationship Id="rId20" Type="http://schemas.openxmlformats.org/officeDocument/2006/relationships/tags" Target="../tags/tag88.xml"/><Relationship Id="rId62" Type="http://schemas.openxmlformats.org/officeDocument/2006/relationships/tags" Target="../tags/tag130.xml"/><Relationship Id="rId365" Type="http://schemas.openxmlformats.org/officeDocument/2006/relationships/tags" Target="../tags/tag433.xml"/><Relationship Id="rId225" Type="http://schemas.openxmlformats.org/officeDocument/2006/relationships/tags" Target="../tags/tag293.xml"/><Relationship Id="rId267" Type="http://schemas.openxmlformats.org/officeDocument/2006/relationships/tags" Target="../tags/tag335.xml"/><Relationship Id="rId432" Type="http://schemas.openxmlformats.org/officeDocument/2006/relationships/tags" Target="../tags/tag500.xml"/><Relationship Id="rId474" Type="http://schemas.openxmlformats.org/officeDocument/2006/relationships/tags" Target="../tags/tag542.xml"/><Relationship Id="rId127" Type="http://schemas.openxmlformats.org/officeDocument/2006/relationships/tags" Target="../tags/tag195.xml"/><Relationship Id="rId31" Type="http://schemas.openxmlformats.org/officeDocument/2006/relationships/tags" Target="../tags/tag99.xml"/><Relationship Id="rId73" Type="http://schemas.openxmlformats.org/officeDocument/2006/relationships/tags" Target="../tags/tag141.xml"/><Relationship Id="rId169" Type="http://schemas.openxmlformats.org/officeDocument/2006/relationships/tags" Target="../tags/tag237.xml"/><Relationship Id="rId334" Type="http://schemas.openxmlformats.org/officeDocument/2006/relationships/tags" Target="../tags/tag402.xml"/><Relationship Id="rId376" Type="http://schemas.openxmlformats.org/officeDocument/2006/relationships/tags" Target="../tags/tag444.xml"/><Relationship Id="rId541" Type="http://schemas.openxmlformats.org/officeDocument/2006/relationships/tags" Target="../tags/tag609.xml"/><Relationship Id="rId4" Type="http://schemas.openxmlformats.org/officeDocument/2006/relationships/tags" Target="../tags/tag72.xml"/><Relationship Id="rId180" Type="http://schemas.openxmlformats.org/officeDocument/2006/relationships/tags" Target="../tags/tag248.xml"/><Relationship Id="rId236" Type="http://schemas.openxmlformats.org/officeDocument/2006/relationships/tags" Target="../tags/tag304.xml"/><Relationship Id="rId278" Type="http://schemas.openxmlformats.org/officeDocument/2006/relationships/tags" Target="../tags/tag346.xml"/><Relationship Id="rId401" Type="http://schemas.openxmlformats.org/officeDocument/2006/relationships/tags" Target="../tags/tag469.xml"/><Relationship Id="rId443" Type="http://schemas.openxmlformats.org/officeDocument/2006/relationships/tags" Target="../tags/tag511.xml"/><Relationship Id="rId303" Type="http://schemas.openxmlformats.org/officeDocument/2006/relationships/tags" Target="../tags/tag371.xml"/><Relationship Id="rId485" Type="http://schemas.openxmlformats.org/officeDocument/2006/relationships/tags" Target="../tags/tag553.xml"/><Relationship Id="rId42" Type="http://schemas.openxmlformats.org/officeDocument/2006/relationships/tags" Target="../tags/tag110.xml"/><Relationship Id="rId84" Type="http://schemas.openxmlformats.org/officeDocument/2006/relationships/tags" Target="../tags/tag152.xml"/><Relationship Id="rId138" Type="http://schemas.openxmlformats.org/officeDocument/2006/relationships/tags" Target="../tags/tag206.xml"/><Relationship Id="rId345" Type="http://schemas.openxmlformats.org/officeDocument/2006/relationships/tags" Target="../tags/tag413.xml"/><Relationship Id="rId387" Type="http://schemas.openxmlformats.org/officeDocument/2006/relationships/tags" Target="../tags/tag455.xml"/><Relationship Id="rId510" Type="http://schemas.openxmlformats.org/officeDocument/2006/relationships/tags" Target="../tags/tag578.xml"/><Relationship Id="rId191" Type="http://schemas.openxmlformats.org/officeDocument/2006/relationships/tags" Target="../tags/tag259.xml"/><Relationship Id="rId205" Type="http://schemas.openxmlformats.org/officeDocument/2006/relationships/tags" Target="../tags/tag273.xml"/><Relationship Id="rId247" Type="http://schemas.openxmlformats.org/officeDocument/2006/relationships/tags" Target="../tags/tag315.xml"/><Relationship Id="rId412" Type="http://schemas.openxmlformats.org/officeDocument/2006/relationships/tags" Target="../tags/tag480.xml"/><Relationship Id="rId107" Type="http://schemas.openxmlformats.org/officeDocument/2006/relationships/tags" Target="../tags/tag175.xml"/><Relationship Id="rId289" Type="http://schemas.openxmlformats.org/officeDocument/2006/relationships/tags" Target="../tags/tag357.xml"/><Relationship Id="rId454" Type="http://schemas.openxmlformats.org/officeDocument/2006/relationships/tags" Target="../tags/tag522.xml"/><Relationship Id="rId496" Type="http://schemas.openxmlformats.org/officeDocument/2006/relationships/tags" Target="../tags/tag564.xml"/><Relationship Id="rId11" Type="http://schemas.openxmlformats.org/officeDocument/2006/relationships/tags" Target="../tags/tag79.xml"/><Relationship Id="rId53" Type="http://schemas.openxmlformats.org/officeDocument/2006/relationships/tags" Target="../tags/tag121.xml"/><Relationship Id="rId149" Type="http://schemas.openxmlformats.org/officeDocument/2006/relationships/tags" Target="../tags/tag217.xml"/><Relationship Id="rId314" Type="http://schemas.openxmlformats.org/officeDocument/2006/relationships/tags" Target="../tags/tag382.xml"/><Relationship Id="rId356" Type="http://schemas.openxmlformats.org/officeDocument/2006/relationships/tags" Target="../tags/tag424.xml"/><Relationship Id="rId398" Type="http://schemas.openxmlformats.org/officeDocument/2006/relationships/tags" Target="../tags/tag466.xml"/><Relationship Id="rId521" Type="http://schemas.openxmlformats.org/officeDocument/2006/relationships/tags" Target="../tags/tag589.xml"/><Relationship Id="rId95" Type="http://schemas.openxmlformats.org/officeDocument/2006/relationships/tags" Target="../tags/tag163.xml"/><Relationship Id="rId160" Type="http://schemas.openxmlformats.org/officeDocument/2006/relationships/tags" Target="../tags/tag228.xml"/><Relationship Id="rId216" Type="http://schemas.openxmlformats.org/officeDocument/2006/relationships/tags" Target="../tags/tag284.xml"/><Relationship Id="rId423" Type="http://schemas.openxmlformats.org/officeDocument/2006/relationships/tags" Target="../tags/tag491.xml"/><Relationship Id="rId258" Type="http://schemas.openxmlformats.org/officeDocument/2006/relationships/tags" Target="../tags/tag326.xml"/><Relationship Id="rId465" Type="http://schemas.openxmlformats.org/officeDocument/2006/relationships/tags" Target="../tags/tag533.xml"/><Relationship Id="rId22" Type="http://schemas.openxmlformats.org/officeDocument/2006/relationships/tags" Target="../tags/tag90.xml"/><Relationship Id="rId64" Type="http://schemas.openxmlformats.org/officeDocument/2006/relationships/tags" Target="../tags/tag132.xml"/><Relationship Id="rId118" Type="http://schemas.openxmlformats.org/officeDocument/2006/relationships/tags" Target="../tags/tag186.xml"/><Relationship Id="rId325" Type="http://schemas.openxmlformats.org/officeDocument/2006/relationships/tags" Target="../tags/tag393.xml"/><Relationship Id="rId367" Type="http://schemas.openxmlformats.org/officeDocument/2006/relationships/tags" Target="../tags/tag435.xml"/><Relationship Id="rId532" Type="http://schemas.openxmlformats.org/officeDocument/2006/relationships/tags" Target="../tags/tag600.xml"/><Relationship Id="rId171" Type="http://schemas.openxmlformats.org/officeDocument/2006/relationships/tags" Target="../tags/tag239.xml"/><Relationship Id="rId227" Type="http://schemas.openxmlformats.org/officeDocument/2006/relationships/tags" Target="../tags/tag295.xml"/><Relationship Id="rId269" Type="http://schemas.openxmlformats.org/officeDocument/2006/relationships/tags" Target="../tags/tag337.xml"/><Relationship Id="rId434" Type="http://schemas.openxmlformats.org/officeDocument/2006/relationships/tags" Target="../tags/tag502.xml"/><Relationship Id="rId476" Type="http://schemas.openxmlformats.org/officeDocument/2006/relationships/tags" Target="../tags/tag544.xml"/><Relationship Id="rId33" Type="http://schemas.openxmlformats.org/officeDocument/2006/relationships/tags" Target="../tags/tag101.xml"/><Relationship Id="rId129" Type="http://schemas.openxmlformats.org/officeDocument/2006/relationships/tags" Target="../tags/tag197.xml"/><Relationship Id="rId280" Type="http://schemas.openxmlformats.org/officeDocument/2006/relationships/tags" Target="../tags/tag348.xml"/><Relationship Id="rId336" Type="http://schemas.openxmlformats.org/officeDocument/2006/relationships/tags" Target="../tags/tag404.xml"/><Relationship Id="rId501" Type="http://schemas.openxmlformats.org/officeDocument/2006/relationships/tags" Target="../tags/tag569.xml"/><Relationship Id="rId543" Type="http://schemas.openxmlformats.org/officeDocument/2006/relationships/tags" Target="../tags/tag611.xml"/><Relationship Id="rId75" Type="http://schemas.openxmlformats.org/officeDocument/2006/relationships/tags" Target="../tags/tag143.xml"/><Relationship Id="rId140" Type="http://schemas.openxmlformats.org/officeDocument/2006/relationships/tags" Target="../tags/tag208.xml"/><Relationship Id="rId182" Type="http://schemas.openxmlformats.org/officeDocument/2006/relationships/tags" Target="../tags/tag250.xml"/><Relationship Id="rId378" Type="http://schemas.openxmlformats.org/officeDocument/2006/relationships/tags" Target="../tags/tag446.xml"/><Relationship Id="rId403" Type="http://schemas.openxmlformats.org/officeDocument/2006/relationships/tags" Target="../tags/tag471.xml"/><Relationship Id="rId6" Type="http://schemas.openxmlformats.org/officeDocument/2006/relationships/tags" Target="../tags/tag74.xml"/><Relationship Id="rId238" Type="http://schemas.openxmlformats.org/officeDocument/2006/relationships/tags" Target="../tags/tag306.xml"/><Relationship Id="rId445" Type="http://schemas.openxmlformats.org/officeDocument/2006/relationships/tags" Target="../tags/tag513.xml"/><Relationship Id="rId487" Type="http://schemas.openxmlformats.org/officeDocument/2006/relationships/tags" Target="../tags/tag555.xml"/><Relationship Id="rId291" Type="http://schemas.openxmlformats.org/officeDocument/2006/relationships/tags" Target="../tags/tag359.xml"/><Relationship Id="rId305" Type="http://schemas.openxmlformats.org/officeDocument/2006/relationships/tags" Target="../tags/tag373.xml"/><Relationship Id="rId347" Type="http://schemas.openxmlformats.org/officeDocument/2006/relationships/tags" Target="../tags/tag415.xml"/><Relationship Id="rId512" Type="http://schemas.openxmlformats.org/officeDocument/2006/relationships/tags" Target="../tags/tag580.xml"/><Relationship Id="rId44" Type="http://schemas.openxmlformats.org/officeDocument/2006/relationships/tags" Target="../tags/tag112.xml"/><Relationship Id="rId86" Type="http://schemas.openxmlformats.org/officeDocument/2006/relationships/tags" Target="../tags/tag154.xml"/><Relationship Id="rId151" Type="http://schemas.openxmlformats.org/officeDocument/2006/relationships/tags" Target="../tags/tag219.xml"/><Relationship Id="rId389" Type="http://schemas.openxmlformats.org/officeDocument/2006/relationships/tags" Target="../tags/tag457.xml"/><Relationship Id="rId193" Type="http://schemas.openxmlformats.org/officeDocument/2006/relationships/tags" Target="../tags/tag261.xml"/><Relationship Id="rId207" Type="http://schemas.openxmlformats.org/officeDocument/2006/relationships/tags" Target="../tags/tag275.xml"/><Relationship Id="rId249" Type="http://schemas.openxmlformats.org/officeDocument/2006/relationships/tags" Target="../tags/tag317.xml"/><Relationship Id="rId414" Type="http://schemas.openxmlformats.org/officeDocument/2006/relationships/tags" Target="../tags/tag482.xml"/><Relationship Id="rId456" Type="http://schemas.openxmlformats.org/officeDocument/2006/relationships/tags" Target="../tags/tag524.xml"/><Relationship Id="rId498" Type="http://schemas.openxmlformats.org/officeDocument/2006/relationships/tags" Target="../tags/tag566.xml"/><Relationship Id="rId13" Type="http://schemas.openxmlformats.org/officeDocument/2006/relationships/tags" Target="../tags/tag81.xml"/><Relationship Id="rId109" Type="http://schemas.openxmlformats.org/officeDocument/2006/relationships/tags" Target="../tags/tag177.xml"/><Relationship Id="rId260" Type="http://schemas.openxmlformats.org/officeDocument/2006/relationships/tags" Target="../tags/tag328.xml"/><Relationship Id="rId316" Type="http://schemas.openxmlformats.org/officeDocument/2006/relationships/tags" Target="../tags/tag384.xml"/><Relationship Id="rId523" Type="http://schemas.openxmlformats.org/officeDocument/2006/relationships/tags" Target="../tags/tag591.xml"/><Relationship Id="rId55" Type="http://schemas.openxmlformats.org/officeDocument/2006/relationships/tags" Target="../tags/tag123.xml"/><Relationship Id="rId97" Type="http://schemas.openxmlformats.org/officeDocument/2006/relationships/tags" Target="../tags/tag165.xml"/><Relationship Id="rId120" Type="http://schemas.openxmlformats.org/officeDocument/2006/relationships/tags" Target="../tags/tag188.xml"/><Relationship Id="rId358" Type="http://schemas.openxmlformats.org/officeDocument/2006/relationships/tags" Target="../tags/tag426.xml"/><Relationship Id="rId162" Type="http://schemas.openxmlformats.org/officeDocument/2006/relationships/tags" Target="../tags/tag230.xml"/><Relationship Id="rId218" Type="http://schemas.openxmlformats.org/officeDocument/2006/relationships/tags" Target="../tags/tag286.xml"/><Relationship Id="rId425" Type="http://schemas.openxmlformats.org/officeDocument/2006/relationships/tags" Target="../tags/tag493.xml"/><Relationship Id="rId467" Type="http://schemas.openxmlformats.org/officeDocument/2006/relationships/tags" Target="../tags/tag535.xml"/><Relationship Id="rId271" Type="http://schemas.openxmlformats.org/officeDocument/2006/relationships/tags" Target="../tags/tag339.xml"/><Relationship Id="rId24" Type="http://schemas.openxmlformats.org/officeDocument/2006/relationships/tags" Target="../tags/tag92.xml"/><Relationship Id="rId66" Type="http://schemas.openxmlformats.org/officeDocument/2006/relationships/tags" Target="../tags/tag134.xml"/><Relationship Id="rId131" Type="http://schemas.openxmlformats.org/officeDocument/2006/relationships/tags" Target="../tags/tag199.xml"/><Relationship Id="rId327" Type="http://schemas.openxmlformats.org/officeDocument/2006/relationships/tags" Target="../tags/tag395.xml"/><Relationship Id="rId369" Type="http://schemas.openxmlformats.org/officeDocument/2006/relationships/tags" Target="../tags/tag437.xml"/><Relationship Id="rId534" Type="http://schemas.openxmlformats.org/officeDocument/2006/relationships/tags" Target="../tags/tag602.xml"/><Relationship Id="rId173" Type="http://schemas.openxmlformats.org/officeDocument/2006/relationships/tags" Target="../tags/tag241.xml"/><Relationship Id="rId229" Type="http://schemas.openxmlformats.org/officeDocument/2006/relationships/tags" Target="../tags/tag297.xml"/><Relationship Id="rId380" Type="http://schemas.openxmlformats.org/officeDocument/2006/relationships/tags" Target="../tags/tag448.xml"/><Relationship Id="rId436" Type="http://schemas.openxmlformats.org/officeDocument/2006/relationships/tags" Target="../tags/tag504.xml"/><Relationship Id="rId240" Type="http://schemas.openxmlformats.org/officeDocument/2006/relationships/tags" Target="../tags/tag308.xml"/><Relationship Id="rId478" Type="http://schemas.openxmlformats.org/officeDocument/2006/relationships/tags" Target="../tags/tag546.xml"/><Relationship Id="rId35" Type="http://schemas.openxmlformats.org/officeDocument/2006/relationships/tags" Target="../tags/tag103.xml"/><Relationship Id="rId77" Type="http://schemas.openxmlformats.org/officeDocument/2006/relationships/tags" Target="../tags/tag145.xml"/><Relationship Id="rId100" Type="http://schemas.openxmlformats.org/officeDocument/2006/relationships/tags" Target="../tags/tag168.xml"/><Relationship Id="rId282" Type="http://schemas.openxmlformats.org/officeDocument/2006/relationships/tags" Target="../tags/tag350.xml"/><Relationship Id="rId338" Type="http://schemas.openxmlformats.org/officeDocument/2006/relationships/tags" Target="../tags/tag406.xml"/><Relationship Id="rId503" Type="http://schemas.openxmlformats.org/officeDocument/2006/relationships/tags" Target="../tags/tag571.xml"/><Relationship Id="rId545" Type="http://schemas.openxmlformats.org/officeDocument/2006/relationships/slideLayout" Target="../slideLayouts/slideLayout8.xml"/><Relationship Id="rId8" Type="http://schemas.openxmlformats.org/officeDocument/2006/relationships/tags" Target="../tags/tag76.xml"/><Relationship Id="rId142" Type="http://schemas.openxmlformats.org/officeDocument/2006/relationships/tags" Target="../tags/tag210.xml"/><Relationship Id="rId184" Type="http://schemas.openxmlformats.org/officeDocument/2006/relationships/tags" Target="../tags/tag252.xml"/><Relationship Id="rId391" Type="http://schemas.openxmlformats.org/officeDocument/2006/relationships/tags" Target="../tags/tag459.xml"/><Relationship Id="rId405" Type="http://schemas.openxmlformats.org/officeDocument/2006/relationships/tags" Target="../tags/tag473.xml"/><Relationship Id="rId447" Type="http://schemas.openxmlformats.org/officeDocument/2006/relationships/tags" Target="../tags/tag515.xml"/><Relationship Id="rId251" Type="http://schemas.openxmlformats.org/officeDocument/2006/relationships/tags" Target="../tags/tag319.xml"/><Relationship Id="rId489" Type="http://schemas.openxmlformats.org/officeDocument/2006/relationships/tags" Target="../tags/tag557.xml"/><Relationship Id="rId46" Type="http://schemas.openxmlformats.org/officeDocument/2006/relationships/tags" Target="../tags/tag114.xml"/><Relationship Id="rId293" Type="http://schemas.openxmlformats.org/officeDocument/2006/relationships/tags" Target="../tags/tag361.xml"/><Relationship Id="rId307" Type="http://schemas.openxmlformats.org/officeDocument/2006/relationships/tags" Target="../tags/tag375.xml"/><Relationship Id="rId349" Type="http://schemas.openxmlformats.org/officeDocument/2006/relationships/tags" Target="../tags/tag417.xml"/><Relationship Id="rId514" Type="http://schemas.openxmlformats.org/officeDocument/2006/relationships/tags" Target="../tags/tag582.xml"/><Relationship Id="rId88" Type="http://schemas.openxmlformats.org/officeDocument/2006/relationships/tags" Target="../tags/tag156.xml"/><Relationship Id="rId111" Type="http://schemas.openxmlformats.org/officeDocument/2006/relationships/tags" Target="../tags/tag179.xml"/><Relationship Id="rId153" Type="http://schemas.openxmlformats.org/officeDocument/2006/relationships/tags" Target="../tags/tag221.xml"/><Relationship Id="rId195" Type="http://schemas.openxmlformats.org/officeDocument/2006/relationships/tags" Target="../tags/tag263.xml"/><Relationship Id="rId209" Type="http://schemas.openxmlformats.org/officeDocument/2006/relationships/tags" Target="../tags/tag277.xml"/><Relationship Id="rId360" Type="http://schemas.openxmlformats.org/officeDocument/2006/relationships/tags" Target="../tags/tag428.xml"/><Relationship Id="rId416" Type="http://schemas.openxmlformats.org/officeDocument/2006/relationships/tags" Target="../tags/tag484.xml"/><Relationship Id="rId220" Type="http://schemas.openxmlformats.org/officeDocument/2006/relationships/tags" Target="../tags/tag288.xml"/><Relationship Id="rId458" Type="http://schemas.openxmlformats.org/officeDocument/2006/relationships/tags" Target="../tags/tag526.xml"/><Relationship Id="rId15" Type="http://schemas.openxmlformats.org/officeDocument/2006/relationships/tags" Target="../tags/tag83.xml"/><Relationship Id="rId57" Type="http://schemas.openxmlformats.org/officeDocument/2006/relationships/tags" Target="../tags/tag125.xml"/><Relationship Id="rId262" Type="http://schemas.openxmlformats.org/officeDocument/2006/relationships/tags" Target="../tags/tag330.xml"/><Relationship Id="rId318" Type="http://schemas.openxmlformats.org/officeDocument/2006/relationships/tags" Target="../tags/tag386.xml"/><Relationship Id="rId525" Type="http://schemas.openxmlformats.org/officeDocument/2006/relationships/tags" Target="../tags/tag593.xml"/><Relationship Id="rId99" Type="http://schemas.openxmlformats.org/officeDocument/2006/relationships/tags" Target="../tags/tag167.xml"/><Relationship Id="rId122" Type="http://schemas.openxmlformats.org/officeDocument/2006/relationships/tags" Target="../tags/tag190.xml"/><Relationship Id="rId164" Type="http://schemas.openxmlformats.org/officeDocument/2006/relationships/tags" Target="../tags/tag232.xml"/><Relationship Id="rId371" Type="http://schemas.openxmlformats.org/officeDocument/2006/relationships/tags" Target="../tags/tag439.xml"/><Relationship Id="rId427" Type="http://schemas.openxmlformats.org/officeDocument/2006/relationships/tags" Target="../tags/tag495.xml"/><Relationship Id="rId469" Type="http://schemas.openxmlformats.org/officeDocument/2006/relationships/tags" Target="../tags/tag537.xml"/><Relationship Id="rId26" Type="http://schemas.openxmlformats.org/officeDocument/2006/relationships/tags" Target="../tags/tag94.xml"/><Relationship Id="rId231" Type="http://schemas.openxmlformats.org/officeDocument/2006/relationships/tags" Target="../tags/tag299.xml"/><Relationship Id="rId273" Type="http://schemas.openxmlformats.org/officeDocument/2006/relationships/tags" Target="../tags/tag341.xml"/><Relationship Id="rId329" Type="http://schemas.openxmlformats.org/officeDocument/2006/relationships/tags" Target="../tags/tag397.xml"/><Relationship Id="rId480" Type="http://schemas.openxmlformats.org/officeDocument/2006/relationships/tags" Target="../tags/tag548.xml"/><Relationship Id="rId536" Type="http://schemas.openxmlformats.org/officeDocument/2006/relationships/tags" Target="../tags/tag604.xml"/><Relationship Id="rId68" Type="http://schemas.openxmlformats.org/officeDocument/2006/relationships/tags" Target="../tags/tag136.xml"/><Relationship Id="rId133" Type="http://schemas.openxmlformats.org/officeDocument/2006/relationships/tags" Target="../tags/tag201.xml"/><Relationship Id="rId175" Type="http://schemas.openxmlformats.org/officeDocument/2006/relationships/tags" Target="../tags/tag243.xml"/><Relationship Id="rId340" Type="http://schemas.openxmlformats.org/officeDocument/2006/relationships/tags" Target="../tags/tag408.xml"/><Relationship Id="rId200" Type="http://schemas.openxmlformats.org/officeDocument/2006/relationships/tags" Target="../tags/tag268.xml"/><Relationship Id="rId382" Type="http://schemas.openxmlformats.org/officeDocument/2006/relationships/tags" Target="../tags/tag450.xml"/><Relationship Id="rId438" Type="http://schemas.openxmlformats.org/officeDocument/2006/relationships/tags" Target="../tags/tag506.xml"/><Relationship Id="rId242" Type="http://schemas.openxmlformats.org/officeDocument/2006/relationships/tags" Target="../tags/tag310.xml"/><Relationship Id="rId284" Type="http://schemas.openxmlformats.org/officeDocument/2006/relationships/tags" Target="../tags/tag352.xml"/><Relationship Id="rId491" Type="http://schemas.openxmlformats.org/officeDocument/2006/relationships/tags" Target="../tags/tag559.xml"/><Relationship Id="rId505" Type="http://schemas.openxmlformats.org/officeDocument/2006/relationships/tags" Target="../tags/tag573.xml"/><Relationship Id="rId37" Type="http://schemas.openxmlformats.org/officeDocument/2006/relationships/tags" Target="../tags/tag105.xml"/><Relationship Id="rId79" Type="http://schemas.openxmlformats.org/officeDocument/2006/relationships/tags" Target="../tags/tag147.xml"/><Relationship Id="rId102" Type="http://schemas.openxmlformats.org/officeDocument/2006/relationships/tags" Target="../tags/tag170.xml"/><Relationship Id="rId144" Type="http://schemas.openxmlformats.org/officeDocument/2006/relationships/tags" Target="../tags/tag212.xml"/><Relationship Id="rId90" Type="http://schemas.openxmlformats.org/officeDocument/2006/relationships/tags" Target="../tags/tag158.xml"/><Relationship Id="rId186" Type="http://schemas.openxmlformats.org/officeDocument/2006/relationships/tags" Target="../tags/tag254.xml"/><Relationship Id="rId351" Type="http://schemas.openxmlformats.org/officeDocument/2006/relationships/tags" Target="../tags/tag419.xml"/><Relationship Id="rId393" Type="http://schemas.openxmlformats.org/officeDocument/2006/relationships/tags" Target="../tags/tag461.xml"/><Relationship Id="rId407" Type="http://schemas.openxmlformats.org/officeDocument/2006/relationships/tags" Target="../tags/tag475.xml"/><Relationship Id="rId449" Type="http://schemas.openxmlformats.org/officeDocument/2006/relationships/tags" Target="../tags/tag517.xml"/><Relationship Id="rId211" Type="http://schemas.openxmlformats.org/officeDocument/2006/relationships/tags" Target="../tags/tag279.xml"/><Relationship Id="rId253" Type="http://schemas.openxmlformats.org/officeDocument/2006/relationships/tags" Target="../tags/tag321.xml"/><Relationship Id="rId295" Type="http://schemas.openxmlformats.org/officeDocument/2006/relationships/tags" Target="../tags/tag363.xml"/><Relationship Id="rId309" Type="http://schemas.openxmlformats.org/officeDocument/2006/relationships/tags" Target="../tags/tag377.xml"/><Relationship Id="rId460" Type="http://schemas.openxmlformats.org/officeDocument/2006/relationships/tags" Target="../tags/tag528.xml"/><Relationship Id="rId516" Type="http://schemas.openxmlformats.org/officeDocument/2006/relationships/tags" Target="../tags/tag584.xml"/><Relationship Id="rId48" Type="http://schemas.openxmlformats.org/officeDocument/2006/relationships/tags" Target="../tags/tag116.xml"/><Relationship Id="rId113" Type="http://schemas.openxmlformats.org/officeDocument/2006/relationships/tags" Target="../tags/tag181.xml"/><Relationship Id="rId320" Type="http://schemas.openxmlformats.org/officeDocument/2006/relationships/tags" Target="../tags/tag388.xml"/><Relationship Id="rId155" Type="http://schemas.openxmlformats.org/officeDocument/2006/relationships/tags" Target="../tags/tag223.xml"/><Relationship Id="rId197" Type="http://schemas.openxmlformats.org/officeDocument/2006/relationships/tags" Target="../tags/tag265.xml"/><Relationship Id="rId362" Type="http://schemas.openxmlformats.org/officeDocument/2006/relationships/tags" Target="../tags/tag430.xml"/><Relationship Id="rId418" Type="http://schemas.openxmlformats.org/officeDocument/2006/relationships/tags" Target="../tags/tag486.xml"/><Relationship Id="rId222" Type="http://schemas.openxmlformats.org/officeDocument/2006/relationships/tags" Target="../tags/tag290.xml"/><Relationship Id="rId264" Type="http://schemas.openxmlformats.org/officeDocument/2006/relationships/tags" Target="../tags/tag332.xml"/><Relationship Id="rId471" Type="http://schemas.openxmlformats.org/officeDocument/2006/relationships/tags" Target="../tags/tag539.xml"/><Relationship Id="rId17" Type="http://schemas.openxmlformats.org/officeDocument/2006/relationships/tags" Target="../tags/tag85.xml"/><Relationship Id="rId59" Type="http://schemas.openxmlformats.org/officeDocument/2006/relationships/tags" Target="../tags/tag127.xml"/><Relationship Id="rId124" Type="http://schemas.openxmlformats.org/officeDocument/2006/relationships/tags" Target="../tags/tag192.xml"/><Relationship Id="rId527" Type="http://schemas.openxmlformats.org/officeDocument/2006/relationships/tags" Target="../tags/tag595.xml"/><Relationship Id="rId70" Type="http://schemas.openxmlformats.org/officeDocument/2006/relationships/tags" Target="../tags/tag138.xml"/><Relationship Id="rId166" Type="http://schemas.openxmlformats.org/officeDocument/2006/relationships/tags" Target="../tags/tag234.xml"/><Relationship Id="rId331" Type="http://schemas.openxmlformats.org/officeDocument/2006/relationships/tags" Target="../tags/tag399.xml"/><Relationship Id="rId373" Type="http://schemas.openxmlformats.org/officeDocument/2006/relationships/tags" Target="../tags/tag441.xml"/><Relationship Id="rId429" Type="http://schemas.openxmlformats.org/officeDocument/2006/relationships/tags" Target="../tags/tag497.xml"/><Relationship Id="rId1" Type="http://schemas.openxmlformats.org/officeDocument/2006/relationships/tags" Target="../tags/tag69.xml"/><Relationship Id="rId233" Type="http://schemas.openxmlformats.org/officeDocument/2006/relationships/tags" Target="../tags/tag301.xml"/><Relationship Id="rId440" Type="http://schemas.openxmlformats.org/officeDocument/2006/relationships/tags" Target="../tags/tag508.xml"/><Relationship Id="rId28" Type="http://schemas.openxmlformats.org/officeDocument/2006/relationships/tags" Target="../tags/tag96.xml"/><Relationship Id="rId275" Type="http://schemas.openxmlformats.org/officeDocument/2006/relationships/tags" Target="../tags/tag343.xml"/><Relationship Id="rId300" Type="http://schemas.openxmlformats.org/officeDocument/2006/relationships/tags" Target="../tags/tag368.xml"/><Relationship Id="rId482" Type="http://schemas.openxmlformats.org/officeDocument/2006/relationships/tags" Target="../tags/tag550.xml"/><Relationship Id="rId538" Type="http://schemas.openxmlformats.org/officeDocument/2006/relationships/tags" Target="../tags/tag606.xml"/><Relationship Id="rId81" Type="http://schemas.openxmlformats.org/officeDocument/2006/relationships/tags" Target="../tags/tag149.xml"/><Relationship Id="rId135" Type="http://schemas.openxmlformats.org/officeDocument/2006/relationships/tags" Target="../tags/tag203.xml"/><Relationship Id="rId177" Type="http://schemas.openxmlformats.org/officeDocument/2006/relationships/tags" Target="../tags/tag245.xml"/><Relationship Id="rId342" Type="http://schemas.openxmlformats.org/officeDocument/2006/relationships/tags" Target="../tags/tag410.xml"/><Relationship Id="rId384" Type="http://schemas.openxmlformats.org/officeDocument/2006/relationships/tags" Target="../tags/tag452.xml"/><Relationship Id="rId202" Type="http://schemas.openxmlformats.org/officeDocument/2006/relationships/tags" Target="../tags/tag270.xml"/><Relationship Id="rId244" Type="http://schemas.openxmlformats.org/officeDocument/2006/relationships/tags" Target="../tags/tag312.xml"/><Relationship Id="rId39" Type="http://schemas.openxmlformats.org/officeDocument/2006/relationships/tags" Target="../tags/tag107.xml"/><Relationship Id="rId286" Type="http://schemas.openxmlformats.org/officeDocument/2006/relationships/tags" Target="../tags/tag354.xml"/><Relationship Id="rId451" Type="http://schemas.openxmlformats.org/officeDocument/2006/relationships/tags" Target="../tags/tag519.xml"/><Relationship Id="rId493" Type="http://schemas.openxmlformats.org/officeDocument/2006/relationships/tags" Target="../tags/tag561.xml"/><Relationship Id="rId507" Type="http://schemas.openxmlformats.org/officeDocument/2006/relationships/tags" Target="../tags/tag575.xml"/><Relationship Id="rId50" Type="http://schemas.openxmlformats.org/officeDocument/2006/relationships/tags" Target="../tags/tag118.xml"/><Relationship Id="rId104" Type="http://schemas.openxmlformats.org/officeDocument/2006/relationships/tags" Target="../tags/tag172.xml"/><Relationship Id="rId146" Type="http://schemas.openxmlformats.org/officeDocument/2006/relationships/tags" Target="../tags/tag214.xml"/><Relationship Id="rId188" Type="http://schemas.openxmlformats.org/officeDocument/2006/relationships/tags" Target="../tags/tag256.xml"/><Relationship Id="rId311" Type="http://schemas.openxmlformats.org/officeDocument/2006/relationships/tags" Target="../tags/tag379.xml"/><Relationship Id="rId353" Type="http://schemas.openxmlformats.org/officeDocument/2006/relationships/tags" Target="../tags/tag421.xml"/><Relationship Id="rId395" Type="http://schemas.openxmlformats.org/officeDocument/2006/relationships/tags" Target="../tags/tag463.xml"/><Relationship Id="rId409" Type="http://schemas.openxmlformats.org/officeDocument/2006/relationships/tags" Target="../tags/tag477.xml"/><Relationship Id="rId92" Type="http://schemas.openxmlformats.org/officeDocument/2006/relationships/tags" Target="../tags/tag160.xml"/><Relationship Id="rId213" Type="http://schemas.openxmlformats.org/officeDocument/2006/relationships/tags" Target="../tags/tag281.xml"/><Relationship Id="rId420" Type="http://schemas.openxmlformats.org/officeDocument/2006/relationships/tags" Target="../tags/tag488.xml"/><Relationship Id="rId255" Type="http://schemas.openxmlformats.org/officeDocument/2006/relationships/tags" Target="../tags/tag323.xml"/><Relationship Id="rId297" Type="http://schemas.openxmlformats.org/officeDocument/2006/relationships/tags" Target="../tags/tag365.xml"/><Relationship Id="rId462" Type="http://schemas.openxmlformats.org/officeDocument/2006/relationships/tags" Target="../tags/tag530.xml"/><Relationship Id="rId518" Type="http://schemas.openxmlformats.org/officeDocument/2006/relationships/tags" Target="../tags/tag586.xml"/><Relationship Id="rId115" Type="http://schemas.openxmlformats.org/officeDocument/2006/relationships/tags" Target="../tags/tag183.xml"/><Relationship Id="rId157" Type="http://schemas.openxmlformats.org/officeDocument/2006/relationships/tags" Target="../tags/tag225.xml"/><Relationship Id="rId322" Type="http://schemas.openxmlformats.org/officeDocument/2006/relationships/tags" Target="../tags/tag390.xml"/><Relationship Id="rId364" Type="http://schemas.openxmlformats.org/officeDocument/2006/relationships/tags" Target="../tags/tag432.xml"/><Relationship Id="rId61" Type="http://schemas.openxmlformats.org/officeDocument/2006/relationships/tags" Target="../tags/tag129.xml"/><Relationship Id="rId199" Type="http://schemas.openxmlformats.org/officeDocument/2006/relationships/tags" Target="../tags/tag267.xml"/><Relationship Id="rId19" Type="http://schemas.openxmlformats.org/officeDocument/2006/relationships/tags" Target="../tags/tag87.xml"/><Relationship Id="rId224" Type="http://schemas.openxmlformats.org/officeDocument/2006/relationships/tags" Target="../tags/tag292.xml"/><Relationship Id="rId266" Type="http://schemas.openxmlformats.org/officeDocument/2006/relationships/tags" Target="../tags/tag334.xml"/><Relationship Id="rId431" Type="http://schemas.openxmlformats.org/officeDocument/2006/relationships/tags" Target="../tags/tag499.xml"/><Relationship Id="rId473" Type="http://schemas.openxmlformats.org/officeDocument/2006/relationships/tags" Target="../tags/tag541.xml"/><Relationship Id="rId529" Type="http://schemas.openxmlformats.org/officeDocument/2006/relationships/tags" Target="../tags/tag597.xml"/><Relationship Id="rId30" Type="http://schemas.openxmlformats.org/officeDocument/2006/relationships/tags" Target="../tags/tag98.xml"/><Relationship Id="rId126" Type="http://schemas.openxmlformats.org/officeDocument/2006/relationships/tags" Target="../tags/tag194.xml"/><Relationship Id="rId168" Type="http://schemas.openxmlformats.org/officeDocument/2006/relationships/tags" Target="../tags/tag236.xml"/><Relationship Id="rId333" Type="http://schemas.openxmlformats.org/officeDocument/2006/relationships/tags" Target="../tags/tag401.xml"/><Relationship Id="rId540" Type="http://schemas.openxmlformats.org/officeDocument/2006/relationships/tags" Target="../tags/tag608.xml"/><Relationship Id="rId72" Type="http://schemas.openxmlformats.org/officeDocument/2006/relationships/tags" Target="../tags/tag140.xml"/><Relationship Id="rId375" Type="http://schemas.openxmlformats.org/officeDocument/2006/relationships/tags" Target="../tags/tag443.xml"/><Relationship Id="rId3" Type="http://schemas.openxmlformats.org/officeDocument/2006/relationships/tags" Target="../tags/tag71.xml"/><Relationship Id="rId235" Type="http://schemas.openxmlformats.org/officeDocument/2006/relationships/tags" Target="../tags/tag303.xml"/><Relationship Id="rId277" Type="http://schemas.openxmlformats.org/officeDocument/2006/relationships/tags" Target="../tags/tag345.xml"/><Relationship Id="rId400" Type="http://schemas.openxmlformats.org/officeDocument/2006/relationships/tags" Target="../tags/tag468.xml"/><Relationship Id="rId442" Type="http://schemas.openxmlformats.org/officeDocument/2006/relationships/tags" Target="../tags/tag510.xml"/><Relationship Id="rId484" Type="http://schemas.openxmlformats.org/officeDocument/2006/relationships/tags" Target="../tags/tag552.xml"/><Relationship Id="rId137" Type="http://schemas.openxmlformats.org/officeDocument/2006/relationships/tags" Target="../tags/tag205.xml"/><Relationship Id="rId302" Type="http://schemas.openxmlformats.org/officeDocument/2006/relationships/tags" Target="../tags/tag370.xml"/><Relationship Id="rId344" Type="http://schemas.openxmlformats.org/officeDocument/2006/relationships/tags" Target="../tags/tag412.xml"/><Relationship Id="rId41" Type="http://schemas.openxmlformats.org/officeDocument/2006/relationships/tags" Target="../tags/tag109.xml"/><Relationship Id="rId83" Type="http://schemas.openxmlformats.org/officeDocument/2006/relationships/tags" Target="../tags/tag151.xml"/><Relationship Id="rId179" Type="http://schemas.openxmlformats.org/officeDocument/2006/relationships/tags" Target="../tags/tag247.xml"/><Relationship Id="rId386" Type="http://schemas.openxmlformats.org/officeDocument/2006/relationships/tags" Target="../tags/tag454.xml"/><Relationship Id="rId190" Type="http://schemas.openxmlformats.org/officeDocument/2006/relationships/tags" Target="../tags/tag258.xml"/><Relationship Id="rId204" Type="http://schemas.openxmlformats.org/officeDocument/2006/relationships/tags" Target="../tags/tag272.xml"/><Relationship Id="rId246" Type="http://schemas.openxmlformats.org/officeDocument/2006/relationships/tags" Target="../tags/tag314.xml"/><Relationship Id="rId288" Type="http://schemas.openxmlformats.org/officeDocument/2006/relationships/tags" Target="../tags/tag356.xml"/><Relationship Id="rId411" Type="http://schemas.openxmlformats.org/officeDocument/2006/relationships/tags" Target="../tags/tag479.xml"/><Relationship Id="rId453" Type="http://schemas.openxmlformats.org/officeDocument/2006/relationships/tags" Target="../tags/tag521.xml"/><Relationship Id="rId509" Type="http://schemas.openxmlformats.org/officeDocument/2006/relationships/tags" Target="../tags/tag577.xml"/><Relationship Id="rId106" Type="http://schemas.openxmlformats.org/officeDocument/2006/relationships/tags" Target="../tags/tag174.xml"/><Relationship Id="rId313" Type="http://schemas.openxmlformats.org/officeDocument/2006/relationships/tags" Target="../tags/tag381.xml"/><Relationship Id="rId495" Type="http://schemas.openxmlformats.org/officeDocument/2006/relationships/tags" Target="../tags/tag563.xml"/><Relationship Id="rId10" Type="http://schemas.openxmlformats.org/officeDocument/2006/relationships/tags" Target="../tags/tag78.xml"/><Relationship Id="rId52" Type="http://schemas.openxmlformats.org/officeDocument/2006/relationships/tags" Target="../tags/tag120.xml"/><Relationship Id="rId94" Type="http://schemas.openxmlformats.org/officeDocument/2006/relationships/tags" Target="../tags/tag162.xml"/><Relationship Id="rId148" Type="http://schemas.openxmlformats.org/officeDocument/2006/relationships/tags" Target="../tags/tag216.xml"/><Relationship Id="rId355" Type="http://schemas.openxmlformats.org/officeDocument/2006/relationships/tags" Target="../tags/tag423.xml"/><Relationship Id="rId397" Type="http://schemas.openxmlformats.org/officeDocument/2006/relationships/tags" Target="../tags/tag465.xml"/><Relationship Id="rId520" Type="http://schemas.openxmlformats.org/officeDocument/2006/relationships/tags" Target="../tags/tag588.xml"/><Relationship Id="rId215" Type="http://schemas.openxmlformats.org/officeDocument/2006/relationships/tags" Target="../tags/tag283.xml"/><Relationship Id="rId257" Type="http://schemas.openxmlformats.org/officeDocument/2006/relationships/tags" Target="../tags/tag325.xml"/><Relationship Id="rId422" Type="http://schemas.openxmlformats.org/officeDocument/2006/relationships/tags" Target="../tags/tag490.xml"/><Relationship Id="rId464" Type="http://schemas.openxmlformats.org/officeDocument/2006/relationships/tags" Target="../tags/tag532.xml"/><Relationship Id="rId299" Type="http://schemas.openxmlformats.org/officeDocument/2006/relationships/tags" Target="../tags/tag367.xml"/><Relationship Id="rId63" Type="http://schemas.openxmlformats.org/officeDocument/2006/relationships/tags" Target="../tags/tag131.xml"/><Relationship Id="rId159" Type="http://schemas.openxmlformats.org/officeDocument/2006/relationships/tags" Target="../tags/tag227.xml"/><Relationship Id="rId366" Type="http://schemas.openxmlformats.org/officeDocument/2006/relationships/tags" Target="../tags/tag434.xml"/><Relationship Id="rId226" Type="http://schemas.openxmlformats.org/officeDocument/2006/relationships/tags" Target="../tags/tag294.xml"/><Relationship Id="rId433" Type="http://schemas.openxmlformats.org/officeDocument/2006/relationships/tags" Target="../tags/tag501.xml"/><Relationship Id="rId74" Type="http://schemas.openxmlformats.org/officeDocument/2006/relationships/tags" Target="../tags/tag142.xml"/><Relationship Id="rId377" Type="http://schemas.openxmlformats.org/officeDocument/2006/relationships/tags" Target="../tags/tag445.xml"/><Relationship Id="rId500" Type="http://schemas.openxmlformats.org/officeDocument/2006/relationships/tags" Target="../tags/tag568.xml"/><Relationship Id="rId5" Type="http://schemas.openxmlformats.org/officeDocument/2006/relationships/tags" Target="../tags/tag73.xml"/><Relationship Id="rId237" Type="http://schemas.openxmlformats.org/officeDocument/2006/relationships/tags" Target="../tags/tag305.xml"/><Relationship Id="rId444" Type="http://schemas.openxmlformats.org/officeDocument/2006/relationships/tags" Target="../tags/tag512.xml"/><Relationship Id="rId290" Type="http://schemas.openxmlformats.org/officeDocument/2006/relationships/tags" Target="../tags/tag358.xml"/><Relationship Id="rId304" Type="http://schemas.openxmlformats.org/officeDocument/2006/relationships/tags" Target="../tags/tag372.xml"/><Relationship Id="rId388" Type="http://schemas.openxmlformats.org/officeDocument/2006/relationships/tags" Target="../tags/tag456.xml"/><Relationship Id="rId511" Type="http://schemas.openxmlformats.org/officeDocument/2006/relationships/tags" Target="../tags/tag579.xml"/><Relationship Id="rId85" Type="http://schemas.openxmlformats.org/officeDocument/2006/relationships/tags" Target="../tags/tag153.xml"/><Relationship Id="rId150" Type="http://schemas.openxmlformats.org/officeDocument/2006/relationships/tags" Target="../tags/tag218.xml"/></Relationships>
</file>

<file path=ppt/slides/_rels/slide6.xml.rels><?xml version="1.0" encoding="UTF-8" standalone="yes"?>
<Relationships xmlns="http://schemas.openxmlformats.org/package/2006/relationships"><Relationship Id="rId117" Type="http://schemas.openxmlformats.org/officeDocument/2006/relationships/tags" Target="../tags/tag729.xml"/><Relationship Id="rId299" Type="http://schemas.openxmlformats.org/officeDocument/2006/relationships/slideLayout" Target="../slideLayouts/slideLayout8.xml"/><Relationship Id="rId21" Type="http://schemas.openxmlformats.org/officeDocument/2006/relationships/tags" Target="../tags/tag633.xml"/><Relationship Id="rId63" Type="http://schemas.openxmlformats.org/officeDocument/2006/relationships/tags" Target="../tags/tag675.xml"/><Relationship Id="rId159" Type="http://schemas.openxmlformats.org/officeDocument/2006/relationships/tags" Target="../tags/tag771.xml"/><Relationship Id="rId170" Type="http://schemas.openxmlformats.org/officeDocument/2006/relationships/tags" Target="../tags/tag782.xml"/><Relationship Id="rId226" Type="http://schemas.openxmlformats.org/officeDocument/2006/relationships/tags" Target="../tags/tag838.xml"/><Relationship Id="rId268" Type="http://schemas.openxmlformats.org/officeDocument/2006/relationships/tags" Target="../tags/tag880.xml"/><Relationship Id="rId32" Type="http://schemas.openxmlformats.org/officeDocument/2006/relationships/tags" Target="../tags/tag644.xml"/><Relationship Id="rId74" Type="http://schemas.openxmlformats.org/officeDocument/2006/relationships/tags" Target="../tags/tag686.xml"/><Relationship Id="rId128" Type="http://schemas.openxmlformats.org/officeDocument/2006/relationships/tags" Target="../tags/tag740.xml"/><Relationship Id="rId5" Type="http://schemas.openxmlformats.org/officeDocument/2006/relationships/tags" Target="../tags/tag617.xml"/><Relationship Id="rId181" Type="http://schemas.openxmlformats.org/officeDocument/2006/relationships/tags" Target="../tags/tag793.xml"/><Relationship Id="rId237" Type="http://schemas.openxmlformats.org/officeDocument/2006/relationships/tags" Target="../tags/tag849.xml"/><Relationship Id="rId279" Type="http://schemas.openxmlformats.org/officeDocument/2006/relationships/tags" Target="../tags/tag891.xml"/><Relationship Id="rId43" Type="http://schemas.openxmlformats.org/officeDocument/2006/relationships/tags" Target="../tags/tag655.xml"/><Relationship Id="rId139" Type="http://schemas.openxmlformats.org/officeDocument/2006/relationships/tags" Target="../tags/tag751.xml"/><Relationship Id="rId290" Type="http://schemas.openxmlformats.org/officeDocument/2006/relationships/tags" Target="../tags/tag902.xml"/><Relationship Id="rId304" Type="http://schemas.openxmlformats.org/officeDocument/2006/relationships/image" Target="../media/image50.png"/><Relationship Id="rId85" Type="http://schemas.openxmlformats.org/officeDocument/2006/relationships/tags" Target="../tags/tag697.xml"/><Relationship Id="rId150" Type="http://schemas.openxmlformats.org/officeDocument/2006/relationships/tags" Target="../tags/tag762.xml"/><Relationship Id="rId192" Type="http://schemas.openxmlformats.org/officeDocument/2006/relationships/tags" Target="../tags/tag804.xml"/><Relationship Id="rId206" Type="http://schemas.openxmlformats.org/officeDocument/2006/relationships/tags" Target="../tags/tag818.xml"/><Relationship Id="rId248" Type="http://schemas.openxmlformats.org/officeDocument/2006/relationships/tags" Target="../tags/tag860.xml"/><Relationship Id="rId12" Type="http://schemas.openxmlformats.org/officeDocument/2006/relationships/tags" Target="../tags/tag624.xml"/><Relationship Id="rId108" Type="http://schemas.openxmlformats.org/officeDocument/2006/relationships/tags" Target="../tags/tag720.xml"/><Relationship Id="rId315" Type="http://schemas.openxmlformats.org/officeDocument/2006/relationships/image" Target="../media/image61.emf"/><Relationship Id="rId54" Type="http://schemas.openxmlformats.org/officeDocument/2006/relationships/tags" Target="../tags/tag666.xml"/><Relationship Id="rId96" Type="http://schemas.openxmlformats.org/officeDocument/2006/relationships/tags" Target="../tags/tag708.xml"/><Relationship Id="rId161" Type="http://schemas.openxmlformats.org/officeDocument/2006/relationships/tags" Target="../tags/tag773.xml"/><Relationship Id="rId217" Type="http://schemas.openxmlformats.org/officeDocument/2006/relationships/tags" Target="../tags/tag829.xml"/><Relationship Id="rId259" Type="http://schemas.openxmlformats.org/officeDocument/2006/relationships/tags" Target="../tags/tag871.xml"/><Relationship Id="rId23" Type="http://schemas.openxmlformats.org/officeDocument/2006/relationships/tags" Target="../tags/tag635.xml"/><Relationship Id="rId119" Type="http://schemas.openxmlformats.org/officeDocument/2006/relationships/tags" Target="../tags/tag731.xml"/><Relationship Id="rId270" Type="http://schemas.openxmlformats.org/officeDocument/2006/relationships/tags" Target="../tags/tag882.xml"/><Relationship Id="rId65" Type="http://schemas.openxmlformats.org/officeDocument/2006/relationships/tags" Target="../tags/tag677.xml"/><Relationship Id="rId130" Type="http://schemas.openxmlformats.org/officeDocument/2006/relationships/tags" Target="../tags/tag742.xml"/><Relationship Id="rId172" Type="http://schemas.openxmlformats.org/officeDocument/2006/relationships/tags" Target="../tags/tag784.xml"/><Relationship Id="rId228" Type="http://schemas.openxmlformats.org/officeDocument/2006/relationships/tags" Target="../tags/tag840.xml"/><Relationship Id="rId281" Type="http://schemas.openxmlformats.org/officeDocument/2006/relationships/tags" Target="../tags/tag893.xml"/><Relationship Id="rId34" Type="http://schemas.openxmlformats.org/officeDocument/2006/relationships/tags" Target="../tags/tag646.xml"/><Relationship Id="rId55" Type="http://schemas.openxmlformats.org/officeDocument/2006/relationships/tags" Target="../tags/tag667.xml"/><Relationship Id="rId76" Type="http://schemas.openxmlformats.org/officeDocument/2006/relationships/tags" Target="../tags/tag688.xml"/><Relationship Id="rId97" Type="http://schemas.openxmlformats.org/officeDocument/2006/relationships/tags" Target="../tags/tag709.xml"/><Relationship Id="rId120" Type="http://schemas.openxmlformats.org/officeDocument/2006/relationships/tags" Target="../tags/tag732.xml"/><Relationship Id="rId141" Type="http://schemas.openxmlformats.org/officeDocument/2006/relationships/tags" Target="../tags/tag753.xml"/><Relationship Id="rId7" Type="http://schemas.openxmlformats.org/officeDocument/2006/relationships/tags" Target="../tags/tag619.xml"/><Relationship Id="rId162" Type="http://schemas.openxmlformats.org/officeDocument/2006/relationships/tags" Target="../tags/tag774.xml"/><Relationship Id="rId183" Type="http://schemas.openxmlformats.org/officeDocument/2006/relationships/tags" Target="../tags/tag795.xml"/><Relationship Id="rId218" Type="http://schemas.openxmlformats.org/officeDocument/2006/relationships/tags" Target="../tags/tag830.xml"/><Relationship Id="rId239" Type="http://schemas.openxmlformats.org/officeDocument/2006/relationships/tags" Target="../tags/tag851.xml"/><Relationship Id="rId250" Type="http://schemas.openxmlformats.org/officeDocument/2006/relationships/tags" Target="../tags/tag862.xml"/><Relationship Id="rId271" Type="http://schemas.openxmlformats.org/officeDocument/2006/relationships/tags" Target="../tags/tag883.xml"/><Relationship Id="rId292" Type="http://schemas.openxmlformats.org/officeDocument/2006/relationships/tags" Target="../tags/tag904.xml"/><Relationship Id="rId306" Type="http://schemas.openxmlformats.org/officeDocument/2006/relationships/image" Target="../media/image52.png"/><Relationship Id="rId24" Type="http://schemas.openxmlformats.org/officeDocument/2006/relationships/tags" Target="../tags/tag636.xml"/><Relationship Id="rId45" Type="http://schemas.openxmlformats.org/officeDocument/2006/relationships/tags" Target="../tags/tag657.xml"/><Relationship Id="rId66" Type="http://schemas.openxmlformats.org/officeDocument/2006/relationships/tags" Target="../tags/tag678.xml"/><Relationship Id="rId87" Type="http://schemas.openxmlformats.org/officeDocument/2006/relationships/tags" Target="../tags/tag699.xml"/><Relationship Id="rId110" Type="http://schemas.openxmlformats.org/officeDocument/2006/relationships/tags" Target="../tags/tag722.xml"/><Relationship Id="rId131" Type="http://schemas.openxmlformats.org/officeDocument/2006/relationships/tags" Target="../tags/tag743.xml"/><Relationship Id="rId152" Type="http://schemas.openxmlformats.org/officeDocument/2006/relationships/tags" Target="../tags/tag764.xml"/><Relationship Id="rId173" Type="http://schemas.openxmlformats.org/officeDocument/2006/relationships/tags" Target="../tags/tag785.xml"/><Relationship Id="rId194" Type="http://schemas.openxmlformats.org/officeDocument/2006/relationships/tags" Target="../tags/tag806.xml"/><Relationship Id="rId208" Type="http://schemas.openxmlformats.org/officeDocument/2006/relationships/tags" Target="../tags/tag820.xml"/><Relationship Id="rId229" Type="http://schemas.openxmlformats.org/officeDocument/2006/relationships/tags" Target="../tags/tag841.xml"/><Relationship Id="rId240" Type="http://schemas.openxmlformats.org/officeDocument/2006/relationships/tags" Target="../tags/tag852.xml"/><Relationship Id="rId261" Type="http://schemas.openxmlformats.org/officeDocument/2006/relationships/tags" Target="../tags/tag873.xml"/><Relationship Id="rId14" Type="http://schemas.openxmlformats.org/officeDocument/2006/relationships/tags" Target="../tags/tag626.xml"/><Relationship Id="rId35" Type="http://schemas.openxmlformats.org/officeDocument/2006/relationships/tags" Target="../tags/tag647.xml"/><Relationship Id="rId56" Type="http://schemas.openxmlformats.org/officeDocument/2006/relationships/tags" Target="../tags/tag668.xml"/><Relationship Id="rId77" Type="http://schemas.openxmlformats.org/officeDocument/2006/relationships/tags" Target="../tags/tag689.xml"/><Relationship Id="rId100" Type="http://schemas.openxmlformats.org/officeDocument/2006/relationships/tags" Target="../tags/tag712.xml"/><Relationship Id="rId282" Type="http://schemas.openxmlformats.org/officeDocument/2006/relationships/tags" Target="../tags/tag894.xml"/><Relationship Id="rId317" Type="http://schemas.openxmlformats.org/officeDocument/2006/relationships/image" Target="../media/image62.png"/><Relationship Id="rId8" Type="http://schemas.openxmlformats.org/officeDocument/2006/relationships/tags" Target="../tags/tag620.xml"/><Relationship Id="rId98" Type="http://schemas.openxmlformats.org/officeDocument/2006/relationships/tags" Target="../tags/tag710.xml"/><Relationship Id="rId121" Type="http://schemas.openxmlformats.org/officeDocument/2006/relationships/tags" Target="../tags/tag733.xml"/><Relationship Id="rId142" Type="http://schemas.openxmlformats.org/officeDocument/2006/relationships/tags" Target="../tags/tag754.xml"/><Relationship Id="rId163" Type="http://schemas.openxmlformats.org/officeDocument/2006/relationships/tags" Target="../tags/tag775.xml"/><Relationship Id="rId184" Type="http://schemas.openxmlformats.org/officeDocument/2006/relationships/tags" Target="../tags/tag796.xml"/><Relationship Id="rId219" Type="http://schemas.openxmlformats.org/officeDocument/2006/relationships/tags" Target="../tags/tag831.xml"/><Relationship Id="rId230" Type="http://schemas.openxmlformats.org/officeDocument/2006/relationships/tags" Target="../tags/tag842.xml"/><Relationship Id="rId251" Type="http://schemas.openxmlformats.org/officeDocument/2006/relationships/tags" Target="../tags/tag863.xml"/><Relationship Id="rId25" Type="http://schemas.openxmlformats.org/officeDocument/2006/relationships/tags" Target="../tags/tag637.xml"/><Relationship Id="rId46" Type="http://schemas.openxmlformats.org/officeDocument/2006/relationships/tags" Target="../tags/tag658.xml"/><Relationship Id="rId67" Type="http://schemas.openxmlformats.org/officeDocument/2006/relationships/tags" Target="../tags/tag679.xml"/><Relationship Id="rId272" Type="http://schemas.openxmlformats.org/officeDocument/2006/relationships/tags" Target="../tags/tag884.xml"/><Relationship Id="rId293" Type="http://schemas.openxmlformats.org/officeDocument/2006/relationships/tags" Target="../tags/tag905.xml"/><Relationship Id="rId307" Type="http://schemas.openxmlformats.org/officeDocument/2006/relationships/image" Target="../media/image53.emf"/><Relationship Id="rId88" Type="http://schemas.openxmlformats.org/officeDocument/2006/relationships/tags" Target="../tags/tag700.xml"/><Relationship Id="rId111" Type="http://schemas.openxmlformats.org/officeDocument/2006/relationships/tags" Target="../tags/tag723.xml"/><Relationship Id="rId132" Type="http://schemas.openxmlformats.org/officeDocument/2006/relationships/tags" Target="../tags/tag744.xml"/><Relationship Id="rId153" Type="http://schemas.openxmlformats.org/officeDocument/2006/relationships/tags" Target="../tags/tag765.xml"/><Relationship Id="rId174" Type="http://schemas.openxmlformats.org/officeDocument/2006/relationships/tags" Target="../tags/tag786.xml"/><Relationship Id="rId195" Type="http://schemas.openxmlformats.org/officeDocument/2006/relationships/tags" Target="../tags/tag807.xml"/><Relationship Id="rId209" Type="http://schemas.openxmlformats.org/officeDocument/2006/relationships/tags" Target="../tags/tag821.xml"/><Relationship Id="rId220" Type="http://schemas.openxmlformats.org/officeDocument/2006/relationships/tags" Target="../tags/tag832.xml"/><Relationship Id="rId241" Type="http://schemas.openxmlformats.org/officeDocument/2006/relationships/tags" Target="../tags/tag853.xml"/><Relationship Id="rId15" Type="http://schemas.openxmlformats.org/officeDocument/2006/relationships/tags" Target="../tags/tag627.xml"/><Relationship Id="rId36" Type="http://schemas.openxmlformats.org/officeDocument/2006/relationships/tags" Target="../tags/tag648.xml"/><Relationship Id="rId57" Type="http://schemas.openxmlformats.org/officeDocument/2006/relationships/tags" Target="../tags/tag669.xml"/><Relationship Id="rId262" Type="http://schemas.openxmlformats.org/officeDocument/2006/relationships/tags" Target="../tags/tag874.xml"/><Relationship Id="rId283" Type="http://schemas.openxmlformats.org/officeDocument/2006/relationships/tags" Target="../tags/tag895.xml"/><Relationship Id="rId318" Type="http://schemas.openxmlformats.org/officeDocument/2006/relationships/image" Target="../media/image63.png"/><Relationship Id="rId78" Type="http://schemas.openxmlformats.org/officeDocument/2006/relationships/tags" Target="../tags/tag690.xml"/><Relationship Id="rId99" Type="http://schemas.openxmlformats.org/officeDocument/2006/relationships/tags" Target="../tags/tag711.xml"/><Relationship Id="rId101" Type="http://schemas.openxmlformats.org/officeDocument/2006/relationships/tags" Target="../tags/tag713.xml"/><Relationship Id="rId122" Type="http://schemas.openxmlformats.org/officeDocument/2006/relationships/tags" Target="../tags/tag734.xml"/><Relationship Id="rId143" Type="http://schemas.openxmlformats.org/officeDocument/2006/relationships/tags" Target="../tags/tag755.xml"/><Relationship Id="rId164" Type="http://schemas.openxmlformats.org/officeDocument/2006/relationships/tags" Target="../tags/tag776.xml"/><Relationship Id="rId185" Type="http://schemas.openxmlformats.org/officeDocument/2006/relationships/tags" Target="../tags/tag797.xml"/><Relationship Id="rId9" Type="http://schemas.openxmlformats.org/officeDocument/2006/relationships/tags" Target="../tags/tag621.xml"/><Relationship Id="rId210" Type="http://schemas.openxmlformats.org/officeDocument/2006/relationships/tags" Target="../tags/tag822.xml"/><Relationship Id="rId26" Type="http://schemas.openxmlformats.org/officeDocument/2006/relationships/tags" Target="../tags/tag638.xml"/><Relationship Id="rId231" Type="http://schemas.openxmlformats.org/officeDocument/2006/relationships/tags" Target="../tags/tag843.xml"/><Relationship Id="rId252" Type="http://schemas.openxmlformats.org/officeDocument/2006/relationships/tags" Target="../tags/tag864.xml"/><Relationship Id="rId273" Type="http://schemas.openxmlformats.org/officeDocument/2006/relationships/tags" Target="../tags/tag885.xml"/><Relationship Id="rId294" Type="http://schemas.openxmlformats.org/officeDocument/2006/relationships/tags" Target="../tags/tag906.xml"/><Relationship Id="rId308" Type="http://schemas.openxmlformats.org/officeDocument/2006/relationships/image" Target="../media/image54.emf"/><Relationship Id="rId47" Type="http://schemas.openxmlformats.org/officeDocument/2006/relationships/tags" Target="../tags/tag659.xml"/><Relationship Id="rId68" Type="http://schemas.openxmlformats.org/officeDocument/2006/relationships/tags" Target="../tags/tag680.xml"/><Relationship Id="rId89" Type="http://schemas.openxmlformats.org/officeDocument/2006/relationships/tags" Target="../tags/tag701.xml"/><Relationship Id="rId112" Type="http://schemas.openxmlformats.org/officeDocument/2006/relationships/tags" Target="../tags/tag724.xml"/><Relationship Id="rId133" Type="http://schemas.openxmlformats.org/officeDocument/2006/relationships/tags" Target="../tags/tag745.xml"/><Relationship Id="rId154" Type="http://schemas.openxmlformats.org/officeDocument/2006/relationships/tags" Target="../tags/tag766.xml"/><Relationship Id="rId175" Type="http://schemas.openxmlformats.org/officeDocument/2006/relationships/tags" Target="../tags/tag787.xml"/><Relationship Id="rId196" Type="http://schemas.openxmlformats.org/officeDocument/2006/relationships/tags" Target="../tags/tag808.xml"/><Relationship Id="rId200" Type="http://schemas.openxmlformats.org/officeDocument/2006/relationships/tags" Target="../tags/tag812.xml"/><Relationship Id="rId16" Type="http://schemas.openxmlformats.org/officeDocument/2006/relationships/tags" Target="../tags/tag628.xml"/><Relationship Id="rId221" Type="http://schemas.openxmlformats.org/officeDocument/2006/relationships/tags" Target="../tags/tag833.xml"/><Relationship Id="rId242" Type="http://schemas.openxmlformats.org/officeDocument/2006/relationships/tags" Target="../tags/tag854.xml"/><Relationship Id="rId263" Type="http://schemas.openxmlformats.org/officeDocument/2006/relationships/tags" Target="../tags/tag875.xml"/><Relationship Id="rId284" Type="http://schemas.openxmlformats.org/officeDocument/2006/relationships/tags" Target="../tags/tag896.xml"/><Relationship Id="rId319" Type="http://schemas.openxmlformats.org/officeDocument/2006/relationships/image" Target="../media/image64.emf"/><Relationship Id="rId37" Type="http://schemas.openxmlformats.org/officeDocument/2006/relationships/tags" Target="../tags/tag649.xml"/><Relationship Id="rId58" Type="http://schemas.openxmlformats.org/officeDocument/2006/relationships/tags" Target="../tags/tag670.xml"/><Relationship Id="rId79" Type="http://schemas.openxmlformats.org/officeDocument/2006/relationships/tags" Target="../tags/tag691.xml"/><Relationship Id="rId102" Type="http://schemas.openxmlformats.org/officeDocument/2006/relationships/tags" Target="../tags/tag714.xml"/><Relationship Id="rId123" Type="http://schemas.openxmlformats.org/officeDocument/2006/relationships/tags" Target="../tags/tag735.xml"/><Relationship Id="rId144" Type="http://schemas.openxmlformats.org/officeDocument/2006/relationships/tags" Target="../tags/tag756.xml"/><Relationship Id="rId90" Type="http://schemas.openxmlformats.org/officeDocument/2006/relationships/tags" Target="../tags/tag702.xml"/><Relationship Id="rId165" Type="http://schemas.openxmlformats.org/officeDocument/2006/relationships/tags" Target="../tags/tag777.xml"/><Relationship Id="rId186" Type="http://schemas.openxmlformats.org/officeDocument/2006/relationships/tags" Target="../tags/tag798.xml"/><Relationship Id="rId211" Type="http://schemas.openxmlformats.org/officeDocument/2006/relationships/tags" Target="../tags/tag823.xml"/><Relationship Id="rId232" Type="http://schemas.openxmlformats.org/officeDocument/2006/relationships/tags" Target="../tags/tag844.xml"/><Relationship Id="rId253" Type="http://schemas.openxmlformats.org/officeDocument/2006/relationships/tags" Target="../tags/tag865.xml"/><Relationship Id="rId274" Type="http://schemas.openxmlformats.org/officeDocument/2006/relationships/tags" Target="../tags/tag886.xml"/><Relationship Id="rId295" Type="http://schemas.openxmlformats.org/officeDocument/2006/relationships/tags" Target="../tags/tag907.xml"/><Relationship Id="rId309" Type="http://schemas.openxmlformats.org/officeDocument/2006/relationships/image" Target="../media/image55.png"/><Relationship Id="rId27" Type="http://schemas.openxmlformats.org/officeDocument/2006/relationships/tags" Target="../tags/tag639.xml"/><Relationship Id="rId48" Type="http://schemas.openxmlformats.org/officeDocument/2006/relationships/tags" Target="../tags/tag660.xml"/><Relationship Id="rId69" Type="http://schemas.openxmlformats.org/officeDocument/2006/relationships/tags" Target="../tags/tag681.xml"/><Relationship Id="rId113" Type="http://schemas.openxmlformats.org/officeDocument/2006/relationships/tags" Target="../tags/tag725.xml"/><Relationship Id="rId134" Type="http://schemas.openxmlformats.org/officeDocument/2006/relationships/tags" Target="../tags/tag746.xml"/><Relationship Id="rId320" Type="http://schemas.openxmlformats.org/officeDocument/2006/relationships/image" Target="../media/image65.png"/><Relationship Id="rId80" Type="http://schemas.openxmlformats.org/officeDocument/2006/relationships/tags" Target="../tags/tag692.xml"/><Relationship Id="rId155" Type="http://schemas.openxmlformats.org/officeDocument/2006/relationships/tags" Target="../tags/tag767.xml"/><Relationship Id="rId176" Type="http://schemas.openxmlformats.org/officeDocument/2006/relationships/tags" Target="../tags/tag788.xml"/><Relationship Id="rId197" Type="http://schemas.openxmlformats.org/officeDocument/2006/relationships/tags" Target="../tags/tag809.xml"/><Relationship Id="rId201" Type="http://schemas.openxmlformats.org/officeDocument/2006/relationships/tags" Target="../tags/tag813.xml"/><Relationship Id="rId222" Type="http://schemas.openxmlformats.org/officeDocument/2006/relationships/tags" Target="../tags/tag834.xml"/><Relationship Id="rId243" Type="http://schemas.openxmlformats.org/officeDocument/2006/relationships/tags" Target="../tags/tag855.xml"/><Relationship Id="rId264" Type="http://schemas.openxmlformats.org/officeDocument/2006/relationships/tags" Target="../tags/tag876.xml"/><Relationship Id="rId285" Type="http://schemas.openxmlformats.org/officeDocument/2006/relationships/tags" Target="../tags/tag897.xml"/><Relationship Id="rId17" Type="http://schemas.openxmlformats.org/officeDocument/2006/relationships/tags" Target="../tags/tag629.xml"/><Relationship Id="rId38" Type="http://schemas.openxmlformats.org/officeDocument/2006/relationships/tags" Target="../tags/tag650.xml"/><Relationship Id="rId59" Type="http://schemas.openxmlformats.org/officeDocument/2006/relationships/tags" Target="../tags/tag671.xml"/><Relationship Id="rId103" Type="http://schemas.openxmlformats.org/officeDocument/2006/relationships/tags" Target="../tags/tag715.xml"/><Relationship Id="rId124" Type="http://schemas.openxmlformats.org/officeDocument/2006/relationships/tags" Target="../tags/tag736.xml"/><Relationship Id="rId310" Type="http://schemas.openxmlformats.org/officeDocument/2006/relationships/image" Target="../media/image56.jpeg"/><Relationship Id="rId70" Type="http://schemas.openxmlformats.org/officeDocument/2006/relationships/tags" Target="../tags/tag682.xml"/><Relationship Id="rId91" Type="http://schemas.openxmlformats.org/officeDocument/2006/relationships/tags" Target="../tags/tag703.xml"/><Relationship Id="rId145" Type="http://schemas.openxmlformats.org/officeDocument/2006/relationships/tags" Target="../tags/tag757.xml"/><Relationship Id="rId166" Type="http://schemas.openxmlformats.org/officeDocument/2006/relationships/tags" Target="../tags/tag778.xml"/><Relationship Id="rId187" Type="http://schemas.openxmlformats.org/officeDocument/2006/relationships/tags" Target="../tags/tag799.xml"/><Relationship Id="rId1" Type="http://schemas.openxmlformats.org/officeDocument/2006/relationships/tags" Target="../tags/tag613.xml"/><Relationship Id="rId212" Type="http://schemas.openxmlformats.org/officeDocument/2006/relationships/tags" Target="../tags/tag824.xml"/><Relationship Id="rId233" Type="http://schemas.openxmlformats.org/officeDocument/2006/relationships/tags" Target="../tags/tag845.xml"/><Relationship Id="rId254" Type="http://schemas.openxmlformats.org/officeDocument/2006/relationships/tags" Target="../tags/tag866.xml"/><Relationship Id="rId28" Type="http://schemas.openxmlformats.org/officeDocument/2006/relationships/tags" Target="../tags/tag640.xml"/><Relationship Id="rId49" Type="http://schemas.openxmlformats.org/officeDocument/2006/relationships/tags" Target="../tags/tag661.xml"/><Relationship Id="rId114" Type="http://schemas.openxmlformats.org/officeDocument/2006/relationships/tags" Target="../tags/tag726.xml"/><Relationship Id="rId275" Type="http://schemas.openxmlformats.org/officeDocument/2006/relationships/tags" Target="../tags/tag887.xml"/><Relationship Id="rId296" Type="http://schemas.openxmlformats.org/officeDocument/2006/relationships/tags" Target="../tags/tag908.xml"/><Relationship Id="rId300" Type="http://schemas.openxmlformats.org/officeDocument/2006/relationships/notesSlide" Target="../notesSlides/notesSlide3.xml"/><Relationship Id="rId60" Type="http://schemas.openxmlformats.org/officeDocument/2006/relationships/tags" Target="../tags/tag672.xml"/><Relationship Id="rId81" Type="http://schemas.openxmlformats.org/officeDocument/2006/relationships/tags" Target="../tags/tag693.xml"/><Relationship Id="rId135" Type="http://schemas.openxmlformats.org/officeDocument/2006/relationships/tags" Target="../tags/tag747.xml"/><Relationship Id="rId156" Type="http://schemas.openxmlformats.org/officeDocument/2006/relationships/tags" Target="../tags/tag768.xml"/><Relationship Id="rId177" Type="http://schemas.openxmlformats.org/officeDocument/2006/relationships/tags" Target="../tags/tag789.xml"/><Relationship Id="rId198" Type="http://schemas.openxmlformats.org/officeDocument/2006/relationships/tags" Target="../tags/tag810.xml"/><Relationship Id="rId321" Type="http://schemas.openxmlformats.org/officeDocument/2006/relationships/image" Target="../media/image66.png"/><Relationship Id="rId202" Type="http://schemas.openxmlformats.org/officeDocument/2006/relationships/tags" Target="../tags/tag814.xml"/><Relationship Id="rId223" Type="http://schemas.openxmlformats.org/officeDocument/2006/relationships/tags" Target="../tags/tag835.xml"/><Relationship Id="rId244" Type="http://schemas.openxmlformats.org/officeDocument/2006/relationships/tags" Target="../tags/tag856.xml"/><Relationship Id="rId18" Type="http://schemas.openxmlformats.org/officeDocument/2006/relationships/tags" Target="../tags/tag630.xml"/><Relationship Id="rId39" Type="http://schemas.openxmlformats.org/officeDocument/2006/relationships/tags" Target="../tags/tag651.xml"/><Relationship Id="rId265" Type="http://schemas.openxmlformats.org/officeDocument/2006/relationships/tags" Target="../tags/tag877.xml"/><Relationship Id="rId286" Type="http://schemas.openxmlformats.org/officeDocument/2006/relationships/tags" Target="../tags/tag898.xml"/><Relationship Id="rId50" Type="http://schemas.openxmlformats.org/officeDocument/2006/relationships/tags" Target="../tags/tag662.xml"/><Relationship Id="rId104" Type="http://schemas.openxmlformats.org/officeDocument/2006/relationships/tags" Target="../tags/tag716.xml"/><Relationship Id="rId125" Type="http://schemas.openxmlformats.org/officeDocument/2006/relationships/tags" Target="../tags/tag737.xml"/><Relationship Id="rId146" Type="http://schemas.openxmlformats.org/officeDocument/2006/relationships/tags" Target="../tags/tag758.xml"/><Relationship Id="rId167" Type="http://schemas.openxmlformats.org/officeDocument/2006/relationships/tags" Target="../tags/tag779.xml"/><Relationship Id="rId188" Type="http://schemas.openxmlformats.org/officeDocument/2006/relationships/tags" Target="../tags/tag800.xml"/><Relationship Id="rId311" Type="http://schemas.openxmlformats.org/officeDocument/2006/relationships/image" Target="../media/image57.emf"/><Relationship Id="rId71" Type="http://schemas.openxmlformats.org/officeDocument/2006/relationships/tags" Target="../tags/tag683.xml"/><Relationship Id="rId92" Type="http://schemas.openxmlformats.org/officeDocument/2006/relationships/tags" Target="../tags/tag704.xml"/><Relationship Id="rId213" Type="http://schemas.openxmlformats.org/officeDocument/2006/relationships/tags" Target="../tags/tag825.xml"/><Relationship Id="rId234" Type="http://schemas.openxmlformats.org/officeDocument/2006/relationships/tags" Target="../tags/tag846.xml"/><Relationship Id="rId2" Type="http://schemas.openxmlformats.org/officeDocument/2006/relationships/tags" Target="../tags/tag614.xml"/><Relationship Id="rId29" Type="http://schemas.openxmlformats.org/officeDocument/2006/relationships/tags" Target="../tags/tag641.xml"/><Relationship Id="rId255" Type="http://schemas.openxmlformats.org/officeDocument/2006/relationships/tags" Target="../tags/tag867.xml"/><Relationship Id="rId276" Type="http://schemas.openxmlformats.org/officeDocument/2006/relationships/tags" Target="../tags/tag888.xml"/><Relationship Id="rId297" Type="http://schemas.openxmlformats.org/officeDocument/2006/relationships/tags" Target="../tags/tag909.xml"/><Relationship Id="rId40" Type="http://schemas.openxmlformats.org/officeDocument/2006/relationships/tags" Target="../tags/tag652.xml"/><Relationship Id="rId115" Type="http://schemas.openxmlformats.org/officeDocument/2006/relationships/tags" Target="../tags/tag727.xml"/><Relationship Id="rId136" Type="http://schemas.openxmlformats.org/officeDocument/2006/relationships/tags" Target="../tags/tag748.xml"/><Relationship Id="rId157" Type="http://schemas.openxmlformats.org/officeDocument/2006/relationships/tags" Target="../tags/tag769.xml"/><Relationship Id="rId178" Type="http://schemas.openxmlformats.org/officeDocument/2006/relationships/tags" Target="../tags/tag790.xml"/><Relationship Id="rId301" Type="http://schemas.openxmlformats.org/officeDocument/2006/relationships/oleObject" Target="../embeddings/oleObject1.bin"/><Relationship Id="rId322" Type="http://schemas.openxmlformats.org/officeDocument/2006/relationships/image" Target="../media/image67.png"/><Relationship Id="rId61" Type="http://schemas.openxmlformats.org/officeDocument/2006/relationships/tags" Target="../tags/tag673.xml"/><Relationship Id="rId82" Type="http://schemas.openxmlformats.org/officeDocument/2006/relationships/tags" Target="../tags/tag694.xml"/><Relationship Id="rId199" Type="http://schemas.openxmlformats.org/officeDocument/2006/relationships/tags" Target="../tags/tag811.xml"/><Relationship Id="rId203" Type="http://schemas.openxmlformats.org/officeDocument/2006/relationships/tags" Target="../tags/tag815.xml"/><Relationship Id="rId19" Type="http://schemas.openxmlformats.org/officeDocument/2006/relationships/tags" Target="../tags/tag631.xml"/><Relationship Id="rId224" Type="http://schemas.openxmlformats.org/officeDocument/2006/relationships/tags" Target="../tags/tag836.xml"/><Relationship Id="rId245" Type="http://schemas.openxmlformats.org/officeDocument/2006/relationships/tags" Target="../tags/tag857.xml"/><Relationship Id="rId266" Type="http://schemas.openxmlformats.org/officeDocument/2006/relationships/tags" Target="../tags/tag878.xml"/><Relationship Id="rId287" Type="http://schemas.openxmlformats.org/officeDocument/2006/relationships/tags" Target="../tags/tag899.xml"/><Relationship Id="rId30" Type="http://schemas.openxmlformats.org/officeDocument/2006/relationships/tags" Target="../tags/tag642.xml"/><Relationship Id="rId105" Type="http://schemas.openxmlformats.org/officeDocument/2006/relationships/tags" Target="../tags/tag717.xml"/><Relationship Id="rId126" Type="http://schemas.openxmlformats.org/officeDocument/2006/relationships/tags" Target="../tags/tag738.xml"/><Relationship Id="rId147" Type="http://schemas.openxmlformats.org/officeDocument/2006/relationships/tags" Target="../tags/tag759.xml"/><Relationship Id="rId168" Type="http://schemas.openxmlformats.org/officeDocument/2006/relationships/tags" Target="../tags/tag780.xml"/><Relationship Id="rId312" Type="http://schemas.openxmlformats.org/officeDocument/2006/relationships/image" Target="../media/image58.png"/><Relationship Id="rId51" Type="http://schemas.openxmlformats.org/officeDocument/2006/relationships/tags" Target="../tags/tag663.xml"/><Relationship Id="rId72" Type="http://schemas.openxmlformats.org/officeDocument/2006/relationships/tags" Target="../tags/tag684.xml"/><Relationship Id="rId93" Type="http://schemas.openxmlformats.org/officeDocument/2006/relationships/tags" Target="../tags/tag705.xml"/><Relationship Id="rId189" Type="http://schemas.openxmlformats.org/officeDocument/2006/relationships/tags" Target="../tags/tag801.xml"/><Relationship Id="rId3" Type="http://schemas.openxmlformats.org/officeDocument/2006/relationships/tags" Target="../tags/tag615.xml"/><Relationship Id="rId214" Type="http://schemas.openxmlformats.org/officeDocument/2006/relationships/tags" Target="../tags/tag826.xml"/><Relationship Id="rId235" Type="http://schemas.openxmlformats.org/officeDocument/2006/relationships/tags" Target="../tags/tag847.xml"/><Relationship Id="rId256" Type="http://schemas.openxmlformats.org/officeDocument/2006/relationships/tags" Target="../tags/tag868.xml"/><Relationship Id="rId277" Type="http://schemas.openxmlformats.org/officeDocument/2006/relationships/tags" Target="../tags/tag889.xml"/><Relationship Id="rId298" Type="http://schemas.openxmlformats.org/officeDocument/2006/relationships/tags" Target="../tags/tag910.xml"/><Relationship Id="rId116" Type="http://schemas.openxmlformats.org/officeDocument/2006/relationships/tags" Target="../tags/tag728.xml"/><Relationship Id="rId137" Type="http://schemas.openxmlformats.org/officeDocument/2006/relationships/tags" Target="../tags/tag749.xml"/><Relationship Id="rId158" Type="http://schemas.openxmlformats.org/officeDocument/2006/relationships/tags" Target="../tags/tag770.xml"/><Relationship Id="rId302" Type="http://schemas.openxmlformats.org/officeDocument/2006/relationships/image" Target="../media/image48.emf"/><Relationship Id="rId323" Type="http://schemas.openxmlformats.org/officeDocument/2006/relationships/image" Target="../media/image68.png"/><Relationship Id="rId20" Type="http://schemas.openxmlformats.org/officeDocument/2006/relationships/tags" Target="../tags/tag632.xml"/><Relationship Id="rId41" Type="http://schemas.openxmlformats.org/officeDocument/2006/relationships/tags" Target="../tags/tag653.xml"/><Relationship Id="rId62" Type="http://schemas.openxmlformats.org/officeDocument/2006/relationships/tags" Target="../tags/tag674.xml"/><Relationship Id="rId83" Type="http://schemas.openxmlformats.org/officeDocument/2006/relationships/tags" Target="../tags/tag695.xml"/><Relationship Id="rId179" Type="http://schemas.openxmlformats.org/officeDocument/2006/relationships/tags" Target="../tags/tag791.xml"/><Relationship Id="rId190" Type="http://schemas.openxmlformats.org/officeDocument/2006/relationships/tags" Target="../tags/tag802.xml"/><Relationship Id="rId204" Type="http://schemas.openxmlformats.org/officeDocument/2006/relationships/tags" Target="../tags/tag816.xml"/><Relationship Id="rId225" Type="http://schemas.openxmlformats.org/officeDocument/2006/relationships/tags" Target="../tags/tag837.xml"/><Relationship Id="rId246" Type="http://schemas.openxmlformats.org/officeDocument/2006/relationships/tags" Target="../tags/tag858.xml"/><Relationship Id="rId267" Type="http://schemas.openxmlformats.org/officeDocument/2006/relationships/tags" Target="../tags/tag879.xml"/><Relationship Id="rId288" Type="http://schemas.openxmlformats.org/officeDocument/2006/relationships/tags" Target="../tags/tag900.xml"/><Relationship Id="rId106" Type="http://schemas.openxmlformats.org/officeDocument/2006/relationships/tags" Target="../tags/tag718.xml"/><Relationship Id="rId127" Type="http://schemas.openxmlformats.org/officeDocument/2006/relationships/tags" Target="../tags/tag739.xml"/><Relationship Id="rId313" Type="http://schemas.openxmlformats.org/officeDocument/2006/relationships/image" Target="../media/image59.jpeg"/><Relationship Id="rId10" Type="http://schemas.openxmlformats.org/officeDocument/2006/relationships/tags" Target="../tags/tag622.xml"/><Relationship Id="rId31" Type="http://schemas.openxmlformats.org/officeDocument/2006/relationships/tags" Target="../tags/tag643.xml"/><Relationship Id="rId52" Type="http://schemas.openxmlformats.org/officeDocument/2006/relationships/tags" Target="../tags/tag664.xml"/><Relationship Id="rId73" Type="http://schemas.openxmlformats.org/officeDocument/2006/relationships/tags" Target="../tags/tag685.xml"/><Relationship Id="rId94" Type="http://schemas.openxmlformats.org/officeDocument/2006/relationships/tags" Target="../tags/tag706.xml"/><Relationship Id="rId148" Type="http://schemas.openxmlformats.org/officeDocument/2006/relationships/tags" Target="../tags/tag760.xml"/><Relationship Id="rId169" Type="http://schemas.openxmlformats.org/officeDocument/2006/relationships/tags" Target="../tags/tag781.xml"/><Relationship Id="rId4" Type="http://schemas.openxmlformats.org/officeDocument/2006/relationships/tags" Target="../tags/tag616.xml"/><Relationship Id="rId180" Type="http://schemas.openxmlformats.org/officeDocument/2006/relationships/tags" Target="../tags/tag792.xml"/><Relationship Id="rId215" Type="http://schemas.openxmlformats.org/officeDocument/2006/relationships/tags" Target="../tags/tag827.xml"/><Relationship Id="rId236" Type="http://schemas.openxmlformats.org/officeDocument/2006/relationships/tags" Target="../tags/tag848.xml"/><Relationship Id="rId257" Type="http://schemas.openxmlformats.org/officeDocument/2006/relationships/tags" Target="../tags/tag869.xml"/><Relationship Id="rId278" Type="http://schemas.openxmlformats.org/officeDocument/2006/relationships/tags" Target="../tags/tag890.xml"/><Relationship Id="rId303" Type="http://schemas.openxmlformats.org/officeDocument/2006/relationships/image" Target="../media/image49.png"/><Relationship Id="rId42" Type="http://schemas.openxmlformats.org/officeDocument/2006/relationships/tags" Target="../tags/tag654.xml"/><Relationship Id="rId84" Type="http://schemas.openxmlformats.org/officeDocument/2006/relationships/tags" Target="../tags/tag696.xml"/><Relationship Id="rId138" Type="http://schemas.openxmlformats.org/officeDocument/2006/relationships/tags" Target="../tags/tag750.xml"/><Relationship Id="rId191" Type="http://schemas.openxmlformats.org/officeDocument/2006/relationships/tags" Target="../tags/tag803.xml"/><Relationship Id="rId205" Type="http://schemas.openxmlformats.org/officeDocument/2006/relationships/tags" Target="../tags/tag817.xml"/><Relationship Id="rId247" Type="http://schemas.openxmlformats.org/officeDocument/2006/relationships/tags" Target="../tags/tag859.xml"/><Relationship Id="rId107" Type="http://schemas.openxmlformats.org/officeDocument/2006/relationships/tags" Target="../tags/tag719.xml"/><Relationship Id="rId289" Type="http://schemas.openxmlformats.org/officeDocument/2006/relationships/tags" Target="../tags/tag901.xml"/><Relationship Id="rId11" Type="http://schemas.openxmlformats.org/officeDocument/2006/relationships/tags" Target="../tags/tag623.xml"/><Relationship Id="rId53" Type="http://schemas.openxmlformats.org/officeDocument/2006/relationships/tags" Target="../tags/tag665.xml"/><Relationship Id="rId149" Type="http://schemas.openxmlformats.org/officeDocument/2006/relationships/tags" Target="../tags/tag761.xml"/><Relationship Id="rId314" Type="http://schemas.openxmlformats.org/officeDocument/2006/relationships/image" Target="../media/image60.emf"/><Relationship Id="rId95" Type="http://schemas.openxmlformats.org/officeDocument/2006/relationships/tags" Target="../tags/tag707.xml"/><Relationship Id="rId160" Type="http://schemas.openxmlformats.org/officeDocument/2006/relationships/tags" Target="../tags/tag772.xml"/><Relationship Id="rId216" Type="http://schemas.openxmlformats.org/officeDocument/2006/relationships/tags" Target="../tags/tag828.xml"/><Relationship Id="rId258" Type="http://schemas.openxmlformats.org/officeDocument/2006/relationships/tags" Target="../tags/tag870.xml"/><Relationship Id="rId22" Type="http://schemas.openxmlformats.org/officeDocument/2006/relationships/tags" Target="../tags/tag634.xml"/><Relationship Id="rId64" Type="http://schemas.openxmlformats.org/officeDocument/2006/relationships/tags" Target="../tags/tag676.xml"/><Relationship Id="rId118" Type="http://schemas.openxmlformats.org/officeDocument/2006/relationships/tags" Target="../tags/tag730.xml"/><Relationship Id="rId171" Type="http://schemas.openxmlformats.org/officeDocument/2006/relationships/tags" Target="../tags/tag783.xml"/><Relationship Id="rId227" Type="http://schemas.openxmlformats.org/officeDocument/2006/relationships/tags" Target="../tags/tag839.xml"/><Relationship Id="rId269" Type="http://schemas.openxmlformats.org/officeDocument/2006/relationships/tags" Target="../tags/tag881.xml"/><Relationship Id="rId33" Type="http://schemas.openxmlformats.org/officeDocument/2006/relationships/tags" Target="../tags/tag645.xml"/><Relationship Id="rId129" Type="http://schemas.openxmlformats.org/officeDocument/2006/relationships/tags" Target="../tags/tag741.xml"/><Relationship Id="rId280" Type="http://schemas.openxmlformats.org/officeDocument/2006/relationships/tags" Target="../tags/tag892.xml"/><Relationship Id="rId75" Type="http://schemas.openxmlformats.org/officeDocument/2006/relationships/tags" Target="../tags/tag687.xml"/><Relationship Id="rId140" Type="http://schemas.openxmlformats.org/officeDocument/2006/relationships/tags" Target="../tags/tag752.xml"/><Relationship Id="rId182" Type="http://schemas.openxmlformats.org/officeDocument/2006/relationships/tags" Target="../tags/tag794.xml"/><Relationship Id="rId6" Type="http://schemas.openxmlformats.org/officeDocument/2006/relationships/tags" Target="../tags/tag618.xml"/><Relationship Id="rId238" Type="http://schemas.openxmlformats.org/officeDocument/2006/relationships/tags" Target="../tags/tag850.xml"/><Relationship Id="rId291" Type="http://schemas.openxmlformats.org/officeDocument/2006/relationships/tags" Target="../tags/tag903.xml"/><Relationship Id="rId305" Type="http://schemas.openxmlformats.org/officeDocument/2006/relationships/image" Target="../media/image51.png"/><Relationship Id="rId44" Type="http://schemas.openxmlformats.org/officeDocument/2006/relationships/tags" Target="../tags/tag656.xml"/><Relationship Id="rId86" Type="http://schemas.openxmlformats.org/officeDocument/2006/relationships/tags" Target="../tags/tag698.xml"/><Relationship Id="rId151" Type="http://schemas.openxmlformats.org/officeDocument/2006/relationships/tags" Target="../tags/tag763.xml"/><Relationship Id="rId193" Type="http://schemas.openxmlformats.org/officeDocument/2006/relationships/tags" Target="../tags/tag805.xml"/><Relationship Id="rId207" Type="http://schemas.openxmlformats.org/officeDocument/2006/relationships/tags" Target="../tags/tag819.xml"/><Relationship Id="rId249" Type="http://schemas.openxmlformats.org/officeDocument/2006/relationships/tags" Target="../tags/tag861.xml"/><Relationship Id="rId13" Type="http://schemas.openxmlformats.org/officeDocument/2006/relationships/tags" Target="../tags/tag625.xml"/><Relationship Id="rId109" Type="http://schemas.openxmlformats.org/officeDocument/2006/relationships/tags" Target="../tags/tag721.xml"/><Relationship Id="rId260" Type="http://schemas.openxmlformats.org/officeDocument/2006/relationships/tags" Target="../tags/tag872.xml"/><Relationship Id="rId316" Type="http://schemas.openxmlformats.org/officeDocument/2006/relationships/chart" Target="../charts/chart1.xml"/></Relationships>
</file>

<file path=ppt/slides/_rels/slide7.xml.rels><?xml version="1.0" encoding="UTF-8" standalone="yes"?>
<Relationships xmlns="http://schemas.openxmlformats.org/package/2006/relationships"><Relationship Id="rId117" Type="http://schemas.openxmlformats.org/officeDocument/2006/relationships/tags" Target="../tags/tag1030.xml"/><Relationship Id="rId21" Type="http://schemas.openxmlformats.org/officeDocument/2006/relationships/tags" Target="../tags/tag934.xml"/><Relationship Id="rId42" Type="http://schemas.openxmlformats.org/officeDocument/2006/relationships/tags" Target="../tags/tag955.xml"/><Relationship Id="rId63" Type="http://schemas.openxmlformats.org/officeDocument/2006/relationships/tags" Target="../tags/tag976.xml"/><Relationship Id="rId84" Type="http://schemas.openxmlformats.org/officeDocument/2006/relationships/tags" Target="../tags/tag997.xml"/><Relationship Id="rId16" Type="http://schemas.openxmlformats.org/officeDocument/2006/relationships/tags" Target="../tags/tag929.xml"/><Relationship Id="rId107" Type="http://schemas.openxmlformats.org/officeDocument/2006/relationships/tags" Target="../tags/tag1020.xml"/><Relationship Id="rId11" Type="http://schemas.openxmlformats.org/officeDocument/2006/relationships/tags" Target="../tags/tag924.xml"/><Relationship Id="rId32" Type="http://schemas.openxmlformats.org/officeDocument/2006/relationships/tags" Target="../tags/tag945.xml"/><Relationship Id="rId37" Type="http://schemas.openxmlformats.org/officeDocument/2006/relationships/tags" Target="../tags/tag950.xml"/><Relationship Id="rId53" Type="http://schemas.openxmlformats.org/officeDocument/2006/relationships/tags" Target="../tags/tag966.xml"/><Relationship Id="rId58" Type="http://schemas.openxmlformats.org/officeDocument/2006/relationships/tags" Target="../tags/tag971.xml"/><Relationship Id="rId74" Type="http://schemas.openxmlformats.org/officeDocument/2006/relationships/tags" Target="../tags/tag987.xml"/><Relationship Id="rId79" Type="http://schemas.openxmlformats.org/officeDocument/2006/relationships/tags" Target="../tags/tag992.xml"/><Relationship Id="rId102" Type="http://schemas.openxmlformats.org/officeDocument/2006/relationships/tags" Target="../tags/tag1015.xml"/><Relationship Id="rId123" Type="http://schemas.openxmlformats.org/officeDocument/2006/relationships/oleObject" Target="../embeddings/oleObject2.bin"/><Relationship Id="rId128" Type="http://schemas.openxmlformats.org/officeDocument/2006/relationships/image" Target="../media/image70.png"/><Relationship Id="rId5" Type="http://schemas.openxmlformats.org/officeDocument/2006/relationships/tags" Target="../tags/tag918.xml"/><Relationship Id="rId90" Type="http://schemas.openxmlformats.org/officeDocument/2006/relationships/tags" Target="../tags/tag1003.xml"/><Relationship Id="rId95" Type="http://schemas.openxmlformats.org/officeDocument/2006/relationships/tags" Target="../tags/tag1008.xml"/><Relationship Id="rId22" Type="http://schemas.openxmlformats.org/officeDocument/2006/relationships/tags" Target="../tags/tag935.xml"/><Relationship Id="rId27" Type="http://schemas.openxmlformats.org/officeDocument/2006/relationships/tags" Target="../tags/tag940.xml"/><Relationship Id="rId43" Type="http://schemas.openxmlformats.org/officeDocument/2006/relationships/tags" Target="../tags/tag956.xml"/><Relationship Id="rId48" Type="http://schemas.openxmlformats.org/officeDocument/2006/relationships/tags" Target="../tags/tag961.xml"/><Relationship Id="rId64" Type="http://schemas.openxmlformats.org/officeDocument/2006/relationships/tags" Target="../tags/tag977.xml"/><Relationship Id="rId69" Type="http://schemas.openxmlformats.org/officeDocument/2006/relationships/tags" Target="../tags/tag982.xml"/><Relationship Id="rId113" Type="http://schemas.openxmlformats.org/officeDocument/2006/relationships/tags" Target="../tags/tag1026.xml"/><Relationship Id="rId118" Type="http://schemas.openxmlformats.org/officeDocument/2006/relationships/tags" Target="../tags/tag1031.xml"/><Relationship Id="rId80" Type="http://schemas.openxmlformats.org/officeDocument/2006/relationships/tags" Target="../tags/tag993.xml"/><Relationship Id="rId85" Type="http://schemas.openxmlformats.org/officeDocument/2006/relationships/tags" Target="../tags/tag998.xml"/><Relationship Id="rId12" Type="http://schemas.openxmlformats.org/officeDocument/2006/relationships/tags" Target="../tags/tag925.xml"/><Relationship Id="rId17" Type="http://schemas.openxmlformats.org/officeDocument/2006/relationships/tags" Target="../tags/tag930.xml"/><Relationship Id="rId33" Type="http://schemas.openxmlformats.org/officeDocument/2006/relationships/tags" Target="../tags/tag946.xml"/><Relationship Id="rId38" Type="http://schemas.openxmlformats.org/officeDocument/2006/relationships/tags" Target="../tags/tag951.xml"/><Relationship Id="rId59" Type="http://schemas.openxmlformats.org/officeDocument/2006/relationships/tags" Target="../tags/tag972.xml"/><Relationship Id="rId103" Type="http://schemas.openxmlformats.org/officeDocument/2006/relationships/tags" Target="../tags/tag1016.xml"/><Relationship Id="rId108" Type="http://schemas.openxmlformats.org/officeDocument/2006/relationships/tags" Target="../tags/tag1021.xml"/><Relationship Id="rId124" Type="http://schemas.openxmlformats.org/officeDocument/2006/relationships/image" Target="../media/image48.emf"/><Relationship Id="rId129" Type="http://schemas.openxmlformats.org/officeDocument/2006/relationships/image" Target="../media/image71.jpeg"/><Relationship Id="rId54" Type="http://schemas.openxmlformats.org/officeDocument/2006/relationships/tags" Target="../tags/tag967.xml"/><Relationship Id="rId70" Type="http://schemas.openxmlformats.org/officeDocument/2006/relationships/tags" Target="../tags/tag983.xml"/><Relationship Id="rId75" Type="http://schemas.openxmlformats.org/officeDocument/2006/relationships/tags" Target="../tags/tag988.xml"/><Relationship Id="rId91" Type="http://schemas.openxmlformats.org/officeDocument/2006/relationships/tags" Target="../tags/tag1004.xml"/><Relationship Id="rId96" Type="http://schemas.openxmlformats.org/officeDocument/2006/relationships/tags" Target="../tags/tag1009.xml"/><Relationship Id="rId1" Type="http://schemas.openxmlformats.org/officeDocument/2006/relationships/tags" Target="../tags/tag914.xml"/><Relationship Id="rId6" Type="http://schemas.openxmlformats.org/officeDocument/2006/relationships/tags" Target="../tags/tag919.xml"/><Relationship Id="rId23" Type="http://schemas.openxmlformats.org/officeDocument/2006/relationships/tags" Target="../tags/tag936.xml"/><Relationship Id="rId28" Type="http://schemas.openxmlformats.org/officeDocument/2006/relationships/tags" Target="../tags/tag941.xml"/><Relationship Id="rId49" Type="http://schemas.openxmlformats.org/officeDocument/2006/relationships/tags" Target="../tags/tag962.xml"/><Relationship Id="rId114" Type="http://schemas.openxmlformats.org/officeDocument/2006/relationships/tags" Target="../tags/tag1027.xml"/><Relationship Id="rId119" Type="http://schemas.openxmlformats.org/officeDocument/2006/relationships/tags" Target="../tags/tag1032.xml"/><Relationship Id="rId44" Type="http://schemas.openxmlformats.org/officeDocument/2006/relationships/tags" Target="../tags/tag957.xml"/><Relationship Id="rId60" Type="http://schemas.openxmlformats.org/officeDocument/2006/relationships/tags" Target="../tags/tag973.xml"/><Relationship Id="rId65" Type="http://schemas.openxmlformats.org/officeDocument/2006/relationships/tags" Target="../tags/tag978.xml"/><Relationship Id="rId81" Type="http://schemas.openxmlformats.org/officeDocument/2006/relationships/tags" Target="../tags/tag994.xml"/><Relationship Id="rId86" Type="http://schemas.openxmlformats.org/officeDocument/2006/relationships/tags" Target="../tags/tag999.xml"/><Relationship Id="rId130" Type="http://schemas.openxmlformats.org/officeDocument/2006/relationships/image" Target="../media/image72.png"/><Relationship Id="rId13" Type="http://schemas.openxmlformats.org/officeDocument/2006/relationships/tags" Target="../tags/tag926.xml"/><Relationship Id="rId18" Type="http://schemas.openxmlformats.org/officeDocument/2006/relationships/tags" Target="../tags/tag931.xml"/><Relationship Id="rId39" Type="http://schemas.openxmlformats.org/officeDocument/2006/relationships/tags" Target="../tags/tag952.xml"/><Relationship Id="rId109" Type="http://schemas.openxmlformats.org/officeDocument/2006/relationships/tags" Target="../tags/tag1022.xml"/><Relationship Id="rId34" Type="http://schemas.openxmlformats.org/officeDocument/2006/relationships/tags" Target="../tags/tag947.xml"/><Relationship Id="rId50" Type="http://schemas.openxmlformats.org/officeDocument/2006/relationships/tags" Target="../tags/tag963.xml"/><Relationship Id="rId55" Type="http://schemas.openxmlformats.org/officeDocument/2006/relationships/tags" Target="../tags/tag968.xml"/><Relationship Id="rId76" Type="http://schemas.openxmlformats.org/officeDocument/2006/relationships/tags" Target="../tags/tag989.xml"/><Relationship Id="rId97" Type="http://schemas.openxmlformats.org/officeDocument/2006/relationships/tags" Target="../tags/tag1010.xml"/><Relationship Id="rId104" Type="http://schemas.openxmlformats.org/officeDocument/2006/relationships/tags" Target="../tags/tag1017.xml"/><Relationship Id="rId120" Type="http://schemas.openxmlformats.org/officeDocument/2006/relationships/tags" Target="../tags/tag1033.xml"/><Relationship Id="rId125" Type="http://schemas.openxmlformats.org/officeDocument/2006/relationships/image" Target="../media/image69.jpeg"/><Relationship Id="rId7" Type="http://schemas.openxmlformats.org/officeDocument/2006/relationships/tags" Target="../tags/tag920.xml"/><Relationship Id="rId71" Type="http://schemas.openxmlformats.org/officeDocument/2006/relationships/tags" Target="../tags/tag984.xml"/><Relationship Id="rId92" Type="http://schemas.openxmlformats.org/officeDocument/2006/relationships/tags" Target="../tags/tag1005.xml"/><Relationship Id="rId2" Type="http://schemas.openxmlformats.org/officeDocument/2006/relationships/tags" Target="../tags/tag915.xml"/><Relationship Id="rId29" Type="http://schemas.openxmlformats.org/officeDocument/2006/relationships/tags" Target="../tags/tag942.xml"/><Relationship Id="rId24" Type="http://schemas.openxmlformats.org/officeDocument/2006/relationships/tags" Target="../tags/tag937.xml"/><Relationship Id="rId40" Type="http://schemas.openxmlformats.org/officeDocument/2006/relationships/tags" Target="../tags/tag953.xml"/><Relationship Id="rId45" Type="http://schemas.openxmlformats.org/officeDocument/2006/relationships/tags" Target="../tags/tag958.xml"/><Relationship Id="rId66" Type="http://schemas.openxmlformats.org/officeDocument/2006/relationships/tags" Target="../tags/tag979.xml"/><Relationship Id="rId87" Type="http://schemas.openxmlformats.org/officeDocument/2006/relationships/tags" Target="../tags/tag1000.xml"/><Relationship Id="rId110" Type="http://schemas.openxmlformats.org/officeDocument/2006/relationships/tags" Target="../tags/tag1023.xml"/><Relationship Id="rId115" Type="http://schemas.openxmlformats.org/officeDocument/2006/relationships/tags" Target="../tags/tag1028.xml"/><Relationship Id="rId131" Type="http://schemas.openxmlformats.org/officeDocument/2006/relationships/image" Target="../media/image73.svg"/><Relationship Id="rId61" Type="http://schemas.openxmlformats.org/officeDocument/2006/relationships/tags" Target="../tags/tag974.xml"/><Relationship Id="rId82" Type="http://schemas.openxmlformats.org/officeDocument/2006/relationships/tags" Target="../tags/tag995.xml"/><Relationship Id="rId19" Type="http://schemas.openxmlformats.org/officeDocument/2006/relationships/tags" Target="../tags/tag932.xml"/><Relationship Id="rId14" Type="http://schemas.openxmlformats.org/officeDocument/2006/relationships/tags" Target="../tags/tag927.xml"/><Relationship Id="rId30" Type="http://schemas.openxmlformats.org/officeDocument/2006/relationships/tags" Target="../tags/tag943.xml"/><Relationship Id="rId35" Type="http://schemas.openxmlformats.org/officeDocument/2006/relationships/tags" Target="../tags/tag948.xml"/><Relationship Id="rId56" Type="http://schemas.openxmlformats.org/officeDocument/2006/relationships/tags" Target="../tags/tag969.xml"/><Relationship Id="rId77" Type="http://schemas.openxmlformats.org/officeDocument/2006/relationships/tags" Target="../tags/tag990.xml"/><Relationship Id="rId100" Type="http://schemas.openxmlformats.org/officeDocument/2006/relationships/tags" Target="../tags/tag1013.xml"/><Relationship Id="rId105" Type="http://schemas.openxmlformats.org/officeDocument/2006/relationships/tags" Target="../tags/tag1018.xml"/><Relationship Id="rId126" Type="http://schemas.openxmlformats.org/officeDocument/2006/relationships/image" Target="../media/image60.emf"/><Relationship Id="rId8" Type="http://schemas.openxmlformats.org/officeDocument/2006/relationships/tags" Target="../tags/tag921.xml"/><Relationship Id="rId51" Type="http://schemas.openxmlformats.org/officeDocument/2006/relationships/tags" Target="../tags/tag964.xml"/><Relationship Id="rId72" Type="http://schemas.openxmlformats.org/officeDocument/2006/relationships/tags" Target="../tags/tag985.xml"/><Relationship Id="rId93" Type="http://schemas.openxmlformats.org/officeDocument/2006/relationships/tags" Target="../tags/tag1006.xml"/><Relationship Id="rId98" Type="http://schemas.openxmlformats.org/officeDocument/2006/relationships/tags" Target="../tags/tag1011.xml"/><Relationship Id="rId121" Type="http://schemas.openxmlformats.org/officeDocument/2006/relationships/slideLayout" Target="../slideLayouts/slideLayout8.xml"/><Relationship Id="rId3" Type="http://schemas.openxmlformats.org/officeDocument/2006/relationships/tags" Target="../tags/tag916.xml"/><Relationship Id="rId25" Type="http://schemas.openxmlformats.org/officeDocument/2006/relationships/tags" Target="../tags/tag938.xml"/><Relationship Id="rId46" Type="http://schemas.openxmlformats.org/officeDocument/2006/relationships/tags" Target="../tags/tag959.xml"/><Relationship Id="rId67" Type="http://schemas.openxmlformats.org/officeDocument/2006/relationships/tags" Target="../tags/tag980.xml"/><Relationship Id="rId116" Type="http://schemas.openxmlformats.org/officeDocument/2006/relationships/tags" Target="../tags/tag1029.xml"/><Relationship Id="rId20" Type="http://schemas.openxmlformats.org/officeDocument/2006/relationships/tags" Target="../tags/tag933.xml"/><Relationship Id="rId41" Type="http://schemas.openxmlformats.org/officeDocument/2006/relationships/tags" Target="../tags/tag954.xml"/><Relationship Id="rId62" Type="http://schemas.openxmlformats.org/officeDocument/2006/relationships/tags" Target="../tags/tag975.xml"/><Relationship Id="rId83" Type="http://schemas.openxmlformats.org/officeDocument/2006/relationships/tags" Target="../tags/tag996.xml"/><Relationship Id="rId88" Type="http://schemas.openxmlformats.org/officeDocument/2006/relationships/tags" Target="../tags/tag1001.xml"/><Relationship Id="rId111" Type="http://schemas.openxmlformats.org/officeDocument/2006/relationships/tags" Target="../tags/tag1024.xml"/><Relationship Id="rId132" Type="http://schemas.openxmlformats.org/officeDocument/2006/relationships/image" Target="../media/image68.png"/><Relationship Id="rId15" Type="http://schemas.openxmlformats.org/officeDocument/2006/relationships/tags" Target="../tags/tag928.xml"/><Relationship Id="rId36" Type="http://schemas.openxmlformats.org/officeDocument/2006/relationships/tags" Target="../tags/tag949.xml"/><Relationship Id="rId57" Type="http://schemas.openxmlformats.org/officeDocument/2006/relationships/tags" Target="../tags/tag970.xml"/><Relationship Id="rId106" Type="http://schemas.openxmlformats.org/officeDocument/2006/relationships/tags" Target="../tags/tag1019.xml"/><Relationship Id="rId127" Type="http://schemas.openxmlformats.org/officeDocument/2006/relationships/image" Target="../media/image59.jpeg"/><Relationship Id="rId10" Type="http://schemas.openxmlformats.org/officeDocument/2006/relationships/tags" Target="../tags/tag923.xml"/><Relationship Id="rId31" Type="http://schemas.openxmlformats.org/officeDocument/2006/relationships/tags" Target="../tags/tag944.xml"/><Relationship Id="rId52" Type="http://schemas.openxmlformats.org/officeDocument/2006/relationships/tags" Target="../tags/tag965.xml"/><Relationship Id="rId73" Type="http://schemas.openxmlformats.org/officeDocument/2006/relationships/tags" Target="../tags/tag986.xml"/><Relationship Id="rId78" Type="http://schemas.openxmlformats.org/officeDocument/2006/relationships/tags" Target="../tags/tag991.xml"/><Relationship Id="rId94" Type="http://schemas.openxmlformats.org/officeDocument/2006/relationships/tags" Target="../tags/tag1007.xml"/><Relationship Id="rId99" Type="http://schemas.openxmlformats.org/officeDocument/2006/relationships/tags" Target="../tags/tag1012.xml"/><Relationship Id="rId101" Type="http://schemas.openxmlformats.org/officeDocument/2006/relationships/tags" Target="../tags/tag1014.xml"/><Relationship Id="rId122" Type="http://schemas.openxmlformats.org/officeDocument/2006/relationships/notesSlide" Target="../notesSlides/notesSlide4.xml"/><Relationship Id="rId4" Type="http://schemas.openxmlformats.org/officeDocument/2006/relationships/tags" Target="../tags/tag917.xml"/><Relationship Id="rId9" Type="http://schemas.openxmlformats.org/officeDocument/2006/relationships/tags" Target="../tags/tag922.xml"/><Relationship Id="rId26" Type="http://schemas.openxmlformats.org/officeDocument/2006/relationships/tags" Target="../tags/tag939.xml"/><Relationship Id="rId47" Type="http://schemas.openxmlformats.org/officeDocument/2006/relationships/tags" Target="../tags/tag960.xml"/><Relationship Id="rId68" Type="http://schemas.openxmlformats.org/officeDocument/2006/relationships/tags" Target="../tags/tag981.xml"/><Relationship Id="rId89" Type="http://schemas.openxmlformats.org/officeDocument/2006/relationships/tags" Target="../tags/tag1002.xml"/><Relationship Id="rId112" Type="http://schemas.openxmlformats.org/officeDocument/2006/relationships/tags" Target="../tags/tag1025.xml"/><Relationship Id="rId133" Type="http://schemas.openxmlformats.org/officeDocument/2006/relationships/image" Target="../media/image74.emf"/></Relationships>
</file>

<file path=ppt/slides/_rels/slide8.xml.rels><?xml version="1.0" encoding="UTF-8" standalone="yes"?>
<Relationships xmlns="http://schemas.openxmlformats.org/package/2006/relationships"><Relationship Id="rId117" Type="http://schemas.openxmlformats.org/officeDocument/2006/relationships/tags" Target="../tags/tag1153.xml"/><Relationship Id="rId21" Type="http://schemas.openxmlformats.org/officeDocument/2006/relationships/tags" Target="../tags/tag1057.xml"/><Relationship Id="rId42" Type="http://schemas.openxmlformats.org/officeDocument/2006/relationships/tags" Target="../tags/tag1078.xml"/><Relationship Id="rId63" Type="http://schemas.openxmlformats.org/officeDocument/2006/relationships/tags" Target="../tags/tag1099.xml"/><Relationship Id="rId84" Type="http://schemas.openxmlformats.org/officeDocument/2006/relationships/tags" Target="../tags/tag1120.xml"/><Relationship Id="rId138" Type="http://schemas.openxmlformats.org/officeDocument/2006/relationships/tags" Target="../tags/tag1174.xml"/><Relationship Id="rId107" Type="http://schemas.openxmlformats.org/officeDocument/2006/relationships/tags" Target="../tags/tag1143.xml"/><Relationship Id="rId11" Type="http://schemas.openxmlformats.org/officeDocument/2006/relationships/tags" Target="../tags/tag1047.xml"/><Relationship Id="rId32" Type="http://schemas.openxmlformats.org/officeDocument/2006/relationships/tags" Target="../tags/tag1068.xml"/><Relationship Id="rId53" Type="http://schemas.openxmlformats.org/officeDocument/2006/relationships/tags" Target="../tags/tag1089.xml"/><Relationship Id="rId74" Type="http://schemas.openxmlformats.org/officeDocument/2006/relationships/tags" Target="../tags/tag1110.xml"/><Relationship Id="rId128" Type="http://schemas.openxmlformats.org/officeDocument/2006/relationships/tags" Target="../tags/tag1164.xml"/><Relationship Id="rId149" Type="http://schemas.openxmlformats.org/officeDocument/2006/relationships/slideLayout" Target="../slideLayouts/slideLayout8.xml"/><Relationship Id="rId5" Type="http://schemas.openxmlformats.org/officeDocument/2006/relationships/tags" Target="../tags/tag1041.xml"/><Relationship Id="rId95" Type="http://schemas.openxmlformats.org/officeDocument/2006/relationships/tags" Target="../tags/tag1131.xml"/><Relationship Id="rId22" Type="http://schemas.openxmlformats.org/officeDocument/2006/relationships/tags" Target="../tags/tag1058.xml"/><Relationship Id="rId43" Type="http://schemas.openxmlformats.org/officeDocument/2006/relationships/tags" Target="../tags/tag1079.xml"/><Relationship Id="rId64" Type="http://schemas.openxmlformats.org/officeDocument/2006/relationships/tags" Target="../tags/tag1100.xml"/><Relationship Id="rId118" Type="http://schemas.openxmlformats.org/officeDocument/2006/relationships/tags" Target="../tags/tag1154.xml"/><Relationship Id="rId139" Type="http://schemas.openxmlformats.org/officeDocument/2006/relationships/tags" Target="../tags/tag1175.xml"/><Relationship Id="rId80" Type="http://schemas.openxmlformats.org/officeDocument/2006/relationships/tags" Target="../tags/tag1116.xml"/><Relationship Id="rId85" Type="http://schemas.openxmlformats.org/officeDocument/2006/relationships/tags" Target="../tags/tag1121.xml"/><Relationship Id="rId150" Type="http://schemas.openxmlformats.org/officeDocument/2006/relationships/notesSlide" Target="../notesSlides/notesSlide5.xml"/><Relationship Id="rId155" Type="http://schemas.openxmlformats.org/officeDocument/2006/relationships/image" Target="../media/image78.png"/><Relationship Id="rId12" Type="http://schemas.openxmlformats.org/officeDocument/2006/relationships/tags" Target="../tags/tag1048.xml"/><Relationship Id="rId17" Type="http://schemas.openxmlformats.org/officeDocument/2006/relationships/tags" Target="../tags/tag1053.xml"/><Relationship Id="rId33" Type="http://schemas.openxmlformats.org/officeDocument/2006/relationships/tags" Target="../tags/tag1069.xml"/><Relationship Id="rId38" Type="http://schemas.openxmlformats.org/officeDocument/2006/relationships/tags" Target="../tags/tag1074.xml"/><Relationship Id="rId59" Type="http://schemas.openxmlformats.org/officeDocument/2006/relationships/tags" Target="../tags/tag1095.xml"/><Relationship Id="rId103" Type="http://schemas.openxmlformats.org/officeDocument/2006/relationships/tags" Target="../tags/tag1139.xml"/><Relationship Id="rId108" Type="http://schemas.openxmlformats.org/officeDocument/2006/relationships/tags" Target="../tags/tag1144.xml"/><Relationship Id="rId124" Type="http://schemas.openxmlformats.org/officeDocument/2006/relationships/tags" Target="../tags/tag1160.xml"/><Relationship Id="rId129" Type="http://schemas.openxmlformats.org/officeDocument/2006/relationships/tags" Target="../tags/tag1165.xml"/><Relationship Id="rId54" Type="http://schemas.openxmlformats.org/officeDocument/2006/relationships/tags" Target="../tags/tag1090.xml"/><Relationship Id="rId70" Type="http://schemas.openxmlformats.org/officeDocument/2006/relationships/tags" Target="../tags/tag1106.xml"/><Relationship Id="rId75" Type="http://schemas.openxmlformats.org/officeDocument/2006/relationships/tags" Target="../tags/tag1111.xml"/><Relationship Id="rId91" Type="http://schemas.openxmlformats.org/officeDocument/2006/relationships/tags" Target="../tags/tag1127.xml"/><Relationship Id="rId96" Type="http://schemas.openxmlformats.org/officeDocument/2006/relationships/tags" Target="../tags/tag1132.xml"/><Relationship Id="rId140" Type="http://schemas.openxmlformats.org/officeDocument/2006/relationships/tags" Target="../tags/tag1176.xml"/><Relationship Id="rId145" Type="http://schemas.openxmlformats.org/officeDocument/2006/relationships/tags" Target="../tags/tag1181.xml"/><Relationship Id="rId1" Type="http://schemas.openxmlformats.org/officeDocument/2006/relationships/tags" Target="../tags/tag1037.xml"/><Relationship Id="rId6" Type="http://schemas.openxmlformats.org/officeDocument/2006/relationships/tags" Target="../tags/tag1042.xml"/><Relationship Id="rId23" Type="http://schemas.openxmlformats.org/officeDocument/2006/relationships/tags" Target="../tags/tag1059.xml"/><Relationship Id="rId28" Type="http://schemas.openxmlformats.org/officeDocument/2006/relationships/tags" Target="../tags/tag1064.xml"/><Relationship Id="rId49" Type="http://schemas.openxmlformats.org/officeDocument/2006/relationships/tags" Target="../tags/tag1085.xml"/><Relationship Id="rId114" Type="http://schemas.openxmlformats.org/officeDocument/2006/relationships/tags" Target="../tags/tag1150.xml"/><Relationship Id="rId119" Type="http://schemas.openxmlformats.org/officeDocument/2006/relationships/tags" Target="../tags/tag1155.xml"/><Relationship Id="rId44" Type="http://schemas.openxmlformats.org/officeDocument/2006/relationships/tags" Target="../tags/tag1080.xml"/><Relationship Id="rId60" Type="http://schemas.openxmlformats.org/officeDocument/2006/relationships/tags" Target="../tags/tag1096.xml"/><Relationship Id="rId65" Type="http://schemas.openxmlformats.org/officeDocument/2006/relationships/tags" Target="../tags/tag1101.xml"/><Relationship Id="rId81" Type="http://schemas.openxmlformats.org/officeDocument/2006/relationships/tags" Target="../tags/tag1117.xml"/><Relationship Id="rId86" Type="http://schemas.openxmlformats.org/officeDocument/2006/relationships/tags" Target="../tags/tag1122.xml"/><Relationship Id="rId130" Type="http://schemas.openxmlformats.org/officeDocument/2006/relationships/tags" Target="../tags/tag1166.xml"/><Relationship Id="rId135" Type="http://schemas.openxmlformats.org/officeDocument/2006/relationships/tags" Target="../tags/tag1171.xml"/><Relationship Id="rId151" Type="http://schemas.openxmlformats.org/officeDocument/2006/relationships/image" Target="../media/image75.png"/><Relationship Id="rId156" Type="http://schemas.openxmlformats.org/officeDocument/2006/relationships/image" Target="../media/image79.svg"/><Relationship Id="rId13" Type="http://schemas.openxmlformats.org/officeDocument/2006/relationships/tags" Target="../tags/tag1049.xml"/><Relationship Id="rId18" Type="http://schemas.openxmlformats.org/officeDocument/2006/relationships/tags" Target="../tags/tag1054.xml"/><Relationship Id="rId39" Type="http://schemas.openxmlformats.org/officeDocument/2006/relationships/tags" Target="../tags/tag1075.xml"/><Relationship Id="rId109" Type="http://schemas.openxmlformats.org/officeDocument/2006/relationships/tags" Target="../tags/tag1145.xml"/><Relationship Id="rId34" Type="http://schemas.openxmlformats.org/officeDocument/2006/relationships/tags" Target="../tags/tag1070.xml"/><Relationship Id="rId50" Type="http://schemas.openxmlformats.org/officeDocument/2006/relationships/tags" Target="../tags/tag1086.xml"/><Relationship Id="rId55" Type="http://schemas.openxmlformats.org/officeDocument/2006/relationships/tags" Target="../tags/tag1091.xml"/><Relationship Id="rId76" Type="http://schemas.openxmlformats.org/officeDocument/2006/relationships/tags" Target="../tags/tag1112.xml"/><Relationship Id="rId97" Type="http://schemas.openxmlformats.org/officeDocument/2006/relationships/tags" Target="../tags/tag1133.xml"/><Relationship Id="rId104" Type="http://schemas.openxmlformats.org/officeDocument/2006/relationships/tags" Target="../tags/tag1140.xml"/><Relationship Id="rId120" Type="http://schemas.openxmlformats.org/officeDocument/2006/relationships/tags" Target="../tags/tag1156.xml"/><Relationship Id="rId125" Type="http://schemas.openxmlformats.org/officeDocument/2006/relationships/tags" Target="../tags/tag1161.xml"/><Relationship Id="rId141" Type="http://schemas.openxmlformats.org/officeDocument/2006/relationships/tags" Target="../tags/tag1177.xml"/><Relationship Id="rId146" Type="http://schemas.openxmlformats.org/officeDocument/2006/relationships/tags" Target="../tags/tag1182.xml"/><Relationship Id="rId7" Type="http://schemas.openxmlformats.org/officeDocument/2006/relationships/tags" Target="../tags/tag1043.xml"/><Relationship Id="rId71" Type="http://schemas.openxmlformats.org/officeDocument/2006/relationships/tags" Target="../tags/tag1107.xml"/><Relationship Id="rId92" Type="http://schemas.openxmlformats.org/officeDocument/2006/relationships/tags" Target="../tags/tag1128.xml"/><Relationship Id="rId2" Type="http://schemas.openxmlformats.org/officeDocument/2006/relationships/tags" Target="../tags/tag1038.xml"/><Relationship Id="rId29" Type="http://schemas.openxmlformats.org/officeDocument/2006/relationships/tags" Target="../tags/tag1065.xml"/><Relationship Id="rId24" Type="http://schemas.openxmlformats.org/officeDocument/2006/relationships/tags" Target="../tags/tag1060.xml"/><Relationship Id="rId40" Type="http://schemas.openxmlformats.org/officeDocument/2006/relationships/tags" Target="../tags/tag1076.xml"/><Relationship Id="rId45" Type="http://schemas.openxmlformats.org/officeDocument/2006/relationships/tags" Target="../tags/tag1081.xml"/><Relationship Id="rId66" Type="http://schemas.openxmlformats.org/officeDocument/2006/relationships/tags" Target="../tags/tag1102.xml"/><Relationship Id="rId87" Type="http://schemas.openxmlformats.org/officeDocument/2006/relationships/tags" Target="../tags/tag1123.xml"/><Relationship Id="rId110" Type="http://schemas.openxmlformats.org/officeDocument/2006/relationships/tags" Target="../tags/tag1146.xml"/><Relationship Id="rId115" Type="http://schemas.openxmlformats.org/officeDocument/2006/relationships/tags" Target="../tags/tag1151.xml"/><Relationship Id="rId131" Type="http://schemas.openxmlformats.org/officeDocument/2006/relationships/tags" Target="../tags/tag1167.xml"/><Relationship Id="rId136" Type="http://schemas.openxmlformats.org/officeDocument/2006/relationships/tags" Target="../tags/tag1172.xml"/><Relationship Id="rId157" Type="http://schemas.openxmlformats.org/officeDocument/2006/relationships/image" Target="../media/image80.emf"/><Relationship Id="rId61" Type="http://schemas.openxmlformats.org/officeDocument/2006/relationships/tags" Target="../tags/tag1097.xml"/><Relationship Id="rId82" Type="http://schemas.openxmlformats.org/officeDocument/2006/relationships/tags" Target="../tags/tag1118.xml"/><Relationship Id="rId152" Type="http://schemas.openxmlformats.org/officeDocument/2006/relationships/image" Target="../media/image76.svg"/><Relationship Id="rId19" Type="http://schemas.openxmlformats.org/officeDocument/2006/relationships/tags" Target="../tags/tag1055.xml"/><Relationship Id="rId14" Type="http://schemas.openxmlformats.org/officeDocument/2006/relationships/tags" Target="../tags/tag1050.xml"/><Relationship Id="rId30" Type="http://schemas.openxmlformats.org/officeDocument/2006/relationships/tags" Target="../tags/tag1066.xml"/><Relationship Id="rId35" Type="http://schemas.openxmlformats.org/officeDocument/2006/relationships/tags" Target="../tags/tag1071.xml"/><Relationship Id="rId56" Type="http://schemas.openxmlformats.org/officeDocument/2006/relationships/tags" Target="../tags/tag1092.xml"/><Relationship Id="rId77" Type="http://schemas.openxmlformats.org/officeDocument/2006/relationships/tags" Target="../tags/tag1113.xml"/><Relationship Id="rId100" Type="http://schemas.openxmlformats.org/officeDocument/2006/relationships/tags" Target="../tags/tag1136.xml"/><Relationship Id="rId105" Type="http://schemas.openxmlformats.org/officeDocument/2006/relationships/tags" Target="../tags/tag1141.xml"/><Relationship Id="rId126" Type="http://schemas.openxmlformats.org/officeDocument/2006/relationships/tags" Target="../tags/tag1162.xml"/><Relationship Id="rId147" Type="http://schemas.openxmlformats.org/officeDocument/2006/relationships/tags" Target="../tags/tag1183.xml"/><Relationship Id="rId8" Type="http://schemas.openxmlformats.org/officeDocument/2006/relationships/tags" Target="../tags/tag1044.xml"/><Relationship Id="rId51" Type="http://schemas.openxmlformats.org/officeDocument/2006/relationships/tags" Target="../tags/tag1087.xml"/><Relationship Id="rId72" Type="http://schemas.openxmlformats.org/officeDocument/2006/relationships/tags" Target="../tags/tag1108.xml"/><Relationship Id="rId93" Type="http://schemas.openxmlformats.org/officeDocument/2006/relationships/tags" Target="../tags/tag1129.xml"/><Relationship Id="rId98" Type="http://schemas.openxmlformats.org/officeDocument/2006/relationships/tags" Target="../tags/tag1134.xml"/><Relationship Id="rId121" Type="http://schemas.openxmlformats.org/officeDocument/2006/relationships/tags" Target="../tags/tag1157.xml"/><Relationship Id="rId142" Type="http://schemas.openxmlformats.org/officeDocument/2006/relationships/tags" Target="../tags/tag1178.xml"/><Relationship Id="rId3" Type="http://schemas.openxmlformats.org/officeDocument/2006/relationships/tags" Target="../tags/tag1039.xml"/><Relationship Id="rId25" Type="http://schemas.openxmlformats.org/officeDocument/2006/relationships/tags" Target="../tags/tag1061.xml"/><Relationship Id="rId46" Type="http://schemas.openxmlformats.org/officeDocument/2006/relationships/tags" Target="../tags/tag1082.xml"/><Relationship Id="rId67" Type="http://schemas.openxmlformats.org/officeDocument/2006/relationships/tags" Target="../tags/tag1103.xml"/><Relationship Id="rId116" Type="http://schemas.openxmlformats.org/officeDocument/2006/relationships/tags" Target="../tags/tag1152.xml"/><Relationship Id="rId137" Type="http://schemas.openxmlformats.org/officeDocument/2006/relationships/tags" Target="../tags/tag1173.xml"/><Relationship Id="rId20" Type="http://schemas.openxmlformats.org/officeDocument/2006/relationships/tags" Target="../tags/tag1056.xml"/><Relationship Id="rId41" Type="http://schemas.openxmlformats.org/officeDocument/2006/relationships/tags" Target="../tags/tag1077.xml"/><Relationship Id="rId62" Type="http://schemas.openxmlformats.org/officeDocument/2006/relationships/tags" Target="../tags/tag1098.xml"/><Relationship Id="rId83" Type="http://schemas.openxmlformats.org/officeDocument/2006/relationships/tags" Target="../tags/tag1119.xml"/><Relationship Id="rId88" Type="http://schemas.openxmlformats.org/officeDocument/2006/relationships/tags" Target="../tags/tag1124.xml"/><Relationship Id="rId111" Type="http://schemas.openxmlformats.org/officeDocument/2006/relationships/tags" Target="../tags/tag1147.xml"/><Relationship Id="rId132" Type="http://schemas.openxmlformats.org/officeDocument/2006/relationships/tags" Target="../tags/tag1168.xml"/><Relationship Id="rId153" Type="http://schemas.openxmlformats.org/officeDocument/2006/relationships/chart" Target="../charts/chart2.xml"/><Relationship Id="rId15" Type="http://schemas.openxmlformats.org/officeDocument/2006/relationships/tags" Target="../tags/tag1051.xml"/><Relationship Id="rId36" Type="http://schemas.openxmlformats.org/officeDocument/2006/relationships/tags" Target="../tags/tag1072.xml"/><Relationship Id="rId57" Type="http://schemas.openxmlformats.org/officeDocument/2006/relationships/tags" Target="../tags/tag1093.xml"/><Relationship Id="rId106" Type="http://schemas.openxmlformats.org/officeDocument/2006/relationships/tags" Target="../tags/tag1142.xml"/><Relationship Id="rId127" Type="http://schemas.openxmlformats.org/officeDocument/2006/relationships/tags" Target="../tags/tag1163.xml"/><Relationship Id="rId10" Type="http://schemas.openxmlformats.org/officeDocument/2006/relationships/tags" Target="../tags/tag1046.xml"/><Relationship Id="rId31" Type="http://schemas.openxmlformats.org/officeDocument/2006/relationships/tags" Target="../tags/tag1067.xml"/><Relationship Id="rId52" Type="http://schemas.openxmlformats.org/officeDocument/2006/relationships/tags" Target="../tags/tag1088.xml"/><Relationship Id="rId73" Type="http://schemas.openxmlformats.org/officeDocument/2006/relationships/tags" Target="../tags/tag1109.xml"/><Relationship Id="rId78" Type="http://schemas.openxmlformats.org/officeDocument/2006/relationships/tags" Target="../tags/tag1114.xml"/><Relationship Id="rId94" Type="http://schemas.openxmlformats.org/officeDocument/2006/relationships/tags" Target="../tags/tag1130.xml"/><Relationship Id="rId99" Type="http://schemas.openxmlformats.org/officeDocument/2006/relationships/tags" Target="../tags/tag1135.xml"/><Relationship Id="rId101" Type="http://schemas.openxmlformats.org/officeDocument/2006/relationships/tags" Target="../tags/tag1137.xml"/><Relationship Id="rId122" Type="http://schemas.openxmlformats.org/officeDocument/2006/relationships/tags" Target="../tags/tag1158.xml"/><Relationship Id="rId143" Type="http://schemas.openxmlformats.org/officeDocument/2006/relationships/tags" Target="../tags/tag1179.xml"/><Relationship Id="rId148" Type="http://schemas.openxmlformats.org/officeDocument/2006/relationships/tags" Target="../tags/tag1184.xml"/><Relationship Id="rId4" Type="http://schemas.openxmlformats.org/officeDocument/2006/relationships/tags" Target="../tags/tag1040.xml"/><Relationship Id="rId9" Type="http://schemas.openxmlformats.org/officeDocument/2006/relationships/tags" Target="../tags/tag1045.xml"/><Relationship Id="rId26" Type="http://schemas.openxmlformats.org/officeDocument/2006/relationships/tags" Target="../tags/tag1062.xml"/><Relationship Id="rId47" Type="http://schemas.openxmlformats.org/officeDocument/2006/relationships/tags" Target="../tags/tag1083.xml"/><Relationship Id="rId68" Type="http://schemas.openxmlformats.org/officeDocument/2006/relationships/tags" Target="../tags/tag1104.xml"/><Relationship Id="rId89" Type="http://schemas.openxmlformats.org/officeDocument/2006/relationships/tags" Target="../tags/tag1125.xml"/><Relationship Id="rId112" Type="http://schemas.openxmlformats.org/officeDocument/2006/relationships/tags" Target="../tags/tag1148.xml"/><Relationship Id="rId133" Type="http://schemas.openxmlformats.org/officeDocument/2006/relationships/tags" Target="../tags/tag1169.xml"/><Relationship Id="rId154" Type="http://schemas.openxmlformats.org/officeDocument/2006/relationships/image" Target="../media/image77.emf"/><Relationship Id="rId16" Type="http://schemas.openxmlformats.org/officeDocument/2006/relationships/tags" Target="../tags/tag1052.xml"/><Relationship Id="rId37" Type="http://schemas.openxmlformats.org/officeDocument/2006/relationships/tags" Target="../tags/tag1073.xml"/><Relationship Id="rId58" Type="http://schemas.openxmlformats.org/officeDocument/2006/relationships/tags" Target="../tags/tag1094.xml"/><Relationship Id="rId79" Type="http://schemas.openxmlformats.org/officeDocument/2006/relationships/tags" Target="../tags/tag1115.xml"/><Relationship Id="rId102" Type="http://schemas.openxmlformats.org/officeDocument/2006/relationships/tags" Target="../tags/tag1138.xml"/><Relationship Id="rId123" Type="http://schemas.openxmlformats.org/officeDocument/2006/relationships/tags" Target="../tags/tag1159.xml"/><Relationship Id="rId144" Type="http://schemas.openxmlformats.org/officeDocument/2006/relationships/tags" Target="../tags/tag1180.xml"/><Relationship Id="rId90" Type="http://schemas.openxmlformats.org/officeDocument/2006/relationships/tags" Target="../tags/tag1126.xml"/><Relationship Id="rId27" Type="http://schemas.openxmlformats.org/officeDocument/2006/relationships/tags" Target="../tags/tag1063.xml"/><Relationship Id="rId48" Type="http://schemas.openxmlformats.org/officeDocument/2006/relationships/tags" Target="../tags/tag1084.xml"/><Relationship Id="rId69" Type="http://schemas.openxmlformats.org/officeDocument/2006/relationships/tags" Target="../tags/tag1105.xml"/><Relationship Id="rId113" Type="http://schemas.openxmlformats.org/officeDocument/2006/relationships/tags" Target="../tags/tag1149.xml"/><Relationship Id="rId134" Type="http://schemas.openxmlformats.org/officeDocument/2006/relationships/tags" Target="../tags/tag117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188.xml"/><Relationship Id="rId4" Type="http://schemas.openxmlformats.org/officeDocument/2006/relationships/image" Target="../media/image8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B772455-F25E-494A-9213-F5F9268A8A6A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1168402" y="3317180"/>
            <a:ext cx="4858326" cy="2545080"/>
          </a:xfrm>
        </p:spPr>
        <p:txBody>
          <a:bodyPr/>
          <a:lstStyle/>
          <a:p>
            <a:pPr marL="0" marR="0" lvl="0" indent="0" algn="l" defTabSz="1462923" fontAlgn="auto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SzTx/>
              <a:buNone/>
              <a:defRPr kumimoji="0" sz="6336" b="1" i="0" u="none" strike="noStrike" cap="none" spc="0" normalizeH="0" baseline="0" noProof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FFFFFF"/>
                </a:solidFill>
                <a:uLnTx/>
                <a:uFillTx/>
                <a:latin typeface="+mj-lt"/>
                <a:ea typeface="+mj-ea"/>
                <a:cs typeface="+mj-cs"/>
                <a:sym typeface="Wingdings" charset="2"/>
              </a:defRPr>
            </a:pPr>
            <a:r>
              <a:rPr kumimoji="0" lang="en-US" sz="5400" b="1" i="0" u="none" strike="noStrike" cap="none" spc="0" normalizeH="0" baseline="0" noProof="0" dirty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prstClr val="white"/>
                </a:solidFill>
                <a:uLnTx/>
                <a:uFillTx/>
                <a:latin typeface="Open Sans"/>
                <a:ea typeface="Helvetica Neue" panose="02000503000000020004" pitchFamily="2" charset="0"/>
                <a:cs typeface="Calibri" panose="020F0502020204030204" pitchFamily="34" charset="0"/>
              </a:rPr>
              <a:t>DXC Luxoft India</a:t>
            </a:r>
            <a:br>
              <a:rPr kumimoji="0" lang="en-US" sz="5400" b="1" i="0" u="none" strike="noStrike" cap="none" spc="0" normalizeH="0" baseline="0" noProof="0" dirty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prstClr val="white"/>
                </a:solidFill>
                <a:uLnTx/>
                <a:uFillTx/>
                <a:latin typeface="Open Sans"/>
                <a:ea typeface="Helvetica Neue" panose="02000503000000020004" pitchFamily="2" charset="0"/>
                <a:cs typeface="Calibri" panose="020F0502020204030204" pitchFamily="34" charset="0"/>
              </a:rPr>
            </a:br>
            <a:r>
              <a:rPr kumimoji="0" lang="en-US" sz="5400" b="1" i="0" u="none" strike="noStrike" cap="none" spc="0" normalizeH="0" baseline="0" noProof="0" dirty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prstClr val="white"/>
                </a:solidFill>
                <a:uLnTx/>
                <a:uFillTx/>
                <a:ea typeface="Helvetica Neue" panose="02000503000000020004" pitchFamily="2" charset="0"/>
                <a:cs typeface="Calibri" panose="020F0502020204030204" pitchFamily="34" charset="0"/>
              </a:rPr>
              <a:t>An Overview</a:t>
            </a:r>
            <a:endParaRPr lang="en-US" sz="5280" dirty="0"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solidFill>
                <a:srgbClr val="FFFFFF"/>
              </a:solidFill>
              <a:latin typeface="+mn-lt"/>
            </a:endParaRP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4F0EE9AA-8FAB-FE4F-8859-4B127D6B77E6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1168402" y="6029902"/>
            <a:ext cx="4858326" cy="914400"/>
          </a:xfrm>
        </p:spPr>
        <p:txBody>
          <a:bodyPr vert="horz" lIns="0" tIns="0" rIns="0" bIns="0" rtlCol="0" anchor="t">
            <a:noAutofit/>
          </a:bodyPr>
          <a:lstStyle/>
          <a:p>
            <a:pPr marL="0" marR="0" lvl="0" indent="0" algn="l" defTabSz="1462923" fontAlgn="auto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Tx/>
              <a:buNone/>
              <a:defRPr kumimoji="0" sz="3360" b="1" i="0" u="none" strike="noStrike" cap="none" spc="0" normalizeH="0" baseline="0" noProof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FFFFFF"/>
                </a:solidFill>
                <a:uLnTx/>
                <a:uFillTx/>
                <a:latin typeface="+mn-lt"/>
                <a:ea typeface="+mn-ea"/>
                <a:cs typeface="+mn-cs"/>
                <a:sym typeface="Wingdings" charset="2"/>
              </a:defRPr>
            </a:pPr>
            <a:r>
              <a:rPr lang="en-US" sz="3600" dirty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FFFFFF"/>
                </a:solidFill>
                <a:latin typeface="Arial"/>
                <a:cs typeface="Arial"/>
                <a:sym typeface="Wingdings" charset="2"/>
              </a:rPr>
              <a:t>January </a:t>
            </a:r>
            <a:r>
              <a:rPr kumimoji="0" lang="en-US" sz="3600" b="1" i="0" u="none" strike="noStrike" cap="none" spc="0" normalizeH="0" baseline="0" noProof="0" dirty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FFFFFF"/>
                </a:solidFill>
                <a:uLnTx/>
                <a:uFillTx/>
                <a:latin typeface="Arial"/>
                <a:cs typeface="Arial"/>
                <a:sym typeface="Wingdings" charset="2"/>
              </a:rPr>
              <a:t>2026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8F681B5-7459-4E57-B21B-0E401C0AC9F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642475" y="0"/>
            <a:ext cx="987925" cy="563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4150712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27AF3809-67D0-0B28-D962-5072F26E454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15146" y="1872223"/>
            <a:ext cx="13194714" cy="4575437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5000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0" scaled="1"/>
          </a:gra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463040" rtl="0" eaLnBrk="1" latinLnBrk="0" hangingPunct="1">
              <a:defRPr sz="288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731520" algn="l" defTabSz="1463040" rtl="0" eaLnBrk="1" latinLnBrk="0" hangingPunct="1">
              <a:defRPr sz="288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1463040" algn="l" defTabSz="1463040" rtl="0" eaLnBrk="1" latinLnBrk="0" hangingPunct="1">
              <a:defRPr sz="288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2194560" algn="l" defTabSz="1463040" rtl="0" eaLnBrk="1" latinLnBrk="0" hangingPunct="1">
              <a:defRPr sz="288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2926080" algn="l" defTabSz="1463040" rtl="0" eaLnBrk="1" latinLnBrk="0" hangingPunct="1">
              <a:defRPr sz="288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3657600" algn="l" defTabSz="1463040" rtl="0" eaLnBrk="1" latinLnBrk="0" hangingPunct="1">
              <a:defRPr sz="288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4389120" algn="l" defTabSz="1463040" rtl="0" eaLnBrk="1" latinLnBrk="0" hangingPunct="1">
              <a:defRPr sz="288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5120640" algn="l" defTabSz="1463040" rtl="0" eaLnBrk="1" latinLnBrk="0" hangingPunct="1">
              <a:defRPr sz="288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5852160" algn="l" defTabSz="1463040" rtl="0" eaLnBrk="1" latinLnBrk="0" hangingPunct="1">
              <a:defRPr sz="288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A" sz="288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71" name="Прямоугольник 44">
            <a:extLst>
              <a:ext uri="{FF2B5EF4-FFF2-40B4-BE49-F238E27FC236}">
                <a16:creationId xmlns:a16="http://schemas.microsoft.com/office/drawing/2014/main" id="{AB41D685-5D7E-43B0-B512-E4AC7C75F65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5770948" y="6542532"/>
            <a:ext cx="3613487" cy="7896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1pPr>
            <a:lvl2pPr marL="4572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2pPr>
            <a:lvl3pPr marL="9144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3pPr>
            <a:lvl4pPr marL="13716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4pPr>
            <a:lvl5pPr marL="18288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5pPr>
            <a:lvl6pPr marL="22860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6pPr>
            <a:lvl7pPr marL="27432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7pPr>
            <a:lvl8pPr marL="32004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8pPr>
            <a:lvl9pPr marL="36576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9pPr>
          </a:lstStyle>
          <a:p>
            <a:pPr marL="0" marR="0" lvl="0" indent="0" algn="ctr" defTabSz="109719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 noProof="0">
                <a:solidFill>
                  <a:srgbClr val="FFFFFF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pPr>
            <a:endParaRPr kumimoji="0" lang="en-US" sz="144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Open Sans" panose="020B0706030804020204" pitchFamily="34" charset="0"/>
              <a:cs typeface="Arial" pitchFamily="34" charset="0"/>
              <a:sym typeface="Wingdings" charset="2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951B300-0695-0F83-11E5-5015EC86D5A4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715147" y="6090267"/>
            <a:ext cx="13194712" cy="831243"/>
            <a:chOff x="715147" y="5989030"/>
            <a:chExt cx="13194712" cy="892091"/>
          </a:xfr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</a:gradFill>
        </p:grpSpPr>
        <p:sp>
          <p:nvSpPr>
            <p:cNvPr id="97" name="Right Arrow 54">
              <a:extLst>
                <a:ext uri="{FF2B5EF4-FFF2-40B4-BE49-F238E27FC236}">
                  <a16:creationId xmlns:a16="http://schemas.microsoft.com/office/drawing/2014/main" id="{D814DC95-DFEE-486F-9AA1-B97C42153E9D}"/>
                </a:ext>
              </a:extLst>
            </p:cNvPr>
            <p:cNvSpPr/>
            <p:nvPr>
              <p:custDataLst>
                <p:tags r:id="rId26"/>
              </p:custDataLst>
            </p:nvPr>
          </p:nvSpPr>
          <p:spPr>
            <a:xfrm>
              <a:off x="9503538" y="5989030"/>
              <a:ext cx="4406322" cy="892091"/>
            </a:xfrm>
            <a:prstGeom prst="chevron">
              <a:avLst>
                <a:gd name="adj" fmla="val 26425"/>
              </a:avLst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4572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9144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3716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18288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22860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27432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32004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36576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marL="0" marR="0" lvl="0" indent="0" algn="ctr" defTabSz="1097192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 noProof="0">
                  <a:solidFill>
                    <a:srgbClr val="FFFFFF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pPr>
              <a:r>
                <a:rPr kumimoji="0" lang="en-US" sz="144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Open Sans" panose="020B0706030804020204" pitchFamily="34" charset="0"/>
                  <a:cs typeface="Arial" pitchFamily="34" charset="0"/>
                  <a:sym typeface="Wingdings" charset="2"/>
                </a:rPr>
                <a:t>Selection approach focused on Client’s expectations</a:t>
              </a:r>
            </a:p>
          </p:txBody>
        </p:sp>
        <p:sp>
          <p:nvSpPr>
            <p:cNvPr id="98" name="Right Arrow 53">
              <a:extLst>
                <a:ext uri="{FF2B5EF4-FFF2-40B4-BE49-F238E27FC236}">
                  <a16:creationId xmlns:a16="http://schemas.microsoft.com/office/drawing/2014/main" id="{46F16B3F-0198-41F9-BFD2-9BB3D37F9BA8}"/>
                </a:ext>
              </a:extLst>
            </p:cNvPr>
            <p:cNvSpPr/>
            <p:nvPr>
              <p:custDataLst>
                <p:tags r:id="rId27"/>
              </p:custDataLst>
            </p:nvPr>
          </p:nvSpPr>
          <p:spPr>
            <a:xfrm>
              <a:off x="5098711" y="5989030"/>
              <a:ext cx="4406322" cy="892091"/>
            </a:xfrm>
            <a:prstGeom prst="chevron">
              <a:avLst>
                <a:gd name="adj" fmla="val 29500"/>
              </a:avLst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4572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9144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3716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18288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22860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27432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32004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36576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marL="0" marR="0" lvl="0" indent="0" algn="ctr" defTabSz="1097192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 noProof="0">
                  <a:solidFill>
                    <a:srgbClr val="FFFFFF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pPr>
              <a:r>
                <a:rPr kumimoji="0" lang="en-US" sz="144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Open Sans" panose="020B0706030804020204" pitchFamily="34" charset="0"/>
                  <a:cs typeface="Arial" pitchFamily="34" charset="0"/>
                  <a:sym typeface="Wingdings" charset="2"/>
                </a:rPr>
                <a:t>Massive list of sources available + B2E campaigns and events + CLR + Interview Factories</a:t>
              </a:r>
            </a:p>
          </p:txBody>
        </p:sp>
        <p:sp>
          <p:nvSpPr>
            <p:cNvPr id="99" name="Right Arrow 3">
              <a:extLst>
                <a:ext uri="{FF2B5EF4-FFF2-40B4-BE49-F238E27FC236}">
                  <a16:creationId xmlns:a16="http://schemas.microsoft.com/office/drawing/2014/main" id="{C6E225C1-6ECE-4FD0-A2AF-B03AD5F781E1}"/>
                </a:ext>
              </a:extLst>
            </p:cNvPr>
            <p:cNvSpPr/>
            <p:nvPr>
              <p:custDataLst>
                <p:tags r:id="rId28"/>
              </p:custDataLst>
            </p:nvPr>
          </p:nvSpPr>
          <p:spPr>
            <a:xfrm>
              <a:off x="715147" y="5989030"/>
              <a:ext cx="4406323" cy="892091"/>
            </a:xfrm>
            <a:prstGeom prst="rightArrow">
              <a:avLst>
                <a:gd name="adj1" fmla="val 100000"/>
                <a:gd name="adj2" fmla="val 32385"/>
              </a:avLst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4572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9144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3716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18288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22860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27432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32004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36576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marL="0" marR="0" lvl="0" indent="0" algn="ctr" defTabSz="1097192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 noProof="0">
                  <a:solidFill>
                    <a:srgbClr val="FFFFFF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pPr>
              <a:r>
                <a:rPr kumimoji="0" lang="en-US" sz="144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Open Sans" panose="020B0706030804020204" pitchFamily="34" charset="0"/>
                  <a:cs typeface="Arial" pitchFamily="34" charset="0"/>
                  <a:sym typeface="Wingdings" charset="2"/>
                </a:rPr>
                <a:t>Global Research Analytical Service – internal digital service for Recruitment operations </a:t>
              </a:r>
            </a:p>
          </p:txBody>
        </p:sp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689288CB-5183-4CD4-B1A2-C21E06448A23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659459" y="2096294"/>
            <a:ext cx="5249372" cy="4034515"/>
            <a:chOff x="3139738" y="1303266"/>
            <a:chExt cx="3602372" cy="2768680"/>
          </a:xfrm>
          <a:effectLst/>
        </p:grpSpPr>
        <p:graphicFrame>
          <p:nvGraphicFramePr>
            <p:cNvPr id="101" name="Wykres 16">
              <a:extLst>
                <a:ext uri="{FF2B5EF4-FFF2-40B4-BE49-F238E27FC236}">
                  <a16:creationId xmlns:a16="http://schemas.microsoft.com/office/drawing/2014/main" id="{7945CD09-545E-49A2-9851-5FDC7B4AF799}"/>
                </a:ext>
              </a:extLst>
            </p:cNvPr>
            <p:cNvGraphicFramePr/>
            <p:nvPr>
              <p:custDataLst>
                <p:tags r:id="rId21"/>
              </p:custDataLst>
            </p:nvPr>
          </p:nvGraphicFramePr>
          <p:xfrm>
            <a:off x="3139738" y="1303266"/>
            <a:ext cx="3129888" cy="276868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1"/>
            </a:graphicData>
          </a:graphic>
        </p:graphicFrame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D02F5174-B3BE-4BFE-B544-1189523189FA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>
              <a:off x="4894568" y="1650602"/>
              <a:ext cx="640212" cy="464664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1463040" rtl="0" eaLnBrk="1" latinLnBrk="0" hangingPunct="1">
                <a:defRPr sz="288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31520" algn="l" defTabSz="1463040" rtl="0" eaLnBrk="1" latinLnBrk="0" hangingPunct="1">
                <a:defRPr sz="288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463040" algn="l" defTabSz="1463040" rtl="0" eaLnBrk="1" latinLnBrk="0" hangingPunct="1">
                <a:defRPr sz="288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194560" algn="l" defTabSz="1463040" rtl="0" eaLnBrk="1" latinLnBrk="0" hangingPunct="1">
                <a:defRPr sz="288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926080" algn="l" defTabSz="1463040" rtl="0" eaLnBrk="1" latinLnBrk="0" hangingPunct="1">
                <a:defRPr sz="288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657600" algn="l" defTabSz="1463040" rtl="0" eaLnBrk="1" latinLnBrk="0" hangingPunct="1">
                <a:defRPr sz="288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89120" algn="l" defTabSz="1463040" rtl="0" eaLnBrk="1" latinLnBrk="0" hangingPunct="1">
                <a:defRPr sz="288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5120640" algn="l" defTabSz="1463040" rtl="0" eaLnBrk="1" latinLnBrk="0" hangingPunct="1">
                <a:defRPr sz="288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852160" algn="l" defTabSz="1463040" rtl="0" eaLnBrk="1" latinLnBrk="0" hangingPunct="1">
                <a:defRPr sz="288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97192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80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Open Sans" panose="020B0706030804020204" pitchFamily="34" charset="0"/>
                  <a:cs typeface="Arial" pitchFamily="34" charset="0"/>
                </a:rPr>
                <a:t>DXC career site </a:t>
              </a: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Open Sans Extrabold" panose="020B0706030804020204" pitchFamily="34" charset="0"/>
                  <a:cs typeface="Arial" pitchFamily="34" charset="0"/>
                </a:rPr>
                <a:t>10%</a:t>
              </a:r>
            </a:p>
          </p:txBody>
        </p:sp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7FCF3778-979F-4766-BC4E-B498D3512240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>
            <a:xfrm>
              <a:off x="5443522" y="1882934"/>
              <a:ext cx="1298588" cy="190090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1463040" rtl="0" eaLnBrk="1" latinLnBrk="0" hangingPunct="1">
                <a:defRPr sz="288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31520" algn="l" defTabSz="1463040" rtl="0" eaLnBrk="1" latinLnBrk="0" hangingPunct="1">
                <a:defRPr sz="288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463040" algn="l" defTabSz="1463040" rtl="0" eaLnBrk="1" latinLnBrk="0" hangingPunct="1">
                <a:defRPr sz="288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194560" algn="l" defTabSz="1463040" rtl="0" eaLnBrk="1" latinLnBrk="0" hangingPunct="1">
                <a:defRPr sz="288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926080" algn="l" defTabSz="1463040" rtl="0" eaLnBrk="1" latinLnBrk="0" hangingPunct="1">
                <a:defRPr sz="288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657600" algn="l" defTabSz="1463040" rtl="0" eaLnBrk="1" latinLnBrk="0" hangingPunct="1">
                <a:defRPr sz="288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89120" algn="l" defTabSz="1463040" rtl="0" eaLnBrk="1" latinLnBrk="0" hangingPunct="1">
                <a:defRPr sz="288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5120640" algn="l" defTabSz="1463040" rtl="0" eaLnBrk="1" latinLnBrk="0" hangingPunct="1">
                <a:defRPr sz="288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852160" algn="l" defTabSz="1463040" rtl="0" eaLnBrk="1" latinLnBrk="0" hangingPunct="1">
                <a:defRPr sz="288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97192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80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Open Sans Extrabold" panose="020B0706030804020204" pitchFamily="34" charset="0"/>
                <a:cs typeface="Arial" pitchFamily="34" charset="0"/>
              </a:endParaRPr>
            </a:p>
          </p:txBody>
        </p:sp>
        <p:sp>
          <p:nvSpPr>
            <p:cNvPr id="104" name="Rectangle 103">
              <a:extLst>
                <a:ext uri="{FF2B5EF4-FFF2-40B4-BE49-F238E27FC236}">
                  <a16:creationId xmlns:a16="http://schemas.microsoft.com/office/drawing/2014/main" id="{9D7BEA77-268F-4AD7-841D-C4AF9D0EDC53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>
            <a:xfrm>
              <a:off x="5428354" y="2356376"/>
              <a:ext cx="553549" cy="464664"/>
            </a:xfrm>
            <a:prstGeom prst="rect">
              <a:avLst/>
            </a:prstGeom>
          </p:spPr>
          <p:txBody>
            <a:bodyPr wrap="none">
              <a:spAutoFit/>
            </a:bodyPr>
            <a:lstStyle>
              <a:defPPr>
                <a:defRPr lang="en-US"/>
              </a:defPPr>
              <a:lvl1pPr marL="0" algn="l" defTabSz="1463040" rtl="0" eaLnBrk="1" latinLnBrk="0" hangingPunct="1">
                <a:defRPr sz="288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31520" algn="l" defTabSz="1463040" rtl="0" eaLnBrk="1" latinLnBrk="0" hangingPunct="1">
                <a:defRPr sz="288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463040" algn="l" defTabSz="1463040" rtl="0" eaLnBrk="1" latinLnBrk="0" hangingPunct="1">
                <a:defRPr sz="288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194560" algn="l" defTabSz="1463040" rtl="0" eaLnBrk="1" latinLnBrk="0" hangingPunct="1">
                <a:defRPr sz="288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926080" algn="l" defTabSz="1463040" rtl="0" eaLnBrk="1" latinLnBrk="0" hangingPunct="1">
                <a:defRPr sz="288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657600" algn="l" defTabSz="1463040" rtl="0" eaLnBrk="1" latinLnBrk="0" hangingPunct="1">
                <a:defRPr sz="288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89120" algn="l" defTabSz="1463040" rtl="0" eaLnBrk="1" latinLnBrk="0" hangingPunct="1">
                <a:defRPr sz="288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5120640" algn="l" defTabSz="1463040" rtl="0" eaLnBrk="1" latinLnBrk="0" hangingPunct="1">
                <a:defRPr sz="288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852160" algn="l" defTabSz="1463040" rtl="0" eaLnBrk="1" latinLnBrk="0" hangingPunct="1">
                <a:defRPr sz="288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97192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80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Open Sans" panose="020B0706030804020204" pitchFamily="34" charset="0"/>
                  <a:cs typeface="Arial" pitchFamily="34" charset="0"/>
                </a:rPr>
                <a:t>Direct </a:t>
              </a:r>
            </a:p>
            <a:p>
              <a:pPr marL="0" marR="0" lvl="0" indent="0" algn="ctr" defTabSz="1097192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80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Open Sans" panose="020B0706030804020204" pitchFamily="34" charset="0"/>
                  <a:cs typeface="Arial" pitchFamily="34" charset="0"/>
                </a:rPr>
                <a:t>sourcing </a:t>
              </a:r>
            </a:p>
            <a:p>
              <a:pPr marL="0" marR="0" lvl="0" indent="0" algn="ctr" defTabSz="1097192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80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Open Sans" panose="020B0706030804020204" pitchFamily="34" charset="0"/>
                  <a:cs typeface="Arial" pitchFamily="34" charset="0"/>
                </a:rPr>
                <a:t>20%</a:t>
              </a:r>
              <a:endPara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Open Sans Extrabold" panose="020B0706030804020204" pitchFamily="34" charset="0"/>
                <a:cs typeface="Arial" pitchFamily="34" charset="0"/>
              </a:endParaRPr>
            </a:p>
          </p:txBody>
        </p:sp>
        <p:sp>
          <p:nvSpPr>
            <p:cNvPr id="105" name="Rectangle 104">
              <a:extLst>
                <a:ext uri="{FF2B5EF4-FFF2-40B4-BE49-F238E27FC236}">
                  <a16:creationId xmlns:a16="http://schemas.microsoft.com/office/drawing/2014/main" id="{73E4D14F-967B-404F-9391-4226298ED34C}"/>
                </a:ext>
              </a:extLst>
            </p:cNvPr>
            <p:cNvSpPr/>
            <p:nvPr>
              <p:custDataLst>
                <p:tags r:id="rId25"/>
              </p:custDataLst>
            </p:nvPr>
          </p:nvSpPr>
          <p:spPr>
            <a:xfrm>
              <a:off x="4018625" y="3189269"/>
              <a:ext cx="751474" cy="464664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1463040" rtl="0" eaLnBrk="1" latinLnBrk="0" hangingPunct="1">
                <a:defRPr sz="288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31520" algn="l" defTabSz="1463040" rtl="0" eaLnBrk="1" latinLnBrk="0" hangingPunct="1">
                <a:defRPr sz="288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463040" algn="l" defTabSz="1463040" rtl="0" eaLnBrk="1" latinLnBrk="0" hangingPunct="1">
                <a:defRPr sz="288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194560" algn="l" defTabSz="1463040" rtl="0" eaLnBrk="1" latinLnBrk="0" hangingPunct="1">
                <a:defRPr sz="288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926080" algn="l" defTabSz="1463040" rtl="0" eaLnBrk="1" latinLnBrk="0" hangingPunct="1">
                <a:defRPr sz="288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657600" algn="l" defTabSz="1463040" rtl="0" eaLnBrk="1" latinLnBrk="0" hangingPunct="1">
                <a:defRPr sz="288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89120" algn="l" defTabSz="1463040" rtl="0" eaLnBrk="1" latinLnBrk="0" hangingPunct="1">
                <a:defRPr sz="288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5120640" algn="l" defTabSz="1463040" rtl="0" eaLnBrk="1" latinLnBrk="0" hangingPunct="1">
                <a:defRPr sz="288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852160" algn="l" defTabSz="1463040" rtl="0" eaLnBrk="1" latinLnBrk="0" hangingPunct="1">
                <a:defRPr sz="288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97192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80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itchFamily="34" charset="0"/>
                  <a:ea typeface="Open Sans" panose="020B0706030804020204" pitchFamily="34" charset="0"/>
                  <a:cs typeface="Arial" pitchFamily="34" charset="0"/>
                </a:rPr>
                <a:t>Referral program</a:t>
              </a:r>
              <a:b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itchFamily="34" charset="0"/>
                  <a:ea typeface="Open Sans" panose="020B0706030804020204" pitchFamily="34" charset="0"/>
                  <a:cs typeface="Arial" pitchFamily="34" charset="0"/>
                </a:rPr>
              </a:b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itchFamily="34" charset="0"/>
                  <a:ea typeface="Open Sans Extrabold" panose="020B0706030804020204" pitchFamily="34" charset="0"/>
                  <a:cs typeface="Arial" pitchFamily="34" charset="0"/>
                </a:rPr>
                <a:t>35%</a:t>
              </a:r>
            </a:p>
          </p:txBody>
        </p:sp>
      </p:grpSp>
      <p:sp>
        <p:nvSpPr>
          <p:cNvPr id="106" name="Rectangle 105">
            <a:extLst>
              <a:ext uri="{FF2B5EF4-FFF2-40B4-BE49-F238E27FC236}">
                <a16:creationId xmlns:a16="http://schemas.microsoft.com/office/drawing/2014/main" id="{8C581778-095E-4F9D-8694-22BD58FE7900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9844232" y="2014639"/>
            <a:ext cx="4502791" cy="330090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1463040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31520" algn="l" defTabSz="1463040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63040" algn="l" defTabSz="1463040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94560" algn="l" defTabSz="1463040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26080" algn="l" defTabSz="1463040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57600" algn="l" defTabSz="1463040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89120" algn="l" defTabSz="1463040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120640" algn="l" defTabSz="1463040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852160" algn="l" defTabSz="1463040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97192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320"/>
              </a:spcAft>
              <a:buClr>
                <a:srgbClr val="5480B7"/>
              </a:buClr>
              <a:buSzPct val="125000"/>
              <a:buFontTx/>
              <a:buNone/>
              <a:tabLst/>
              <a:defRPr kumimoji="0" sz="1800" b="0" i="0" normalizeH="0" noProof="0">
                <a:solidFill>
                  <a:srgbClr val="000000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5F249F"/>
                </a:solidFill>
                <a:effectLst/>
                <a:uLnTx/>
                <a:uFillTx/>
                <a:latin typeface="Arial" pitchFamily="34" charset="0"/>
                <a:ea typeface="Open Sans Extrabold" panose="020B0706030804020204" pitchFamily="34" charset="0"/>
                <a:cs typeface="Arial" pitchFamily="34" charset="0"/>
              </a:rPr>
              <a:t>Mature Recruitment Practice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F249F"/>
              </a:solidFill>
              <a:effectLst/>
              <a:uLnTx/>
              <a:uFillTx/>
              <a:latin typeface="Arial" pitchFamily="34" charset="0"/>
              <a:ea typeface="Open Sans" panose="020B0706030804020204" pitchFamily="34" charset="0"/>
              <a:cs typeface="Arial" pitchFamily="34" charset="0"/>
            </a:endParaRPr>
          </a:p>
          <a:p>
            <a:pPr marL="205723" marR="0" lvl="0" indent="-205723" algn="l" defTabSz="109719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5F249F"/>
              </a:buClr>
              <a:buSzTx/>
              <a:buFont typeface="Arial" pitchFamily="34" charset="0"/>
              <a:buChar char="•"/>
              <a:tabLst/>
              <a:defRPr kumimoji="0" sz="1800" b="0" i="0" normalizeH="0" noProof="0">
                <a:solidFill>
                  <a:srgbClr val="000000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Open Sans" panose="020B0706030804020204" pitchFamily="34" charset="0"/>
                <a:cs typeface="Arial" pitchFamily="34" charset="0"/>
              </a:rPr>
              <a:t>Direct search</a:t>
            </a:r>
          </a:p>
          <a:p>
            <a:pPr marL="205723" marR="0" lvl="0" indent="-205723" algn="l" defTabSz="109719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5F249F"/>
              </a:buClr>
              <a:buSzTx/>
              <a:buFont typeface="Arial" pitchFamily="34" charset="0"/>
              <a:buChar char="•"/>
              <a:tabLst/>
              <a:defRPr kumimoji="0" sz="1800" b="0" i="0" normalizeH="0" noProof="0">
                <a:solidFill>
                  <a:srgbClr val="000000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Open Sans" panose="020B0706030804020204" pitchFamily="34" charset="0"/>
                <a:cs typeface="Arial" pitchFamily="34" charset="0"/>
              </a:rPr>
              <a:t>Referral Program </a:t>
            </a:r>
          </a:p>
          <a:p>
            <a:pPr marL="205723" marR="0" lvl="0" indent="-205723" algn="l" defTabSz="109719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5F249F"/>
              </a:buClr>
              <a:buSzTx/>
              <a:buFont typeface="Arial" pitchFamily="34" charset="0"/>
              <a:buChar char="•"/>
              <a:tabLst/>
              <a:defRPr kumimoji="0" sz="1800" b="0" i="0" normalizeH="0" noProof="0">
                <a:solidFill>
                  <a:srgbClr val="000000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Open Sans" panose="020B0706030804020204" pitchFamily="34" charset="0"/>
                <a:cs typeface="Arial" pitchFamily="34" charset="0"/>
              </a:rPr>
              <a:t>Internal Mobility / Global Relocation</a:t>
            </a:r>
          </a:p>
          <a:p>
            <a:pPr marL="205723" marR="0" lvl="0" indent="-205723" algn="l" defTabSz="109719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5F249F"/>
              </a:buClr>
              <a:buSzTx/>
              <a:buFont typeface="Arial" pitchFamily="34" charset="0"/>
              <a:buChar char="•"/>
              <a:tabLst/>
              <a:defRPr kumimoji="0" sz="1800" b="0" i="0" normalizeH="0" noProof="0">
                <a:solidFill>
                  <a:srgbClr val="000000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Open Sans" panose="020B0706030804020204" pitchFamily="34" charset="0"/>
                <a:cs typeface="Arial" pitchFamily="34" charset="0"/>
              </a:rPr>
              <a:t>Internal Database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Open Sans" panose="020B0706030804020204" pitchFamily="34" charset="0"/>
              <a:cs typeface="Arial" pitchFamily="34" charset="0"/>
            </a:endParaRPr>
          </a:p>
          <a:p>
            <a:pPr marL="205723" marR="0" lvl="0" indent="-205723" algn="l" defTabSz="109719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5F249F"/>
              </a:buClr>
              <a:buSzTx/>
              <a:buFont typeface="Arial" pitchFamily="34" charset="0"/>
              <a:buChar char="•"/>
              <a:tabLst/>
              <a:defRPr kumimoji="0" sz="1800" b="0" i="0" normalizeH="0" noProof="0">
                <a:solidFill>
                  <a:srgbClr val="000000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Open Sans" panose="020B0706030804020204" pitchFamily="34" charset="0"/>
                <a:cs typeface="Arial" pitchFamily="34" charset="0"/>
              </a:rPr>
              <a:t>Working with Networks and Job sites</a:t>
            </a:r>
          </a:p>
          <a:p>
            <a:pPr marL="205723" marR="0" lvl="0" indent="-205723" algn="l" defTabSz="109719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5F249F"/>
              </a:buClr>
              <a:buSzTx/>
              <a:buFont typeface="Arial" pitchFamily="34" charset="0"/>
              <a:buChar char="•"/>
              <a:tabLst/>
              <a:defRPr kumimoji="0" sz="1800" b="0" i="0" normalizeH="0" noProof="0">
                <a:solidFill>
                  <a:srgbClr val="000000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dvanced Hiring mechanism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Open Sans" panose="020B0706030804020204" pitchFamily="34" charset="0"/>
                <a:cs typeface="Arial" pitchFamily="34" charset="0"/>
              </a:rPr>
              <a:t> </a:t>
            </a:r>
          </a:p>
          <a:p>
            <a:pPr marL="205723" marR="0" lvl="0" indent="-205723" algn="l" defTabSz="109719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5F249F"/>
              </a:buClr>
              <a:buSzTx/>
              <a:buFont typeface="Arial" pitchFamily="34" charset="0"/>
              <a:buChar char="•"/>
              <a:tabLst/>
              <a:defRPr kumimoji="0" sz="1800" b="0" i="0" normalizeH="0" noProof="0">
                <a:solidFill>
                  <a:srgbClr val="000000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Open Sans" panose="020B0706030804020204" pitchFamily="34" charset="0"/>
                <a:cs typeface="Arial" pitchFamily="34" charset="0"/>
              </a:rPr>
              <a:t>Interview Factory</a:t>
            </a:r>
          </a:p>
          <a:p>
            <a:pPr marL="205723" marR="0" lvl="0" indent="-205723" algn="l" defTabSz="109719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5F249F"/>
              </a:buClr>
              <a:buSzTx/>
              <a:buFont typeface="Arial" pitchFamily="34" charset="0"/>
              <a:buChar char="•"/>
              <a:tabLst/>
              <a:defRPr kumimoji="0" sz="1800" b="0" i="0" normalizeH="0" noProof="0">
                <a:solidFill>
                  <a:srgbClr val="000000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Open Sans" panose="020B0706030804020204" pitchFamily="34" charset="0"/>
                <a:cs typeface="Arial" pitchFamily="34" charset="0"/>
              </a:rPr>
              <a:t>Initiatives, events, marketing campaigns</a:t>
            </a:r>
          </a:p>
          <a:p>
            <a:pPr marL="205723" marR="0" lvl="0" indent="-205723" algn="l" defTabSz="109719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5F249F"/>
              </a:buClr>
              <a:buSzTx/>
              <a:buFont typeface="Arial" pitchFamily="34" charset="0"/>
              <a:buChar char="•"/>
              <a:tabLst/>
              <a:defRPr kumimoji="0" sz="1800" b="0" i="0" normalizeH="0" noProof="0">
                <a:solidFill>
                  <a:srgbClr val="000000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Open Sans" panose="020B0706030804020204" pitchFamily="34" charset="0"/>
                <a:cs typeface="Arial" pitchFamily="34" charset="0"/>
              </a:rPr>
              <a:t>Corporate Junior Program</a:t>
            </a:r>
          </a:p>
          <a:p>
            <a:pPr marL="205723" marR="0" lvl="0" indent="-205723" algn="l" defTabSz="109719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5F249F"/>
              </a:buClr>
              <a:buSzTx/>
              <a:buFont typeface="Arial" pitchFamily="34" charset="0"/>
              <a:buChar char="•"/>
              <a:tabLst/>
              <a:defRPr kumimoji="0" sz="1800" b="0" i="0" normalizeH="0" noProof="0">
                <a:solidFill>
                  <a:srgbClr val="000000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Open Sans" panose="020B0706030804020204" pitchFamily="34" charset="0"/>
                <a:cs typeface="Arial" pitchFamily="34" charset="0"/>
              </a:rPr>
              <a:t>Campus Hiring</a:t>
            </a:r>
          </a:p>
        </p:txBody>
      </p:sp>
      <p:sp>
        <p:nvSpPr>
          <p:cNvPr id="107" name="pole tekstowe 10">
            <a:extLst>
              <a:ext uri="{FF2B5EF4-FFF2-40B4-BE49-F238E27FC236}">
                <a16:creationId xmlns:a16="http://schemas.microsoft.com/office/drawing/2014/main" id="{FF204354-EA86-4F23-94FC-49C8EEAEF3EF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774538" y="2031885"/>
            <a:ext cx="4694178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L="0" algn="l" defTabSz="1463040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31520" algn="l" defTabSz="1463040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63040" algn="l" defTabSz="1463040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94560" algn="l" defTabSz="1463040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26080" algn="l" defTabSz="1463040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57600" algn="l" defTabSz="1463040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89120" algn="l" defTabSz="1463040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120640" algn="l" defTabSz="1463040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852160" algn="l" defTabSz="1463040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9719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800" b="0" i="0" normalizeH="0" noProof="0">
                <a:solidFill>
                  <a:srgbClr val="000000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5F249F"/>
                </a:solidFill>
                <a:effectLst/>
                <a:uLnTx/>
                <a:uFillTx/>
                <a:latin typeface="Arial" pitchFamily="34" charset="0"/>
                <a:ea typeface="Open Sans Extrabold" panose="020B0706030804020204" pitchFamily="34" charset="0"/>
                <a:cs typeface="Arial" pitchFamily="34" charset="0"/>
              </a:rPr>
              <a:t>Key Sources For Vacancies Closing</a:t>
            </a:r>
          </a:p>
        </p:txBody>
      </p:sp>
      <p:sp>
        <p:nvSpPr>
          <p:cNvPr id="108" name="Прямоугольник 44">
            <a:extLst>
              <a:ext uri="{FF2B5EF4-FFF2-40B4-BE49-F238E27FC236}">
                <a16:creationId xmlns:a16="http://schemas.microsoft.com/office/drawing/2014/main" id="{ECA61F75-C778-41AC-990B-6C53342B04AE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036747" y="6359644"/>
            <a:ext cx="3523579" cy="7921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1pPr>
            <a:lvl2pPr marL="4572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2pPr>
            <a:lvl3pPr marL="9144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3pPr>
            <a:lvl4pPr marL="13716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4pPr>
            <a:lvl5pPr marL="18288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5pPr>
            <a:lvl6pPr marL="22860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6pPr>
            <a:lvl7pPr marL="27432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7pPr>
            <a:lvl8pPr marL="32004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8pPr>
            <a:lvl9pPr marL="36576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9pPr>
          </a:lstStyle>
          <a:p>
            <a:pPr marL="0" marR="0" lvl="0" indent="0" algn="ctr" defTabSz="109719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 noProof="0">
                <a:solidFill>
                  <a:srgbClr val="FFFFFF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Open Sans" panose="020B0706030804020204" pitchFamily="34" charset="0"/>
              <a:cs typeface="Arial" pitchFamily="34" charset="0"/>
              <a:sym typeface="Wingdings" charset="2"/>
            </a:endParaRPr>
          </a:p>
        </p:txBody>
      </p:sp>
      <p:sp>
        <p:nvSpPr>
          <p:cNvPr id="109" name="Прямоугольник 44">
            <a:extLst>
              <a:ext uri="{FF2B5EF4-FFF2-40B4-BE49-F238E27FC236}">
                <a16:creationId xmlns:a16="http://schemas.microsoft.com/office/drawing/2014/main" id="{5A08E1B4-B171-475F-9D7A-D1BE14E449F6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870033" y="7015871"/>
            <a:ext cx="3789426" cy="2334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1pPr>
            <a:lvl2pPr marL="4572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2pPr>
            <a:lvl3pPr marL="9144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3pPr>
            <a:lvl4pPr marL="13716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4pPr>
            <a:lvl5pPr marL="18288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5pPr>
            <a:lvl6pPr marL="22860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6pPr>
            <a:lvl7pPr marL="27432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7pPr>
            <a:lvl8pPr marL="32004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8pPr>
            <a:lvl9pPr marL="36576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9pPr>
          </a:lstStyle>
          <a:p>
            <a:pPr marL="0" marR="0" lvl="0" indent="0" algn="ctr" defTabSz="109719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 noProof="0">
                <a:solidFill>
                  <a:srgbClr val="FFFFFF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5F249F"/>
                </a:solidFill>
                <a:effectLst/>
                <a:uLnTx/>
                <a:uFillTx/>
                <a:latin typeface="Arial" pitchFamily="34" charset="0"/>
                <a:ea typeface="Open Sans Extrabold" panose="020B0706030804020204" pitchFamily="34" charset="0"/>
                <a:cs typeface="Arial" pitchFamily="34" charset="0"/>
                <a:sym typeface="Wingdings" charset="2"/>
              </a:rPr>
              <a:t>Market Analysis</a:t>
            </a:r>
            <a:endParaRPr kumimoji="0" lang="ru-RU" sz="1600" b="1" i="0" u="none" strike="noStrike" kern="1200" cap="none" spc="0" normalizeH="0" baseline="0" noProof="0">
              <a:ln>
                <a:noFill/>
              </a:ln>
              <a:solidFill>
                <a:srgbClr val="5F249F"/>
              </a:solidFill>
              <a:effectLst/>
              <a:uLnTx/>
              <a:uFillTx/>
              <a:latin typeface="Arial" pitchFamily="34" charset="0"/>
              <a:ea typeface="Open Sans Extrabold" panose="020B0706030804020204" pitchFamily="34" charset="0"/>
              <a:cs typeface="Arial" pitchFamily="34" charset="0"/>
              <a:sym typeface="Wingdings" charset="2"/>
            </a:endParaRPr>
          </a:p>
        </p:txBody>
      </p:sp>
      <p:sp>
        <p:nvSpPr>
          <p:cNvPr id="110" name="Прямоугольник 44">
            <a:extLst>
              <a:ext uri="{FF2B5EF4-FFF2-40B4-BE49-F238E27FC236}">
                <a16:creationId xmlns:a16="http://schemas.microsoft.com/office/drawing/2014/main" id="{FA1D87B7-2168-4468-B935-1410B40C24F7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5331696" y="7015871"/>
            <a:ext cx="3816492" cy="2334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1pPr>
            <a:lvl2pPr marL="4572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2pPr>
            <a:lvl3pPr marL="9144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3pPr>
            <a:lvl4pPr marL="13716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4pPr>
            <a:lvl5pPr marL="18288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5pPr>
            <a:lvl6pPr marL="22860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6pPr>
            <a:lvl7pPr marL="27432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7pPr>
            <a:lvl8pPr marL="32004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8pPr>
            <a:lvl9pPr marL="36576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9pPr>
          </a:lstStyle>
          <a:p>
            <a:pPr marL="0" marR="0" lvl="0" indent="0" algn="ctr" defTabSz="109719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 noProof="0">
                <a:solidFill>
                  <a:srgbClr val="FFFFFF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45779B"/>
                </a:solidFill>
                <a:effectLst/>
                <a:uLnTx/>
                <a:uFillTx/>
                <a:latin typeface="Arial" pitchFamily="34" charset="0"/>
                <a:ea typeface="Open Sans Extrabold" panose="020B0706030804020204" pitchFamily="34" charset="0"/>
                <a:cs typeface="Arial" pitchFamily="34" charset="0"/>
                <a:sym typeface="Wingdings" charset="2"/>
              </a:rPr>
              <a:t>Candidate Pipeline</a:t>
            </a:r>
            <a:endParaRPr kumimoji="0" lang="ru-RU" sz="1600" b="1" i="0" u="none" strike="noStrike" kern="1200" cap="none" spc="0" normalizeH="0" baseline="0" noProof="0">
              <a:ln>
                <a:noFill/>
              </a:ln>
              <a:solidFill>
                <a:srgbClr val="45779B"/>
              </a:solidFill>
              <a:effectLst/>
              <a:uLnTx/>
              <a:uFillTx/>
              <a:latin typeface="Arial" pitchFamily="34" charset="0"/>
              <a:ea typeface="Open Sans Extrabold" panose="020B0706030804020204" pitchFamily="34" charset="0"/>
              <a:cs typeface="Arial" pitchFamily="34" charset="0"/>
              <a:sym typeface="Wingdings" charset="2"/>
            </a:endParaRPr>
          </a:p>
        </p:txBody>
      </p:sp>
      <p:sp>
        <p:nvSpPr>
          <p:cNvPr id="111" name="Прямоугольник 44">
            <a:extLst>
              <a:ext uri="{FF2B5EF4-FFF2-40B4-BE49-F238E27FC236}">
                <a16:creationId xmlns:a16="http://schemas.microsoft.com/office/drawing/2014/main" id="{7AB6CEF2-E1E3-476A-87D8-D2F9F5BB749A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63801" y="7014682"/>
            <a:ext cx="3774794" cy="2358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1pPr>
            <a:lvl2pPr marL="4572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2pPr>
            <a:lvl3pPr marL="9144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3pPr>
            <a:lvl4pPr marL="13716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4pPr>
            <a:lvl5pPr marL="18288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5pPr>
            <a:lvl6pPr marL="22860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6pPr>
            <a:lvl7pPr marL="27432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7pPr>
            <a:lvl8pPr marL="32004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8pPr>
            <a:lvl9pPr marL="36576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9pPr>
          </a:lstStyle>
          <a:p>
            <a:pPr marL="0" marR="0" lvl="0" indent="0" algn="ctr" defTabSz="109719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 noProof="0">
                <a:solidFill>
                  <a:srgbClr val="FFFFFF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968F"/>
                </a:solidFill>
                <a:effectLst/>
                <a:uLnTx/>
                <a:uFillTx/>
                <a:latin typeface="Arial" pitchFamily="34" charset="0"/>
                <a:ea typeface="Open Sans Extrabold" panose="020B0706030804020204" pitchFamily="34" charset="0"/>
                <a:cs typeface="Arial" pitchFamily="34" charset="0"/>
                <a:sym typeface="Wingdings" charset="2"/>
              </a:rPr>
              <a:t>Direct Search for Candidates</a:t>
            </a:r>
            <a:endParaRPr kumimoji="0" lang="ru-RU" sz="1600" b="1" i="0" u="none" strike="noStrike" kern="1200" cap="none" spc="0" normalizeH="0" baseline="0" noProof="0">
              <a:ln>
                <a:noFill/>
              </a:ln>
              <a:solidFill>
                <a:srgbClr val="00968F"/>
              </a:solidFill>
              <a:effectLst/>
              <a:uLnTx/>
              <a:uFillTx/>
              <a:latin typeface="Arial" pitchFamily="34" charset="0"/>
              <a:ea typeface="Open Sans Extrabold" panose="020B0706030804020204" pitchFamily="34" charset="0"/>
              <a:cs typeface="Arial" pitchFamily="34" charset="0"/>
              <a:sym typeface="Wingdings" charset="2"/>
            </a:endParaRPr>
          </a:p>
        </p:txBody>
      </p:sp>
      <p:sp>
        <p:nvSpPr>
          <p:cNvPr id="112" name="TextBox 34">
            <a:extLst>
              <a:ext uri="{FF2B5EF4-FFF2-40B4-BE49-F238E27FC236}">
                <a16:creationId xmlns:a16="http://schemas.microsoft.com/office/drawing/2014/main" id="{795D78F6-2F63-4B48-9523-4FC23FCA2673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904849" y="1988482"/>
            <a:ext cx="3238081" cy="430771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2" indent="0" algn="l" defTabSz="1610191" rtl="0" eaLnBrk="1" fontAlgn="auto" latinLnBrk="0" hangingPunct="1">
              <a:lnSpc>
                <a:spcPts val="3120"/>
              </a:lnSpc>
              <a:spcBef>
                <a:spcPts val="1000"/>
              </a:spcBef>
              <a:spcAft>
                <a:spcPts val="1600"/>
              </a:spcAft>
              <a:buClr>
                <a:srgbClr val="2C2E3A"/>
              </a:buClr>
              <a:buSzPct val="125000"/>
              <a:buFontTx/>
              <a:buNone/>
              <a:tabLst/>
              <a:defRPr kumimoji="0" sz="1400" b="0" i="0" normalizeH="0" noProof="0">
                <a:solidFill>
                  <a:srgbClr val="000000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kumimoji="0" lang="en-GB" altLang="zh-TW" sz="3200" b="1" i="0" u="none" strike="noStrike" kern="1200" cap="none" spc="0" normalizeH="0" baseline="0" noProof="0">
                <a:ln>
                  <a:noFill/>
                </a:ln>
                <a:solidFill>
                  <a:srgbClr val="5F249F"/>
                </a:solidFill>
                <a:effectLst/>
                <a:uLnTx/>
                <a:uFillTx/>
                <a:latin typeface="Arial" pitchFamily="34" charset="0"/>
                <a:ea typeface="Open Sans Extrabold" panose="020B0706030804020204" pitchFamily="34" charset="0"/>
                <a:cs typeface="Arial" pitchFamily="34" charset="0"/>
              </a:rPr>
              <a:t>3500+</a:t>
            </a:r>
            <a:endParaRPr kumimoji="0" lang="en-GB" altLang="zh-TW" sz="3200" b="0" i="0" u="none" strike="noStrike" kern="1200" cap="none" spc="0" normalizeH="0" baseline="0" noProof="0">
              <a:ln>
                <a:noFill/>
              </a:ln>
              <a:solidFill>
                <a:srgbClr val="5F249F"/>
              </a:solidFill>
              <a:effectLst/>
              <a:uLnTx/>
              <a:uFillTx/>
              <a:latin typeface="Arial" pitchFamily="34" charset="0"/>
              <a:ea typeface="Open Sans" panose="020B0706030804020204" pitchFamily="34" charset="0"/>
              <a:cs typeface="Arial" pitchFamily="34" charset="0"/>
            </a:endParaRPr>
          </a:p>
          <a:p>
            <a:pPr marL="0" marR="0" lvl="2" indent="0" algn="l" defTabSz="1610191" rtl="0" eaLnBrk="1" fontAlgn="auto" latinLnBrk="0" hangingPunct="1">
              <a:lnSpc>
                <a:spcPts val="3120"/>
              </a:lnSpc>
              <a:spcBef>
                <a:spcPts val="1000"/>
              </a:spcBef>
              <a:spcAft>
                <a:spcPts val="1600"/>
              </a:spcAft>
              <a:buClr>
                <a:srgbClr val="2C2E3A"/>
              </a:buClr>
              <a:buSzPct val="125000"/>
              <a:buFontTx/>
              <a:buNone/>
              <a:tabLst/>
              <a:defRPr kumimoji="0" sz="1400" b="0" i="0" normalizeH="0" noProof="0">
                <a:solidFill>
                  <a:srgbClr val="000000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kumimoji="0" lang="en-GB" altLang="zh-TW" sz="3200" b="1" i="0" u="none" strike="noStrike" kern="1200" cap="none" spc="0" normalizeH="0" baseline="0" noProof="0">
                <a:ln>
                  <a:noFill/>
                </a:ln>
                <a:solidFill>
                  <a:srgbClr val="5F249F"/>
                </a:solidFill>
                <a:effectLst/>
                <a:uLnTx/>
                <a:uFillTx/>
                <a:latin typeface="Arial" pitchFamily="34" charset="0"/>
                <a:ea typeface="Open Sans Extrabold" panose="020B0706030804020204" pitchFamily="34" charset="0"/>
                <a:cs typeface="Arial" pitchFamily="34" charset="0"/>
              </a:rPr>
              <a:t>900+ </a:t>
            </a:r>
          </a:p>
          <a:p>
            <a:pPr marL="0" marR="0" lvl="2" indent="0" algn="l" defTabSz="1610191" rtl="0" eaLnBrk="1" fontAlgn="auto" latinLnBrk="0" hangingPunct="1">
              <a:lnSpc>
                <a:spcPts val="3120"/>
              </a:lnSpc>
              <a:spcBef>
                <a:spcPts val="1000"/>
              </a:spcBef>
              <a:spcAft>
                <a:spcPts val="1600"/>
              </a:spcAft>
              <a:buClr>
                <a:srgbClr val="2C2E3A"/>
              </a:buClr>
              <a:buSzPct val="125000"/>
              <a:buFontTx/>
              <a:buNone/>
              <a:tabLst/>
              <a:defRPr kumimoji="0" sz="1400" b="0" i="0" normalizeH="0" noProof="0">
                <a:solidFill>
                  <a:srgbClr val="000000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kumimoji="0" lang="en-GB" altLang="zh-TW" sz="3200" b="1" i="0" u="none" strike="noStrike" kern="1200" cap="none" spc="0" normalizeH="0" baseline="0" noProof="0">
                <a:ln>
                  <a:noFill/>
                </a:ln>
                <a:solidFill>
                  <a:srgbClr val="5F249F"/>
                </a:solidFill>
                <a:effectLst/>
                <a:uLnTx/>
                <a:uFillTx/>
                <a:latin typeface="Arial" pitchFamily="34" charset="0"/>
                <a:ea typeface="Open Sans Extrabold" panose="020B0706030804020204" pitchFamily="34" charset="0"/>
                <a:cs typeface="Arial" pitchFamily="34" charset="0"/>
              </a:rPr>
              <a:t>2 800,000+</a:t>
            </a:r>
          </a:p>
          <a:p>
            <a:pPr marL="0" marR="0" lvl="2" indent="0" algn="l" defTabSz="1610191" rtl="0" eaLnBrk="1" fontAlgn="auto" latinLnBrk="0" hangingPunct="1">
              <a:lnSpc>
                <a:spcPts val="3120"/>
              </a:lnSpc>
              <a:spcBef>
                <a:spcPts val="1000"/>
              </a:spcBef>
              <a:spcAft>
                <a:spcPts val="1600"/>
              </a:spcAft>
              <a:buClr>
                <a:srgbClr val="2C2E3A"/>
              </a:buClr>
              <a:buSzPct val="125000"/>
              <a:buFontTx/>
              <a:buNone/>
              <a:tabLst/>
              <a:defRPr kumimoji="0" sz="1400" b="0" i="0" normalizeH="0" noProof="0">
                <a:solidFill>
                  <a:srgbClr val="000000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5F249F"/>
                </a:solidFill>
                <a:effectLst/>
                <a:uLnTx/>
                <a:uFillTx/>
                <a:latin typeface="Arial" pitchFamily="34" charset="0"/>
                <a:ea typeface="Open Sans Extrabold" panose="020B0706030804020204" pitchFamily="34" charset="0"/>
                <a:cs typeface="Arial" pitchFamily="34" charset="0"/>
              </a:rPr>
              <a:t>75</a:t>
            </a:r>
          </a:p>
          <a:p>
            <a:pPr marL="0" marR="0" lvl="2" indent="0" algn="l" defTabSz="1610191" rtl="0" eaLnBrk="1" fontAlgn="auto" latinLnBrk="0" hangingPunct="1">
              <a:lnSpc>
                <a:spcPts val="3120"/>
              </a:lnSpc>
              <a:spcBef>
                <a:spcPts val="1000"/>
              </a:spcBef>
              <a:spcAft>
                <a:spcPts val="1600"/>
              </a:spcAft>
              <a:buClr>
                <a:srgbClr val="2C2E3A"/>
              </a:buClr>
              <a:buSzPct val="125000"/>
              <a:buFontTx/>
              <a:buNone/>
              <a:tabLst/>
              <a:defRPr kumimoji="0" sz="1400" b="0" i="0" normalizeH="0" noProof="0">
                <a:solidFill>
                  <a:srgbClr val="000000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5F249F"/>
                </a:solidFill>
                <a:effectLst/>
                <a:uLnTx/>
                <a:uFillTx/>
                <a:latin typeface="Arial" pitchFamily="34" charset="0"/>
                <a:ea typeface="Open Sans Extrabold" panose="020B0706030804020204" pitchFamily="34" charset="0"/>
                <a:cs typeface="Arial" pitchFamily="34" charset="0"/>
              </a:rPr>
              <a:t>3</a:t>
            </a:r>
            <a:r>
              <a:rPr kumimoji="0" lang="en-GB" altLang="zh-TW" sz="3200" b="0" i="0" u="none" strike="noStrike" kern="1200" cap="none" spc="0" normalizeH="0" baseline="0" noProof="0">
                <a:ln>
                  <a:noFill/>
                </a:ln>
                <a:solidFill>
                  <a:srgbClr val="5F249F"/>
                </a:solidFill>
                <a:effectLst/>
                <a:uLnTx/>
                <a:uFillTx/>
                <a:latin typeface="Arial" pitchFamily="34" charset="0"/>
                <a:ea typeface="Open Sans" panose="020B0706030804020204" pitchFamily="34" charset="0"/>
                <a:cs typeface="Arial" pitchFamily="34" charset="0"/>
              </a:rPr>
              <a:t> </a:t>
            </a:r>
          </a:p>
          <a:p>
            <a:pPr marL="0" marR="0" lvl="2" indent="0" algn="l" defTabSz="1610191" rtl="0" eaLnBrk="1" fontAlgn="auto" latinLnBrk="0" hangingPunct="1">
              <a:lnSpc>
                <a:spcPts val="3120"/>
              </a:lnSpc>
              <a:spcBef>
                <a:spcPts val="1000"/>
              </a:spcBef>
              <a:spcAft>
                <a:spcPts val="1600"/>
              </a:spcAft>
              <a:buClr>
                <a:srgbClr val="2C2E3A"/>
              </a:buClr>
              <a:buSzPct val="125000"/>
              <a:buFontTx/>
              <a:buNone/>
              <a:tabLst/>
              <a:defRPr kumimoji="0" sz="1400" b="0" i="0" normalizeH="0" noProof="0">
                <a:solidFill>
                  <a:srgbClr val="000000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endParaRPr kumimoji="0" lang="en-GB" altLang="zh-TW" sz="3200" b="0" i="0" u="none" strike="noStrike" kern="1200" cap="none" spc="0" normalizeH="0" baseline="0" noProof="0">
              <a:ln>
                <a:noFill/>
              </a:ln>
              <a:solidFill>
                <a:srgbClr val="003B77"/>
              </a:solidFill>
              <a:effectLst/>
              <a:uLnTx/>
              <a:uFillTx/>
              <a:latin typeface="Arial" pitchFamily="34" charset="0"/>
              <a:ea typeface="Open Sans" panose="020B0706030804020204" pitchFamily="34" charset="0"/>
              <a:cs typeface="Arial" pitchFamily="34" charset="0"/>
            </a:endParaRP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D9447B3A-3BF6-424B-80EA-9FF0BA5F64D7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911238" y="2416947"/>
            <a:ext cx="2697578" cy="33380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2" indent="0" algn="l" defTabSz="1610191" rtl="0" eaLnBrk="1" fontAlgn="auto" latinLnBrk="0" hangingPunct="1">
              <a:lnSpc>
                <a:spcPct val="120000"/>
              </a:lnSpc>
              <a:spcBef>
                <a:spcPts val="960"/>
              </a:spcBef>
              <a:spcAft>
                <a:spcPts val="1920"/>
              </a:spcAft>
              <a:buClr>
                <a:srgbClr val="2C2E3A"/>
              </a:buClr>
              <a:buSzPct val="125000"/>
              <a:buFontTx/>
              <a:buNone/>
              <a:tabLst/>
              <a:defRPr kumimoji="0" sz="1400" b="0" i="0" normalizeH="0" noProof="0">
                <a:solidFill>
                  <a:srgbClr val="000000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kumimoji="0" lang="en-GB" altLang="zh-TW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Open Sans" panose="020B0706030804020204" pitchFamily="34" charset="0"/>
                <a:cs typeface="Arial" pitchFamily="34" charset="0"/>
              </a:rPr>
              <a:t>per month hiring capacity </a:t>
            </a: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706CB662-4105-4F83-9453-514DD47C89AE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911238" y="3142989"/>
            <a:ext cx="3328232" cy="33380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2" indent="0" algn="l" defTabSz="1610191" rtl="0" eaLnBrk="1" fontAlgn="auto" latinLnBrk="0" hangingPunct="1">
              <a:lnSpc>
                <a:spcPct val="120000"/>
              </a:lnSpc>
              <a:spcBef>
                <a:spcPts val="960"/>
              </a:spcBef>
              <a:spcAft>
                <a:spcPts val="1920"/>
              </a:spcAft>
              <a:buClr>
                <a:srgbClr val="2C2E3A"/>
              </a:buClr>
              <a:buSzPct val="125000"/>
              <a:buFontTx/>
              <a:buNone/>
              <a:tabLst/>
              <a:defRPr kumimoji="0" sz="1400" b="0" i="0" normalizeH="0" noProof="0">
                <a:solidFill>
                  <a:srgbClr val="000000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kumimoji="0" lang="en-GB" altLang="zh-TW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Open Sans" panose="020B0706030804020204" pitchFamily="34" charset="0"/>
                <a:cs typeface="Arial" pitchFamily="34" charset="0"/>
              </a:rPr>
              <a:t>experienced </a:t>
            </a:r>
            <a:r>
              <a:rPr kumimoji="0" lang="en-US" altLang="zh-TW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Open Sans" panose="020B0706030804020204" pitchFamily="34" charset="0"/>
                <a:cs typeface="Arial" pitchFamily="34" charset="0"/>
              </a:rPr>
              <a:t>recruitment specialists</a:t>
            </a:r>
            <a:endParaRPr kumimoji="0" lang="en-GB" altLang="zh-TW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Open Sans" panose="020B0706030804020204" pitchFamily="34" charset="0"/>
              <a:cs typeface="Arial" pitchFamily="34" charset="0"/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55123006-5D27-4749-AF73-D07020A730A8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911238" y="3868173"/>
            <a:ext cx="3698791" cy="33380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2" indent="0" algn="l" defTabSz="1610191" rtl="0" eaLnBrk="1" fontAlgn="auto" latinLnBrk="0" hangingPunct="1">
              <a:lnSpc>
                <a:spcPct val="120000"/>
              </a:lnSpc>
              <a:spcBef>
                <a:spcPts val="960"/>
              </a:spcBef>
              <a:spcAft>
                <a:spcPts val="1920"/>
              </a:spcAft>
              <a:buClr>
                <a:srgbClr val="2C2E3A"/>
              </a:buClr>
              <a:buSzPct val="125000"/>
              <a:buFontTx/>
              <a:buNone/>
              <a:tabLst/>
              <a:defRPr kumimoji="0" sz="1400" b="0" i="0" normalizeH="0" noProof="0">
                <a:solidFill>
                  <a:srgbClr val="000000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kumimoji="0" lang="en-GB" altLang="zh-TW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Open Sans" panose="020B0706030804020204" pitchFamily="34" charset="0"/>
                <a:cs typeface="Arial" pitchFamily="34" charset="0"/>
              </a:rPr>
              <a:t>eligible candidates worldwide</a:t>
            </a:r>
          </a:p>
        </p:txBody>
      </p:sp>
      <p:pic>
        <p:nvPicPr>
          <p:cNvPr id="118" name="Graphic 117">
            <a:extLst>
              <a:ext uri="{FF2B5EF4-FFF2-40B4-BE49-F238E27FC236}">
                <a16:creationId xmlns:a16="http://schemas.microsoft.com/office/drawing/2014/main" id="{16ECE8A0-0947-4124-97CE-DC96D51CC57E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32">
            <a:extLst>
              <a:ext uri="{BEBA8EAE-BF5A-486C-A8C5-ECC9F3942E4B}">
                <a14:imgProps xmlns:a14="http://schemas.microsoft.com/office/drawing/2010/main">
                  <a14:imgLayer r:embed="rId3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2381" y="3529722"/>
            <a:ext cx="1768581" cy="1225237"/>
          </a:xfrm>
          <a:prstGeom prst="rect">
            <a:avLst/>
          </a:prstGeom>
        </p:spPr>
      </p:pic>
      <p:sp>
        <p:nvSpPr>
          <p:cNvPr id="119" name="Title 2">
            <a:extLst>
              <a:ext uri="{FF2B5EF4-FFF2-40B4-BE49-F238E27FC236}">
                <a16:creationId xmlns:a16="http://schemas.microsoft.com/office/drawing/2014/main" id="{6D65D2FA-CB2D-496A-8DF7-3F606AAE0B1D}"/>
              </a:ext>
            </a:extLst>
          </p:cNvPr>
          <p:cNvSpPr>
            <a:spLocks noGrp="1"/>
          </p:cNvSpPr>
          <p:nvPr>
            <p:ph type="title"/>
            <p:custDataLst>
              <p:tags r:id="rId16"/>
            </p:custDataLst>
          </p:nvPr>
        </p:nvSpPr>
        <p:spPr/>
        <p:txBody>
          <a:bodyPr>
            <a:normAutofit/>
          </a:bodyPr>
          <a:lstStyle/>
          <a:p>
            <a:r>
              <a:rPr lang="en-US">
                <a:sym typeface="Wingdings" charset="2"/>
              </a:rPr>
              <a:t>Our Resourcing Capability Helps to Provide Scalability</a:t>
            </a:r>
            <a:endParaRPr lang="en-RU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7721FD4A-9FED-8502-7B85-65C88A901C8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/>
              <a:t>DXC Global Recruitment Organization</a:t>
            </a:r>
            <a:br>
              <a:rPr lang="en-GB"/>
            </a:br>
            <a:endParaRPr lang="en-UA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FEC1155-94EE-0E46-7EC5-B1586AE66380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911238" y="4632929"/>
            <a:ext cx="4323836" cy="2917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463040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31520" algn="l" defTabSz="1463040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63040" algn="l" defTabSz="1463040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94560" algn="l" defTabSz="1463040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26080" algn="l" defTabSz="1463040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57600" algn="l" defTabSz="1463040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89120" algn="l" defTabSz="1463040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120640" algn="l" defTabSz="1463040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852160" algn="l" defTabSz="1463040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46298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Open Sans" panose="020B0706030804020204" pitchFamily="34" charset="0"/>
                <a:cs typeface="Arial" pitchFamily="34" charset="0"/>
              </a:rPr>
              <a:t>recruitment partners (agencies),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DE6CC9F-4EF2-B66B-6D1C-2472D3A02EA2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10418912" y="7623174"/>
            <a:ext cx="2018859" cy="2419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463040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31520" algn="l" defTabSz="1463040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63040" algn="l" defTabSz="1463040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94560" algn="l" defTabSz="1463040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26080" algn="l" defTabSz="1463040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57600" algn="l" defTabSz="1463040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89120" algn="l" defTabSz="1463040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120640" algn="l" defTabSz="1463040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852160" algn="l" defTabSz="1463040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46304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8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mmercial in Confidence.</a:t>
            </a:r>
            <a:endParaRPr kumimoji="0" lang="en-US" sz="108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B65E84A-0B04-F5E6-3AD0-7D3E017A5499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911238" y="5394967"/>
            <a:ext cx="3526837" cy="491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463040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31520" algn="l" defTabSz="1463040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63040" algn="l" defTabSz="1463040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94560" algn="l" defTabSz="1463040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26080" algn="l" defTabSz="1463040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57600" algn="l" defTabSz="1463040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89120" algn="l" defTabSz="1463040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120640" algn="l" defTabSz="1463040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852160" algn="l" defTabSz="1463040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46298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Open Sans" panose="020B0706030804020204" pitchFamily="34" charset="0"/>
                <a:cs typeface="Arial" pitchFamily="34" charset="0"/>
              </a:rPr>
              <a:t>RPO firms, TA Marketing team focus, dedicated PMO and Analytics team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F092F6A-F8CA-05F0-4277-BC00F3E13C74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904248" y="2961136"/>
            <a:ext cx="932916" cy="86177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463040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31520" algn="l" defTabSz="1463040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63040" algn="l" defTabSz="1463040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94560" algn="l" defTabSz="1463040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26080" algn="l" defTabSz="1463040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57600" algn="l" defTabSz="1463040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89120" algn="l" defTabSz="1463040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120640" algn="l" defTabSz="1463040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852160" algn="l" defTabSz="1463040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9719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800" b="0" i="0" normalizeH="0" noProof="0">
                <a:solidFill>
                  <a:srgbClr val="000000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Open Sans" panose="020B0706030804020204" pitchFamily="34" charset="0"/>
                <a:cs typeface="Arial" pitchFamily="34" charset="0"/>
              </a:rPr>
              <a:t>Job Boards + Other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Open Sans Extrabold" panose="020B0706030804020204" pitchFamily="34" charset="0"/>
                <a:cs typeface="Arial" pitchFamily="34" charset="0"/>
              </a:rPr>
              <a:t>35%</a:t>
            </a:r>
          </a:p>
        </p:txBody>
      </p:sp>
    </p:spTree>
    <p:extLst>
      <p:ext uri="{BB962C8B-B14F-4D97-AF65-F5344CB8AC3E}">
        <p14:creationId xmlns:p14="http://schemas.microsoft.com/office/powerpoint/2010/main" val="2401738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319AB41-83C6-44E6-A5C7-B2A2A1FF453C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pPr marL="0" marR="0" lvl="0" indent="0" algn="l" defTabSz="1463040" fontAlgn="auto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SzTx/>
              <a:buNone/>
              <a:defRPr kumimoji="0" sz="3600" b="1" i="0" u="none" strike="noStrike" cap="none" spc="0" normalizeH="0" baseline="0" noProof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5F249F"/>
                </a:solidFill>
                <a:uLnTx/>
                <a:uFillTx/>
                <a:latin typeface="+mj-lt"/>
                <a:ea typeface="+mj-ea"/>
                <a:cs typeface="+mj-cs"/>
                <a:sym typeface="Wingdings" charset="2"/>
              </a:defRPr>
            </a:pPr>
            <a:r>
              <a:rPr kumimoji="0" lang="en-US" sz="3600" b="1" i="0" u="none" strike="noStrike" cap="none" spc="0" normalizeH="0" baseline="0" noProof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5F249F"/>
                </a:solidFill>
                <a:uLnTx/>
                <a:uFillTx/>
                <a:latin typeface="+mj-lt"/>
                <a:ea typeface="+mj-ea"/>
                <a:cs typeface="+mj-cs"/>
                <a:sym typeface="Wingdings" charset="2"/>
              </a:rPr>
              <a:t>DXC Recruitment Machinery</a:t>
            </a:r>
            <a:endParaRPr kumimoji="0" lang="en-US" sz="3600" b="1" i="0" u="none" strike="noStrike" cap="none" spc="0" normalizeH="0" baseline="0" noProof="0"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solidFill>
                <a:srgbClr val="5F249F"/>
              </a:solidFill>
              <a:uLnTx/>
              <a:uFillTx/>
              <a:latin typeface="+mn-lt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A6501A03-3620-CA00-7140-DF7956359BC1}"/>
              </a:ext>
            </a:extLst>
          </p:cNvPr>
          <p:cNvSpPr txBox="1"/>
          <p:nvPr/>
        </p:nvSpPr>
        <p:spPr>
          <a:xfrm>
            <a:off x="912779" y="-3058220"/>
            <a:ext cx="1891268" cy="2357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1097280">
              <a:lnSpc>
                <a:spcPct val="90000"/>
              </a:lnSpc>
              <a:defRPr/>
            </a:pPr>
            <a:r>
              <a:rPr lang="en-US" sz="1440">
                <a:solidFill>
                  <a:schemeClr val="accent1">
                    <a:lumMod val="50000"/>
                  </a:schemeClr>
                </a:solidFill>
                <a:latin typeface="+mn-ea"/>
              </a:rPr>
              <a:t>Pipeline Generation</a:t>
            </a:r>
          </a:p>
        </p:txBody>
      </p: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26081A39-813B-216B-512B-479D1DC33E28}"/>
              </a:ext>
            </a:extLst>
          </p:cNvPr>
          <p:cNvGrpSpPr/>
          <p:nvPr/>
        </p:nvGrpSpPr>
        <p:grpSpPr>
          <a:xfrm>
            <a:off x="680661" y="2069345"/>
            <a:ext cx="13283006" cy="1052929"/>
            <a:chOff x="680661" y="2069345"/>
            <a:chExt cx="13283006" cy="1052929"/>
          </a:xfrm>
        </p:grpSpPr>
        <p:grpSp>
          <p:nvGrpSpPr>
            <p:cNvPr id="181" name="Group 180">
              <a:extLst>
                <a:ext uri="{FF2B5EF4-FFF2-40B4-BE49-F238E27FC236}">
                  <a16:creationId xmlns:a16="http://schemas.microsoft.com/office/drawing/2014/main" id="{DAD6DA6C-7F79-EC29-8E11-96006E5FDFD7}"/>
                </a:ext>
              </a:extLst>
            </p:cNvPr>
            <p:cNvGrpSpPr/>
            <p:nvPr/>
          </p:nvGrpSpPr>
          <p:grpSpPr>
            <a:xfrm>
              <a:off x="680661" y="2069345"/>
              <a:ext cx="13283006" cy="1052929"/>
              <a:chOff x="680661" y="2069345"/>
              <a:chExt cx="13283006" cy="1052929"/>
            </a:xfrm>
            <a:gradFill>
              <a:gsLst>
                <a:gs pos="100000">
                  <a:schemeClr val="accent2"/>
                </a:gs>
                <a:gs pos="10000">
                  <a:schemeClr val="accent1"/>
                </a:gs>
              </a:gsLst>
              <a:lin ang="2700000" scaled="0"/>
            </a:gradFill>
            <a:effectLst>
              <a:outerShdw blurRad="98264" dist="38100" dir="5400000" algn="t" rotWithShape="0">
                <a:prstClr val="black">
                  <a:alpha val="13476"/>
                </a:prstClr>
              </a:outerShdw>
            </a:effectLst>
          </p:grpSpPr>
          <p:sp>
            <p:nvSpPr>
              <p:cNvPr id="2" name="Rounded Rectangle 1">
                <a:extLst>
                  <a:ext uri="{FF2B5EF4-FFF2-40B4-BE49-F238E27FC236}">
                    <a16:creationId xmlns:a16="http://schemas.microsoft.com/office/drawing/2014/main" id="{3CFE74C6-AB79-119F-00C5-1EC5E2596C0D}"/>
                  </a:ext>
                </a:extLst>
              </p:cNvPr>
              <p:cNvSpPr/>
              <p:nvPr/>
            </p:nvSpPr>
            <p:spPr>
              <a:xfrm>
                <a:off x="3195332" y="2069345"/>
                <a:ext cx="2698797" cy="1052929"/>
              </a:xfrm>
              <a:prstGeom prst="roundRect">
                <a:avLst>
                  <a:gd name="adj" fmla="val 7329"/>
                </a:avLst>
              </a:prstGeom>
              <a:grp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0000" tIns="108000" rIns="503999" bIns="0" rtlCol="0" anchor="t" anchorCtr="0"/>
              <a:lstStyle/>
              <a:p>
                <a:pPr marL="720000" indent="-720000" defTabSz="1097252">
                  <a:spcAft>
                    <a:spcPts val="2400"/>
                  </a:spcAft>
                  <a:defRPr/>
                </a:pPr>
                <a:r>
                  <a:rPr lang="en-US" sz="1600" b="1">
                    <a:solidFill>
                      <a:srgbClr val="FFFFFF"/>
                    </a:solidFill>
                    <a:latin typeface="+mn-ea"/>
                  </a:rPr>
                  <a:t>Internal Mobility</a:t>
                </a:r>
                <a:br>
                  <a:rPr lang="en-US" sz="1680">
                    <a:solidFill>
                      <a:srgbClr val="FFFFFF"/>
                    </a:solidFill>
                    <a:latin typeface="+mn-ea"/>
                  </a:rPr>
                </a:br>
                <a:r>
                  <a:rPr lang="en-US" altLang="zh-TW" sz="1200">
                    <a:solidFill>
                      <a:schemeClr val="bg1"/>
                    </a:solidFill>
                    <a:latin typeface="+mn-ea"/>
                  </a:rPr>
                  <a:t>of vacancies closed are via Internal Mobility</a:t>
                </a:r>
              </a:p>
            </p:txBody>
          </p:sp>
          <p:sp>
            <p:nvSpPr>
              <p:cNvPr id="8" name="Rounded Rectangle 7">
                <a:extLst>
                  <a:ext uri="{FF2B5EF4-FFF2-40B4-BE49-F238E27FC236}">
                    <a16:creationId xmlns:a16="http://schemas.microsoft.com/office/drawing/2014/main" id="{152C1E86-09FD-4B10-EC10-0A3ABFF40943}"/>
                  </a:ext>
                </a:extLst>
              </p:cNvPr>
              <p:cNvSpPr/>
              <p:nvPr/>
            </p:nvSpPr>
            <p:spPr>
              <a:xfrm>
                <a:off x="5972486" y="2069345"/>
                <a:ext cx="2698797" cy="1052929"/>
              </a:xfrm>
              <a:prstGeom prst="roundRect">
                <a:avLst>
                  <a:gd name="adj" fmla="val 9197"/>
                </a:avLst>
              </a:prstGeom>
              <a:grp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0000" tIns="108000" rIns="503999" bIns="0" rtlCol="0" anchor="t" anchorCtr="0"/>
              <a:lstStyle/>
              <a:p>
                <a:pPr marL="540000" indent="-540000" defTabSz="1097252">
                  <a:spcAft>
                    <a:spcPts val="2400"/>
                  </a:spcAft>
                  <a:defRPr/>
                </a:pPr>
                <a:r>
                  <a:rPr lang="en-US" sz="1600" b="1">
                    <a:solidFill>
                      <a:srgbClr val="FFFFFF"/>
                    </a:solidFill>
                    <a:latin typeface="+mn-ea"/>
                  </a:rPr>
                  <a:t>Relocation</a:t>
                </a:r>
                <a:br>
                  <a:rPr lang="en-US" sz="1680">
                    <a:solidFill>
                      <a:srgbClr val="FFFFFF"/>
                    </a:solidFill>
                    <a:latin typeface="+mn-ea"/>
                  </a:rPr>
                </a:br>
                <a:r>
                  <a:rPr lang="en-US" altLang="zh-TW" sz="1200">
                    <a:solidFill>
                      <a:schemeClr val="bg1"/>
                    </a:solidFill>
                    <a:latin typeface="+mn-ea"/>
                  </a:rPr>
                  <a:t>of vacancies closed</a:t>
                </a:r>
                <a:br>
                  <a:rPr lang="en-US" altLang="zh-TW" sz="1200">
                    <a:solidFill>
                      <a:schemeClr val="bg1"/>
                    </a:solidFill>
                    <a:latin typeface="+mn-ea"/>
                  </a:rPr>
                </a:br>
                <a:r>
                  <a:rPr lang="en-US" altLang="zh-TW" sz="1200">
                    <a:solidFill>
                      <a:schemeClr val="bg1"/>
                    </a:solidFill>
                    <a:latin typeface="+mn-ea"/>
                  </a:rPr>
                  <a:t>by relocation from 40 source countries</a:t>
                </a:r>
              </a:p>
            </p:txBody>
          </p:sp>
          <p:sp>
            <p:nvSpPr>
              <p:cNvPr id="11" name="Rounded Rectangle 10">
                <a:extLst>
                  <a:ext uri="{FF2B5EF4-FFF2-40B4-BE49-F238E27FC236}">
                    <a16:creationId xmlns:a16="http://schemas.microsoft.com/office/drawing/2014/main" id="{2AAC9ECB-9AEE-5A69-92DA-6665017CF264}"/>
                  </a:ext>
                </a:extLst>
              </p:cNvPr>
              <p:cNvSpPr/>
              <p:nvPr/>
            </p:nvSpPr>
            <p:spPr>
              <a:xfrm>
                <a:off x="8731132" y="2069345"/>
                <a:ext cx="2698797" cy="1052929"/>
              </a:xfrm>
              <a:prstGeom prst="roundRect">
                <a:avLst>
                  <a:gd name="adj" fmla="val 7329"/>
                </a:avLst>
              </a:prstGeom>
              <a:grp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0000" tIns="108000" rIns="612000" bIns="0" rtlCol="0" anchor="t" anchorCtr="0"/>
              <a:lstStyle/>
              <a:p>
                <a:pPr marL="540000" indent="-540000" defTabSz="1097252">
                  <a:spcAft>
                    <a:spcPts val="2400"/>
                  </a:spcAft>
                  <a:defRPr/>
                </a:pPr>
                <a:r>
                  <a:rPr lang="en-US" sz="1600" b="1">
                    <a:solidFill>
                      <a:srgbClr val="FFFFFF"/>
                    </a:solidFill>
                    <a:latin typeface="+mn-ea"/>
                  </a:rPr>
                  <a:t>Referral Program</a:t>
                </a:r>
                <a:br>
                  <a:rPr lang="en-US" sz="1680">
                    <a:solidFill>
                      <a:srgbClr val="FFFFFF"/>
                    </a:solidFill>
                    <a:latin typeface="+mn-ea"/>
                  </a:rPr>
                </a:br>
                <a:r>
                  <a:rPr lang="en-US" altLang="zh-TW" sz="1200">
                    <a:solidFill>
                      <a:schemeClr val="bg1"/>
                    </a:solidFill>
                    <a:latin typeface="+mn-ea"/>
                  </a:rPr>
                  <a:t>of vacancies closed are via the Referral Program</a:t>
                </a:r>
              </a:p>
            </p:txBody>
          </p:sp>
          <p:sp>
            <p:nvSpPr>
              <p:cNvPr id="20" name="Rounded Rectangle 19">
                <a:extLst>
                  <a:ext uri="{FF2B5EF4-FFF2-40B4-BE49-F238E27FC236}">
                    <a16:creationId xmlns:a16="http://schemas.microsoft.com/office/drawing/2014/main" id="{D483D59C-5DB6-2EB3-A607-C72B5A2163FE}"/>
                  </a:ext>
                </a:extLst>
              </p:cNvPr>
              <p:cNvSpPr/>
              <p:nvPr/>
            </p:nvSpPr>
            <p:spPr>
              <a:xfrm>
                <a:off x="11527353" y="2069345"/>
                <a:ext cx="2436314" cy="1052929"/>
              </a:xfrm>
              <a:prstGeom prst="roundRect">
                <a:avLst>
                  <a:gd name="adj" fmla="val 7329"/>
                </a:avLst>
              </a:prstGeom>
              <a:grp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44000" tIns="36000" rIns="72000" bIns="0" rtlCol="0" anchor="ctr" anchorCtr="0"/>
              <a:lstStyle/>
              <a:p>
                <a:pPr defTabSz="1097252">
                  <a:defRPr/>
                </a:pPr>
                <a:r>
                  <a:rPr lang="en-US" altLang="zh-TW" sz="1200">
                    <a:solidFill>
                      <a:schemeClr val="bg1"/>
                    </a:solidFill>
                    <a:latin typeface="+mn-ea"/>
                  </a:rPr>
                  <a:t>recruited through</a:t>
                </a:r>
                <a:br>
                  <a:rPr lang="en-US" altLang="zh-TW" sz="1200">
                    <a:solidFill>
                      <a:schemeClr val="bg1"/>
                    </a:solidFill>
                    <a:latin typeface="+mn-ea"/>
                  </a:rPr>
                </a:br>
                <a:r>
                  <a:rPr lang="en-US" altLang="zh-TW" sz="1200">
                    <a:solidFill>
                      <a:schemeClr val="bg1"/>
                    </a:solidFill>
                    <a:latin typeface="+mn-ea"/>
                  </a:rPr>
                  <a:t>rigorous external recruitment process</a:t>
                </a:r>
              </a:p>
            </p:txBody>
          </p:sp>
          <p:sp>
            <p:nvSpPr>
              <p:cNvPr id="28" name="Rounded Rectangle 27">
                <a:extLst>
                  <a:ext uri="{FF2B5EF4-FFF2-40B4-BE49-F238E27FC236}">
                    <a16:creationId xmlns:a16="http://schemas.microsoft.com/office/drawing/2014/main" id="{64A2D67E-E921-31AA-DAD3-68C9C595B075}"/>
                  </a:ext>
                </a:extLst>
              </p:cNvPr>
              <p:cNvSpPr/>
              <p:nvPr/>
            </p:nvSpPr>
            <p:spPr>
              <a:xfrm>
                <a:off x="680661" y="2069345"/>
                <a:ext cx="2436314" cy="1052929"/>
              </a:xfrm>
              <a:prstGeom prst="roundRect">
                <a:avLst>
                  <a:gd name="adj" fmla="val 7329"/>
                </a:avLst>
              </a:prstGeom>
              <a:grp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44000" tIns="36000" rIns="180000" bIns="0" rtlCol="0" anchor="ctr" anchorCtr="0"/>
              <a:lstStyle/>
              <a:p>
                <a:pPr defTabSz="1097252">
                  <a:defRPr/>
                </a:pPr>
                <a:r>
                  <a:rPr lang="en-US" altLang="zh-TW" sz="1200">
                    <a:solidFill>
                      <a:schemeClr val="bg1"/>
                    </a:solidFill>
                    <a:latin typeface="+mn-ea"/>
                  </a:rPr>
                  <a:t>recruited through internal mechanisms</a:t>
                </a:r>
              </a:p>
            </p:txBody>
          </p:sp>
        </p:grpSp>
        <p:sp>
          <p:nvSpPr>
            <p:cNvPr id="126" name="Freeform 18">
              <a:extLst>
                <a:ext uri="{FF2B5EF4-FFF2-40B4-BE49-F238E27FC236}">
                  <a16:creationId xmlns:a16="http://schemas.microsoft.com/office/drawing/2014/main" id="{CD27AF6D-B06D-0458-8AB8-F3AD7DEA86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09361" y="2177192"/>
              <a:ext cx="361826" cy="360733"/>
            </a:xfrm>
            <a:custGeom>
              <a:avLst/>
              <a:gdLst>
                <a:gd name="T0" fmla="*/ 172 w 176"/>
                <a:gd name="T1" fmla="*/ 84 h 176"/>
                <a:gd name="T2" fmla="*/ 168 w 176"/>
                <a:gd name="T3" fmla="*/ 88 h 176"/>
                <a:gd name="T4" fmla="*/ 88 w 176"/>
                <a:gd name="T5" fmla="*/ 168 h 176"/>
                <a:gd name="T6" fmla="*/ 24 w 176"/>
                <a:gd name="T7" fmla="*/ 136 h 176"/>
                <a:gd name="T8" fmla="*/ 56 w 176"/>
                <a:gd name="T9" fmla="*/ 136 h 176"/>
                <a:gd name="T10" fmla="*/ 60 w 176"/>
                <a:gd name="T11" fmla="*/ 132 h 176"/>
                <a:gd name="T12" fmla="*/ 56 w 176"/>
                <a:gd name="T13" fmla="*/ 128 h 176"/>
                <a:gd name="T14" fmla="*/ 16 w 176"/>
                <a:gd name="T15" fmla="*/ 128 h 176"/>
                <a:gd name="T16" fmla="*/ 12 w 176"/>
                <a:gd name="T17" fmla="*/ 132 h 176"/>
                <a:gd name="T18" fmla="*/ 12 w 176"/>
                <a:gd name="T19" fmla="*/ 172 h 176"/>
                <a:gd name="T20" fmla="*/ 16 w 176"/>
                <a:gd name="T21" fmla="*/ 176 h 176"/>
                <a:gd name="T22" fmla="*/ 20 w 176"/>
                <a:gd name="T23" fmla="*/ 172 h 176"/>
                <a:gd name="T24" fmla="*/ 20 w 176"/>
                <a:gd name="T25" fmla="*/ 144 h 176"/>
                <a:gd name="T26" fmla="*/ 88 w 176"/>
                <a:gd name="T27" fmla="*/ 176 h 176"/>
                <a:gd name="T28" fmla="*/ 176 w 176"/>
                <a:gd name="T29" fmla="*/ 88 h 176"/>
                <a:gd name="T30" fmla="*/ 172 w 176"/>
                <a:gd name="T31" fmla="*/ 84 h 176"/>
                <a:gd name="T32" fmla="*/ 88 w 176"/>
                <a:gd name="T33" fmla="*/ 8 h 176"/>
                <a:gd name="T34" fmla="*/ 152 w 176"/>
                <a:gd name="T35" fmla="*/ 40 h 176"/>
                <a:gd name="T36" fmla="*/ 120 w 176"/>
                <a:gd name="T37" fmla="*/ 40 h 176"/>
                <a:gd name="T38" fmla="*/ 116 w 176"/>
                <a:gd name="T39" fmla="*/ 44 h 176"/>
                <a:gd name="T40" fmla="*/ 120 w 176"/>
                <a:gd name="T41" fmla="*/ 48 h 176"/>
                <a:gd name="T42" fmla="*/ 160 w 176"/>
                <a:gd name="T43" fmla="*/ 48 h 176"/>
                <a:gd name="T44" fmla="*/ 164 w 176"/>
                <a:gd name="T45" fmla="*/ 44 h 176"/>
                <a:gd name="T46" fmla="*/ 164 w 176"/>
                <a:gd name="T47" fmla="*/ 4 h 176"/>
                <a:gd name="T48" fmla="*/ 160 w 176"/>
                <a:gd name="T49" fmla="*/ 0 h 176"/>
                <a:gd name="T50" fmla="*/ 156 w 176"/>
                <a:gd name="T51" fmla="*/ 4 h 176"/>
                <a:gd name="T52" fmla="*/ 156 w 176"/>
                <a:gd name="T53" fmla="*/ 32 h 176"/>
                <a:gd name="T54" fmla="*/ 88 w 176"/>
                <a:gd name="T55" fmla="*/ 0 h 176"/>
                <a:gd name="T56" fmla="*/ 0 w 176"/>
                <a:gd name="T57" fmla="*/ 88 h 176"/>
                <a:gd name="T58" fmla="*/ 4 w 176"/>
                <a:gd name="T59" fmla="*/ 92 h 176"/>
                <a:gd name="T60" fmla="*/ 8 w 176"/>
                <a:gd name="T61" fmla="*/ 88 h 176"/>
                <a:gd name="T62" fmla="*/ 88 w 176"/>
                <a:gd name="T63" fmla="*/ 8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76" h="176">
                  <a:moveTo>
                    <a:pt x="172" y="84"/>
                  </a:moveTo>
                  <a:cubicBezTo>
                    <a:pt x="170" y="84"/>
                    <a:pt x="168" y="86"/>
                    <a:pt x="168" y="88"/>
                  </a:cubicBezTo>
                  <a:cubicBezTo>
                    <a:pt x="168" y="132"/>
                    <a:pt x="132" y="168"/>
                    <a:pt x="88" y="168"/>
                  </a:cubicBezTo>
                  <a:cubicBezTo>
                    <a:pt x="62" y="168"/>
                    <a:pt x="39" y="155"/>
                    <a:pt x="24" y="136"/>
                  </a:cubicBezTo>
                  <a:cubicBezTo>
                    <a:pt x="56" y="136"/>
                    <a:pt x="56" y="136"/>
                    <a:pt x="56" y="136"/>
                  </a:cubicBezTo>
                  <a:cubicBezTo>
                    <a:pt x="58" y="136"/>
                    <a:pt x="60" y="134"/>
                    <a:pt x="60" y="132"/>
                  </a:cubicBezTo>
                  <a:cubicBezTo>
                    <a:pt x="60" y="130"/>
                    <a:pt x="58" y="128"/>
                    <a:pt x="56" y="128"/>
                  </a:cubicBezTo>
                  <a:cubicBezTo>
                    <a:pt x="16" y="128"/>
                    <a:pt x="16" y="128"/>
                    <a:pt x="16" y="128"/>
                  </a:cubicBezTo>
                  <a:cubicBezTo>
                    <a:pt x="14" y="128"/>
                    <a:pt x="12" y="130"/>
                    <a:pt x="12" y="132"/>
                  </a:cubicBezTo>
                  <a:cubicBezTo>
                    <a:pt x="12" y="172"/>
                    <a:pt x="12" y="172"/>
                    <a:pt x="12" y="172"/>
                  </a:cubicBezTo>
                  <a:cubicBezTo>
                    <a:pt x="12" y="174"/>
                    <a:pt x="14" y="176"/>
                    <a:pt x="16" y="176"/>
                  </a:cubicBezTo>
                  <a:cubicBezTo>
                    <a:pt x="18" y="176"/>
                    <a:pt x="20" y="174"/>
                    <a:pt x="20" y="172"/>
                  </a:cubicBezTo>
                  <a:cubicBezTo>
                    <a:pt x="20" y="144"/>
                    <a:pt x="20" y="144"/>
                    <a:pt x="20" y="144"/>
                  </a:cubicBezTo>
                  <a:cubicBezTo>
                    <a:pt x="36" y="163"/>
                    <a:pt x="61" y="176"/>
                    <a:pt x="88" y="176"/>
                  </a:cubicBezTo>
                  <a:cubicBezTo>
                    <a:pt x="137" y="176"/>
                    <a:pt x="176" y="137"/>
                    <a:pt x="176" y="88"/>
                  </a:cubicBezTo>
                  <a:cubicBezTo>
                    <a:pt x="176" y="86"/>
                    <a:pt x="174" y="84"/>
                    <a:pt x="172" y="84"/>
                  </a:cubicBezTo>
                  <a:moveTo>
                    <a:pt x="88" y="8"/>
                  </a:moveTo>
                  <a:cubicBezTo>
                    <a:pt x="114" y="8"/>
                    <a:pt x="137" y="21"/>
                    <a:pt x="152" y="40"/>
                  </a:cubicBezTo>
                  <a:cubicBezTo>
                    <a:pt x="120" y="40"/>
                    <a:pt x="120" y="40"/>
                    <a:pt x="120" y="40"/>
                  </a:cubicBezTo>
                  <a:cubicBezTo>
                    <a:pt x="118" y="40"/>
                    <a:pt x="116" y="42"/>
                    <a:pt x="116" y="44"/>
                  </a:cubicBezTo>
                  <a:cubicBezTo>
                    <a:pt x="116" y="46"/>
                    <a:pt x="118" y="48"/>
                    <a:pt x="120" y="48"/>
                  </a:cubicBezTo>
                  <a:cubicBezTo>
                    <a:pt x="160" y="48"/>
                    <a:pt x="160" y="48"/>
                    <a:pt x="160" y="48"/>
                  </a:cubicBezTo>
                  <a:cubicBezTo>
                    <a:pt x="162" y="48"/>
                    <a:pt x="164" y="46"/>
                    <a:pt x="164" y="44"/>
                  </a:cubicBezTo>
                  <a:cubicBezTo>
                    <a:pt x="164" y="4"/>
                    <a:pt x="164" y="4"/>
                    <a:pt x="164" y="4"/>
                  </a:cubicBezTo>
                  <a:cubicBezTo>
                    <a:pt x="164" y="2"/>
                    <a:pt x="162" y="0"/>
                    <a:pt x="160" y="0"/>
                  </a:cubicBezTo>
                  <a:cubicBezTo>
                    <a:pt x="158" y="0"/>
                    <a:pt x="156" y="2"/>
                    <a:pt x="156" y="4"/>
                  </a:cubicBezTo>
                  <a:cubicBezTo>
                    <a:pt x="156" y="32"/>
                    <a:pt x="156" y="32"/>
                    <a:pt x="156" y="32"/>
                  </a:cubicBezTo>
                  <a:cubicBezTo>
                    <a:pt x="140" y="13"/>
                    <a:pt x="115" y="0"/>
                    <a:pt x="88" y="0"/>
                  </a:cubicBezTo>
                  <a:cubicBezTo>
                    <a:pt x="39" y="0"/>
                    <a:pt x="0" y="39"/>
                    <a:pt x="0" y="88"/>
                  </a:cubicBezTo>
                  <a:cubicBezTo>
                    <a:pt x="0" y="90"/>
                    <a:pt x="2" y="92"/>
                    <a:pt x="4" y="92"/>
                  </a:cubicBezTo>
                  <a:cubicBezTo>
                    <a:pt x="6" y="92"/>
                    <a:pt x="8" y="90"/>
                    <a:pt x="8" y="88"/>
                  </a:cubicBezTo>
                  <a:cubicBezTo>
                    <a:pt x="8" y="44"/>
                    <a:pt x="44" y="8"/>
                    <a:pt x="88" y="8"/>
                  </a:cubicBezTo>
                </a:path>
              </a:pathLst>
            </a:custGeom>
            <a:solidFill>
              <a:schemeClr val="bg1">
                <a:alpha val="70000"/>
              </a:schemeClr>
            </a:solidFill>
            <a:ln>
              <a:noFill/>
            </a:ln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/>
            <a:p>
              <a:pPr defTabSz="1097280">
                <a:defRPr/>
              </a:pPr>
              <a:endParaRPr lang="en-US" sz="2160">
                <a:solidFill>
                  <a:prstClr val="black"/>
                </a:solidFill>
                <a:latin typeface="+mn-ea"/>
              </a:endParaRPr>
            </a:p>
          </p:txBody>
        </p: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8EE2D30F-4134-5082-5A47-D5C93B5FD57F}"/>
                </a:ext>
              </a:extLst>
            </p:cNvPr>
            <p:cNvSpPr/>
            <p:nvPr/>
          </p:nvSpPr>
          <p:spPr>
            <a:xfrm>
              <a:off x="3401035" y="2607256"/>
              <a:ext cx="659280" cy="36722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/>
            <a:p>
              <a:pPr defTabSz="1097280">
                <a:lnSpc>
                  <a:spcPct val="90000"/>
                </a:lnSpc>
                <a:defRPr/>
              </a:pPr>
              <a:r>
                <a:rPr lang="en-US" sz="2400" b="1">
                  <a:solidFill>
                    <a:schemeClr val="bg1"/>
                  </a:solidFill>
                  <a:latin typeface="+mn-ea"/>
                  <a:cs typeface="Arial" panose="020B0604020202020204" pitchFamily="34" charset="0"/>
                </a:rPr>
                <a:t>21%</a:t>
              </a:r>
              <a:endParaRPr lang="en-US" altLang="zh-TW" sz="1440" b="1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A5199E7-8F87-90C2-2D73-7FECFEEC0212}"/>
                </a:ext>
              </a:extLst>
            </p:cNvPr>
            <p:cNvSpPr/>
            <p:nvPr/>
          </p:nvSpPr>
          <p:spPr>
            <a:xfrm>
              <a:off x="6180985" y="2589960"/>
              <a:ext cx="552203" cy="3480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/>
            <a:p>
              <a:pPr defTabSz="1097280">
                <a:lnSpc>
                  <a:spcPct val="90000"/>
                </a:lnSpc>
                <a:defRPr/>
              </a:pPr>
              <a:r>
                <a:rPr lang="en-US" sz="2400" b="1">
                  <a:solidFill>
                    <a:schemeClr val="bg1"/>
                  </a:solidFill>
                  <a:latin typeface="+mn-ea"/>
                  <a:cs typeface="Arial" panose="020B0604020202020204" pitchFamily="34" charset="0"/>
                </a:rPr>
                <a:t>2%</a:t>
              </a:r>
              <a:endParaRPr lang="en-US" altLang="zh-TW" sz="1440" b="1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129" name="Freeform 15">
              <a:extLst>
                <a:ext uri="{FF2B5EF4-FFF2-40B4-BE49-F238E27FC236}">
                  <a16:creationId xmlns:a16="http://schemas.microsoft.com/office/drawing/2014/main" id="{826D106C-ADEB-7560-8B06-BA679D8EE3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02448" y="2177191"/>
              <a:ext cx="363334" cy="364431"/>
            </a:xfrm>
            <a:custGeom>
              <a:avLst/>
              <a:gdLst>
                <a:gd name="T0" fmla="*/ 0 w 176"/>
                <a:gd name="T1" fmla="*/ 88 h 176"/>
                <a:gd name="T2" fmla="*/ 176 w 176"/>
                <a:gd name="T3" fmla="*/ 88 h 176"/>
                <a:gd name="T4" fmla="*/ 64 w 176"/>
                <a:gd name="T5" fmla="*/ 12 h 176"/>
                <a:gd name="T6" fmla="*/ 59 w 176"/>
                <a:gd name="T7" fmla="*/ 18 h 176"/>
                <a:gd name="T8" fmla="*/ 50 w 176"/>
                <a:gd name="T9" fmla="*/ 34 h 176"/>
                <a:gd name="T10" fmla="*/ 36 w 176"/>
                <a:gd name="T11" fmla="*/ 27 h 176"/>
                <a:gd name="T12" fmla="*/ 31 w 176"/>
                <a:gd name="T13" fmla="*/ 32 h 176"/>
                <a:gd name="T14" fmla="*/ 46 w 176"/>
                <a:gd name="T15" fmla="*/ 44 h 176"/>
                <a:gd name="T16" fmla="*/ 42 w 176"/>
                <a:gd name="T17" fmla="*/ 66 h 176"/>
                <a:gd name="T18" fmla="*/ 40 w 176"/>
                <a:gd name="T19" fmla="*/ 77 h 176"/>
                <a:gd name="T20" fmla="*/ 8 w 176"/>
                <a:gd name="T21" fmla="*/ 84 h 176"/>
                <a:gd name="T22" fmla="*/ 8 w 176"/>
                <a:gd name="T23" fmla="*/ 92 h 176"/>
                <a:gd name="T24" fmla="*/ 40 w 176"/>
                <a:gd name="T25" fmla="*/ 99 h 176"/>
                <a:gd name="T26" fmla="*/ 42 w 176"/>
                <a:gd name="T27" fmla="*/ 110 h 176"/>
                <a:gd name="T28" fmla="*/ 46 w 176"/>
                <a:gd name="T29" fmla="*/ 132 h 176"/>
                <a:gd name="T30" fmla="*/ 31 w 176"/>
                <a:gd name="T31" fmla="*/ 144 h 176"/>
                <a:gd name="T32" fmla="*/ 36 w 176"/>
                <a:gd name="T33" fmla="*/ 149 h 176"/>
                <a:gd name="T34" fmla="*/ 50 w 176"/>
                <a:gd name="T35" fmla="*/ 142 h 176"/>
                <a:gd name="T36" fmla="*/ 59 w 176"/>
                <a:gd name="T37" fmla="*/ 158 h 176"/>
                <a:gd name="T38" fmla="*/ 64 w 176"/>
                <a:gd name="T39" fmla="*/ 164 h 176"/>
                <a:gd name="T40" fmla="*/ 84 w 176"/>
                <a:gd name="T41" fmla="*/ 168 h 176"/>
                <a:gd name="T42" fmla="*/ 84 w 176"/>
                <a:gd name="T43" fmla="*/ 132 h 176"/>
                <a:gd name="T44" fmla="*/ 84 w 176"/>
                <a:gd name="T45" fmla="*/ 124 h 176"/>
                <a:gd name="T46" fmla="*/ 48 w 176"/>
                <a:gd name="T47" fmla="*/ 92 h 176"/>
                <a:gd name="T48" fmla="*/ 84 w 176"/>
                <a:gd name="T49" fmla="*/ 124 h 176"/>
                <a:gd name="T50" fmla="*/ 48 w 176"/>
                <a:gd name="T51" fmla="*/ 84 h 176"/>
                <a:gd name="T52" fmla="*/ 84 w 176"/>
                <a:gd name="T53" fmla="*/ 52 h 176"/>
                <a:gd name="T54" fmla="*/ 84 w 176"/>
                <a:gd name="T55" fmla="*/ 44 h 176"/>
                <a:gd name="T56" fmla="*/ 84 w 176"/>
                <a:gd name="T57" fmla="*/ 8 h 176"/>
                <a:gd name="T58" fmla="*/ 168 w 176"/>
                <a:gd name="T59" fmla="*/ 84 h 176"/>
                <a:gd name="T60" fmla="*/ 136 w 176"/>
                <a:gd name="T61" fmla="*/ 77 h 176"/>
                <a:gd name="T62" fmla="*/ 134 w 176"/>
                <a:gd name="T63" fmla="*/ 66 h 176"/>
                <a:gd name="T64" fmla="*/ 130 w 176"/>
                <a:gd name="T65" fmla="*/ 44 h 176"/>
                <a:gd name="T66" fmla="*/ 145 w 176"/>
                <a:gd name="T67" fmla="*/ 32 h 176"/>
                <a:gd name="T68" fmla="*/ 140 w 176"/>
                <a:gd name="T69" fmla="*/ 27 h 176"/>
                <a:gd name="T70" fmla="*/ 126 w 176"/>
                <a:gd name="T71" fmla="*/ 34 h 176"/>
                <a:gd name="T72" fmla="*/ 117 w 176"/>
                <a:gd name="T73" fmla="*/ 18 h 176"/>
                <a:gd name="T74" fmla="*/ 112 w 176"/>
                <a:gd name="T75" fmla="*/ 12 h 176"/>
                <a:gd name="T76" fmla="*/ 92 w 176"/>
                <a:gd name="T77" fmla="*/ 8 h 176"/>
                <a:gd name="T78" fmla="*/ 92 w 176"/>
                <a:gd name="T79" fmla="*/ 44 h 176"/>
                <a:gd name="T80" fmla="*/ 92 w 176"/>
                <a:gd name="T81" fmla="*/ 52 h 176"/>
                <a:gd name="T82" fmla="*/ 128 w 176"/>
                <a:gd name="T83" fmla="*/ 84 h 176"/>
                <a:gd name="T84" fmla="*/ 92 w 176"/>
                <a:gd name="T85" fmla="*/ 52 h 176"/>
                <a:gd name="T86" fmla="*/ 128 w 176"/>
                <a:gd name="T87" fmla="*/ 92 h 176"/>
                <a:gd name="T88" fmla="*/ 92 w 176"/>
                <a:gd name="T89" fmla="*/ 124 h 176"/>
                <a:gd name="T90" fmla="*/ 92 w 176"/>
                <a:gd name="T91" fmla="*/ 168 h 176"/>
                <a:gd name="T92" fmla="*/ 119 w 176"/>
                <a:gd name="T93" fmla="*/ 137 h 176"/>
                <a:gd name="T94" fmla="*/ 112 w 176"/>
                <a:gd name="T95" fmla="*/ 164 h 176"/>
                <a:gd name="T96" fmla="*/ 117 w 176"/>
                <a:gd name="T97" fmla="*/ 158 h 176"/>
                <a:gd name="T98" fmla="*/ 126 w 176"/>
                <a:gd name="T99" fmla="*/ 142 h 176"/>
                <a:gd name="T100" fmla="*/ 140 w 176"/>
                <a:gd name="T101" fmla="*/ 149 h 176"/>
                <a:gd name="T102" fmla="*/ 145 w 176"/>
                <a:gd name="T103" fmla="*/ 144 h 176"/>
                <a:gd name="T104" fmla="*/ 130 w 176"/>
                <a:gd name="T105" fmla="*/ 132 h 176"/>
                <a:gd name="T106" fmla="*/ 134 w 176"/>
                <a:gd name="T107" fmla="*/ 110 h 176"/>
                <a:gd name="T108" fmla="*/ 136 w 176"/>
                <a:gd name="T109" fmla="*/ 99 h 176"/>
                <a:gd name="T110" fmla="*/ 168 w 176"/>
                <a:gd name="T111" fmla="*/ 92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76" h="176">
                  <a:moveTo>
                    <a:pt x="88" y="0"/>
                  </a:moveTo>
                  <a:cubicBezTo>
                    <a:pt x="39" y="0"/>
                    <a:pt x="0" y="39"/>
                    <a:pt x="0" y="88"/>
                  </a:cubicBezTo>
                  <a:cubicBezTo>
                    <a:pt x="0" y="137"/>
                    <a:pt x="39" y="176"/>
                    <a:pt x="88" y="176"/>
                  </a:cubicBezTo>
                  <a:cubicBezTo>
                    <a:pt x="137" y="176"/>
                    <a:pt x="176" y="137"/>
                    <a:pt x="176" y="88"/>
                  </a:cubicBezTo>
                  <a:cubicBezTo>
                    <a:pt x="176" y="39"/>
                    <a:pt x="137" y="0"/>
                    <a:pt x="88" y="0"/>
                  </a:cubicBezTo>
                  <a:moveTo>
                    <a:pt x="64" y="12"/>
                  </a:moveTo>
                  <a:cubicBezTo>
                    <a:pt x="63" y="13"/>
                    <a:pt x="61" y="15"/>
                    <a:pt x="59" y="18"/>
                  </a:cubicBezTo>
                  <a:cubicBezTo>
                    <a:pt x="59" y="18"/>
                    <a:pt x="59" y="18"/>
                    <a:pt x="59" y="18"/>
                  </a:cubicBezTo>
                  <a:cubicBezTo>
                    <a:pt x="56" y="23"/>
                    <a:pt x="53" y="28"/>
                    <a:pt x="50" y="34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0" y="35"/>
                    <a:pt x="50" y="35"/>
                    <a:pt x="50" y="36"/>
                  </a:cubicBezTo>
                  <a:cubicBezTo>
                    <a:pt x="45" y="33"/>
                    <a:pt x="40" y="30"/>
                    <a:pt x="36" y="27"/>
                  </a:cubicBezTo>
                  <a:cubicBezTo>
                    <a:pt x="44" y="20"/>
                    <a:pt x="54" y="15"/>
                    <a:pt x="64" y="12"/>
                  </a:cubicBezTo>
                  <a:moveTo>
                    <a:pt x="31" y="32"/>
                  </a:moveTo>
                  <a:cubicBezTo>
                    <a:pt x="35" y="36"/>
                    <a:pt x="41" y="40"/>
                    <a:pt x="47" y="43"/>
                  </a:cubicBezTo>
                  <a:cubicBezTo>
                    <a:pt x="47" y="43"/>
                    <a:pt x="47" y="44"/>
                    <a:pt x="46" y="44"/>
                  </a:cubicBezTo>
                  <a:cubicBezTo>
                    <a:pt x="45" y="50"/>
                    <a:pt x="43" y="57"/>
                    <a:pt x="42" y="63"/>
                  </a:cubicBezTo>
                  <a:cubicBezTo>
                    <a:pt x="42" y="64"/>
                    <a:pt x="42" y="65"/>
                    <a:pt x="42" y="66"/>
                  </a:cubicBezTo>
                  <a:cubicBezTo>
                    <a:pt x="41" y="69"/>
                    <a:pt x="41" y="71"/>
                    <a:pt x="41" y="74"/>
                  </a:cubicBezTo>
                  <a:cubicBezTo>
                    <a:pt x="41" y="75"/>
                    <a:pt x="40" y="76"/>
                    <a:pt x="40" y="77"/>
                  </a:cubicBezTo>
                  <a:cubicBezTo>
                    <a:pt x="40" y="79"/>
                    <a:pt x="40" y="82"/>
                    <a:pt x="40" y="84"/>
                  </a:cubicBezTo>
                  <a:cubicBezTo>
                    <a:pt x="8" y="84"/>
                    <a:pt x="8" y="84"/>
                    <a:pt x="8" y="84"/>
                  </a:cubicBezTo>
                  <a:cubicBezTo>
                    <a:pt x="9" y="64"/>
                    <a:pt x="18" y="46"/>
                    <a:pt x="31" y="32"/>
                  </a:cubicBezTo>
                  <a:moveTo>
                    <a:pt x="8" y="92"/>
                  </a:moveTo>
                  <a:cubicBezTo>
                    <a:pt x="40" y="92"/>
                    <a:pt x="40" y="92"/>
                    <a:pt x="40" y="92"/>
                  </a:cubicBezTo>
                  <a:cubicBezTo>
                    <a:pt x="40" y="94"/>
                    <a:pt x="40" y="97"/>
                    <a:pt x="40" y="99"/>
                  </a:cubicBezTo>
                  <a:cubicBezTo>
                    <a:pt x="40" y="100"/>
                    <a:pt x="41" y="101"/>
                    <a:pt x="41" y="102"/>
                  </a:cubicBezTo>
                  <a:cubicBezTo>
                    <a:pt x="41" y="105"/>
                    <a:pt x="41" y="107"/>
                    <a:pt x="42" y="110"/>
                  </a:cubicBezTo>
                  <a:cubicBezTo>
                    <a:pt x="42" y="111"/>
                    <a:pt x="42" y="112"/>
                    <a:pt x="42" y="113"/>
                  </a:cubicBezTo>
                  <a:cubicBezTo>
                    <a:pt x="43" y="119"/>
                    <a:pt x="45" y="126"/>
                    <a:pt x="46" y="132"/>
                  </a:cubicBezTo>
                  <a:cubicBezTo>
                    <a:pt x="47" y="132"/>
                    <a:pt x="47" y="133"/>
                    <a:pt x="47" y="133"/>
                  </a:cubicBezTo>
                  <a:cubicBezTo>
                    <a:pt x="41" y="136"/>
                    <a:pt x="35" y="140"/>
                    <a:pt x="31" y="144"/>
                  </a:cubicBezTo>
                  <a:cubicBezTo>
                    <a:pt x="18" y="130"/>
                    <a:pt x="9" y="112"/>
                    <a:pt x="8" y="92"/>
                  </a:cubicBezTo>
                  <a:moveTo>
                    <a:pt x="36" y="149"/>
                  </a:moveTo>
                  <a:cubicBezTo>
                    <a:pt x="40" y="146"/>
                    <a:pt x="45" y="143"/>
                    <a:pt x="50" y="140"/>
                  </a:cubicBezTo>
                  <a:cubicBezTo>
                    <a:pt x="50" y="141"/>
                    <a:pt x="50" y="141"/>
                    <a:pt x="50" y="142"/>
                  </a:cubicBezTo>
                  <a:cubicBezTo>
                    <a:pt x="50" y="142"/>
                    <a:pt x="50" y="142"/>
                    <a:pt x="50" y="142"/>
                  </a:cubicBezTo>
                  <a:cubicBezTo>
                    <a:pt x="53" y="148"/>
                    <a:pt x="56" y="153"/>
                    <a:pt x="59" y="158"/>
                  </a:cubicBezTo>
                  <a:cubicBezTo>
                    <a:pt x="59" y="158"/>
                    <a:pt x="59" y="158"/>
                    <a:pt x="59" y="158"/>
                  </a:cubicBezTo>
                  <a:cubicBezTo>
                    <a:pt x="61" y="161"/>
                    <a:pt x="63" y="163"/>
                    <a:pt x="64" y="164"/>
                  </a:cubicBezTo>
                  <a:cubicBezTo>
                    <a:pt x="54" y="161"/>
                    <a:pt x="44" y="156"/>
                    <a:pt x="36" y="149"/>
                  </a:cubicBezTo>
                  <a:moveTo>
                    <a:pt x="84" y="168"/>
                  </a:moveTo>
                  <a:cubicBezTo>
                    <a:pt x="73" y="165"/>
                    <a:pt x="63" y="154"/>
                    <a:pt x="57" y="137"/>
                  </a:cubicBezTo>
                  <a:cubicBezTo>
                    <a:pt x="65" y="134"/>
                    <a:pt x="74" y="133"/>
                    <a:pt x="84" y="132"/>
                  </a:cubicBezTo>
                  <a:lnTo>
                    <a:pt x="84" y="168"/>
                  </a:lnTo>
                  <a:close/>
                  <a:moveTo>
                    <a:pt x="84" y="124"/>
                  </a:moveTo>
                  <a:cubicBezTo>
                    <a:pt x="73" y="125"/>
                    <a:pt x="63" y="127"/>
                    <a:pt x="54" y="130"/>
                  </a:cubicBezTo>
                  <a:cubicBezTo>
                    <a:pt x="51" y="119"/>
                    <a:pt x="48" y="106"/>
                    <a:pt x="48" y="92"/>
                  </a:cubicBezTo>
                  <a:cubicBezTo>
                    <a:pt x="84" y="92"/>
                    <a:pt x="84" y="92"/>
                    <a:pt x="84" y="92"/>
                  </a:cubicBezTo>
                  <a:lnTo>
                    <a:pt x="84" y="124"/>
                  </a:lnTo>
                  <a:close/>
                  <a:moveTo>
                    <a:pt x="84" y="84"/>
                  </a:moveTo>
                  <a:cubicBezTo>
                    <a:pt x="48" y="84"/>
                    <a:pt x="48" y="84"/>
                    <a:pt x="48" y="84"/>
                  </a:cubicBezTo>
                  <a:cubicBezTo>
                    <a:pt x="48" y="70"/>
                    <a:pt x="51" y="57"/>
                    <a:pt x="54" y="46"/>
                  </a:cubicBezTo>
                  <a:cubicBezTo>
                    <a:pt x="63" y="49"/>
                    <a:pt x="73" y="51"/>
                    <a:pt x="84" y="52"/>
                  </a:cubicBezTo>
                  <a:lnTo>
                    <a:pt x="84" y="84"/>
                  </a:lnTo>
                  <a:close/>
                  <a:moveTo>
                    <a:pt x="84" y="44"/>
                  </a:moveTo>
                  <a:cubicBezTo>
                    <a:pt x="74" y="43"/>
                    <a:pt x="65" y="42"/>
                    <a:pt x="57" y="39"/>
                  </a:cubicBezTo>
                  <a:cubicBezTo>
                    <a:pt x="63" y="22"/>
                    <a:pt x="73" y="11"/>
                    <a:pt x="84" y="8"/>
                  </a:cubicBezTo>
                  <a:lnTo>
                    <a:pt x="84" y="44"/>
                  </a:lnTo>
                  <a:close/>
                  <a:moveTo>
                    <a:pt x="168" y="84"/>
                  </a:moveTo>
                  <a:cubicBezTo>
                    <a:pt x="136" y="84"/>
                    <a:pt x="136" y="84"/>
                    <a:pt x="136" y="84"/>
                  </a:cubicBezTo>
                  <a:cubicBezTo>
                    <a:pt x="136" y="82"/>
                    <a:pt x="136" y="79"/>
                    <a:pt x="136" y="77"/>
                  </a:cubicBezTo>
                  <a:cubicBezTo>
                    <a:pt x="136" y="76"/>
                    <a:pt x="135" y="75"/>
                    <a:pt x="135" y="74"/>
                  </a:cubicBezTo>
                  <a:cubicBezTo>
                    <a:pt x="135" y="71"/>
                    <a:pt x="135" y="69"/>
                    <a:pt x="134" y="66"/>
                  </a:cubicBezTo>
                  <a:cubicBezTo>
                    <a:pt x="134" y="65"/>
                    <a:pt x="134" y="64"/>
                    <a:pt x="134" y="63"/>
                  </a:cubicBezTo>
                  <a:cubicBezTo>
                    <a:pt x="133" y="57"/>
                    <a:pt x="131" y="50"/>
                    <a:pt x="130" y="44"/>
                  </a:cubicBezTo>
                  <a:cubicBezTo>
                    <a:pt x="129" y="44"/>
                    <a:pt x="129" y="43"/>
                    <a:pt x="129" y="43"/>
                  </a:cubicBezTo>
                  <a:cubicBezTo>
                    <a:pt x="135" y="40"/>
                    <a:pt x="141" y="36"/>
                    <a:pt x="145" y="32"/>
                  </a:cubicBezTo>
                  <a:cubicBezTo>
                    <a:pt x="158" y="46"/>
                    <a:pt x="167" y="64"/>
                    <a:pt x="168" y="84"/>
                  </a:cubicBezTo>
                  <a:moveTo>
                    <a:pt x="140" y="27"/>
                  </a:moveTo>
                  <a:cubicBezTo>
                    <a:pt x="136" y="30"/>
                    <a:pt x="131" y="33"/>
                    <a:pt x="126" y="36"/>
                  </a:cubicBezTo>
                  <a:cubicBezTo>
                    <a:pt x="126" y="35"/>
                    <a:pt x="126" y="35"/>
                    <a:pt x="126" y="34"/>
                  </a:cubicBezTo>
                  <a:cubicBezTo>
                    <a:pt x="126" y="34"/>
                    <a:pt x="126" y="34"/>
                    <a:pt x="126" y="34"/>
                  </a:cubicBezTo>
                  <a:cubicBezTo>
                    <a:pt x="123" y="28"/>
                    <a:pt x="120" y="23"/>
                    <a:pt x="117" y="18"/>
                  </a:cubicBezTo>
                  <a:cubicBezTo>
                    <a:pt x="117" y="18"/>
                    <a:pt x="117" y="18"/>
                    <a:pt x="117" y="18"/>
                  </a:cubicBezTo>
                  <a:cubicBezTo>
                    <a:pt x="115" y="15"/>
                    <a:pt x="113" y="13"/>
                    <a:pt x="112" y="12"/>
                  </a:cubicBezTo>
                  <a:cubicBezTo>
                    <a:pt x="122" y="15"/>
                    <a:pt x="132" y="20"/>
                    <a:pt x="140" y="27"/>
                  </a:cubicBezTo>
                  <a:moveTo>
                    <a:pt x="92" y="8"/>
                  </a:moveTo>
                  <a:cubicBezTo>
                    <a:pt x="103" y="11"/>
                    <a:pt x="113" y="22"/>
                    <a:pt x="119" y="39"/>
                  </a:cubicBezTo>
                  <a:cubicBezTo>
                    <a:pt x="111" y="42"/>
                    <a:pt x="102" y="43"/>
                    <a:pt x="92" y="44"/>
                  </a:cubicBezTo>
                  <a:lnTo>
                    <a:pt x="92" y="8"/>
                  </a:lnTo>
                  <a:close/>
                  <a:moveTo>
                    <a:pt x="92" y="52"/>
                  </a:moveTo>
                  <a:cubicBezTo>
                    <a:pt x="103" y="51"/>
                    <a:pt x="113" y="49"/>
                    <a:pt x="122" y="46"/>
                  </a:cubicBezTo>
                  <a:cubicBezTo>
                    <a:pt x="125" y="57"/>
                    <a:pt x="128" y="70"/>
                    <a:pt x="128" y="84"/>
                  </a:cubicBezTo>
                  <a:cubicBezTo>
                    <a:pt x="92" y="84"/>
                    <a:pt x="92" y="84"/>
                    <a:pt x="92" y="84"/>
                  </a:cubicBezTo>
                  <a:lnTo>
                    <a:pt x="92" y="52"/>
                  </a:lnTo>
                  <a:close/>
                  <a:moveTo>
                    <a:pt x="92" y="92"/>
                  </a:moveTo>
                  <a:cubicBezTo>
                    <a:pt x="128" y="92"/>
                    <a:pt x="128" y="92"/>
                    <a:pt x="128" y="92"/>
                  </a:cubicBezTo>
                  <a:cubicBezTo>
                    <a:pt x="128" y="106"/>
                    <a:pt x="125" y="119"/>
                    <a:pt x="122" y="130"/>
                  </a:cubicBezTo>
                  <a:cubicBezTo>
                    <a:pt x="113" y="127"/>
                    <a:pt x="103" y="125"/>
                    <a:pt x="92" y="124"/>
                  </a:cubicBezTo>
                  <a:lnTo>
                    <a:pt x="92" y="92"/>
                  </a:lnTo>
                  <a:close/>
                  <a:moveTo>
                    <a:pt x="92" y="168"/>
                  </a:moveTo>
                  <a:cubicBezTo>
                    <a:pt x="92" y="132"/>
                    <a:pt x="92" y="132"/>
                    <a:pt x="92" y="132"/>
                  </a:cubicBezTo>
                  <a:cubicBezTo>
                    <a:pt x="102" y="133"/>
                    <a:pt x="111" y="134"/>
                    <a:pt x="119" y="137"/>
                  </a:cubicBezTo>
                  <a:cubicBezTo>
                    <a:pt x="113" y="154"/>
                    <a:pt x="103" y="165"/>
                    <a:pt x="92" y="168"/>
                  </a:cubicBezTo>
                  <a:moveTo>
                    <a:pt x="112" y="164"/>
                  </a:moveTo>
                  <a:cubicBezTo>
                    <a:pt x="113" y="163"/>
                    <a:pt x="115" y="161"/>
                    <a:pt x="117" y="158"/>
                  </a:cubicBezTo>
                  <a:cubicBezTo>
                    <a:pt x="117" y="158"/>
                    <a:pt x="117" y="158"/>
                    <a:pt x="117" y="158"/>
                  </a:cubicBezTo>
                  <a:cubicBezTo>
                    <a:pt x="120" y="153"/>
                    <a:pt x="123" y="148"/>
                    <a:pt x="126" y="142"/>
                  </a:cubicBezTo>
                  <a:cubicBezTo>
                    <a:pt x="126" y="142"/>
                    <a:pt x="126" y="142"/>
                    <a:pt x="126" y="142"/>
                  </a:cubicBezTo>
                  <a:cubicBezTo>
                    <a:pt x="126" y="141"/>
                    <a:pt x="126" y="141"/>
                    <a:pt x="126" y="140"/>
                  </a:cubicBezTo>
                  <a:cubicBezTo>
                    <a:pt x="131" y="143"/>
                    <a:pt x="136" y="146"/>
                    <a:pt x="140" y="149"/>
                  </a:cubicBezTo>
                  <a:cubicBezTo>
                    <a:pt x="132" y="156"/>
                    <a:pt x="122" y="161"/>
                    <a:pt x="112" y="164"/>
                  </a:cubicBezTo>
                  <a:moveTo>
                    <a:pt x="145" y="144"/>
                  </a:moveTo>
                  <a:cubicBezTo>
                    <a:pt x="141" y="140"/>
                    <a:pt x="135" y="136"/>
                    <a:pt x="129" y="133"/>
                  </a:cubicBezTo>
                  <a:cubicBezTo>
                    <a:pt x="129" y="133"/>
                    <a:pt x="129" y="132"/>
                    <a:pt x="130" y="132"/>
                  </a:cubicBezTo>
                  <a:cubicBezTo>
                    <a:pt x="131" y="126"/>
                    <a:pt x="133" y="119"/>
                    <a:pt x="134" y="113"/>
                  </a:cubicBezTo>
                  <a:cubicBezTo>
                    <a:pt x="134" y="112"/>
                    <a:pt x="134" y="111"/>
                    <a:pt x="134" y="110"/>
                  </a:cubicBezTo>
                  <a:cubicBezTo>
                    <a:pt x="135" y="107"/>
                    <a:pt x="135" y="105"/>
                    <a:pt x="135" y="102"/>
                  </a:cubicBezTo>
                  <a:cubicBezTo>
                    <a:pt x="135" y="101"/>
                    <a:pt x="136" y="100"/>
                    <a:pt x="136" y="99"/>
                  </a:cubicBezTo>
                  <a:cubicBezTo>
                    <a:pt x="136" y="97"/>
                    <a:pt x="136" y="94"/>
                    <a:pt x="136" y="92"/>
                  </a:cubicBezTo>
                  <a:cubicBezTo>
                    <a:pt x="168" y="92"/>
                    <a:pt x="168" y="92"/>
                    <a:pt x="168" y="92"/>
                  </a:cubicBezTo>
                  <a:cubicBezTo>
                    <a:pt x="167" y="112"/>
                    <a:pt x="158" y="130"/>
                    <a:pt x="145" y="144"/>
                  </a:cubicBezTo>
                </a:path>
              </a:pathLst>
            </a:custGeom>
            <a:solidFill>
              <a:schemeClr val="bg1">
                <a:alpha val="70000"/>
              </a:schemeClr>
            </a:solidFill>
            <a:ln>
              <a:noFill/>
            </a:ln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/>
            <a:p>
              <a:pPr defTabSz="1097280">
                <a:defRPr/>
              </a:pPr>
              <a:endParaRPr lang="en-US" sz="2160">
                <a:solidFill>
                  <a:prstClr val="black"/>
                </a:solidFill>
                <a:latin typeface="+mn-ea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015CB29-7D52-F423-8D30-9E354FEDB2DE}"/>
                </a:ext>
              </a:extLst>
            </p:cNvPr>
            <p:cNvSpPr/>
            <p:nvPr/>
          </p:nvSpPr>
          <p:spPr>
            <a:xfrm>
              <a:off x="8934634" y="2573023"/>
              <a:ext cx="503344" cy="3480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/>
            <a:p>
              <a:pPr defTabSz="1097280">
                <a:lnSpc>
                  <a:spcPct val="90000"/>
                </a:lnSpc>
                <a:defRPr/>
              </a:pPr>
              <a:r>
                <a:rPr lang="en-US" sz="2400" b="1">
                  <a:solidFill>
                    <a:schemeClr val="bg1"/>
                  </a:solidFill>
                  <a:latin typeface="+mn-ea"/>
                  <a:cs typeface="Arial" panose="020B0604020202020204" pitchFamily="34" charset="0"/>
                </a:rPr>
                <a:t>9%</a:t>
              </a:r>
              <a:endParaRPr lang="en-US" altLang="zh-TW" sz="1440" b="1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131" name="Shape 3627">
              <a:extLst>
                <a:ext uri="{FF2B5EF4-FFF2-40B4-BE49-F238E27FC236}">
                  <a16:creationId xmlns:a16="http://schemas.microsoft.com/office/drawing/2014/main" id="{6AB95F15-7E37-9387-0D03-253ED67D015B}"/>
                </a:ext>
              </a:extLst>
            </p:cNvPr>
            <p:cNvSpPr/>
            <p:nvPr/>
          </p:nvSpPr>
          <p:spPr>
            <a:xfrm>
              <a:off x="10915952" y="2177191"/>
              <a:ext cx="396808" cy="3607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855" y="18900"/>
                  </a:moveTo>
                  <a:cubicBezTo>
                    <a:pt x="7279" y="18900"/>
                    <a:pt x="6684" y="18827"/>
                    <a:pt x="6086" y="18683"/>
                  </a:cubicBezTo>
                  <a:cubicBezTo>
                    <a:pt x="6017" y="18666"/>
                    <a:pt x="5946" y="18658"/>
                    <a:pt x="5876" y="18658"/>
                  </a:cubicBezTo>
                  <a:cubicBezTo>
                    <a:pt x="5756" y="18658"/>
                    <a:pt x="5636" y="18682"/>
                    <a:pt x="5523" y="18729"/>
                  </a:cubicBezTo>
                  <a:lnTo>
                    <a:pt x="2957" y="19815"/>
                  </a:lnTo>
                  <a:lnTo>
                    <a:pt x="3365" y="18243"/>
                  </a:lnTo>
                  <a:cubicBezTo>
                    <a:pt x="3474" y="17827"/>
                    <a:pt x="3345" y="17380"/>
                    <a:pt x="3039" y="17108"/>
                  </a:cubicBezTo>
                  <a:cubicBezTo>
                    <a:pt x="1712" y="15926"/>
                    <a:pt x="982" y="14358"/>
                    <a:pt x="982" y="12690"/>
                  </a:cubicBezTo>
                  <a:cubicBezTo>
                    <a:pt x="982" y="9266"/>
                    <a:pt x="4065" y="6480"/>
                    <a:pt x="7855" y="6480"/>
                  </a:cubicBezTo>
                  <a:cubicBezTo>
                    <a:pt x="11644" y="6480"/>
                    <a:pt x="14727" y="9266"/>
                    <a:pt x="14727" y="12690"/>
                  </a:cubicBezTo>
                  <a:cubicBezTo>
                    <a:pt x="14727" y="16114"/>
                    <a:pt x="11644" y="18900"/>
                    <a:pt x="7855" y="18900"/>
                  </a:cubicBezTo>
                  <a:moveTo>
                    <a:pt x="7855" y="5400"/>
                  </a:moveTo>
                  <a:cubicBezTo>
                    <a:pt x="3517" y="5400"/>
                    <a:pt x="0" y="8664"/>
                    <a:pt x="0" y="12690"/>
                  </a:cubicBezTo>
                  <a:cubicBezTo>
                    <a:pt x="0" y="14758"/>
                    <a:pt x="932" y="16620"/>
                    <a:pt x="2422" y="17947"/>
                  </a:cubicBezTo>
                  <a:lnTo>
                    <a:pt x="1473" y="21600"/>
                  </a:lnTo>
                  <a:lnTo>
                    <a:pt x="5876" y="19738"/>
                  </a:lnTo>
                  <a:cubicBezTo>
                    <a:pt x="6509" y="19891"/>
                    <a:pt x="7169" y="19980"/>
                    <a:pt x="7855" y="19980"/>
                  </a:cubicBezTo>
                  <a:cubicBezTo>
                    <a:pt x="12192" y="19980"/>
                    <a:pt x="15709" y="16716"/>
                    <a:pt x="15709" y="12690"/>
                  </a:cubicBezTo>
                  <a:cubicBezTo>
                    <a:pt x="15709" y="8664"/>
                    <a:pt x="12192" y="5400"/>
                    <a:pt x="7855" y="5400"/>
                  </a:cubicBezTo>
                  <a:moveTo>
                    <a:pt x="21600" y="7290"/>
                  </a:moveTo>
                  <a:cubicBezTo>
                    <a:pt x="21600" y="3264"/>
                    <a:pt x="18084" y="0"/>
                    <a:pt x="13745" y="0"/>
                  </a:cubicBezTo>
                  <a:cubicBezTo>
                    <a:pt x="10506" y="0"/>
                    <a:pt x="7725" y="1821"/>
                    <a:pt x="6525" y="4422"/>
                  </a:cubicBezTo>
                  <a:cubicBezTo>
                    <a:pt x="6912" y="4367"/>
                    <a:pt x="7306" y="4332"/>
                    <a:pt x="7708" y="4326"/>
                  </a:cubicBezTo>
                  <a:cubicBezTo>
                    <a:pt x="8875" y="2394"/>
                    <a:pt x="11143" y="1080"/>
                    <a:pt x="13745" y="1080"/>
                  </a:cubicBezTo>
                  <a:cubicBezTo>
                    <a:pt x="17535" y="1080"/>
                    <a:pt x="20618" y="3866"/>
                    <a:pt x="20618" y="7290"/>
                  </a:cubicBezTo>
                  <a:cubicBezTo>
                    <a:pt x="20618" y="8958"/>
                    <a:pt x="19888" y="10526"/>
                    <a:pt x="18561" y="11707"/>
                  </a:cubicBezTo>
                  <a:cubicBezTo>
                    <a:pt x="18255" y="11980"/>
                    <a:pt x="18126" y="12428"/>
                    <a:pt x="18234" y="12843"/>
                  </a:cubicBezTo>
                  <a:lnTo>
                    <a:pt x="18643" y="14415"/>
                  </a:lnTo>
                  <a:lnTo>
                    <a:pt x="16613" y="13556"/>
                  </a:lnTo>
                  <a:cubicBezTo>
                    <a:pt x="16573" y="13922"/>
                    <a:pt x="16500" y="14278"/>
                    <a:pt x="16411" y="14628"/>
                  </a:cubicBezTo>
                  <a:lnTo>
                    <a:pt x="20127" y="16200"/>
                  </a:lnTo>
                  <a:lnTo>
                    <a:pt x="19178" y="12547"/>
                  </a:lnTo>
                  <a:cubicBezTo>
                    <a:pt x="20669" y="11220"/>
                    <a:pt x="21600" y="9358"/>
                    <a:pt x="21600" y="7290"/>
                  </a:cubicBezTo>
                </a:path>
              </a:pathLst>
            </a:custGeom>
            <a:solidFill>
              <a:schemeClr val="bg1">
                <a:alpha val="70000"/>
              </a:schemeClr>
            </a:solidFill>
            <a:ln w="12700">
              <a:miter lim="400000"/>
            </a:ln>
          </p:spPr>
          <p:txBody>
            <a:bodyPr lIns="45720" tIns="45720" rIns="45720" bIns="45720" anchor="ctr"/>
            <a:lstStyle/>
            <a:p>
              <a:pPr defTabSz="1097280">
                <a:defRPr/>
              </a:pPr>
              <a:endParaRPr lang="en-US" sz="2160">
                <a:solidFill>
                  <a:prstClr val="black"/>
                </a:solidFill>
                <a:latin typeface="+mn-ea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68BC384E-3228-DF46-4C15-4D03DBF5DDE8}"/>
                </a:ext>
              </a:extLst>
            </p:cNvPr>
            <p:cNvSpPr/>
            <p:nvPr/>
          </p:nvSpPr>
          <p:spPr>
            <a:xfrm>
              <a:off x="11658963" y="2421790"/>
              <a:ext cx="844134" cy="3480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>
              <a:noAutofit/>
            </a:bodyPr>
            <a:lstStyle/>
            <a:p>
              <a:pPr defTabSz="1097280">
                <a:lnSpc>
                  <a:spcPct val="90000"/>
                </a:lnSpc>
                <a:defRPr/>
              </a:pPr>
              <a:r>
                <a:rPr lang="en-US" sz="3200" b="1">
                  <a:solidFill>
                    <a:schemeClr val="bg1"/>
                  </a:solidFill>
                  <a:latin typeface="+mn-ea"/>
                  <a:cs typeface="Arial" panose="020B0604020202020204" pitchFamily="34" charset="0"/>
                </a:rPr>
                <a:t>67%</a:t>
              </a:r>
              <a:endParaRPr lang="en-US" altLang="zh-TW" sz="3200" b="1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DB6FAEF2-5D83-23F9-6EE7-31F1693EBD67}"/>
                </a:ext>
              </a:extLst>
            </p:cNvPr>
            <p:cNvSpPr/>
            <p:nvPr/>
          </p:nvSpPr>
          <p:spPr>
            <a:xfrm>
              <a:off x="833930" y="2421790"/>
              <a:ext cx="844134" cy="3480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>
              <a:noAutofit/>
            </a:bodyPr>
            <a:lstStyle/>
            <a:p>
              <a:pPr defTabSz="1097280">
                <a:lnSpc>
                  <a:spcPct val="90000"/>
                </a:lnSpc>
                <a:defRPr/>
              </a:pPr>
              <a:r>
                <a:rPr lang="en-US" sz="3200" b="1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32%</a:t>
              </a:r>
              <a:endParaRPr lang="en-US" altLang="zh-TW" sz="3200" b="1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BC2CFA75-A72E-A9DB-6BA3-FC9DC965059B}"/>
              </a:ext>
            </a:extLst>
          </p:cNvPr>
          <p:cNvGrpSpPr/>
          <p:nvPr/>
        </p:nvGrpSpPr>
        <p:grpSpPr>
          <a:xfrm>
            <a:off x="683669" y="3261382"/>
            <a:ext cx="13260931" cy="2019871"/>
            <a:chOff x="684000" y="4886298"/>
            <a:chExt cx="12634665" cy="2299413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grpSpPr>
        <p:sp>
          <p:nvSpPr>
            <p:cNvPr id="153" name="Pentagon 39">
              <a:extLst>
                <a:ext uri="{FF2B5EF4-FFF2-40B4-BE49-F238E27FC236}">
                  <a16:creationId xmlns:a16="http://schemas.microsoft.com/office/drawing/2014/main" id="{D80D210A-6664-5465-B520-794909759C62}"/>
                </a:ext>
              </a:extLst>
            </p:cNvPr>
            <p:cNvSpPr/>
            <p:nvPr/>
          </p:nvSpPr>
          <p:spPr>
            <a:xfrm>
              <a:off x="684000" y="4886298"/>
              <a:ext cx="2065777" cy="2299413"/>
            </a:xfrm>
            <a:custGeom>
              <a:avLst/>
              <a:gdLst>
                <a:gd name="connsiteX0" fmla="*/ 0 w 3455266"/>
                <a:gd name="connsiteY0" fmla="*/ 0 h 2420470"/>
                <a:gd name="connsiteX1" fmla="*/ 2972140 w 3455266"/>
                <a:gd name="connsiteY1" fmla="*/ 0 h 2420470"/>
                <a:gd name="connsiteX2" fmla="*/ 3455266 w 3455266"/>
                <a:gd name="connsiteY2" fmla="*/ 1210235 h 2420470"/>
                <a:gd name="connsiteX3" fmla="*/ 2972140 w 3455266"/>
                <a:gd name="connsiteY3" fmla="*/ 2420470 h 2420470"/>
                <a:gd name="connsiteX4" fmla="*/ 0 w 3455266"/>
                <a:gd name="connsiteY4" fmla="*/ 2420470 h 2420470"/>
                <a:gd name="connsiteX5" fmla="*/ 0 w 3455266"/>
                <a:gd name="connsiteY5" fmla="*/ 0 h 2420470"/>
                <a:gd name="connsiteX0" fmla="*/ 0 w 3455266"/>
                <a:gd name="connsiteY0" fmla="*/ 0 h 2420470"/>
                <a:gd name="connsiteX1" fmla="*/ 3017860 w 3455266"/>
                <a:gd name="connsiteY1" fmla="*/ 150876 h 2420470"/>
                <a:gd name="connsiteX2" fmla="*/ 3455266 w 3455266"/>
                <a:gd name="connsiteY2" fmla="*/ 1210235 h 2420470"/>
                <a:gd name="connsiteX3" fmla="*/ 2972140 w 3455266"/>
                <a:gd name="connsiteY3" fmla="*/ 2420470 h 2420470"/>
                <a:gd name="connsiteX4" fmla="*/ 0 w 3455266"/>
                <a:gd name="connsiteY4" fmla="*/ 2420470 h 2420470"/>
                <a:gd name="connsiteX5" fmla="*/ 0 w 3455266"/>
                <a:gd name="connsiteY5" fmla="*/ 0 h 2420470"/>
                <a:gd name="connsiteX0" fmla="*/ 0 w 3455266"/>
                <a:gd name="connsiteY0" fmla="*/ 0 h 2420470"/>
                <a:gd name="connsiteX1" fmla="*/ 3017860 w 3455266"/>
                <a:gd name="connsiteY1" fmla="*/ 150876 h 2420470"/>
                <a:gd name="connsiteX2" fmla="*/ 3455266 w 3455266"/>
                <a:gd name="connsiteY2" fmla="*/ 1210235 h 2420470"/>
                <a:gd name="connsiteX3" fmla="*/ 3032465 w 3455266"/>
                <a:gd name="connsiteY3" fmla="*/ 2261720 h 2420470"/>
                <a:gd name="connsiteX4" fmla="*/ 0 w 3455266"/>
                <a:gd name="connsiteY4" fmla="*/ 2420470 h 2420470"/>
                <a:gd name="connsiteX5" fmla="*/ 0 w 3455266"/>
                <a:gd name="connsiteY5" fmla="*/ 0 h 2420470"/>
                <a:gd name="connsiteX0" fmla="*/ 0 w 3466469"/>
                <a:gd name="connsiteY0" fmla="*/ 0 h 2454122"/>
                <a:gd name="connsiteX1" fmla="*/ 3029063 w 3466469"/>
                <a:gd name="connsiteY1" fmla="*/ 184528 h 2454122"/>
                <a:gd name="connsiteX2" fmla="*/ 3466469 w 3466469"/>
                <a:gd name="connsiteY2" fmla="*/ 1243887 h 2454122"/>
                <a:gd name="connsiteX3" fmla="*/ 3043668 w 3466469"/>
                <a:gd name="connsiteY3" fmla="*/ 2295372 h 2454122"/>
                <a:gd name="connsiteX4" fmla="*/ 11203 w 3466469"/>
                <a:gd name="connsiteY4" fmla="*/ 2454122 h 2454122"/>
                <a:gd name="connsiteX5" fmla="*/ 0 w 3466469"/>
                <a:gd name="connsiteY5" fmla="*/ 0 h 2454122"/>
                <a:gd name="connsiteX0" fmla="*/ 0 w 3466469"/>
                <a:gd name="connsiteY0" fmla="*/ 0 h 2454122"/>
                <a:gd name="connsiteX1" fmla="*/ 2866626 w 3466469"/>
                <a:gd name="connsiteY1" fmla="*/ 94787 h 2454122"/>
                <a:gd name="connsiteX2" fmla="*/ 3466469 w 3466469"/>
                <a:gd name="connsiteY2" fmla="*/ 1243887 h 2454122"/>
                <a:gd name="connsiteX3" fmla="*/ 3043668 w 3466469"/>
                <a:gd name="connsiteY3" fmla="*/ 2295372 h 2454122"/>
                <a:gd name="connsiteX4" fmla="*/ 11203 w 3466469"/>
                <a:gd name="connsiteY4" fmla="*/ 2454122 h 2454122"/>
                <a:gd name="connsiteX5" fmla="*/ 0 w 3466469"/>
                <a:gd name="connsiteY5" fmla="*/ 0 h 2454122"/>
                <a:gd name="connsiteX0" fmla="*/ 0 w 3466469"/>
                <a:gd name="connsiteY0" fmla="*/ 0 h 2454122"/>
                <a:gd name="connsiteX1" fmla="*/ 2866626 w 3466469"/>
                <a:gd name="connsiteY1" fmla="*/ 94787 h 2454122"/>
                <a:gd name="connsiteX2" fmla="*/ 3466469 w 3466469"/>
                <a:gd name="connsiteY2" fmla="*/ 1243887 h 2454122"/>
                <a:gd name="connsiteX3" fmla="*/ 2954048 w 3466469"/>
                <a:gd name="connsiteY3" fmla="*/ 2347720 h 2454122"/>
                <a:gd name="connsiteX4" fmla="*/ 11203 w 3466469"/>
                <a:gd name="connsiteY4" fmla="*/ 2454122 h 2454122"/>
                <a:gd name="connsiteX5" fmla="*/ 0 w 3466469"/>
                <a:gd name="connsiteY5" fmla="*/ 0 h 2454122"/>
                <a:gd name="connsiteX0" fmla="*/ 0 w 3466469"/>
                <a:gd name="connsiteY0" fmla="*/ 0 h 2454122"/>
                <a:gd name="connsiteX1" fmla="*/ 2866626 w 3466469"/>
                <a:gd name="connsiteY1" fmla="*/ 94787 h 2454122"/>
                <a:gd name="connsiteX2" fmla="*/ 3466469 w 3466469"/>
                <a:gd name="connsiteY2" fmla="*/ 1243887 h 2454122"/>
                <a:gd name="connsiteX3" fmla="*/ 2909238 w 3466469"/>
                <a:gd name="connsiteY3" fmla="*/ 2351460 h 2454122"/>
                <a:gd name="connsiteX4" fmla="*/ 11203 w 3466469"/>
                <a:gd name="connsiteY4" fmla="*/ 2454122 h 2454122"/>
                <a:gd name="connsiteX5" fmla="*/ 0 w 3466469"/>
                <a:gd name="connsiteY5" fmla="*/ 0 h 2454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66469" h="2454122">
                  <a:moveTo>
                    <a:pt x="0" y="0"/>
                  </a:moveTo>
                  <a:lnTo>
                    <a:pt x="2866626" y="94787"/>
                  </a:lnTo>
                  <a:lnTo>
                    <a:pt x="3466469" y="1243887"/>
                  </a:lnTo>
                  <a:lnTo>
                    <a:pt x="2909238" y="2351460"/>
                  </a:lnTo>
                  <a:lnTo>
                    <a:pt x="11203" y="2454122"/>
                  </a:lnTo>
                  <a:cubicBezTo>
                    <a:pt x="7469" y="1636081"/>
                    <a:pt x="3734" y="818041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116000" rIns="72000" bIns="0" rtlCol="0" anchor="t" anchorCtr="0"/>
            <a:lstStyle/>
            <a:p>
              <a:pPr algn="ctr" defTabSz="1097192">
                <a:lnSpc>
                  <a:spcPct val="90000"/>
                </a:lnSpc>
                <a:defRPr kumimoji="0" sz="288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lang="en-US" sz="14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Pipeline</a:t>
              </a:r>
            </a:p>
            <a:p>
              <a:pPr algn="ctr" defTabSz="1097192">
                <a:lnSpc>
                  <a:spcPct val="90000"/>
                </a:lnSpc>
                <a:defRPr kumimoji="0" sz="288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lang="en-US" sz="14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Generation</a:t>
              </a:r>
            </a:p>
          </p:txBody>
        </p:sp>
        <p:sp>
          <p:nvSpPr>
            <p:cNvPr id="154" name="Chevron 65">
              <a:extLst>
                <a:ext uri="{FF2B5EF4-FFF2-40B4-BE49-F238E27FC236}">
                  <a16:creationId xmlns:a16="http://schemas.microsoft.com/office/drawing/2014/main" id="{2FCFFB5A-740C-2E28-E590-664BD4E98967}"/>
                </a:ext>
              </a:extLst>
            </p:cNvPr>
            <p:cNvSpPr/>
            <p:nvPr/>
          </p:nvSpPr>
          <p:spPr>
            <a:xfrm>
              <a:off x="2432129" y="4983586"/>
              <a:ext cx="2079129" cy="2102023"/>
            </a:xfrm>
            <a:custGeom>
              <a:avLst/>
              <a:gdLst>
                <a:gd name="connsiteX0" fmla="*/ 0 w 2161165"/>
                <a:gd name="connsiteY0" fmla="*/ 0 h 1975898"/>
                <a:gd name="connsiteX1" fmla="*/ 1809356 w 2161165"/>
                <a:gd name="connsiteY1" fmla="*/ 0 h 1975898"/>
                <a:gd name="connsiteX2" fmla="*/ 2161165 w 2161165"/>
                <a:gd name="connsiteY2" fmla="*/ 987949 h 1975898"/>
                <a:gd name="connsiteX3" fmla="*/ 1809356 w 2161165"/>
                <a:gd name="connsiteY3" fmla="*/ 1975898 h 1975898"/>
                <a:gd name="connsiteX4" fmla="*/ 0 w 2161165"/>
                <a:gd name="connsiteY4" fmla="*/ 1975898 h 1975898"/>
                <a:gd name="connsiteX5" fmla="*/ 351809 w 2161165"/>
                <a:gd name="connsiteY5" fmla="*/ 987949 h 1975898"/>
                <a:gd name="connsiteX6" fmla="*/ 0 w 2161165"/>
                <a:gd name="connsiteY6" fmla="*/ 0 h 1975898"/>
                <a:gd name="connsiteX0" fmla="*/ 0 w 2182186"/>
                <a:gd name="connsiteY0" fmla="*/ 0 h 2056478"/>
                <a:gd name="connsiteX1" fmla="*/ 1830377 w 2182186"/>
                <a:gd name="connsiteY1" fmla="*/ 80580 h 2056478"/>
                <a:gd name="connsiteX2" fmla="*/ 2182186 w 2182186"/>
                <a:gd name="connsiteY2" fmla="*/ 1068529 h 2056478"/>
                <a:gd name="connsiteX3" fmla="*/ 1830377 w 2182186"/>
                <a:gd name="connsiteY3" fmla="*/ 2056478 h 2056478"/>
                <a:gd name="connsiteX4" fmla="*/ 21021 w 2182186"/>
                <a:gd name="connsiteY4" fmla="*/ 2056478 h 2056478"/>
                <a:gd name="connsiteX5" fmla="*/ 372830 w 2182186"/>
                <a:gd name="connsiteY5" fmla="*/ 1068529 h 2056478"/>
                <a:gd name="connsiteX6" fmla="*/ 0 w 2182186"/>
                <a:gd name="connsiteY6" fmla="*/ 0 h 2056478"/>
                <a:gd name="connsiteX0" fmla="*/ 0 w 2182186"/>
                <a:gd name="connsiteY0" fmla="*/ 0 h 2102023"/>
                <a:gd name="connsiteX1" fmla="*/ 1830377 w 2182186"/>
                <a:gd name="connsiteY1" fmla="*/ 80580 h 2102023"/>
                <a:gd name="connsiteX2" fmla="*/ 2182186 w 2182186"/>
                <a:gd name="connsiteY2" fmla="*/ 1068529 h 2102023"/>
                <a:gd name="connsiteX3" fmla="*/ 1830377 w 2182186"/>
                <a:gd name="connsiteY3" fmla="*/ 2056478 h 2102023"/>
                <a:gd name="connsiteX4" fmla="*/ 28027 w 2182186"/>
                <a:gd name="connsiteY4" fmla="*/ 2102023 h 2102023"/>
                <a:gd name="connsiteX5" fmla="*/ 372830 w 2182186"/>
                <a:gd name="connsiteY5" fmla="*/ 1068529 h 2102023"/>
                <a:gd name="connsiteX6" fmla="*/ 0 w 2182186"/>
                <a:gd name="connsiteY6" fmla="*/ 0 h 2102023"/>
                <a:gd name="connsiteX0" fmla="*/ 0 w 2182186"/>
                <a:gd name="connsiteY0" fmla="*/ 0 h 2102023"/>
                <a:gd name="connsiteX1" fmla="*/ 1830377 w 2182186"/>
                <a:gd name="connsiteY1" fmla="*/ 80580 h 2102023"/>
                <a:gd name="connsiteX2" fmla="*/ 2182186 w 2182186"/>
                <a:gd name="connsiteY2" fmla="*/ 1068529 h 2102023"/>
                <a:gd name="connsiteX3" fmla="*/ 1833881 w 2182186"/>
                <a:gd name="connsiteY3" fmla="*/ 2028450 h 2102023"/>
                <a:gd name="connsiteX4" fmla="*/ 28027 w 2182186"/>
                <a:gd name="connsiteY4" fmla="*/ 2102023 h 2102023"/>
                <a:gd name="connsiteX5" fmla="*/ 372830 w 2182186"/>
                <a:gd name="connsiteY5" fmla="*/ 1068529 h 2102023"/>
                <a:gd name="connsiteX6" fmla="*/ 0 w 2182186"/>
                <a:gd name="connsiteY6" fmla="*/ 0 h 2102023"/>
                <a:gd name="connsiteX0" fmla="*/ 0 w 2182186"/>
                <a:gd name="connsiteY0" fmla="*/ 0 h 2102023"/>
                <a:gd name="connsiteX1" fmla="*/ 1830377 w 2182186"/>
                <a:gd name="connsiteY1" fmla="*/ 77077 h 2102023"/>
                <a:gd name="connsiteX2" fmla="*/ 2182186 w 2182186"/>
                <a:gd name="connsiteY2" fmla="*/ 1068529 h 2102023"/>
                <a:gd name="connsiteX3" fmla="*/ 1833881 w 2182186"/>
                <a:gd name="connsiteY3" fmla="*/ 2028450 h 2102023"/>
                <a:gd name="connsiteX4" fmla="*/ 28027 w 2182186"/>
                <a:gd name="connsiteY4" fmla="*/ 2102023 h 2102023"/>
                <a:gd name="connsiteX5" fmla="*/ 372830 w 2182186"/>
                <a:gd name="connsiteY5" fmla="*/ 1068529 h 2102023"/>
                <a:gd name="connsiteX6" fmla="*/ 0 w 2182186"/>
                <a:gd name="connsiteY6" fmla="*/ 0 h 2102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2186" h="2102023">
                  <a:moveTo>
                    <a:pt x="0" y="0"/>
                  </a:moveTo>
                  <a:lnTo>
                    <a:pt x="1830377" y="77077"/>
                  </a:lnTo>
                  <a:lnTo>
                    <a:pt x="2182186" y="1068529"/>
                  </a:lnTo>
                  <a:lnTo>
                    <a:pt x="1833881" y="2028450"/>
                  </a:lnTo>
                  <a:lnTo>
                    <a:pt x="28027" y="2102023"/>
                  </a:lnTo>
                  <a:lnTo>
                    <a:pt x="372830" y="106852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007999" rIns="72000" bIns="0" rtlCol="0" anchor="t" anchorCtr="0"/>
            <a:lstStyle/>
            <a:p>
              <a:pPr algn="ctr">
                <a:lnSpc>
                  <a:spcPct val="90000"/>
                </a:lnSpc>
              </a:pPr>
              <a:r>
                <a:rPr lang="en-US" sz="14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CV</a:t>
              </a:r>
            </a:p>
            <a:p>
              <a:pPr algn="ctr">
                <a:lnSpc>
                  <a:spcPct val="90000"/>
                </a:lnSpc>
              </a:pPr>
              <a:r>
                <a:rPr lang="en-US" sz="14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Review</a:t>
              </a:r>
            </a:p>
          </p:txBody>
        </p:sp>
        <p:sp>
          <p:nvSpPr>
            <p:cNvPr id="155" name="Chevron 66">
              <a:extLst>
                <a:ext uri="{FF2B5EF4-FFF2-40B4-BE49-F238E27FC236}">
                  <a16:creationId xmlns:a16="http://schemas.microsoft.com/office/drawing/2014/main" id="{DEA2A4B8-0933-EA08-487E-240CD326111B}"/>
                </a:ext>
              </a:extLst>
            </p:cNvPr>
            <p:cNvSpPr/>
            <p:nvPr/>
          </p:nvSpPr>
          <p:spPr>
            <a:xfrm>
              <a:off x="4213638" y="5064166"/>
              <a:ext cx="2059101" cy="1943710"/>
            </a:xfrm>
            <a:custGeom>
              <a:avLst/>
              <a:gdLst>
                <a:gd name="connsiteX0" fmla="*/ 0 w 2161165"/>
                <a:gd name="connsiteY0" fmla="*/ 0 h 1975898"/>
                <a:gd name="connsiteX1" fmla="*/ 1809356 w 2161165"/>
                <a:gd name="connsiteY1" fmla="*/ 0 h 1975898"/>
                <a:gd name="connsiteX2" fmla="*/ 2161165 w 2161165"/>
                <a:gd name="connsiteY2" fmla="*/ 987949 h 1975898"/>
                <a:gd name="connsiteX3" fmla="*/ 1809356 w 2161165"/>
                <a:gd name="connsiteY3" fmla="*/ 1975898 h 1975898"/>
                <a:gd name="connsiteX4" fmla="*/ 0 w 2161165"/>
                <a:gd name="connsiteY4" fmla="*/ 1975898 h 1975898"/>
                <a:gd name="connsiteX5" fmla="*/ 351809 w 2161165"/>
                <a:gd name="connsiteY5" fmla="*/ 987949 h 1975898"/>
                <a:gd name="connsiteX6" fmla="*/ 0 w 2161165"/>
                <a:gd name="connsiteY6" fmla="*/ 0 h 1975898"/>
                <a:gd name="connsiteX0" fmla="*/ 0 w 2161165"/>
                <a:gd name="connsiteY0" fmla="*/ 0 h 1975898"/>
                <a:gd name="connsiteX1" fmla="*/ 1809356 w 2161165"/>
                <a:gd name="connsiteY1" fmla="*/ 0 h 1975898"/>
                <a:gd name="connsiteX2" fmla="*/ 2161165 w 2161165"/>
                <a:gd name="connsiteY2" fmla="*/ 987949 h 1975898"/>
                <a:gd name="connsiteX3" fmla="*/ 1809356 w 2161165"/>
                <a:gd name="connsiteY3" fmla="*/ 1975898 h 1975898"/>
                <a:gd name="connsiteX4" fmla="*/ 14013 w 2161165"/>
                <a:gd name="connsiteY4" fmla="*/ 1937360 h 1975898"/>
                <a:gd name="connsiteX5" fmla="*/ 351809 w 2161165"/>
                <a:gd name="connsiteY5" fmla="*/ 987949 h 1975898"/>
                <a:gd name="connsiteX6" fmla="*/ 0 w 2161165"/>
                <a:gd name="connsiteY6" fmla="*/ 0 h 1975898"/>
                <a:gd name="connsiteX0" fmla="*/ 0 w 2161165"/>
                <a:gd name="connsiteY0" fmla="*/ 0 h 1937360"/>
                <a:gd name="connsiteX1" fmla="*/ 1809356 w 2161165"/>
                <a:gd name="connsiteY1" fmla="*/ 0 h 1937360"/>
                <a:gd name="connsiteX2" fmla="*/ 2161165 w 2161165"/>
                <a:gd name="connsiteY2" fmla="*/ 987949 h 1937360"/>
                <a:gd name="connsiteX3" fmla="*/ 1847894 w 2161165"/>
                <a:gd name="connsiteY3" fmla="*/ 1867291 h 1937360"/>
                <a:gd name="connsiteX4" fmla="*/ 14013 w 2161165"/>
                <a:gd name="connsiteY4" fmla="*/ 1937360 h 1937360"/>
                <a:gd name="connsiteX5" fmla="*/ 351809 w 2161165"/>
                <a:gd name="connsiteY5" fmla="*/ 987949 h 1937360"/>
                <a:gd name="connsiteX6" fmla="*/ 0 w 2161165"/>
                <a:gd name="connsiteY6" fmla="*/ 0 h 1937360"/>
                <a:gd name="connsiteX0" fmla="*/ 0 w 2161165"/>
                <a:gd name="connsiteY0" fmla="*/ 0 h 1937360"/>
                <a:gd name="connsiteX1" fmla="*/ 1819867 w 2161165"/>
                <a:gd name="connsiteY1" fmla="*/ 73572 h 1937360"/>
                <a:gd name="connsiteX2" fmla="*/ 2161165 w 2161165"/>
                <a:gd name="connsiteY2" fmla="*/ 987949 h 1937360"/>
                <a:gd name="connsiteX3" fmla="*/ 1847894 w 2161165"/>
                <a:gd name="connsiteY3" fmla="*/ 1867291 h 1937360"/>
                <a:gd name="connsiteX4" fmla="*/ 14013 w 2161165"/>
                <a:gd name="connsiteY4" fmla="*/ 1937360 h 1937360"/>
                <a:gd name="connsiteX5" fmla="*/ 351809 w 2161165"/>
                <a:gd name="connsiteY5" fmla="*/ 987949 h 1937360"/>
                <a:gd name="connsiteX6" fmla="*/ 0 w 2161165"/>
                <a:gd name="connsiteY6" fmla="*/ 0 h 1937360"/>
                <a:gd name="connsiteX0" fmla="*/ 0 w 2161165"/>
                <a:gd name="connsiteY0" fmla="*/ 0 h 1937360"/>
                <a:gd name="connsiteX1" fmla="*/ 1823371 w 2161165"/>
                <a:gd name="connsiteY1" fmla="*/ 73572 h 1937360"/>
                <a:gd name="connsiteX2" fmla="*/ 2161165 w 2161165"/>
                <a:gd name="connsiteY2" fmla="*/ 987949 h 1937360"/>
                <a:gd name="connsiteX3" fmla="*/ 1847894 w 2161165"/>
                <a:gd name="connsiteY3" fmla="*/ 1867291 h 1937360"/>
                <a:gd name="connsiteX4" fmla="*/ 14013 w 2161165"/>
                <a:gd name="connsiteY4" fmla="*/ 1937360 h 1937360"/>
                <a:gd name="connsiteX5" fmla="*/ 351809 w 2161165"/>
                <a:gd name="connsiteY5" fmla="*/ 987949 h 1937360"/>
                <a:gd name="connsiteX6" fmla="*/ 0 w 2161165"/>
                <a:gd name="connsiteY6" fmla="*/ 0 h 1937360"/>
                <a:gd name="connsiteX0" fmla="*/ 0 w 2161165"/>
                <a:gd name="connsiteY0" fmla="*/ 0 h 1937360"/>
                <a:gd name="connsiteX1" fmla="*/ 1832896 w 2161165"/>
                <a:gd name="connsiteY1" fmla="*/ 76747 h 1937360"/>
                <a:gd name="connsiteX2" fmla="*/ 2161165 w 2161165"/>
                <a:gd name="connsiteY2" fmla="*/ 987949 h 1937360"/>
                <a:gd name="connsiteX3" fmla="*/ 1847894 w 2161165"/>
                <a:gd name="connsiteY3" fmla="*/ 1867291 h 1937360"/>
                <a:gd name="connsiteX4" fmla="*/ 14013 w 2161165"/>
                <a:gd name="connsiteY4" fmla="*/ 1937360 h 1937360"/>
                <a:gd name="connsiteX5" fmla="*/ 351809 w 2161165"/>
                <a:gd name="connsiteY5" fmla="*/ 987949 h 1937360"/>
                <a:gd name="connsiteX6" fmla="*/ 0 w 2161165"/>
                <a:gd name="connsiteY6" fmla="*/ 0 h 1937360"/>
                <a:gd name="connsiteX0" fmla="*/ 0 w 2161165"/>
                <a:gd name="connsiteY0" fmla="*/ 0 h 1943710"/>
                <a:gd name="connsiteX1" fmla="*/ 1832896 w 2161165"/>
                <a:gd name="connsiteY1" fmla="*/ 76747 h 1943710"/>
                <a:gd name="connsiteX2" fmla="*/ 2161165 w 2161165"/>
                <a:gd name="connsiteY2" fmla="*/ 987949 h 1943710"/>
                <a:gd name="connsiteX3" fmla="*/ 1847894 w 2161165"/>
                <a:gd name="connsiteY3" fmla="*/ 1867291 h 1943710"/>
                <a:gd name="connsiteX4" fmla="*/ 17188 w 2161165"/>
                <a:gd name="connsiteY4" fmla="*/ 1943710 h 1943710"/>
                <a:gd name="connsiteX5" fmla="*/ 351809 w 2161165"/>
                <a:gd name="connsiteY5" fmla="*/ 987949 h 1943710"/>
                <a:gd name="connsiteX6" fmla="*/ 0 w 2161165"/>
                <a:gd name="connsiteY6" fmla="*/ 0 h 1943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61165" h="1943710">
                  <a:moveTo>
                    <a:pt x="0" y="0"/>
                  </a:moveTo>
                  <a:lnTo>
                    <a:pt x="1832896" y="76747"/>
                  </a:lnTo>
                  <a:lnTo>
                    <a:pt x="2161165" y="987949"/>
                  </a:lnTo>
                  <a:lnTo>
                    <a:pt x="1847894" y="1867291"/>
                  </a:lnTo>
                  <a:lnTo>
                    <a:pt x="17188" y="1943710"/>
                  </a:lnTo>
                  <a:lnTo>
                    <a:pt x="351809" y="98794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936000" rIns="72000" bIns="0" rtlCol="0" anchor="t" anchorCtr="0"/>
            <a:lstStyle/>
            <a:p>
              <a:pPr algn="ctr">
                <a:lnSpc>
                  <a:spcPct val="90000"/>
                </a:lnSpc>
              </a:pPr>
              <a:r>
                <a:rPr lang="en-US" sz="14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Technical</a:t>
              </a:r>
              <a:br>
                <a:rPr lang="en-US" sz="14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</a:br>
              <a:r>
                <a:rPr lang="en-US" sz="14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Assessment</a:t>
              </a:r>
            </a:p>
          </p:txBody>
        </p:sp>
        <p:sp>
          <p:nvSpPr>
            <p:cNvPr id="156" name="Chevron 67">
              <a:extLst>
                <a:ext uri="{FF2B5EF4-FFF2-40B4-BE49-F238E27FC236}">
                  <a16:creationId xmlns:a16="http://schemas.microsoft.com/office/drawing/2014/main" id="{AB6CD246-A167-7BD1-5D47-6A83B9E17C30}"/>
                </a:ext>
              </a:extLst>
            </p:cNvPr>
            <p:cNvSpPr/>
            <p:nvPr/>
          </p:nvSpPr>
          <p:spPr>
            <a:xfrm>
              <a:off x="6002345" y="5143541"/>
              <a:ext cx="2031875" cy="1785398"/>
            </a:xfrm>
            <a:custGeom>
              <a:avLst/>
              <a:gdLst>
                <a:gd name="connsiteX0" fmla="*/ 0 w 2161165"/>
                <a:gd name="connsiteY0" fmla="*/ 0 h 1975898"/>
                <a:gd name="connsiteX1" fmla="*/ 1809356 w 2161165"/>
                <a:gd name="connsiteY1" fmla="*/ 0 h 1975898"/>
                <a:gd name="connsiteX2" fmla="*/ 2161165 w 2161165"/>
                <a:gd name="connsiteY2" fmla="*/ 987949 h 1975898"/>
                <a:gd name="connsiteX3" fmla="*/ 1809356 w 2161165"/>
                <a:gd name="connsiteY3" fmla="*/ 1975898 h 1975898"/>
                <a:gd name="connsiteX4" fmla="*/ 0 w 2161165"/>
                <a:gd name="connsiteY4" fmla="*/ 1975898 h 1975898"/>
                <a:gd name="connsiteX5" fmla="*/ 351809 w 2161165"/>
                <a:gd name="connsiteY5" fmla="*/ 987949 h 1975898"/>
                <a:gd name="connsiteX6" fmla="*/ 0 w 2161165"/>
                <a:gd name="connsiteY6" fmla="*/ 0 h 1975898"/>
                <a:gd name="connsiteX0" fmla="*/ 28575 w 2161165"/>
                <a:gd name="connsiteY0" fmla="*/ 79375 h 1975898"/>
                <a:gd name="connsiteX1" fmla="*/ 1809356 w 2161165"/>
                <a:gd name="connsiteY1" fmla="*/ 0 h 1975898"/>
                <a:gd name="connsiteX2" fmla="*/ 2161165 w 2161165"/>
                <a:gd name="connsiteY2" fmla="*/ 987949 h 1975898"/>
                <a:gd name="connsiteX3" fmla="*/ 1809356 w 2161165"/>
                <a:gd name="connsiteY3" fmla="*/ 1975898 h 1975898"/>
                <a:gd name="connsiteX4" fmla="*/ 0 w 2161165"/>
                <a:gd name="connsiteY4" fmla="*/ 1975898 h 1975898"/>
                <a:gd name="connsiteX5" fmla="*/ 351809 w 2161165"/>
                <a:gd name="connsiteY5" fmla="*/ 987949 h 1975898"/>
                <a:gd name="connsiteX6" fmla="*/ 28575 w 2161165"/>
                <a:gd name="connsiteY6" fmla="*/ 79375 h 1975898"/>
                <a:gd name="connsiteX0" fmla="*/ 28575 w 2161165"/>
                <a:gd name="connsiteY0" fmla="*/ 0 h 1896523"/>
                <a:gd name="connsiteX1" fmla="*/ 1863331 w 2161165"/>
                <a:gd name="connsiteY1" fmla="*/ 76200 h 1896523"/>
                <a:gd name="connsiteX2" fmla="*/ 2161165 w 2161165"/>
                <a:gd name="connsiteY2" fmla="*/ 908574 h 1896523"/>
                <a:gd name="connsiteX3" fmla="*/ 1809356 w 2161165"/>
                <a:gd name="connsiteY3" fmla="*/ 1896523 h 1896523"/>
                <a:gd name="connsiteX4" fmla="*/ 0 w 2161165"/>
                <a:gd name="connsiteY4" fmla="*/ 1896523 h 1896523"/>
                <a:gd name="connsiteX5" fmla="*/ 351809 w 2161165"/>
                <a:gd name="connsiteY5" fmla="*/ 908574 h 1896523"/>
                <a:gd name="connsiteX6" fmla="*/ 28575 w 2161165"/>
                <a:gd name="connsiteY6" fmla="*/ 0 h 1896523"/>
                <a:gd name="connsiteX0" fmla="*/ 28575 w 2161165"/>
                <a:gd name="connsiteY0" fmla="*/ 0 h 1896523"/>
                <a:gd name="connsiteX1" fmla="*/ 1863331 w 2161165"/>
                <a:gd name="connsiteY1" fmla="*/ 76200 h 1896523"/>
                <a:gd name="connsiteX2" fmla="*/ 2161165 w 2161165"/>
                <a:gd name="connsiteY2" fmla="*/ 908574 h 1896523"/>
                <a:gd name="connsiteX3" fmla="*/ 1869681 w 2161165"/>
                <a:gd name="connsiteY3" fmla="*/ 1702848 h 1896523"/>
                <a:gd name="connsiteX4" fmla="*/ 0 w 2161165"/>
                <a:gd name="connsiteY4" fmla="*/ 1896523 h 1896523"/>
                <a:gd name="connsiteX5" fmla="*/ 351809 w 2161165"/>
                <a:gd name="connsiteY5" fmla="*/ 908574 h 1896523"/>
                <a:gd name="connsiteX6" fmla="*/ 28575 w 2161165"/>
                <a:gd name="connsiteY6" fmla="*/ 0 h 1896523"/>
                <a:gd name="connsiteX0" fmla="*/ 0 w 2132590"/>
                <a:gd name="connsiteY0" fmla="*/ 0 h 1785398"/>
                <a:gd name="connsiteX1" fmla="*/ 1834756 w 2132590"/>
                <a:gd name="connsiteY1" fmla="*/ 76200 h 1785398"/>
                <a:gd name="connsiteX2" fmla="*/ 2132590 w 2132590"/>
                <a:gd name="connsiteY2" fmla="*/ 908574 h 1785398"/>
                <a:gd name="connsiteX3" fmla="*/ 1841106 w 2132590"/>
                <a:gd name="connsiteY3" fmla="*/ 1702848 h 1785398"/>
                <a:gd name="connsiteX4" fmla="*/ 12700 w 2132590"/>
                <a:gd name="connsiteY4" fmla="*/ 1785398 h 1785398"/>
                <a:gd name="connsiteX5" fmla="*/ 323234 w 2132590"/>
                <a:gd name="connsiteY5" fmla="*/ 908574 h 1785398"/>
                <a:gd name="connsiteX6" fmla="*/ 0 w 2132590"/>
                <a:gd name="connsiteY6" fmla="*/ 0 h 1785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32590" h="1785398">
                  <a:moveTo>
                    <a:pt x="0" y="0"/>
                  </a:moveTo>
                  <a:lnTo>
                    <a:pt x="1834756" y="76200"/>
                  </a:lnTo>
                  <a:lnTo>
                    <a:pt x="2132590" y="908574"/>
                  </a:lnTo>
                  <a:lnTo>
                    <a:pt x="1841106" y="1702848"/>
                  </a:lnTo>
                  <a:lnTo>
                    <a:pt x="12700" y="1785398"/>
                  </a:lnTo>
                  <a:lnTo>
                    <a:pt x="323234" y="90857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864000" rIns="72000" bIns="0" rtlCol="0" anchor="t" anchorCtr="0"/>
            <a:lstStyle/>
            <a:p>
              <a:pPr algn="ctr">
                <a:lnSpc>
                  <a:spcPct val="90000"/>
                </a:lnSpc>
              </a:pPr>
              <a:r>
                <a:rPr lang="en-US" sz="14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Project Manager Interview</a:t>
              </a:r>
            </a:p>
          </p:txBody>
        </p:sp>
        <p:sp>
          <p:nvSpPr>
            <p:cNvPr id="157" name="Chevron 68">
              <a:extLst>
                <a:ext uri="{FF2B5EF4-FFF2-40B4-BE49-F238E27FC236}">
                  <a16:creationId xmlns:a16="http://schemas.microsoft.com/office/drawing/2014/main" id="{3342F88A-AD55-B880-3EF6-9B333B7B07D8}"/>
                </a:ext>
              </a:extLst>
            </p:cNvPr>
            <p:cNvSpPr/>
            <p:nvPr/>
          </p:nvSpPr>
          <p:spPr>
            <a:xfrm>
              <a:off x="7791051" y="5222916"/>
              <a:ext cx="2004650" cy="1626648"/>
            </a:xfrm>
            <a:custGeom>
              <a:avLst/>
              <a:gdLst>
                <a:gd name="connsiteX0" fmla="*/ 0 w 2161165"/>
                <a:gd name="connsiteY0" fmla="*/ 0 h 1975898"/>
                <a:gd name="connsiteX1" fmla="*/ 1809356 w 2161165"/>
                <a:gd name="connsiteY1" fmla="*/ 0 h 1975898"/>
                <a:gd name="connsiteX2" fmla="*/ 2161165 w 2161165"/>
                <a:gd name="connsiteY2" fmla="*/ 987949 h 1975898"/>
                <a:gd name="connsiteX3" fmla="*/ 1809356 w 2161165"/>
                <a:gd name="connsiteY3" fmla="*/ 1975898 h 1975898"/>
                <a:gd name="connsiteX4" fmla="*/ 0 w 2161165"/>
                <a:gd name="connsiteY4" fmla="*/ 1975898 h 1975898"/>
                <a:gd name="connsiteX5" fmla="*/ 351809 w 2161165"/>
                <a:gd name="connsiteY5" fmla="*/ 987949 h 1975898"/>
                <a:gd name="connsiteX6" fmla="*/ 0 w 2161165"/>
                <a:gd name="connsiteY6" fmla="*/ 0 h 1975898"/>
                <a:gd name="connsiteX0" fmla="*/ 57150 w 2161165"/>
                <a:gd name="connsiteY0" fmla="*/ 158750 h 1975898"/>
                <a:gd name="connsiteX1" fmla="*/ 1809356 w 2161165"/>
                <a:gd name="connsiteY1" fmla="*/ 0 h 1975898"/>
                <a:gd name="connsiteX2" fmla="*/ 2161165 w 2161165"/>
                <a:gd name="connsiteY2" fmla="*/ 987949 h 1975898"/>
                <a:gd name="connsiteX3" fmla="*/ 1809356 w 2161165"/>
                <a:gd name="connsiteY3" fmla="*/ 1975898 h 1975898"/>
                <a:gd name="connsiteX4" fmla="*/ 0 w 2161165"/>
                <a:gd name="connsiteY4" fmla="*/ 1975898 h 1975898"/>
                <a:gd name="connsiteX5" fmla="*/ 351809 w 2161165"/>
                <a:gd name="connsiteY5" fmla="*/ 987949 h 1975898"/>
                <a:gd name="connsiteX6" fmla="*/ 57150 w 2161165"/>
                <a:gd name="connsiteY6" fmla="*/ 158750 h 1975898"/>
                <a:gd name="connsiteX0" fmla="*/ 0 w 2104015"/>
                <a:gd name="connsiteY0" fmla="*/ 158750 h 1975898"/>
                <a:gd name="connsiteX1" fmla="*/ 1752206 w 2104015"/>
                <a:gd name="connsiteY1" fmla="*/ 0 h 1975898"/>
                <a:gd name="connsiteX2" fmla="*/ 2104015 w 2104015"/>
                <a:gd name="connsiteY2" fmla="*/ 987949 h 1975898"/>
                <a:gd name="connsiteX3" fmla="*/ 1752206 w 2104015"/>
                <a:gd name="connsiteY3" fmla="*/ 1975898 h 1975898"/>
                <a:gd name="connsiteX4" fmla="*/ 15875 w 2104015"/>
                <a:gd name="connsiteY4" fmla="*/ 1785398 h 1975898"/>
                <a:gd name="connsiteX5" fmla="*/ 294659 w 2104015"/>
                <a:gd name="connsiteY5" fmla="*/ 987949 h 1975898"/>
                <a:gd name="connsiteX6" fmla="*/ 0 w 2104015"/>
                <a:gd name="connsiteY6" fmla="*/ 158750 h 1975898"/>
                <a:gd name="connsiteX0" fmla="*/ 0 w 2104015"/>
                <a:gd name="connsiteY0" fmla="*/ 158750 h 1785398"/>
                <a:gd name="connsiteX1" fmla="*/ 1752206 w 2104015"/>
                <a:gd name="connsiteY1" fmla="*/ 0 h 1785398"/>
                <a:gd name="connsiteX2" fmla="*/ 2104015 w 2104015"/>
                <a:gd name="connsiteY2" fmla="*/ 987949 h 1785398"/>
                <a:gd name="connsiteX3" fmla="*/ 1844281 w 2104015"/>
                <a:gd name="connsiteY3" fmla="*/ 1706023 h 1785398"/>
                <a:gd name="connsiteX4" fmla="*/ 15875 w 2104015"/>
                <a:gd name="connsiteY4" fmla="*/ 1785398 h 1785398"/>
                <a:gd name="connsiteX5" fmla="*/ 294659 w 2104015"/>
                <a:gd name="connsiteY5" fmla="*/ 987949 h 1785398"/>
                <a:gd name="connsiteX6" fmla="*/ 0 w 2104015"/>
                <a:gd name="connsiteY6" fmla="*/ 158750 h 1785398"/>
                <a:gd name="connsiteX0" fmla="*/ 0 w 2104015"/>
                <a:gd name="connsiteY0" fmla="*/ 0 h 1626648"/>
                <a:gd name="connsiteX1" fmla="*/ 1831581 w 2104015"/>
                <a:gd name="connsiteY1" fmla="*/ 79375 h 1626648"/>
                <a:gd name="connsiteX2" fmla="*/ 2104015 w 2104015"/>
                <a:gd name="connsiteY2" fmla="*/ 829199 h 1626648"/>
                <a:gd name="connsiteX3" fmla="*/ 1844281 w 2104015"/>
                <a:gd name="connsiteY3" fmla="*/ 1547273 h 1626648"/>
                <a:gd name="connsiteX4" fmla="*/ 15875 w 2104015"/>
                <a:gd name="connsiteY4" fmla="*/ 1626648 h 1626648"/>
                <a:gd name="connsiteX5" fmla="*/ 294659 w 2104015"/>
                <a:gd name="connsiteY5" fmla="*/ 829199 h 1626648"/>
                <a:gd name="connsiteX6" fmla="*/ 0 w 2104015"/>
                <a:gd name="connsiteY6" fmla="*/ 0 h 1626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04015" h="1626648">
                  <a:moveTo>
                    <a:pt x="0" y="0"/>
                  </a:moveTo>
                  <a:lnTo>
                    <a:pt x="1831581" y="79375"/>
                  </a:lnTo>
                  <a:lnTo>
                    <a:pt x="2104015" y="829199"/>
                  </a:lnTo>
                  <a:lnTo>
                    <a:pt x="1844281" y="1547273"/>
                  </a:lnTo>
                  <a:lnTo>
                    <a:pt x="15875" y="1626648"/>
                  </a:lnTo>
                  <a:lnTo>
                    <a:pt x="294659" y="82919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92000" rIns="72000" bIns="0" rtlCol="0" anchor="t" anchorCtr="0"/>
            <a:lstStyle/>
            <a:p>
              <a:pPr algn="ctr">
                <a:lnSpc>
                  <a:spcPct val="90000"/>
                </a:lnSpc>
              </a:pPr>
              <a:r>
                <a:rPr lang="en-US" sz="14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Client </a:t>
              </a:r>
              <a:br>
                <a:rPr lang="en-US" sz="14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</a:br>
              <a:r>
                <a:rPr lang="en-US" sz="14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Stages</a:t>
              </a:r>
            </a:p>
          </p:txBody>
        </p:sp>
        <p:sp>
          <p:nvSpPr>
            <p:cNvPr id="158" name="Chevron 69">
              <a:extLst>
                <a:ext uri="{FF2B5EF4-FFF2-40B4-BE49-F238E27FC236}">
                  <a16:creationId xmlns:a16="http://schemas.microsoft.com/office/drawing/2014/main" id="{A1CB3E8C-06D3-A6A1-668F-98F03638C0E2}"/>
                </a:ext>
              </a:extLst>
            </p:cNvPr>
            <p:cNvSpPr/>
            <p:nvPr/>
          </p:nvSpPr>
          <p:spPr>
            <a:xfrm>
              <a:off x="9582783" y="5308641"/>
              <a:ext cx="1974399" cy="1455198"/>
            </a:xfrm>
            <a:custGeom>
              <a:avLst/>
              <a:gdLst>
                <a:gd name="connsiteX0" fmla="*/ 0 w 2161165"/>
                <a:gd name="connsiteY0" fmla="*/ 0 h 1975898"/>
                <a:gd name="connsiteX1" fmla="*/ 1809356 w 2161165"/>
                <a:gd name="connsiteY1" fmla="*/ 0 h 1975898"/>
                <a:gd name="connsiteX2" fmla="*/ 2161165 w 2161165"/>
                <a:gd name="connsiteY2" fmla="*/ 987949 h 1975898"/>
                <a:gd name="connsiteX3" fmla="*/ 1809356 w 2161165"/>
                <a:gd name="connsiteY3" fmla="*/ 1975898 h 1975898"/>
                <a:gd name="connsiteX4" fmla="*/ 0 w 2161165"/>
                <a:gd name="connsiteY4" fmla="*/ 1975898 h 1975898"/>
                <a:gd name="connsiteX5" fmla="*/ 351809 w 2161165"/>
                <a:gd name="connsiteY5" fmla="*/ 987949 h 1975898"/>
                <a:gd name="connsiteX6" fmla="*/ 0 w 2161165"/>
                <a:gd name="connsiteY6" fmla="*/ 0 h 1975898"/>
                <a:gd name="connsiteX0" fmla="*/ 88900 w 2161165"/>
                <a:gd name="connsiteY0" fmla="*/ 244475 h 1975898"/>
                <a:gd name="connsiteX1" fmla="*/ 1809356 w 2161165"/>
                <a:gd name="connsiteY1" fmla="*/ 0 h 1975898"/>
                <a:gd name="connsiteX2" fmla="*/ 2161165 w 2161165"/>
                <a:gd name="connsiteY2" fmla="*/ 987949 h 1975898"/>
                <a:gd name="connsiteX3" fmla="*/ 1809356 w 2161165"/>
                <a:gd name="connsiteY3" fmla="*/ 1975898 h 1975898"/>
                <a:gd name="connsiteX4" fmla="*/ 0 w 2161165"/>
                <a:gd name="connsiteY4" fmla="*/ 1975898 h 1975898"/>
                <a:gd name="connsiteX5" fmla="*/ 351809 w 2161165"/>
                <a:gd name="connsiteY5" fmla="*/ 987949 h 1975898"/>
                <a:gd name="connsiteX6" fmla="*/ 88900 w 2161165"/>
                <a:gd name="connsiteY6" fmla="*/ 244475 h 1975898"/>
                <a:gd name="connsiteX0" fmla="*/ 88900 w 2161165"/>
                <a:gd name="connsiteY0" fmla="*/ 0 h 1731423"/>
                <a:gd name="connsiteX1" fmla="*/ 1920481 w 2161165"/>
                <a:gd name="connsiteY1" fmla="*/ 76200 h 1731423"/>
                <a:gd name="connsiteX2" fmla="*/ 2161165 w 2161165"/>
                <a:gd name="connsiteY2" fmla="*/ 743474 h 1731423"/>
                <a:gd name="connsiteX3" fmla="*/ 1809356 w 2161165"/>
                <a:gd name="connsiteY3" fmla="*/ 1731423 h 1731423"/>
                <a:gd name="connsiteX4" fmla="*/ 0 w 2161165"/>
                <a:gd name="connsiteY4" fmla="*/ 1731423 h 1731423"/>
                <a:gd name="connsiteX5" fmla="*/ 351809 w 2161165"/>
                <a:gd name="connsiteY5" fmla="*/ 743474 h 1731423"/>
                <a:gd name="connsiteX6" fmla="*/ 88900 w 2161165"/>
                <a:gd name="connsiteY6" fmla="*/ 0 h 1731423"/>
                <a:gd name="connsiteX0" fmla="*/ 88900 w 2161165"/>
                <a:gd name="connsiteY0" fmla="*/ 0 h 1731423"/>
                <a:gd name="connsiteX1" fmla="*/ 1917306 w 2161165"/>
                <a:gd name="connsiteY1" fmla="*/ 69850 h 1731423"/>
                <a:gd name="connsiteX2" fmla="*/ 2161165 w 2161165"/>
                <a:gd name="connsiteY2" fmla="*/ 743474 h 1731423"/>
                <a:gd name="connsiteX3" fmla="*/ 1809356 w 2161165"/>
                <a:gd name="connsiteY3" fmla="*/ 1731423 h 1731423"/>
                <a:gd name="connsiteX4" fmla="*/ 0 w 2161165"/>
                <a:gd name="connsiteY4" fmla="*/ 1731423 h 1731423"/>
                <a:gd name="connsiteX5" fmla="*/ 351809 w 2161165"/>
                <a:gd name="connsiteY5" fmla="*/ 743474 h 1731423"/>
                <a:gd name="connsiteX6" fmla="*/ 88900 w 2161165"/>
                <a:gd name="connsiteY6" fmla="*/ 0 h 1731423"/>
                <a:gd name="connsiteX0" fmla="*/ 0 w 2072265"/>
                <a:gd name="connsiteY0" fmla="*/ 0 h 1731423"/>
                <a:gd name="connsiteX1" fmla="*/ 1828406 w 2072265"/>
                <a:gd name="connsiteY1" fmla="*/ 69850 h 1731423"/>
                <a:gd name="connsiteX2" fmla="*/ 2072265 w 2072265"/>
                <a:gd name="connsiteY2" fmla="*/ 743474 h 1731423"/>
                <a:gd name="connsiteX3" fmla="*/ 1720456 w 2072265"/>
                <a:gd name="connsiteY3" fmla="*/ 1731423 h 1731423"/>
                <a:gd name="connsiteX4" fmla="*/ 3175 w 2072265"/>
                <a:gd name="connsiteY4" fmla="*/ 1455198 h 1731423"/>
                <a:gd name="connsiteX5" fmla="*/ 262909 w 2072265"/>
                <a:gd name="connsiteY5" fmla="*/ 743474 h 1731423"/>
                <a:gd name="connsiteX6" fmla="*/ 0 w 2072265"/>
                <a:gd name="connsiteY6" fmla="*/ 0 h 1731423"/>
                <a:gd name="connsiteX0" fmla="*/ 0 w 2072265"/>
                <a:gd name="connsiteY0" fmla="*/ 0 h 1455198"/>
                <a:gd name="connsiteX1" fmla="*/ 1828406 w 2072265"/>
                <a:gd name="connsiteY1" fmla="*/ 69850 h 1455198"/>
                <a:gd name="connsiteX2" fmla="*/ 2072265 w 2072265"/>
                <a:gd name="connsiteY2" fmla="*/ 743474 h 1455198"/>
                <a:gd name="connsiteX3" fmla="*/ 1837931 w 2072265"/>
                <a:gd name="connsiteY3" fmla="*/ 1382173 h 1455198"/>
                <a:gd name="connsiteX4" fmla="*/ 3175 w 2072265"/>
                <a:gd name="connsiteY4" fmla="*/ 1455198 h 1455198"/>
                <a:gd name="connsiteX5" fmla="*/ 262909 w 2072265"/>
                <a:gd name="connsiteY5" fmla="*/ 743474 h 1455198"/>
                <a:gd name="connsiteX6" fmla="*/ 0 w 2072265"/>
                <a:gd name="connsiteY6" fmla="*/ 0 h 1455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72265" h="1455198">
                  <a:moveTo>
                    <a:pt x="0" y="0"/>
                  </a:moveTo>
                  <a:lnTo>
                    <a:pt x="1828406" y="69850"/>
                  </a:lnTo>
                  <a:lnTo>
                    <a:pt x="2072265" y="743474"/>
                  </a:lnTo>
                  <a:lnTo>
                    <a:pt x="1837931" y="1382173"/>
                  </a:lnTo>
                  <a:lnTo>
                    <a:pt x="3175" y="1455198"/>
                  </a:lnTo>
                  <a:lnTo>
                    <a:pt x="262909" y="74347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684000" rIns="72000" bIns="0" rtlCol="0" anchor="t" anchorCtr="0"/>
            <a:lstStyle/>
            <a:p>
              <a:pPr algn="ctr">
                <a:lnSpc>
                  <a:spcPct val="90000"/>
                </a:lnSpc>
              </a:pPr>
              <a:r>
                <a:rPr lang="en-US" sz="14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Offer</a:t>
              </a:r>
              <a:br>
                <a:rPr lang="en-US" sz="14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</a:br>
              <a:r>
                <a:rPr lang="en-US" sz="14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Made</a:t>
              </a:r>
            </a:p>
          </p:txBody>
        </p:sp>
        <p:sp>
          <p:nvSpPr>
            <p:cNvPr id="159" name="Chevron 70">
              <a:extLst>
                <a:ext uri="{FF2B5EF4-FFF2-40B4-BE49-F238E27FC236}">
                  <a16:creationId xmlns:a16="http://schemas.microsoft.com/office/drawing/2014/main" id="{B4CA64EC-97D3-015C-833F-386664DA59D0}"/>
                </a:ext>
              </a:extLst>
            </p:cNvPr>
            <p:cNvSpPr/>
            <p:nvPr/>
          </p:nvSpPr>
          <p:spPr>
            <a:xfrm>
              <a:off x="11368466" y="5388016"/>
              <a:ext cx="1950199" cy="1296448"/>
            </a:xfrm>
            <a:custGeom>
              <a:avLst/>
              <a:gdLst>
                <a:gd name="connsiteX0" fmla="*/ 0 w 2161165"/>
                <a:gd name="connsiteY0" fmla="*/ 0 h 1975898"/>
                <a:gd name="connsiteX1" fmla="*/ 1809356 w 2161165"/>
                <a:gd name="connsiteY1" fmla="*/ 0 h 1975898"/>
                <a:gd name="connsiteX2" fmla="*/ 2161165 w 2161165"/>
                <a:gd name="connsiteY2" fmla="*/ 987949 h 1975898"/>
                <a:gd name="connsiteX3" fmla="*/ 1809356 w 2161165"/>
                <a:gd name="connsiteY3" fmla="*/ 1975898 h 1975898"/>
                <a:gd name="connsiteX4" fmla="*/ 0 w 2161165"/>
                <a:gd name="connsiteY4" fmla="*/ 1975898 h 1975898"/>
                <a:gd name="connsiteX5" fmla="*/ 351809 w 2161165"/>
                <a:gd name="connsiteY5" fmla="*/ 987949 h 1975898"/>
                <a:gd name="connsiteX6" fmla="*/ 0 w 2161165"/>
                <a:gd name="connsiteY6" fmla="*/ 0 h 1975898"/>
                <a:gd name="connsiteX0" fmla="*/ 114300 w 2161165"/>
                <a:gd name="connsiteY0" fmla="*/ 323850 h 1975898"/>
                <a:gd name="connsiteX1" fmla="*/ 1809356 w 2161165"/>
                <a:gd name="connsiteY1" fmla="*/ 0 h 1975898"/>
                <a:gd name="connsiteX2" fmla="*/ 2161165 w 2161165"/>
                <a:gd name="connsiteY2" fmla="*/ 987949 h 1975898"/>
                <a:gd name="connsiteX3" fmla="*/ 1809356 w 2161165"/>
                <a:gd name="connsiteY3" fmla="*/ 1975898 h 1975898"/>
                <a:gd name="connsiteX4" fmla="*/ 0 w 2161165"/>
                <a:gd name="connsiteY4" fmla="*/ 1975898 h 1975898"/>
                <a:gd name="connsiteX5" fmla="*/ 351809 w 2161165"/>
                <a:gd name="connsiteY5" fmla="*/ 987949 h 1975898"/>
                <a:gd name="connsiteX6" fmla="*/ 114300 w 2161165"/>
                <a:gd name="connsiteY6" fmla="*/ 323850 h 1975898"/>
                <a:gd name="connsiteX0" fmla="*/ 114300 w 2161165"/>
                <a:gd name="connsiteY0" fmla="*/ 0 h 1652048"/>
                <a:gd name="connsiteX1" fmla="*/ 1942706 w 2161165"/>
                <a:gd name="connsiteY1" fmla="*/ 79375 h 1652048"/>
                <a:gd name="connsiteX2" fmla="*/ 2161165 w 2161165"/>
                <a:gd name="connsiteY2" fmla="*/ 664099 h 1652048"/>
                <a:gd name="connsiteX3" fmla="*/ 1809356 w 2161165"/>
                <a:gd name="connsiteY3" fmla="*/ 1652048 h 1652048"/>
                <a:gd name="connsiteX4" fmla="*/ 0 w 2161165"/>
                <a:gd name="connsiteY4" fmla="*/ 1652048 h 1652048"/>
                <a:gd name="connsiteX5" fmla="*/ 351809 w 2161165"/>
                <a:gd name="connsiteY5" fmla="*/ 664099 h 1652048"/>
                <a:gd name="connsiteX6" fmla="*/ 114300 w 2161165"/>
                <a:gd name="connsiteY6" fmla="*/ 0 h 1652048"/>
                <a:gd name="connsiteX0" fmla="*/ 114300 w 2161165"/>
                <a:gd name="connsiteY0" fmla="*/ 0 h 1652048"/>
                <a:gd name="connsiteX1" fmla="*/ 1942706 w 2161165"/>
                <a:gd name="connsiteY1" fmla="*/ 79375 h 1652048"/>
                <a:gd name="connsiteX2" fmla="*/ 2161165 w 2161165"/>
                <a:gd name="connsiteY2" fmla="*/ 664099 h 1652048"/>
                <a:gd name="connsiteX3" fmla="*/ 1955406 w 2161165"/>
                <a:gd name="connsiteY3" fmla="*/ 1223423 h 1652048"/>
                <a:gd name="connsiteX4" fmla="*/ 0 w 2161165"/>
                <a:gd name="connsiteY4" fmla="*/ 1652048 h 1652048"/>
                <a:gd name="connsiteX5" fmla="*/ 351809 w 2161165"/>
                <a:gd name="connsiteY5" fmla="*/ 664099 h 1652048"/>
                <a:gd name="connsiteX6" fmla="*/ 114300 w 2161165"/>
                <a:gd name="connsiteY6" fmla="*/ 0 h 1652048"/>
                <a:gd name="connsiteX0" fmla="*/ 0 w 2046865"/>
                <a:gd name="connsiteY0" fmla="*/ 0 h 1296448"/>
                <a:gd name="connsiteX1" fmla="*/ 1828406 w 2046865"/>
                <a:gd name="connsiteY1" fmla="*/ 79375 h 1296448"/>
                <a:gd name="connsiteX2" fmla="*/ 2046865 w 2046865"/>
                <a:gd name="connsiteY2" fmla="*/ 664099 h 1296448"/>
                <a:gd name="connsiteX3" fmla="*/ 1841106 w 2046865"/>
                <a:gd name="connsiteY3" fmla="*/ 1223423 h 1296448"/>
                <a:gd name="connsiteX4" fmla="*/ 12700 w 2046865"/>
                <a:gd name="connsiteY4" fmla="*/ 1296448 h 1296448"/>
                <a:gd name="connsiteX5" fmla="*/ 237509 w 2046865"/>
                <a:gd name="connsiteY5" fmla="*/ 664099 h 1296448"/>
                <a:gd name="connsiteX6" fmla="*/ 0 w 2046865"/>
                <a:gd name="connsiteY6" fmla="*/ 0 h 1296448"/>
                <a:gd name="connsiteX0" fmla="*/ 0 w 2046865"/>
                <a:gd name="connsiteY0" fmla="*/ 0 h 1296448"/>
                <a:gd name="connsiteX1" fmla="*/ 1825231 w 2046865"/>
                <a:gd name="connsiteY1" fmla="*/ 76200 h 1296448"/>
                <a:gd name="connsiteX2" fmla="*/ 2046865 w 2046865"/>
                <a:gd name="connsiteY2" fmla="*/ 664099 h 1296448"/>
                <a:gd name="connsiteX3" fmla="*/ 1841106 w 2046865"/>
                <a:gd name="connsiteY3" fmla="*/ 1223423 h 1296448"/>
                <a:gd name="connsiteX4" fmla="*/ 12700 w 2046865"/>
                <a:gd name="connsiteY4" fmla="*/ 1296448 h 1296448"/>
                <a:gd name="connsiteX5" fmla="*/ 237509 w 2046865"/>
                <a:gd name="connsiteY5" fmla="*/ 664099 h 1296448"/>
                <a:gd name="connsiteX6" fmla="*/ 0 w 2046865"/>
                <a:gd name="connsiteY6" fmla="*/ 0 h 1296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46865" h="1296448">
                  <a:moveTo>
                    <a:pt x="0" y="0"/>
                  </a:moveTo>
                  <a:lnTo>
                    <a:pt x="1825231" y="76200"/>
                  </a:lnTo>
                  <a:lnTo>
                    <a:pt x="2046865" y="664099"/>
                  </a:lnTo>
                  <a:lnTo>
                    <a:pt x="1841106" y="1223423"/>
                  </a:lnTo>
                  <a:lnTo>
                    <a:pt x="12700" y="1296448"/>
                  </a:lnTo>
                  <a:lnTo>
                    <a:pt x="237509" y="66409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612000" rIns="72000" bIns="0" rtlCol="0" anchor="t" anchorCtr="0"/>
            <a:lstStyle/>
            <a:p>
              <a:pPr algn="ctr" defTabSz="1097164">
                <a:lnSpc>
                  <a:spcPct val="90000"/>
                </a:lnSpc>
                <a:buClr>
                  <a:srgbClr val="E3661C"/>
                </a:buClr>
                <a:buSzPct val="50000"/>
                <a:defRPr kumimoji="0" sz="288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lang="en-US" sz="14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Offer</a:t>
              </a:r>
            </a:p>
            <a:p>
              <a:pPr algn="ctr" defTabSz="1097164">
                <a:lnSpc>
                  <a:spcPct val="90000"/>
                </a:lnSpc>
                <a:buClr>
                  <a:srgbClr val="E3661C"/>
                </a:buClr>
                <a:buSzPct val="50000"/>
                <a:defRPr kumimoji="0" sz="288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lang="en-US" sz="14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Accepted</a:t>
              </a:r>
            </a:p>
          </p:txBody>
        </p:sp>
      </p:grpSp>
      <p:sp>
        <p:nvSpPr>
          <p:cNvPr id="85" name="Shape 3610">
            <a:extLst>
              <a:ext uri="{FF2B5EF4-FFF2-40B4-BE49-F238E27FC236}">
                <a16:creationId xmlns:a16="http://schemas.microsoft.com/office/drawing/2014/main" id="{0CA3BA2F-5F6B-54F5-B352-5AEEE027239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41682" y="3706317"/>
            <a:ext cx="438708" cy="5362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13745"/>
                </a:moveTo>
                <a:lnTo>
                  <a:pt x="3600" y="13745"/>
                </a:lnTo>
                <a:cubicBezTo>
                  <a:pt x="3269" y="13745"/>
                  <a:pt x="3000" y="13966"/>
                  <a:pt x="3000" y="14236"/>
                </a:cubicBezTo>
                <a:cubicBezTo>
                  <a:pt x="3000" y="14508"/>
                  <a:pt x="3269" y="14727"/>
                  <a:pt x="3600" y="14727"/>
                </a:cubicBezTo>
                <a:lnTo>
                  <a:pt x="14400" y="14727"/>
                </a:lnTo>
                <a:cubicBezTo>
                  <a:pt x="14731" y="14727"/>
                  <a:pt x="15000" y="14508"/>
                  <a:pt x="15000" y="14236"/>
                </a:cubicBezTo>
                <a:cubicBezTo>
                  <a:pt x="15000" y="13966"/>
                  <a:pt x="14731" y="13745"/>
                  <a:pt x="14400" y="13745"/>
                </a:cubicBezTo>
                <a:moveTo>
                  <a:pt x="3000" y="11291"/>
                </a:moveTo>
                <a:cubicBezTo>
                  <a:pt x="3000" y="11562"/>
                  <a:pt x="3269" y="11782"/>
                  <a:pt x="3600" y="11782"/>
                </a:cubicBezTo>
                <a:lnTo>
                  <a:pt x="18000" y="11782"/>
                </a:lnTo>
                <a:cubicBezTo>
                  <a:pt x="18331" y="11782"/>
                  <a:pt x="18600" y="11562"/>
                  <a:pt x="18600" y="11291"/>
                </a:cubicBezTo>
                <a:cubicBezTo>
                  <a:pt x="18600" y="11020"/>
                  <a:pt x="18331" y="10800"/>
                  <a:pt x="18000" y="10800"/>
                </a:cubicBezTo>
                <a:lnTo>
                  <a:pt x="3600" y="10800"/>
                </a:lnTo>
                <a:cubicBezTo>
                  <a:pt x="3269" y="10800"/>
                  <a:pt x="3000" y="11020"/>
                  <a:pt x="3000" y="11291"/>
                </a:cubicBezTo>
                <a:moveTo>
                  <a:pt x="20400" y="20618"/>
                </a:moveTo>
                <a:lnTo>
                  <a:pt x="6600" y="20618"/>
                </a:lnTo>
                <a:lnTo>
                  <a:pt x="1200" y="16200"/>
                </a:lnTo>
                <a:lnTo>
                  <a:pt x="1200" y="2945"/>
                </a:lnTo>
                <a:lnTo>
                  <a:pt x="4200" y="2945"/>
                </a:lnTo>
                <a:lnTo>
                  <a:pt x="4200" y="4418"/>
                </a:lnTo>
                <a:cubicBezTo>
                  <a:pt x="4200" y="4690"/>
                  <a:pt x="4469" y="4909"/>
                  <a:pt x="4800" y="4909"/>
                </a:cubicBezTo>
                <a:cubicBezTo>
                  <a:pt x="5131" y="4909"/>
                  <a:pt x="5400" y="4690"/>
                  <a:pt x="5400" y="4418"/>
                </a:cubicBezTo>
                <a:lnTo>
                  <a:pt x="5400" y="2945"/>
                </a:lnTo>
                <a:lnTo>
                  <a:pt x="6600" y="2945"/>
                </a:lnTo>
                <a:lnTo>
                  <a:pt x="6600" y="4418"/>
                </a:lnTo>
                <a:cubicBezTo>
                  <a:pt x="6600" y="4690"/>
                  <a:pt x="6869" y="4909"/>
                  <a:pt x="7200" y="4909"/>
                </a:cubicBezTo>
                <a:cubicBezTo>
                  <a:pt x="7531" y="4909"/>
                  <a:pt x="7800" y="4690"/>
                  <a:pt x="7800" y="4418"/>
                </a:cubicBezTo>
                <a:lnTo>
                  <a:pt x="7800" y="2945"/>
                </a:lnTo>
                <a:lnTo>
                  <a:pt x="9000" y="2945"/>
                </a:lnTo>
                <a:lnTo>
                  <a:pt x="9000" y="4418"/>
                </a:lnTo>
                <a:cubicBezTo>
                  <a:pt x="9000" y="4690"/>
                  <a:pt x="9269" y="4909"/>
                  <a:pt x="9600" y="4909"/>
                </a:cubicBezTo>
                <a:cubicBezTo>
                  <a:pt x="9931" y="4909"/>
                  <a:pt x="10200" y="4690"/>
                  <a:pt x="10200" y="4418"/>
                </a:cubicBezTo>
                <a:lnTo>
                  <a:pt x="10200" y="2945"/>
                </a:lnTo>
                <a:lnTo>
                  <a:pt x="11400" y="2945"/>
                </a:lnTo>
                <a:lnTo>
                  <a:pt x="11400" y="4418"/>
                </a:lnTo>
                <a:cubicBezTo>
                  <a:pt x="11400" y="4690"/>
                  <a:pt x="11669" y="4909"/>
                  <a:pt x="12000" y="4909"/>
                </a:cubicBezTo>
                <a:cubicBezTo>
                  <a:pt x="12331" y="4909"/>
                  <a:pt x="12600" y="4690"/>
                  <a:pt x="12600" y="4418"/>
                </a:cubicBezTo>
                <a:lnTo>
                  <a:pt x="12600" y="2945"/>
                </a:lnTo>
                <a:lnTo>
                  <a:pt x="13800" y="2945"/>
                </a:lnTo>
                <a:lnTo>
                  <a:pt x="13800" y="4418"/>
                </a:lnTo>
                <a:cubicBezTo>
                  <a:pt x="13800" y="4690"/>
                  <a:pt x="14069" y="4909"/>
                  <a:pt x="14400" y="4909"/>
                </a:cubicBezTo>
                <a:cubicBezTo>
                  <a:pt x="14731" y="4909"/>
                  <a:pt x="15000" y="4690"/>
                  <a:pt x="15000" y="4418"/>
                </a:cubicBezTo>
                <a:lnTo>
                  <a:pt x="15000" y="2945"/>
                </a:lnTo>
                <a:lnTo>
                  <a:pt x="16200" y="2945"/>
                </a:lnTo>
                <a:lnTo>
                  <a:pt x="16200" y="4418"/>
                </a:lnTo>
                <a:cubicBezTo>
                  <a:pt x="16200" y="4690"/>
                  <a:pt x="16469" y="4909"/>
                  <a:pt x="16800" y="4909"/>
                </a:cubicBezTo>
                <a:cubicBezTo>
                  <a:pt x="17131" y="4909"/>
                  <a:pt x="17400" y="4690"/>
                  <a:pt x="17400" y="4418"/>
                </a:cubicBezTo>
                <a:lnTo>
                  <a:pt x="17400" y="2945"/>
                </a:lnTo>
                <a:lnTo>
                  <a:pt x="20400" y="2945"/>
                </a:lnTo>
                <a:cubicBezTo>
                  <a:pt x="20400" y="2945"/>
                  <a:pt x="20400" y="20618"/>
                  <a:pt x="20400" y="20618"/>
                </a:cubicBezTo>
                <a:close/>
                <a:moveTo>
                  <a:pt x="1200" y="20618"/>
                </a:moveTo>
                <a:lnTo>
                  <a:pt x="1200" y="17673"/>
                </a:lnTo>
                <a:lnTo>
                  <a:pt x="4800" y="20618"/>
                </a:lnTo>
                <a:cubicBezTo>
                  <a:pt x="4800" y="20618"/>
                  <a:pt x="1200" y="20618"/>
                  <a:pt x="1200" y="20618"/>
                </a:cubicBezTo>
                <a:close/>
                <a:moveTo>
                  <a:pt x="20400" y="1964"/>
                </a:moveTo>
                <a:lnTo>
                  <a:pt x="17400" y="1964"/>
                </a:lnTo>
                <a:lnTo>
                  <a:pt x="17400" y="491"/>
                </a:lnTo>
                <a:cubicBezTo>
                  <a:pt x="17400" y="220"/>
                  <a:pt x="17131" y="0"/>
                  <a:pt x="16800" y="0"/>
                </a:cubicBezTo>
                <a:cubicBezTo>
                  <a:pt x="16469" y="0"/>
                  <a:pt x="16200" y="220"/>
                  <a:pt x="16200" y="491"/>
                </a:cubicBezTo>
                <a:lnTo>
                  <a:pt x="16200" y="1964"/>
                </a:lnTo>
                <a:lnTo>
                  <a:pt x="15000" y="1964"/>
                </a:lnTo>
                <a:lnTo>
                  <a:pt x="15000" y="491"/>
                </a:lnTo>
                <a:cubicBezTo>
                  <a:pt x="15000" y="220"/>
                  <a:pt x="14731" y="0"/>
                  <a:pt x="14400" y="0"/>
                </a:cubicBezTo>
                <a:cubicBezTo>
                  <a:pt x="14069" y="0"/>
                  <a:pt x="13800" y="220"/>
                  <a:pt x="13800" y="491"/>
                </a:cubicBezTo>
                <a:lnTo>
                  <a:pt x="13800" y="1964"/>
                </a:lnTo>
                <a:lnTo>
                  <a:pt x="12600" y="1964"/>
                </a:lnTo>
                <a:lnTo>
                  <a:pt x="12600" y="491"/>
                </a:lnTo>
                <a:cubicBezTo>
                  <a:pt x="12600" y="220"/>
                  <a:pt x="12331" y="0"/>
                  <a:pt x="12000" y="0"/>
                </a:cubicBezTo>
                <a:cubicBezTo>
                  <a:pt x="11669" y="0"/>
                  <a:pt x="11400" y="220"/>
                  <a:pt x="11400" y="491"/>
                </a:cubicBezTo>
                <a:lnTo>
                  <a:pt x="11400" y="1964"/>
                </a:lnTo>
                <a:lnTo>
                  <a:pt x="10200" y="1964"/>
                </a:lnTo>
                <a:lnTo>
                  <a:pt x="10200" y="491"/>
                </a:lnTo>
                <a:cubicBezTo>
                  <a:pt x="10200" y="220"/>
                  <a:pt x="9931" y="0"/>
                  <a:pt x="9600" y="0"/>
                </a:cubicBezTo>
                <a:cubicBezTo>
                  <a:pt x="9269" y="0"/>
                  <a:pt x="9000" y="220"/>
                  <a:pt x="9000" y="491"/>
                </a:cubicBezTo>
                <a:lnTo>
                  <a:pt x="9000" y="1964"/>
                </a:lnTo>
                <a:lnTo>
                  <a:pt x="7800" y="1964"/>
                </a:lnTo>
                <a:lnTo>
                  <a:pt x="7800" y="491"/>
                </a:lnTo>
                <a:cubicBezTo>
                  <a:pt x="7800" y="220"/>
                  <a:pt x="7531" y="0"/>
                  <a:pt x="7200" y="0"/>
                </a:cubicBezTo>
                <a:cubicBezTo>
                  <a:pt x="6869" y="0"/>
                  <a:pt x="6600" y="220"/>
                  <a:pt x="6600" y="491"/>
                </a:cubicBezTo>
                <a:lnTo>
                  <a:pt x="6600" y="1964"/>
                </a:lnTo>
                <a:lnTo>
                  <a:pt x="5400" y="1964"/>
                </a:lnTo>
                <a:lnTo>
                  <a:pt x="5400" y="491"/>
                </a:lnTo>
                <a:cubicBezTo>
                  <a:pt x="5400" y="220"/>
                  <a:pt x="5131" y="0"/>
                  <a:pt x="4800" y="0"/>
                </a:cubicBezTo>
                <a:cubicBezTo>
                  <a:pt x="4469" y="0"/>
                  <a:pt x="4200" y="220"/>
                  <a:pt x="4200" y="491"/>
                </a:cubicBezTo>
                <a:lnTo>
                  <a:pt x="4200" y="1964"/>
                </a:lnTo>
                <a:lnTo>
                  <a:pt x="1200" y="1964"/>
                </a:lnTo>
                <a:cubicBezTo>
                  <a:pt x="538" y="1964"/>
                  <a:pt x="0" y="2404"/>
                  <a:pt x="0" y="2945"/>
                </a:cubicBezTo>
                <a:lnTo>
                  <a:pt x="0" y="20618"/>
                </a:lnTo>
                <a:cubicBezTo>
                  <a:pt x="0" y="21161"/>
                  <a:pt x="538" y="21600"/>
                  <a:pt x="1200" y="21600"/>
                </a:cubicBezTo>
                <a:lnTo>
                  <a:pt x="20400" y="21600"/>
                </a:lnTo>
                <a:cubicBezTo>
                  <a:pt x="21062" y="21600"/>
                  <a:pt x="21600" y="21161"/>
                  <a:pt x="21600" y="20618"/>
                </a:cubicBezTo>
                <a:lnTo>
                  <a:pt x="21600" y="2945"/>
                </a:lnTo>
                <a:cubicBezTo>
                  <a:pt x="21600" y="2404"/>
                  <a:pt x="21062" y="1964"/>
                  <a:pt x="20400" y="1964"/>
                </a:cubicBezTo>
                <a:moveTo>
                  <a:pt x="3600" y="8836"/>
                </a:moveTo>
                <a:lnTo>
                  <a:pt x="10800" y="8836"/>
                </a:lnTo>
                <a:cubicBezTo>
                  <a:pt x="11131" y="8836"/>
                  <a:pt x="11400" y="8617"/>
                  <a:pt x="11400" y="8345"/>
                </a:cubicBezTo>
                <a:cubicBezTo>
                  <a:pt x="11400" y="8075"/>
                  <a:pt x="11131" y="7855"/>
                  <a:pt x="10800" y="7855"/>
                </a:cubicBezTo>
                <a:lnTo>
                  <a:pt x="3600" y="7855"/>
                </a:lnTo>
                <a:cubicBezTo>
                  <a:pt x="3269" y="7855"/>
                  <a:pt x="3000" y="8075"/>
                  <a:pt x="3000" y="8345"/>
                </a:cubicBezTo>
                <a:cubicBezTo>
                  <a:pt x="3000" y="8617"/>
                  <a:pt x="3269" y="8836"/>
                  <a:pt x="3600" y="8836"/>
                </a:cubicBezTo>
              </a:path>
            </a:pathLst>
          </a:custGeom>
          <a:solidFill>
            <a:schemeClr val="bg1">
              <a:alpha val="80000"/>
            </a:schemeClr>
          </a:solidFill>
          <a:ln w="12700">
            <a:miter lim="400000"/>
          </a:ln>
        </p:spPr>
        <p:txBody>
          <a:bodyPr lIns="45720" tIns="45720" rIns="45720" bIns="45720" anchor="ctr"/>
          <a:lstStyle>
            <a:defPPr>
              <a:defRPr lang="en-US"/>
            </a:defPPr>
          </a:lstStyle>
          <a:p>
            <a:pPr defTabSz="1097192">
              <a:spcBef>
                <a:spcPct val="0"/>
              </a:spcBef>
              <a:spcAft>
                <a:spcPct val="0"/>
              </a:spcAft>
              <a:defRPr kumimoji="0" sz="2880" b="0" i="0" normalizeH="0" noProof="0">
                <a:solidFill>
                  <a:srgbClr val="000000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endParaRPr lang="en-US" sz="3456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id="{B9BCA62B-C7A5-CFA1-B67F-BE51CC29DB88}"/>
              </a:ext>
            </a:extLst>
          </p:cNvPr>
          <p:cNvGrpSpPr/>
          <p:nvPr/>
        </p:nvGrpSpPr>
        <p:grpSpPr>
          <a:xfrm>
            <a:off x="12686437" y="3956897"/>
            <a:ext cx="474888" cy="268093"/>
            <a:chOff x="5286240" y="2449800"/>
            <a:chExt cx="4822200" cy="2722320"/>
          </a:xfrm>
          <a:solidFill>
            <a:schemeClr val="bg1">
              <a:alpha val="80000"/>
            </a:schemeClr>
          </a:solidFill>
        </p:grpSpPr>
        <p:sp>
          <p:nvSpPr>
            <p:cNvPr id="150" name="Freeform 149">
              <a:extLst>
                <a:ext uri="{FF2B5EF4-FFF2-40B4-BE49-F238E27FC236}">
                  <a16:creationId xmlns:a16="http://schemas.microsoft.com/office/drawing/2014/main" id="{3F174683-6BAD-D48E-D4FB-A5CCB330E8C8}"/>
                </a:ext>
              </a:extLst>
            </p:cNvPr>
            <p:cNvSpPr/>
            <p:nvPr/>
          </p:nvSpPr>
          <p:spPr>
            <a:xfrm>
              <a:off x="5286240" y="2449800"/>
              <a:ext cx="4822200" cy="27223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396" h="7563">
                  <a:moveTo>
                    <a:pt x="13378" y="4123"/>
                  </a:moveTo>
                  <a:cubicBezTo>
                    <a:pt x="11783" y="123"/>
                    <a:pt x="11783" y="123"/>
                    <a:pt x="11783" y="123"/>
                  </a:cubicBezTo>
                  <a:cubicBezTo>
                    <a:pt x="11747" y="28"/>
                    <a:pt x="11628" y="-31"/>
                    <a:pt x="11521" y="16"/>
                  </a:cubicBezTo>
                  <a:cubicBezTo>
                    <a:pt x="9818" y="671"/>
                    <a:pt x="9818" y="671"/>
                    <a:pt x="9818" y="671"/>
                  </a:cubicBezTo>
                  <a:cubicBezTo>
                    <a:pt x="9771" y="695"/>
                    <a:pt x="9723" y="730"/>
                    <a:pt x="9699" y="778"/>
                  </a:cubicBezTo>
                  <a:cubicBezTo>
                    <a:pt x="9687" y="826"/>
                    <a:pt x="9676" y="885"/>
                    <a:pt x="9699" y="933"/>
                  </a:cubicBezTo>
                  <a:cubicBezTo>
                    <a:pt x="9807" y="1195"/>
                    <a:pt x="9807" y="1195"/>
                    <a:pt x="9807" y="1195"/>
                  </a:cubicBezTo>
                  <a:cubicBezTo>
                    <a:pt x="9033" y="1409"/>
                    <a:pt x="9033" y="1409"/>
                    <a:pt x="9033" y="1409"/>
                  </a:cubicBezTo>
                  <a:cubicBezTo>
                    <a:pt x="7890" y="1028"/>
                    <a:pt x="7890" y="1028"/>
                    <a:pt x="7890" y="1028"/>
                  </a:cubicBezTo>
                  <a:cubicBezTo>
                    <a:pt x="7366" y="850"/>
                    <a:pt x="6818" y="873"/>
                    <a:pt x="6318" y="1076"/>
                  </a:cubicBezTo>
                  <a:cubicBezTo>
                    <a:pt x="6211" y="992"/>
                    <a:pt x="6080" y="933"/>
                    <a:pt x="5926" y="909"/>
                  </a:cubicBezTo>
                  <a:cubicBezTo>
                    <a:pt x="5687" y="873"/>
                    <a:pt x="5438" y="933"/>
                    <a:pt x="5211" y="1052"/>
                  </a:cubicBezTo>
                  <a:cubicBezTo>
                    <a:pt x="4235" y="1611"/>
                    <a:pt x="4235" y="1611"/>
                    <a:pt x="4235" y="1611"/>
                  </a:cubicBezTo>
                  <a:cubicBezTo>
                    <a:pt x="3830" y="1409"/>
                    <a:pt x="3830" y="1409"/>
                    <a:pt x="3830" y="1409"/>
                  </a:cubicBezTo>
                  <a:cubicBezTo>
                    <a:pt x="3973" y="1100"/>
                    <a:pt x="3973" y="1100"/>
                    <a:pt x="3973" y="1100"/>
                  </a:cubicBezTo>
                  <a:cubicBezTo>
                    <a:pt x="3997" y="1052"/>
                    <a:pt x="4009" y="1004"/>
                    <a:pt x="3985" y="945"/>
                  </a:cubicBezTo>
                  <a:cubicBezTo>
                    <a:pt x="3973" y="897"/>
                    <a:pt x="3937" y="850"/>
                    <a:pt x="3890" y="826"/>
                  </a:cubicBezTo>
                  <a:cubicBezTo>
                    <a:pt x="2247" y="28"/>
                    <a:pt x="2247" y="28"/>
                    <a:pt x="2247" y="28"/>
                  </a:cubicBezTo>
                  <a:cubicBezTo>
                    <a:pt x="2140" y="-31"/>
                    <a:pt x="2021" y="16"/>
                    <a:pt x="1973" y="111"/>
                  </a:cubicBezTo>
                  <a:cubicBezTo>
                    <a:pt x="21" y="3956"/>
                    <a:pt x="21" y="3956"/>
                    <a:pt x="21" y="3956"/>
                  </a:cubicBezTo>
                  <a:cubicBezTo>
                    <a:pt x="-27" y="4051"/>
                    <a:pt x="9" y="4183"/>
                    <a:pt x="104" y="4230"/>
                  </a:cubicBezTo>
                  <a:cubicBezTo>
                    <a:pt x="1759" y="5075"/>
                    <a:pt x="1759" y="5075"/>
                    <a:pt x="1759" y="5075"/>
                  </a:cubicBezTo>
                  <a:cubicBezTo>
                    <a:pt x="1783" y="5087"/>
                    <a:pt x="1819" y="5087"/>
                    <a:pt x="1854" y="5087"/>
                  </a:cubicBezTo>
                  <a:cubicBezTo>
                    <a:pt x="1878" y="5087"/>
                    <a:pt x="1890" y="5087"/>
                    <a:pt x="1914" y="5087"/>
                  </a:cubicBezTo>
                  <a:cubicBezTo>
                    <a:pt x="1961" y="5063"/>
                    <a:pt x="2009" y="5027"/>
                    <a:pt x="2033" y="4980"/>
                  </a:cubicBezTo>
                  <a:cubicBezTo>
                    <a:pt x="2152" y="4730"/>
                    <a:pt x="2152" y="4730"/>
                    <a:pt x="2152" y="4730"/>
                  </a:cubicBezTo>
                  <a:cubicBezTo>
                    <a:pt x="2711" y="5075"/>
                    <a:pt x="2711" y="5075"/>
                    <a:pt x="2711" y="5075"/>
                  </a:cubicBezTo>
                  <a:cubicBezTo>
                    <a:pt x="2687" y="5158"/>
                    <a:pt x="2687" y="5230"/>
                    <a:pt x="2699" y="5313"/>
                  </a:cubicBezTo>
                  <a:cubicBezTo>
                    <a:pt x="2723" y="5468"/>
                    <a:pt x="2807" y="5611"/>
                    <a:pt x="2937" y="5706"/>
                  </a:cubicBezTo>
                  <a:cubicBezTo>
                    <a:pt x="3080" y="5801"/>
                    <a:pt x="3080" y="5801"/>
                    <a:pt x="3080" y="5801"/>
                  </a:cubicBezTo>
                  <a:cubicBezTo>
                    <a:pt x="3187" y="5884"/>
                    <a:pt x="3307" y="5920"/>
                    <a:pt x="3426" y="5920"/>
                  </a:cubicBezTo>
                  <a:cubicBezTo>
                    <a:pt x="3426" y="5956"/>
                    <a:pt x="3438" y="5992"/>
                    <a:pt x="3438" y="6015"/>
                  </a:cubicBezTo>
                  <a:cubicBezTo>
                    <a:pt x="3473" y="6182"/>
                    <a:pt x="3569" y="6325"/>
                    <a:pt x="3711" y="6420"/>
                  </a:cubicBezTo>
                  <a:cubicBezTo>
                    <a:pt x="3819" y="6480"/>
                    <a:pt x="3937" y="6516"/>
                    <a:pt x="4045" y="6516"/>
                  </a:cubicBezTo>
                  <a:cubicBezTo>
                    <a:pt x="4068" y="6516"/>
                    <a:pt x="4080" y="6516"/>
                    <a:pt x="4092" y="6503"/>
                  </a:cubicBezTo>
                  <a:cubicBezTo>
                    <a:pt x="4092" y="6527"/>
                    <a:pt x="4092" y="6539"/>
                    <a:pt x="4092" y="6551"/>
                  </a:cubicBezTo>
                  <a:cubicBezTo>
                    <a:pt x="4116" y="6718"/>
                    <a:pt x="4199" y="6861"/>
                    <a:pt x="4331" y="6956"/>
                  </a:cubicBezTo>
                  <a:cubicBezTo>
                    <a:pt x="4438" y="7039"/>
                    <a:pt x="4568" y="7075"/>
                    <a:pt x="4699" y="7075"/>
                  </a:cubicBezTo>
                  <a:cubicBezTo>
                    <a:pt x="4771" y="7075"/>
                    <a:pt x="4830" y="7063"/>
                    <a:pt x="4902" y="7039"/>
                  </a:cubicBezTo>
                  <a:cubicBezTo>
                    <a:pt x="4937" y="7146"/>
                    <a:pt x="5021" y="7242"/>
                    <a:pt x="5116" y="7325"/>
                  </a:cubicBezTo>
                  <a:cubicBezTo>
                    <a:pt x="5235" y="7408"/>
                    <a:pt x="5366" y="7456"/>
                    <a:pt x="5509" y="7456"/>
                  </a:cubicBezTo>
                  <a:cubicBezTo>
                    <a:pt x="5676" y="7456"/>
                    <a:pt x="5842" y="7384"/>
                    <a:pt x="5950" y="7242"/>
                  </a:cubicBezTo>
                  <a:cubicBezTo>
                    <a:pt x="6057" y="7110"/>
                    <a:pt x="6057" y="7110"/>
                    <a:pt x="6057" y="7110"/>
                  </a:cubicBezTo>
                  <a:cubicBezTo>
                    <a:pt x="6271" y="7289"/>
                    <a:pt x="6687" y="7563"/>
                    <a:pt x="7092" y="7563"/>
                  </a:cubicBezTo>
                  <a:cubicBezTo>
                    <a:pt x="7152" y="7563"/>
                    <a:pt x="7199" y="7563"/>
                    <a:pt x="7259" y="7551"/>
                  </a:cubicBezTo>
                  <a:cubicBezTo>
                    <a:pt x="7509" y="7503"/>
                    <a:pt x="7699" y="7349"/>
                    <a:pt x="7854" y="7075"/>
                  </a:cubicBezTo>
                  <a:cubicBezTo>
                    <a:pt x="7902" y="7087"/>
                    <a:pt x="7961" y="7099"/>
                    <a:pt x="8021" y="7099"/>
                  </a:cubicBezTo>
                  <a:cubicBezTo>
                    <a:pt x="8354" y="7099"/>
                    <a:pt x="8652" y="6896"/>
                    <a:pt x="8890" y="6516"/>
                  </a:cubicBezTo>
                  <a:cubicBezTo>
                    <a:pt x="8949" y="6527"/>
                    <a:pt x="9021" y="6539"/>
                    <a:pt x="9080" y="6539"/>
                  </a:cubicBezTo>
                  <a:cubicBezTo>
                    <a:pt x="9104" y="6539"/>
                    <a:pt x="9116" y="6539"/>
                    <a:pt x="9140" y="6539"/>
                  </a:cubicBezTo>
                  <a:cubicBezTo>
                    <a:pt x="9461" y="6516"/>
                    <a:pt x="9735" y="6301"/>
                    <a:pt x="9949" y="5897"/>
                  </a:cubicBezTo>
                  <a:cubicBezTo>
                    <a:pt x="9985" y="5908"/>
                    <a:pt x="10021" y="5908"/>
                    <a:pt x="10057" y="5908"/>
                  </a:cubicBezTo>
                  <a:cubicBezTo>
                    <a:pt x="10068" y="5908"/>
                    <a:pt x="10068" y="5908"/>
                    <a:pt x="10080" y="5908"/>
                  </a:cubicBezTo>
                  <a:cubicBezTo>
                    <a:pt x="10271" y="5908"/>
                    <a:pt x="10449" y="5837"/>
                    <a:pt x="10580" y="5670"/>
                  </a:cubicBezTo>
                  <a:cubicBezTo>
                    <a:pt x="10771" y="5432"/>
                    <a:pt x="10866" y="5194"/>
                    <a:pt x="10842" y="4956"/>
                  </a:cubicBezTo>
                  <a:cubicBezTo>
                    <a:pt x="10842" y="4909"/>
                    <a:pt x="10830" y="4861"/>
                    <a:pt x="10818" y="4801"/>
                  </a:cubicBezTo>
                  <a:cubicBezTo>
                    <a:pt x="11175" y="4694"/>
                    <a:pt x="11175" y="4694"/>
                    <a:pt x="11175" y="4694"/>
                  </a:cubicBezTo>
                  <a:cubicBezTo>
                    <a:pt x="11283" y="4968"/>
                    <a:pt x="11283" y="4968"/>
                    <a:pt x="11283" y="4968"/>
                  </a:cubicBezTo>
                  <a:cubicBezTo>
                    <a:pt x="11306" y="5016"/>
                    <a:pt x="11342" y="5063"/>
                    <a:pt x="11390" y="5075"/>
                  </a:cubicBezTo>
                  <a:cubicBezTo>
                    <a:pt x="11413" y="5087"/>
                    <a:pt x="11449" y="5099"/>
                    <a:pt x="11473" y="5099"/>
                  </a:cubicBezTo>
                  <a:cubicBezTo>
                    <a:pt x="11497" y="5099"/>
                    <a:pt x="11521" y="5087"/>
                    <a:pt x="11545" y="5087"/>
                  </a:cubicBezTo>
                  <a:cubicBezTo>
                    <a:pt x="13271" y="4397"/>
                    <a:pt x="13271" y="4397"/>
                    <a:pt x="13271" y="4397"/>
                  </a:cubicBezTo>
                  <a:cubicBezTo>
                    <a:pt x="13378" y="4349"/>
                    <a:pt x="13426" y="4230"/>
                    <a:pt x="13378" y="4123"/>
                  </a:cubicBezTo>
                  <a:close/>
                  <a:moveTo>
                    <a:pt x="1759" y="4611"/>
                  </a:moveTo>
                  <a:cubicBezTo>
                    <a:pt x="473" y="3956"/>
                    <a:pt x="473" y="3956"/>
                    <a:pt x="473" y="3956"/>
                  </a:cubicBezTo>
                  <a:cubicBezTo>
                    <a:pt x="2247" y="481"/>
                    <a:pt x="2247" y="481"/>
                    <a:pt x="2247" y="481"/>
                  </a:cubicBezTo>
                  <a:cubicBezTo>
                    <a:pt x="3521" y="1100"/>
                    <a:pt x="3521" y="1100"/>
                    <a:pt x="3521" y="1100"/>
                  </a:cubicBezTo>
                  <a:cubicBezTo>
                    <a:pt x="3366" y="1409"/>
                    <a:pt x="3366" y="1409"/>
                    <a:pt x="3366" y="1409"/>
                  </a:cubicBezTo>
                  <a:close/>
                  <a:moveTo>
                    <a:pt x="3175" y="5373"/>
                  </a:moveTo>
                  <a:cubicBezTo>
                    <a:pt x="3128" y="5349"/>
                    <a:pt x="3104" y="5301"/>
                    <a:pt x="3104" y="5254"/>
                  </a:cubicBezTo>
                  <a:cubicBezTo>
                    <a:pt x="3092" y="5206"/>
                    <a:pt x="3104" y="5158"/>
                    <a:pt x="3128" y="5123"/>
                  </a:cubicBezTo>
                  <a:cubicBezTo>
                    <a:pt x="3175" y="5063"/>
                    <a:pt x="3223" y="5040"/>
                    <a:pt x="3283" y="5040"/>
                  </a:cubicBezTo>
                  <a:cubicBezTo>
                    <a:pt x="3318" y="5040"/>
                    <a:pt x="3366" y="5051"/>
                    <a:pt x="3390" y="5075"/>
                  </a:cubicBezTo>
                  <a:cubicBezTo>
                    <a:pt x="3533" y="5182"/>
                    <a:pt x="3533" y="5182"/>
                    <a:pt x="3533" y="5182"/>
                  </a:cubicBezTo>
                  <a:cubicBezTo>
                    <a:pt x="3580" y="5206"/>
                    <a:pt x="3604" y="5254"/>
                    <a:pt x="3616" y="5301"/>
                  </a:cubicBezTo>
                  <a:cubicBezTo>
                    <a:pt x="3616" y="5349"/>
                    <a:pt x="3604" y="5396"/>
                    <a:pt x="3580" y="5432"/>
                  </a:cubicBezTo>
                  <a:cubicBezTo>
                    <a:pt x="3521" y="5516"/>
                    <a:pt x="3402" y="5539"/>
                    <a:pt x="3318" y="5480"/>
                  </a:cubicBezTo>
                  <a:close/>
                  <a:moveTo>
                    <a:pt x="3937" y="6075"/>
                  </a:moveTo>
                  <a:cubicBezTo>
                    <a:pt x="3866" y="6039"/>
                    <a:pt x="3842" y="5980"/>
                    <a:pt x="3842" y="5932"/>
                  </a:cubicBezTo>
                  <a:cubicBezTo>
                    <a:pt x="3819" y="5861"/>
                    <a:pt x="3842" y="5777"/>
                    <a:pt x="3878" y="5718"/>
                  </a:cubicBezTo>
                  <a:cubicBezTo>
                    <a:pt x="3997" y="5539"/>
                    <a:pt x="3997" y="5539"/>
                    <a:pt x="3997" y="5539"/>
                  </a:cubicBezTo>
                  <a:cubicBezTo>
                    <a:pt x="4080" y="5408"/>
                    <a:pt x="4235" y="5361"/>
                    <a:pt x="4354" y="5432"/>
                  </a:cubicBezTo>
                  <a:cubicBezTo>
                    <a:pt x="4414" y="5480"/>
                    <a:pt x="4438" y="5539"/>
                    <a:pt x="4449" y="5575"/>
                  </a:cubicBezTo>
                  <a:cubicBezTo>
                    <a:pt x="4461" y="5646"/>
                    <a:pt x="4449" y="5730"/>
                    <a:pt x="4402" y="5789"/>
                  </a:cubicBezTo>
                  <a:cubicBezTo>
                    <a:pt x="4283" y="5968"/>
                    <a:pt x="4283" y="5968"/>
                    <a:pt x="4283" y="5968"/>
                  </a:cubicBezTo>
                  <a:cubicBezTo>
                    <a:pt x="4199" y="6099"/>
                    <a:pt x="4045" y="6146"/>
                    <a:pt x="3937" y="6075"/>
                  </a:cubicBezTo>
                  <a:close/>
                  <a:moveTo>
                    <a:pt x="4580" y="6634"/>
                  </a:moveTo>
                  <a:cubicBezTo>
                    <a:pt x="4533" y="6599"/>
                    <a:pt x="4509" y="6551"/>
                    <a:pt x="4497" y="6492"/>
                  </a:cubicBezTo>
                  <a:cubicBezTo>
                    <a:pt x="4485" y="6432"/>
                    <a:pt x="4509" y="6360"/>
                    <a:pt x="4545" y="6301"/>
                  </a:cubicBezTo>
                  <a:cubicBezTo>
                    <a:pt x="4937" y="5801"/>
                    <a:pt x="4937" y="5801"/>
                    <a:pt x="4937" y="5801"/>
                  </a:cubicBezTo>
                  <a:cubicBezTo>
                    <a:pt x="5021" y="5694"/>
                    <a:pt x="5164" y="5658"/>
                    <a:pt x="5271" y="5730"/>
                  </a:cubicBezTo>
                  <a:cubicBezTo>
                    <a:pt x="5306" y="5766"/>
                    <a:pt x="5342" y="5813"/>
                    <a:pt x="5342" y="5873"/>
                  </a:cubicBezTo>
                  <a:cubicBezTo>
                    <a:pt x="5354" y="5944"/>
                    <a:pt x="5330" y="6004"/>
                    <a:pt x="5295" y="6063"/>
                  </a:cubicBezTo>
                  <a:cubicBezTo>
                    <a:pt x="5259" y="6099"/>
                    <a:pt x="5259" y="6099"/>
                    <a:pt x="5259" y="6099"/>
                  </a:cubicBezTo>
                  <a:cubicBezTo>
                    <a:pt x="4961" y="6503"/>
                    <a:pt x="4961" y="6503"/>
                    <a:pt x="4961" y="6503"/>
                  </a:cubicBezTo>
                  <a:cubicBezTo>
                    <a:pt x="4902" y="6563"/>
                    <a:pt x="4902" y="6563"/>
                    <a:pt x="4902" y="6563"/>
                  </a:cubicBezTo>
                  <a:cubicBezTo>
                    <a:pt x="4818" y="6682"/>
                    <a:pt x="4676" y="6706"/>
                    <a:pt x="4580" y="6634"/>
                  </a:cubicBezTo>
                  <a:close/>
                  <a:moveTo>
                    <a:pt x="5354" y="6992"/>
                  </a:moveTo>
                  <a:cubicBezTo>
                    <a:pt x="5306" y="6956"/>
                    <a:pt x="5271" y="6896"/>
                    <a:pt x="5259" y="6837"/>
                  </a:cubicBezTo>
                  <a:cubicBezTo>
                    <a:pt x="5259" y="6813"/>
                    <a:pt x="5259" y="6777"/>
                    <a:pt x="5283" y="6741"/>
                  </a:cubicBezTo>
                  <a:cubicBezTo>
                    <a:pt x="5580" y="6360"/>
                    <a:pt x="5580" y="6360"/>
                    <a:pt x="5580" y="6360"/>
                  </a:cubicBezTo>
                  <a:cubicBezTo>
                    <a:pt x="5592" y="6349"/>
                    <a:pt x="5592" y="6349"/>
                    <a:pt x="5592" y="6349"/>
                  </a:cubicBezTo>
                  <a:cubicBezTo>
                    <a:pt x="5616" y="6313"/>
                    <a:pt x="5652" y="6301"/>
                    <a:pt x="5699" y="6301"/>
                  </a:cubicBezTo>
                  <a:cubicBezTo>
                    <a:pt x="5747" y="6301"/>
                    <a:pt x="5807" y="6313"/>
                    <a:pt x="5854" y="6349"/>
                  </a:cubicBezTo>
                  <a:cubicBezTo>
                    <a:pt x="5902" y="6384"/>
                    <a:pt x="5937" y="6444"/>
                    <a:pt x="5950" y="6503"/>
                  </a:cubicBezTo>
                  <a:cubicBezTo>
                    <a:pt x="5950" y="6527"/>
                    <a:pt x="5950" y="6563"/>
                    <a:pt x="5926" y="6599"/>
                  </a:cubicBezTo>
                  <a:cubicBezTo>
                    <a:pt x="5616" y="7003"/>
                    <a:pt x="5616" y="7003"/>
                    <a:pt x="5616" y="7003"/>
                  </a:cubicBezTo>
                  <a:cubicBezTo>
                    <a:pt x="5569" y="7063"/>
                    <a:pt x="5449" y="7063"/>
                    <a:pt x="5354" y="6992"/>
                  </a:cubicBezTo>
                  <a:close/>
                  <a:moveTo>
                    <a:pt x="10259" y="5420"/>
                  </a:moveTo>
                  <a:cubicBezTo>
                    <a:pt x="10211" y="5480"/>
                    <a:pt x="10152" y="5516"/>
                    <a:pt x="10068" y="5503"/>
                  </a:cubicBezTo>
                  <a:cubicBezTo>
                    <a:pt x="9652" y="5492"/>
                    <a:pt x="8937" y="4694"/>
                    <a:pt x="8592" y="4206"/>
                  </a:cubicBezTo>
                  <a:cubicBezTo>
                    <a:pt x="8521" y="4111"/>
                    <a:pt x="8390" y="4087"/>
                    <a:pt x="8306" y="4159"/>
                  </a:cubicBezTo>
                  <a:cubicBezTo>
                    <a:pt x="8211" y="4218"/>
                    <a:pt x="8188" y="4349"/>
                    <a:pt x="8259" y="4432"/>
                  </a:cubicBezTo>
                  <a:cubicBezTo>
                    <a:pt x="8342" y="4551"/>
                    <a:pt x="8949" y="5385"/>
                    <a:pt x="9569" y="5742"/>
                  </a:cubicBezTo>
                  <a:cubicBezTo>
                    <a:pt x="9437" y="5992"/>
                    <a:pt x="9283" y="6122"/>
                    <a:pt x="9116" y="6135"/>
                  </a:cubicBezTo>
                  <a:cubicBezTo>
                    <a:pt x="8640" y="6170"/>
                    <a:pt x="7997" y="5325"/>
                    <a:pt x="7807" y="5027"/>
                  </a:cubicBezTo>
                  <a:cubicBezTo>
                    <a:pt x="7747" y="4932"/>
                    <a:pt x="7628" y="4909"/>
                    <a:pt x="7533" y="4968"/>
                  </a:cubicBezTo>
                  <a:cubicBezTo>
                    <a:pt x="7438" y="5027"/>
                    <a:pt x="7414" y="5147"/>
                    <a:pt x="7461" y="5242"/>
                  </a:cubicBezTo>
                  <a:cubicBezTo>
                    <a:pt x="7533" y="5349"/>
                    <a:pt x="7961" y="6027"/>
                    <a:pt x="8509" y="6360"/>
                  </a:cubicBezTo>
                  <a:cubicBezTo>
                    <a:pt x="8354" y="6575"/>
                    <a:pt x="8199" y="6694"/>
                    <a:pt x="8021" y="6694"/>
                  </a:cubicBezTo>
                  <a:cubicBezTo>
                    <a:pt x="7616" y="6694"/>
                    <a:pt x="7175" y="6099"/>
                    <a:pt x="7045" y="5861"/>
                  </a:cubicBezTo>
                  <a:cubicBezTo>
                    <a:pt x="6985" y="5766"/>
                    <a:pt x="6866" y="5730"/>
                    <a:pt x="6771" y="5789"/>
                  </a:cubicBezTo>
                  <a:cubicBezTo>
                    <a:pt x="6676" y="5849"/>
                    <a:pt x="6640" y="5968"/>
                    <a:pt x="6699" y="6063"/>
                  </a:cubicBezTo>
                  <a:cubicBezTo>
                    <a:pt x="6735" y="6146"/>
                    <a:pt x="7045" y="6646"/>
                    <a:pt x="7473" y="6920"/>
                  </a:cubicBezTo>
                  <a:cubicBezTo>
                    <a:pt x="7390" y="7051"/>
                    <a:pt x="7295" y="7134"/>
                    <a:pt x="7175" y="7158"/>
                  </a:cubicBezTo>
                  <a:cubicBezTo>
                    <a:pt x="6890" y="7206"/>
                    <a:pt x="6509" y="6956"/>
                    <a:pt x="6295" y="6777"/>
                  </a:cubicBezTo>
                  <a:cubicBezTo>
                    <a:pt x="6342" y="6682"/>
                    <a:pt x="6366" y="6563"/>
                    <a:pt x="6354" y="6444"/>
                  </a:cubicBezTo>
                  <a:cubicBezTo>
                    <a:pt x="6330" y="6289"/>
                    <a:pt x="6235" y="6135"/>
                    <a:pt x="6092" y="6027"/>
                  </a:cubicBezTo>
                  <a:cubicBezTo>
                    <a:pt x="5985" y="5944"/>
                    <a:pt x="5866" y="5908"/>
                    <a:pt x="5747" y="5897"/>
                  </a:cubicBezTo>
                  <a:cubicBezTo>
                    <a:pt x="5747" y="5873"/>
                    <a:pt x="5747" y="5849"/>
                    <a:pt x="5747" y="5813"/>
                  </a:cubicBezTo>
                  <a:cubicBezTo>
                    <a:pt x="5723" y="5658"/>
                    <a:pt x="5640" y="5503"/>
                    <a:pt x="5509" y="5408"/>
                  </a:cubicBezTo>
                  <a:cubicBezTo>
                    <a:pt x="5306" y="5254"/>
                    <a:pt x="5021" y="5254"/>
                    <a:pt x="4807" y="5385"/>
                  </a:cubicBezTo>
                  <a:cubicBezTo>
                    <a:pt x="4759" y="5265"/>
                    <a:pt x="4676" y="5158"/>
                    <a:pt x="4568" y="5099"/>
                  </a:cubicBezTo>
                  <a:cubicBezTo>
                    <a:pt x="4378" y="4968"/>
                    <a:pt x="4152" y="4968"/>
                    <a:pt x="3950" y="5063"/>
                  </a:cubicBezTo>
                  <a:cubicBezTo>
                    <a:pt x="3914" y="4980"/>
                    <a:pt x="3854" y="4909"/>
                    <a:pt x="3771" y="4849"/>
                  </a:cubicBezTo>
                  <a:cubicBezTo>
                    <a:pt x="3628" y="4754"/>
                    <a:pt x="3628" y="4754"/>
                    <a:pt x="3628" y="4754"/>
                  </a:cubicBezTo>
                  <a:cubicBezTo>
                    <a:pt x="3426" y="4599"/>
                    <a:pt x="3152" y="4599"/>
                    <a:pt x="2950" y="4742"/>
                  </a:cubicBezTo>
                  <a:cubicBezTo>
                    <a:pt x="2342" y="4361"/>
                    <a:pt x="2342" y="4361"/>
                    <a:pt x="2342" y="4361"/>
                  </a:cubicBezTo>
                  <a:cubicBezTo>
                    <a:pt x="3640" y="1766"/>
                    <a:pt x="3640" y="1766"/>
                    <a:pt x="3640" y="1766"/>
                  </a:cubicBezTo>
                  <a:cubicBezTo>
                    <a:pt x="4152" y="2016"/>
                    <a:pt x="4152" y="2016"/>
                    <a:pt x="4152" y="2016"/>
                  </a:cubicBezTo>
                  <a:cubicBezTo>
                    <a:pt x="4175" y="2028"/>
                    <a:pt x="4211" y="2040"/>
                    <a:pt x="4235" y="2040"/>
                  </a:cubicBezTo>
                  <a:cubicBezTo>
                    <a:pt x="4271" y="2040"/>
                    <a:pt x="4307" y="2028"/>
                    <a:pt x="4342" y="2016"/>
                  </a:cubicBezTo>
                  <a:cubicBezTo>
                    <a:pt x="5414" y="1409"/>
                    <a:pt x="5414" y="1409"/>
                    <a:pt x="5414" y="1409"/>
                  </a:cubicBezTo>
                  <a:cubicBezTo>
                    <a:pt x="5556" y="1326"/>
                    <a:pt x="5723" y="1290"/>
                    <a:pt x="5866" y="1314"/>
                  </a:cubicBezTo>
                  <a:cubicBezTo>
                    <a:pt x="5533" y="1552"/>
                    <a:pt x="5283" y="1861"/>
                    <a:pt x="5140" y="2218"/>
                  </a:cubicBezTo>
                  <a:cubicBezTo>
                    <a:pt x="4890" y="2885"/>
                    <a:pt x="5199" y="3254"/>
                    <a:pt x="5402" y="3349"/>
                  </a:cubicBezTo>
                  <a:cubicBezTo>
                    <a:pt x="5628" y="3456"/>
                    <a:pt x="5842" y="3468"/>
                    <a:pt x="6044" y="3385"/>
                  </a:cubicBezTo>
                  <a:cubicBezTo>
                    <a:pt x="6342" y="3266"/>
                    <a:pt x="6521" y="2945"/>
                    <a:pt x="6616" y="2707"/>
                  </a:cubicBezTo>
                  <a:cubicBezTo>
                    <a:pt x="6640" y="2635"/>
                    <a:pt x="6699" y="2575"/>
                    <a:pt x="6771" y="2540"/>
                  </a:cubicBezTo>
                  <a:cubicBezTo>
                    <a:pt x="6866" y="2492"/>
                    <a:pt x="6961" y="2504"/>
                    <a:pt x="7045" y="2540"/>
                  </a:cubicBezTo>
                  <a:cubicBezTo>
                    <a:pt x="8283" y="3147"/>
                    <a:pt x="8283" y="3147"/>
                    <a:pt x="8283" y="3147"/>
                  </a:cubicBezTo>
                  <a:cubicBezTo>
                    <a:pt x="8771" y="3397"/>
                    <a:pt x="9223" y="3718"/>
                    <a:pt x="9616" y="4111"/>
                  </a:cubicBezTo>
                  <a:cubicBezTo>
                    <a:pt x="9818" y="4325"/>
                    <a:pt x="10033" y="4528"/>
                    <a:pt x="10271" y="4718"/>
                  </a:cubicBezTo>
                  <a:cubicBezTo>
                    <a:pt x="10378" y="4801"/>
                    <a:pt x="10426" y="4897"/>
                    <a:pt x="10437" y="5004"/>
                  </a:cubicBezTo>
                  <a:cubicBezTo>
                    <a:pt x="10449" y="5123"/>
                    <a:pt x="10390" y="5265"/>
                    <a:pt x="10259" y="5420"/>
                  </a:cubicBezTo>
                  <a:close/>
                  <a:moveTo>
                    <a:pt x="10580" y="4456"/>
                  </a:moveTo>
                  <a:cubicBezTo>
                    <a:pt x="10556" y="4432"/>
                    <a:pt x="10545" y="4421"/>
                    <a:pt x="10521" y="4408"/>
                  </a:cubicBezTo>
                  <a:cubicBezTo>
                    <a:pt x="10306" y="4218"/>
                    <a:pt x="10092" y="4027"/>
                    <a:pt x="9902" y="3825"/>
                  </a:cubicBezTo>
                  <a:cubicBezTo>
                    <a:pt x="9485" y="3397"/>
                    <a:pt x="8997" y="3052"/>
                    <a:pt x="8461" y="2778"/>
                  </a:cubicBezTo>
                  <a:cubicBezTo>
                    <a:pt x="7223" y="2171"/>
                    <a:pt x="7223" y="2171"/>
                    <a:pt x="7223" y="2171"/>
                  </a:cubicBezTo>
                  <a:cubicBezTo>
                    <a:pt x="7033" y="2088"/>
                    <a:pt x="6807" y="2075"/>
                    <a:pt x="6604" y="2171"/>
                  </a:cubicBezTo>
                  <a:cubicBezTo>
                    <a:pt x="6438" y="2242"/>
                    <a:pt x="6295" y="2385"/>
                    <a:pt x="6235" y="2564"/>
                  </a:cubicBezTo>
                  <a:cubicBezTo>
                    <a:pt x="6175" y="2694"/>
                    <a:pt x="6068" y="2932"/>
                    <a:pt x="5890" y="3004"/>
                  </a:cubicBezTo>
                  <a:cubicBezTo>
                    <a:pt x="5794" y="3052"/>
                    <a:pt x="5699" y="3040"/>
                    <a:pt x="5580" y="2980"/>
                  </a:cubicBezTo>
                  <a:cubicBezTo>
                    <a:pt x="5556" y="2968"/>
                    <a:pt x="5342" y="2837"/>
                    <a:pt x="5521" y="2361"/>
                  </a:cubicBezTo>
                  <a:cubicBezTo>
                    <a:pt x="5652" y="2040"/>
                    <a:pt x="5890" y="1754"/>
                    <a:pt x="6223" y="1564"/>
                  </a:cubicBezTo>
                  <a:cubicBezTo>
                    <a:pt x="6687" y="1290"/>
                    <a:pt x="7247" y="1242"/>
                    <a:pt x="7759" y="1409"/>
                  </a:cubicBezTo>
                  <a:cubicBezTo>
                    <a:pt x="8961" y="1814"/>
                    <a:pt x="8961" y="1814"/>
                    <a:pt x="8961" y="1814"/>
                  </a:cubicBezTo>
                  <a:cubicBezTo>
                    <a:pt x="8997" y="1826"/>
                    <a:pt x="9033" y="1826"/>
                    <a:pt x="9080" y="1814"/>
                  </a:cubicBezTo>
                  <a:cubicBezTo>
                    <a:pt x="9949" y="1576"/>
                    <a:pt x="9949" y="1576"/>
                    <a:pt x="9949" y="1576"/>
                  </a:cubicBezTo>
                  <a:cubicBezTo>
                    <a:pt x="11033" y="4313"/>
                    <a:pt x="11033" y="4313"/>
                    <a:pt x="11033" y="4313"/>
                  </a:cubicBezTo>
                  <a:close/>
                  <a:moveTo>
                    <a:pt x="11592" y="4623"/>
                  </a:moveTo>
                  <a:cubicBezTo>
                    <a:pt x="10152" y="980"/>
                    <a:pt x="10152" y="980"/>
                    <a:pt x="10152" y="980"/>
                  </a:cubicBezTo>
                  <a:cubicBezTo>
                    <a:pt x="11485" y="469"/>
                    <a:pt x="11485" y="469"/>
                    <a:pt x="11485" y="469"/>
                  </a:cubicBezTo>
                  <a:cubicBezTo>
                    <a:pt x="12925" y="4087"/>
                    <a:pt x="12925" y="4087"/>
                    <a:pt x="12925" y="4087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144000" tIns="72000" rIns="144000" bIns="72000" anchor="ctr" anchorCtr="1" compatLnSpc="0"/>
            <a:lstStyle/>
            <a:p>
              <a:pPr hangingPunct="0"/>
              <a:endParaRPr lang="en-US"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1" name="Freeform 150">
              <a:extLst>
                <a:ext uri="{FF2B5EF4-FFF2-40B4-BE49-F238E27FC236}">
                  <a16:creationId xmlns:a16="http://schemas.microsoft.com/office/drawing/2014/main" id="{50BFC76E-6DB9-E5EF-EB3C-1124D1AA6C8E}"/>
                </a:ext>
              </a:extLst>
            </p:cNvPr>
            <p:cNvSpPr/>
            <p:nvPr/>
          </p:nvSpPr>
          <p:spPr>
            <a:xfrm>
              <a:off x="5735160" y="3696479"/>
              <a:ext cx="145440" cy="142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05" h="398">
                  <a:moveTo>
                    <a:pt x="274" y="17"/>
                  </a:moveTo>
                  <a:cubicBezTo>
                    <a:pt x="202" y="-19"/>
                    <a:pt x="119" y="5"/>
                    <a:pt x="60" y="53"/>
                  </a:cubicBezTo>
                  <a:cubicBezTo>
                    <a:pt x="24" y="101"/>
                    <a:pt x="0" y="148"/>
                    <a:pt x="0" y="196"/>
                  </a:cubicBezTo>
                  <a:cubicBezTo>
                    <a:pt x="0" y="255"/>
                    <a:pt x="24" y="303"/>
                    <a:pt x="60" y="350"/>
                  </a:cubicBezTo>
                  <a:cubicBezTo>
                    <a:pt x="95" y="386"/>
                    <a:pt x="143" y="398"/>
                    <a:pt x="202" y="398"/>
                  </a:cubicBezTo>
                  <a:cubicBezTo>
                    <a:pt x="250" y="398"/>
                    <a:pt x="309" y="386"/>
                    <a:pt x="345" y="350"/>
                  </a:cubicBezTo>
                  <a:cubicBezTo>
                    <a:pt x="381" y="303"/>
                    <a:pt x="405" y="255"/>
                    <a:pt x="405" y="196"/>
                  </a:cubicBezTo>
                  <a:cubicBezTo>
                    <a:pt x="405" y="148"/>
                    <a:pt x="381" y="101"/>
                    <a:pt x="345" y="53"/>
                  </a:cubicBezTo>
                  <a:cubicBezTo>
                    <a:pt x="322" y="41"/>
                    <a:pt x="298" y="29"/>
                    <a:pt x="274" y="17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144000" tIns="72000" rIns="144000" bIns="72000" anchor="ctr" anchorCtr="1" compatLnSpc="0"/>
            <a:lstStyle/>
            <a:p>
              <a:pPr hangingPunct="0"/>
              <a:endParaRPr lang="en-US"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2" name="Freeform 151">
              <a:extLst>
                <a:ext uri="{FF2B5EF4-FFF2-40B4-BE49-F238E27FC236}">
                  <a16:creationId xmlns:a16="http://schemas.microsoft.com/office/drawing/2014/main" id="{B79B40BF-DABF-2944-0904-D383B9F34318}"/>
                </a:ext>
              </a:extLst>
            </p:cNvPr>
            <p:cNvSpPr/>
            <p:nvPr/>
          </p:nvSpPr>
          <p:spPr>
            <a:xfrm>
              <a:off x="9549360" y="3696479"/>
              <a:ext cx="145440" cy="142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05" h="398">
                  <a:moveTo>
                    <a:pt x="203" y="398"/>
                  </a:moveTo>
                  <a:cubicBezTo>
                    <a:pt x="262" y="398"/>
                    <a:pt x="310" y="386"/>
                    <a:pt x="346" y="350"/>
                  </a:cubicBezTo>
                  <a:cubicBezTo>
                    <a:pt x="393" y="303"/>
                    <a:pt x="405" y="255"/>
                    <a:pt x="405" y="196"/>
                  </a:cubicBezTo>
                  <a:cubicBezTo>
                    <a:pt x="405" y="148"/>
                    <a:pt x="393" y="101"/>
                    <a:pt x="346" y="53"/>
                  </a:cubicBezTo>
                  <a:cubicBezTo>
                    <a:pt x="298" y="5"/>
                    <a:pt x="203" y="-19"/>
                    <a:pt x="131" y="17"/>
                  </a:cubicBezTo>
                  <a:cubicBezTo>
                    <a:pt x="107" y="29"/>
                    <a:pt x="83" y="41"/>
                    <a:pt x="60" y="53"/>
                  </a:cubicBezTo>
                  <a:cubicBezTo>
                    <a:pt x="24" y="101"/>
                    <a:pt x="0" y="148"/>
                    <a:pt x="0" y="196"/>
                  </a:cubicBezTo>
                  <a:cubicBezTo>
                    <a:pt x="0" y="255"/>
                    <a:pt x="24" y="303"/>
                    <a:pt x="60" y="350"/>
                  </a:cubicBezTo>
                  <a:cubicBezTo>
                    <a:pt x="107" y="386"/>
                    <a:pt x="155" y="398"/>
                    <a:pt x="203" y="398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144000" tIns="72000" rIns="144000" bIns="72000" anchor="ctr" anchorCtr="1" compatLnSpc="0"/>
            <a:lstStyle/>
            <a:p>
              <a:pPr hangingPunct="0"/>
              <a:endParaRPr lang="en-US"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  <p:sp>
        <p:nvSpPr>
          <p:cNvPr id="87" name="Freeform 12">
            <a:extLst>
              <a:ext uri="{FF2B5EF4-FFF2-40B4-BE49-F238E27FC236}">
                <a16:creationId xmlns:a16="http://schemas.microsoft.com/office/drawing/2014/main" id="{FB5BB61E-4A43-81BD-7DF2-5646649B3423}"/>
              </a:ext>
            </a:extLst>
          </p:cNvPr>
          <p:cNvSpPr>
            <a:spLocks noEditPoints="1"/>
          </p:cNvSpPr>
          <p:nvPr/>
        </p:nvSpPr>
        <p:spPr bwMode="auto">
          <a:xfrm>
            <a:off x="10919913" y="3927916"/>
            <a:ext cx="251495" cy="307885"/>
          </a:xfrm>
          <a:custGeom>
            <a:avLst/>
            <a:gdLst>
              <a:gd name="T0" fmla="*/ 84 w 144"/>
              <a:gd name="T1" fmla="*/ 132 h 176"/>
              <a:gd name="T2" fmla="*/ 36 w 144"/>
              <a:gd name="T3" fmla="*/ 132 h 176"/>
              <a:gd name="T4" fmla="*/ 32 w 144"/>
              <a:gd name="T5" fmla="*/ 136 h 176"/>
              <a:gd name="T6" fmla="*/ 36 w 144"/>
              <a:gd name="T7" fmla="*/ 140 h 176"/>
              <a:gd name="T8" fmla="*/ 84 w 144"/>
              <a:gd name="T9" fmla="*/ 140 h 176"/>
              <a:gd name="T10" fmla="*/ 88 w 144"/>
              <a:gd name="T11" fmla="*/ 136 h 176"/>
              <a:gd name="T12" fmla="*/ 84 w 144"/>
              <a:gd name="T13" fmla="*/ 132 h 176"/>
              <a:gd name="T14" fmla="*/ 36 w 144"/>
              <a:gd name="T15" fmla="*/ 44 h 176"/>
              <a:gd name="T16" fmla="*/ 56 w 144"/>
              <a:gd name="T17" fmla="*/ 44 h 176"/>
              <a:gd name="T18" fmla="*/ 60 w 144"/>
              <a:gd name="T19" fmla="*/ 40 h 176"/>
              <a:gd name="T20" fmla="*/ 56 w 144"/>
              <a:gd name="T21" fmla="*/ 36 h 176"/>
              <a:gd name="T22" fmla="*/ 36 w 144"/>
              <a:gd name="T23" fmla="*/ 36 h 176"/>
              <a:gd name="T24" fmla="*/ 32 w 144"/>
              <a:gd name="T25" fmla="*/ 40 h 176"/>
              <a:gd name="T26" fmla="*/ 36 w 144"/>
              <a:gd name="T27" fmla="*/ 44 h 176"/>
              <a:gd name="T28" fmla="*/ 108 w 144"/>
              <a:gd name="T29" fmla="*/ 100 h 176"/>
              <a:gd name="T30" fmla="*/ 36 w 144"/>
              <a:gd name="T31" fmla="*/ 100 h 176"/>
              <a:gd name="T32" fmla="*/ 32 w 144"/>
              <a:gd name="T33" fmla="*/ 104 h 176"/>
              <a:gd name="T34" fmla="*/ 36 w 144"/>
              <a:gd name="T35" fmla="*/ 108 h 176"/>
              <a:gd name="T36" fmla="*/ 108 w 144"/>
              <a:gd name="T37" fmla="*/ 108 h 176"/>
              <a:gd name="T38" fmla="*/ 112 w 144"/>
              <a:gd name="T39" fmla="*/ 104 h 176"/>
              <a:gd name="T40" fmla="*/ 108 w 144"/>
              <a:gd name="T41" fmla="*/ 100 h 176"/>
              <a:gd name="T42" fmla="*/ 32 w 144"/>
              <a:gd name="T43" fmla="*/ 72 h 176"/>
              <a:gd name="T44" fmla="*/ 36 w 144"/>
              <a:gd name="T45" fmla="*/ 76 h 176"/>
              <a:gd name="T46" fmla="*/ 108 w 144"/>
              <a:gd name="T47" fmla="*/ 76 h 176"/>
              <a:gd name="T48" fmla="*/ 112 w 144"/>
              <a:gd name="T49" fmla="*/ 72 h 176"/>
              <a:gd name="T50" fmla="*/ 108 w 144"/>
              <a:gd name="T51" fmla="*/ 68 h 176"/>
              <a:gd name="T52" fmla="*/ 36 w 144"/>
              <a:gd name="T53" fmla="*/ 68 h 176"/>
              <a:gd name="T54" fmla="*/ 32 w 144"/>
              <a:gd name="T55" fmla="*/ 72 h 176"/>
              <a:gd name="T56" fmla="*/ 104 w 144"/>
              <a:gd name="T57" fmla="*/ 0 h 176"/>
              <a:gd name="T58" fmla="*/ 16 w 144"/>
              <a:gd name="T59" fmla="*/ 0 h 176"/>
              <a:gd name="T60" fmla="*/ 0 w 144"/>
              <a:gd name="T61" fmla="*/ 16 h 176"/>
              <a:gd name="T62" fmla="*/ 0 w 144"/>
              <a:gd name="T63" fmla="*/ 160 h 176"/>
              <a:gd name="T64" fmla="*/ 16 w 144"/>
              <a:gd name="T65" fmla="*/ 176 h 176"/>
              <a:gd name="T66" fmla="*/ 128 w 144"/>
              <a:gd name="T67" fmla="*/ 176 h 176"/>
              <a:gd name="T68" fmla="*/ 144 w 144"/>
              <a:gd name="T69" fmla="*/ 160 h 176"/>
              <a:gd name="T70" fmla="*/ 144 w 144"/>
              <a:gd name="T71" fmla="*/ 44 h 176"/>
              <a:gd name="T72" fmla="*/ 104 w 144"/>
              <a:gd name="T73" fmla="*/ 0 h 176"/>
              <a:gd name="T74" fmla="*/ 136 w 144"/>
              <a:gd name="T75" fmla="*/ 160 h 176"/>
              <a:gd name="T76" fmla="*/ 128 w 144"/>
              <a:gd name="T77" fmla="*/ 168 h 176"/>
              <a:gd name="T78" fmla="*/ 16 w 144"/>
              <a:gd name="T79" fmla="*/ 168 h 176"/>
              <a:gd name="T80" fmla="*/ 8 w 144"/>
              <a:gd name="T81" fmla="*/ 160 h 176"/>
              <a:gd name="T82" fmla="*/ 8 w 144"/>
              <a:gd name="T83" fmla="*/ 16 h 176"/>
              <a:gd name="T84" fmla="*/ 16 w 144"/>
              <a:gd name="T85" fmla="*/ 8 h 176"/>
              <a:gd name="T86" fmla="*/ 88 w 144"/>
              <a:gd name="T87" fmla="*/ 8 h 176"/>
              <a:gd name="T88" fmla="*/ 88 w 144"/>
              <a:gd name="T89" fmla="*/ 48 h 176"/>
              <a:gd name="T90" fmla="*/ 96 w 144"/>
              <a:gd name="T91" fmla="*/ 56 h 176"/>
              <a:gd name="T92" fmla="*/ 136 w 144"/>
              <a:gd name="T93" fmla="*/ 56 h 176"/>
              <a:gd name="T94" fmla="*/ 136 w 144"/>
              <a:gd name="T95" fmla="*/ 160 h 176"/>
              <a:gd name="T96" fmla="*/ 96 w 144"/>
              <a:gd name="T97" fmla="*/ 48 h 176"/>
              <a:gd name="T98" fmla="*/ 96 w 144"/>
              <a:gd name="T99" fmla="*/ 8 h 176"/>
              <a:gd name="T100" fmla="*/ 100 w 144"/>
              <a:gd name="T101" fmla="*/ 8 h 176"/>
              <a:gd name="T102" fmla="*/ 136 w 144"/>
              <a:gd name="T103" fmla="*/ 48 h 176"/>
              <a:gd name="T104" fmla="*/ 96 w 144"/>
              <a:gd name="T105" fmla="*/ 48 h 1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44" h="176">
                <a:moveTo>
                  <a:pt x="84" y="132"/>
                </a:moveTo>
                <a:cubicBezTo>
                  <a:pt x="36" y="132"/>
                  <a:pt x="36" y="132"/>
                  <a:pt x="36" y="132"/>
                </a:cubicBezTo>
                <a:cubicBezTo>
                  <a:pt x="34" y="132"/>
                  <a:pt x="32" y="134"/>
                  <a:pt x="32" y="136"/>
                </a:cubicBezTo>
                <a:cubicBezTo>
                  <a:pt x="32" y="138"/>
                  <a:pt x="34" y="140"/>
                  <a:pt x="36" y="140"/>
                </a:cubicBezTo>
                <a:cubicBezTo>
                  <a:pt x="84" y="140"/>
                  <a:pt x="84" y="140"/>
                  <a:pt x="84" y="140"/>
                </a:cubicBezTo>
                <a:cubicBezTo>
                  <a:pt x="86" y="140"/>
                  <a:pt x="88" y="138"/>
                  <a:pt x="88" y="136"/>
                </a:cubicBezTo>
                <a:cubicBezTo>
                  <a:pt x="88" y="134"/>
                  <a:pt x="86" y="132"/>
                  <a:pt x="84" y="132"/>
                </a:cubicBezTo>
                <a:moveTo>
                  <a:pt x="36" y="44"/>
                </a:moveTo>
                <a:cubicBezTo>
                  <a:pt x="56" y="44"/>
                  <a:pt x="56" y="44"/>
                  <a:pt x="56" y="44"/>
                </a:cubicBezTo>
                <a:cubicBezTo>
                  <a:pt x="58" y="44"/>
                  <a:pt x="60" y="42"/>
                  <a:pt x="60" y="40"/>
                </a:cubicBezTo>
                <a:cubicBezTo>
                  <a:pt x="60" y="38"/>
                  <a:pt x="58" y="36"/>
                  <a:pt x="56" y="36"/>
                </a:cubicBezTo>
                <a:cubicBezTo>
                  <a:pt x="36" y="36"/>
                  <a:pt x="36" y="36"/>
                  <a:pt x="36" y="36"/>
                </a:cubicBezTo>
                <a:cubicBezTo>
                  <a:pt x="34" y="36"/>
                  <a:pt x="32" y="38"/>
                  <a:pt x="32" y="40"/>
                </a:cubicBezTo>
                <a:cubicBezTo>
                  <a:pt x="32" y="42"/>
                  <a:pt x="34" y="44"/>
                  <a:pt x="36" y="44"/>
                </a:cubicBezTo>
                <a:moveTo>
                  <a:pt x="108" y="100"/>
                </a:moveTo>
                <a:cubicBezTo>
                  <a:pt x="36" y="100"/>
                  <a:pt x="36" y="100"/>
                  <a:pt x="36" y="100"/>
                </a:cubicBezTo>
                <a:cubicBezTo>
                  <a:pt x="34" y="100"/>
                  <a:pt x="32" y="102"/>
                  <a:pt x="32" y="104"/>
                </a:cubicBezTo>
                <a:cubicBezTo>
                  <a:pt x="32" y="106"/>
                  <a:pt x="34" y="108"/>
                  <a:pt x="36" y="108"/>
                </a:cubicBezTo>
                <a:cubicBezTo>
                  <a:pt x="108" y="108"/>
                  <a:pt x="108" y="108"/>
                  <a:pt x="108" y="108"/>
                </a:cubicBezTo>
                <a:cubicBezTo>
                  <a:pt x="110" y="108"/>
                  <a:pt x="112" y="106"/>
                  <a:pt x="112" y="104"/>
                </a:cubicBezTo>
                <a:cubicBezTo>
                  <a:pt x="112" y="102"/>
                  <a:pt x="110" y="100"/>
                  <a:pt x="108" y="100"/>
                </a:cubicBezTo>
                <a:moveTo>
                  <a:pt x="32" y="72"/>
                </a:moveTo>
                <a:cubicBezTo>
                  <a:pt x="32" y="74"/>
                  <a:pt x="34" y="76"/>
                  <a:pt x="36" y="76"/>
                </a:cubicBezTo>
                <a:cubicBezTo>
                  <a:pt x="108" y="76"/>
                  <a:pt x="108" y="76"/>
                  <a:pt x="108" y="76"/>
                </a:cubicBezTo>
                <a:cubicBezTo>
                  <a:pt x="110" y="76"/>
                  <a:pt x="112" y="74"/>
                  <a:pt x="112" y="72"/>
                </a:cubicBezTo>
                <a:cubicBezTo>
                  <a:pt x="112" y="70"/>
                  <a:pt x="110" y="68"/>
                  <a:pt x="108" y="68"/>
                </a:cubicBezTo>
                <a:cubicBezTo>
                  <a:pt x="36" y="68"/>
                  <a:pt x="36" y="68"/>
                  <a:pt x="36" y="68"/>
                </a:cubicBezTo>
                <a:cubicBezTo>
                  <a:pt x="34" y="68"/>
                  <a:pt x="32" y="70"/>
                  <a:pt x="32" y="72"/>
                </a:cubicBezTo>
                <a:moveTo>
                  <a:pt x="104" y="0"/>
                </a:moveTo>
                <a:cubicBezTo>
                  <a:pt x="16" y="0"/>
                  <a:pt x="16" y="0"/>
                  <a:pt x="16" y="0"/>
                </a:cubicBezTo>
                <a:cubicBezTo>
                  <a:pt x="7" y="0"/>
                  <a:pt x="0" y="7"/>
                  <a:pt x="0" y="16"/>
                </a:cubicBezTo>
                <a:cubicBezTo>
                  <a:pt x="0" y="160"/>
                  <a:pt x="0" y="160"/>
                  <a:pt x="0" y="160"/>
                </a:cubicBezTo>
                <a:cubicBezTo>
                  <a:pt x="0" y="169"/>
                  <a:pt x="7" y="176"/>
                  <a:pt x="16" y="176"/>
                </a:cubicBezTo>
                <a:cubicBezTo>
                  <a:pt x="128" y="176"/>
                  <a:pt x="128" y="176"/>
                  <a:pt x="128" y="176"/>
                </a:cubicBezTo>
                <a:cubicBezTo>
                  <a:pt x="137" y="176"/>
                  <a:pt x="144" y="169"/>
                  <a:pt x="144" y="160"/>
                </a:cubicBezTo>
                <a:cubicBezTo>
                  <a:pt x="144" y="44"/>
                  <a:pt x="144" y="44"/>
                  <a:pt x="144" y="44"/>
                </a:cubicBezTo>
                <a:lnTo>
                  <a:pt x="104" y="0"/>
                </a:lnTo>
                <a:close/>
                <a:moveTo>
                  <a:pt x="136" y="160"/>
                </a:moveTo>
                <a:cubicBezTo>
                  <a:pt x="136" y="164"/>
                  <a:pt x="132" y="168"/>
                  <a:pt x="128" y="168"/>
                </a:cubicBezTo>
                <a:cubicBezTo>
                  <a:pt x="16" y="168"/>
                  <a:pt x="16" y="168"/>
                  <a:pt x="16" y="168"/>
                </a:cubicBezTo>
                <a:cubicBezTo>
                  <a:pt x="12" y="168"/>
                  <a:pt x="8" y="164"/>
                  <a:pt x="8" y="160"/>
                </a:cubicBezTo>
                <a:cubicBezTo>
                  <a:pt x="8" y="16"/>
                  <a:pt x="8" y="16"/>
                  <a:pt x="8" y="16"/>
                </a:cubicBezTo>
                <a:cubicBezTo>
                  <a:pt x="8" y="12"/>
                  <a:pt x="12" y="8"/>
                  <a:pt x="16" y="8"/>
                </a:cubicBezTo>
                <a:cubicBezTo>
                  <a:pt x="88" y="8"/>
                  <a:pt x="88" y="8"/>
                  <a:pt x="88" y="8"/>
                </a:cubicBezTo>
                <a:cubicBezTo>
                  <a:pt x="88" y="48"/>
                  <a:pt x="88" y="48"/>
                  <a:pt x="88" y="48"/>
                </a:cubicBezTo>
                <a:cubicBezTo>
                  <a:pt x="88" y="52"/>
                  <a:pt x="92" y="56"/>
                  <a:pt x="96" y="56"/>
                </a:cubicBezTo>
                <a:cubicBezTo>
                  <a:pt x="136" y="56"/>
                  <a:pt x="136" y="56"/>
                  <a:pt x="136" y="56"/>
                </a:cubicBezTo>
                <a:lnTo>
                  <a:pt x="136" y="160"/>
                </a:lnTo>
                <a:close/>
                <a:moveTo>
                  <a:pt x="96" y="48"/>
                </a:moveTo>
                <a:cubicBezTo>
                  <a:pt x="96" y="8"/>
                  <a:pt x="96" y="8"/>
                  <a:pt x="96" y="8"/>
                </a:cubicBezTo>
                <a:cubicBezTo>
                  <a:pt x="100" y="8"/>
                  <a:pt x="100" y="8"/>
                  <a:pt x="100" y="8"/>
                </a:cubicBezTo>
                <a:cubicBezTo>
                  <a:pt x="136" y="48"/>
                  <a:pt x="136" y="48"/>
                  <a:pt x="136" y="48"/>
                </a:cubicBezTo>
                <a:lnTo>
                  <a:pt x="96" y="48"/>
                </a:lnTo>
                <a:close/>
              </a:path>
            </a:pathLst>
          </a:custGeom>
          <a:solidFill>
            <a:schemeClr val="bg1">
              <a:alpha val="80000"/>
            </a:schemeClr>
          </a:solidFill>
          <a:ln>
            <a:noFill/>
          </a:ln>
        </p:spPr>
        <p:txBody>
          <a:bodyPr vert="horz" wrap="square" lIns="109728" tIns="54864" rIns="109728" bIns="54864" numCol="1" anchor="t" anchorCtr="0" compatLnSpc="1">
            <a:prstTxWarp prst="textNoShape">
              <a:avLst/>
            </a:prstTxWarp>
          </a:bodyPr>
          <a:lstStyle/>
          <a:p>
            <a:endParaRPr lang="en-US" sz="3456"/>
          </a:p>
        </p:txBody>
      </p:sp>
      <p:grpSp>
        <p:nvGrpSpPr>
          <p:cNvPr id="88" name="Group 98">
            <a:extLst>
              <a:ext uri="{FF2B5EF4-FFF2-40B4-BE49-F238E27FC236}">
                <a16:creationId xmlns:a16="http://schemas.microsoft.com/office/drawing/2014/main" id="{654D16BA-C9ED-70F7-3935-4E35414F41E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126406" y="3861551"/>
            <a:ext cx="404011" cy="383969"/>
            <a:chOff x="5377" y="2174"/>
            <a:chExt cx="262" cy="249"/>
          </a:xfrm>
          <a:solidFill>
            <a:schemeClr val="bg1">
              <a:alpha val="80000"/>
            </a:schemeClr>
          </a:solidFill>
        </p:grpSpPr>
        <p:sp>
          <p:nvSpPr>
            <p:cNvPr id="107" name="Freeform 99">
              <a:extLst>
                <a:ext uri="{FF2B5EF4-FFF2-40B4-BE49-F238E27FC236}">
                  <a16:creationId xmlns:a16="http://schemas.microsoft.com/office/drawing/2014/main" id="{291FB0A4-E53D-4D10-904D-636FBD5FEE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77" y="2239"/>
              <a:ext cx="262" cy="184"/>
            </a:xfrm>
            <a:custGeom>
              <a:avLst/>
              <a:gdLst>
                <a:gd name="T0" fmla="*/ 357 w 1319"/>
                <a:gd name="T1" fmla="*/ 289 h 923"/>
                <a:gd name="T2" fmla="*/ 195 w 1319"/>
                <a:gd name="T3" fmla="*/ 164 h 923"/>
                <a:gd name="T4" fmla="*/ 115 w 1319"/>
                <a:gd name="T5" fmla="*/ 151 h 923"/>
                <a:gd name="T6" fmla="*/ 63 w 1319"/>
                <a:gd name="T7" fmla="*/ 520 h 923"/>
                <a:gd name="T8" fmla="*/ 321 w 1319"/>
                <a:gd name="T9" fmla="*/ 612 h 923"/>
                <a:gd name="T10" fmla="*/ 439 w 1319"/>
                <a:gd name="T11" fmla="*/ 873 h 923"/>
                <a:gd name="T12" fmla="*/ 415 w 1319"/>
                <a:gd name="T13" fmla="*/ 917 h 923"/>
                <a:gd name="T14" fmla="*/ 337 w 1319"/>
                <a:gd name="T15" fmla="*/ 755 h 923"/>
                <a:gd name="T16" fmla="*/ 292 w 1319"/>
                <a:gd name="T17" fmla="*/ 673 h 923"/>
                <a:gd name="T18" fmla="*/ 1 w 1319"/>
                <a:gd name="T19" fmla="*/ 519 h 923"/>
                <a:gd name="T20" fmla="*/ 106 w 1319"/>
                <a:gd name="T21" fmla="*/ 92 h 923"/>
                <a:gd name="T22" fmla="*/ 223 w 1319"/>
                <a:gd name="T23" fmla="*/ 108 h 923"/>
                <a:gd name="T24" fmla="*/ 374 w 1319"/>
                <a:gd name="T25" fmla="*/ 227 h 923"/>
                <a:gd name="T26" fmla="*/ 383 w 1319"/>
                <a:gd name="T27" fmla="*/ 155 h 923"/>
                <a:gd name="T28" fmla="*/ 568 w 1319"/>
                <a:gd name="T29" fmla="*/ 17 h 923"/>
                <a:gd name="T30" fmla="*/ 860 w 1319"/>
                <a:gd name="T31" fmla="*/ 68 h 923"/>
                <a:gd name="T32" fmla="*/ 909 w 1319"/>
                <a:gd name="T33" fmla="*/ 213 h 923"/>
                <a:gd name="T34" fmla="*/ 1007 w 1319"/>
                <a:gd name="T35" fmla="*/ 198 h 923"/>
                <a:gd name="T36" fmla="*/ 1134 w 1319"/>
                <a:gd name="T37" fmla="*/ 92 h 923"/>
                <a:gd name="T38" fmla="*/ 1318 w 1319"/>
                <a:gd name="T39" fmla="*/ 201 h 923"/>
                <a:gd name="T40" fmla="*/ 1162 w 1319"/>
                <a:gd name="T41" fmla="*/ 670 h 923"/>
                <a:gd name="T42" fmla="*/ 1002 w 1319"/>
                <a:gd name="T43" fmla="*/ 692 h 923"/>
                <a:gd name="T44" fmla="*/ 929 w 1319"/>
                <a:gd name="T45" fmla="*/ 905 h 923"/>
                <a:gd name="T46" fmla="*/ 877 w 1319"/>
                <a:gd name="T47" fmla="*/ 890 h 923"/>
                <a:gd name="T48" fmla="*/ 956 w 1319"/>
                <a:gd name="T49" fmla="*/ 642 h 923"/>
                <a:gd name="T50" fmla="*/ 1140 w 1319"/>
                <a:gd name="T51" fmla="*/ 612 h 923"/>
                <a:gd name="T52" fmla="*/ 1259 w 1319"/>
                <a:gd name="T53" fmla="*/ 210 h 923"/>
                <a:gd name="T54" fmla="*/ 1199 w 1319"/>
                <a:gd name="T55" fmla="*/ 150 h 923"/>
                <a:gd name="T56" fmla="*/ 1019 w 1319"/>
                <a:gd name="T57" fmla="*/ 269 h 923"/>
                <a:gd name="T58" fmla="*/ 858 w 1319"/>
                <a:gd name="T59" fmla="*/ 289 h 923"/>
                <a:gd name="T60" fmla="*/ 1041 w 1319"/>
                <a:gd name="T61" fmla="*/ 336 h 923"/>
                <a:gd name="T62" fmla="*/ 1152 w 1319"/>
                <a:gd name="T63" fmla="*/ 244 h 923"/>
                <a:gd name="T64" fmla="*/ 1199 w 1319"/>
                <a:gd name="T65" fmla="*/ 281 h 923"/>
                <a:gd name="T66" fmla="*/ 1127 w 1319"/>
                <a:gd name="T67" fmla="*/ 372 h 923"/>
                <a:gd name="T68" fmla="*/ 1085 w 1319"/>
                <a:gd name="T69" fmla="*/ 507 h 923"/>
                <a:gd name="T70" fmla="*/ 902 w 1319"/>
                <a:gd name="T71" fmla="*/ 556 h 923"/>
                <a:gd name="T72" fmla="*/ 800 w 1319"/>
                <a:gd name="T73" fmla="*/ 889 h 923"/>
                <a:gd name="T74" fmla="*/ 743 w 1319"/>
                <a:gd name="T75" fmla="*/ 871 h 923"/>
                <a:gd name="T76" fmla="*/ 845 w 1319"/>
                <a:gd name="T77" fmla="*/ 540 h 923"/>
                <a:gd name="T78" fmla="*/ 1047 w 1319"/>
                <a:gd name="T79" fmla="*/ 448 h 923"/>
                <a:gd name="T80" fmla="*/ 1047 w 1319"/>
                <a:gd name="T81" fmla="*/ 397 h 923"/>
                <a:gd name="T82" fmla="*/ 267 w 1319"/>
                <a:gd name="T83" fmla="*/ 397 h 923"/>
                <a:gd name="T84" fmla="*/ 267 w 1319"/>
                <a:gd name="T85" fmla="*/ 448 h 923"/>
                <a:gd name="T86" fmla="*/ 471 w 1319"/>
                <a:gd name="T87" fmla="*/ 532 h 923"/>
                <a:gd name="T88" fmla="*/ 570 w 1319"/>
                <a:gd name="T89" fmla="*/ 908 h 923"/>
                <a:gd name="T90" fmla="*/ 518 w 1319"/>
                <a:gd name="T91" fmla="*/ 885 h 923"/>
                <a:gd name="T92" fmla="*/ 416 w 1319"/>
                <a:gd name="T93" fmla="*/ 554 h 923"/>
                <a:gd name="T94" fmla="*/ 307 w 1319"/>
                <a:gd name="T95" fmla="*/ 507 h 923"/>
                <a:gd name="T96" fmla="*/ 191 w 1319"/>
                <a:gd name="T97" fmla="*/ 372 h 923"/>
                <a:gd name="T98" fmla="*/ 122 w 1319"/>
                <a:gd name="T99" fmla="*/ 284 h 923"/>
                <a:gd name="T100" fmla="*/ 164 w 1319"/>
                <a:gd name="T101" fmla="*/ 241 h 923"/>
                <a:gd name="T102" fmla="*/ 275 w 1319"/>
                <a:gd name="T103" fmla="*/ 336 h 923"/>
                <a:gd name="T104" fmla="*/ 460 w 1319"/>
                <a:gd name="T105" fmla="*/ 289 h 923"/>
                <a:gd name="T106" fmla="*/ 793 w 1319"/>
                <a:gd name="T107" fmla="*/ 264 h 923"/>
                <a:gd name="T108" fmla="*/ 849 w 1319"/>
                <a:gd name="T109" fmla="*/ 193 h 923"/>
                <a:gd name="T110" fmla="*/ 816 w 1319"/>
                <a:gd name="T111" fmla="*/ 111 h 923"/>
                <a:gd name="T112" fmla="*/ 502 w 1319"/>
                <a:gd name="T113" fmla="*/ 98 h 923"/>
                <a:gd name="T114" fmla="*/ 485 w 1319"/>
                <a:gd name="T115" fmla="*/ 228 h 923"/>
                <a:gd name="T116" fmla="*/ 516 w 1319"/>
                <a:gd name="T117" fmla="*/ 336 h 9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19" h="923">
                  <a:moveTo>
                    <a:pt x="460" y="289"/>
                  </a:moveTo>
                  <a:cubicBezTo>
                    <a:pt x="426" y="289"/>
                    <a:pt x="391" y="288"/>
                    <a:pt x="357" y="289"/>
                  </a:cubicBezTo>
                  <a:cubicBezTo>
                    <a:pt x="330" y="290"/>
                    <a:pt x="310" y="282"/>
                    <a:pt x="292" y="263"/>
                  </a:cubicBezTo>
                  <a:cubicBezTo>
                    <a:pt x="261" y="229"/>
                    <a:pt x="227" y="198"/>
                    <a:pt x="195" y="164"/>
                  </a:cubicBezTo>
                  <a:cubicBezTo>
                    <a:pt x="185" y="154"/>
                    <a:pt x="174" y="149"/>
                    <a:pt x="159" y="150"/>
                  </a:cubicBezTo>
                  <a:cubicBezTo>
                    <a:pt x="145" y="151"/>
                    <a:pt x="130" y="150"/>
                    <a:pt x="115" y="151"/>
                  </a:cubicBezTo>
                  <a:cubicBezTo>
                    <a:pt x="83" y="153"/>
                    <a:pt x="60" y="171"/>
                    <a:pt x="60" y="202"/>
                  </a:cubicBezTo>
                  <a:cubicBezTo>
                    <a:pt x="59" y="308"/>
                    <a:pt x="58" y="414"/>
                    <a:pt x="63" y="520"/>
                  </a:cubicBezTo>
                  <a:cubicBezTo>
                    <a:pt x="65" y="573"/>
                    <a:pt x="112" y="611"/>
                    <a:pt x="165" y="612"/>
                  </a:cubicBezTo>
                  <a:cubicBezTo>
                    <a:pt x="217" y="613"/>
                    <a:pt x="269" y="613"/>
                    <a:pt x="321" y="612"/>
                  </a:cubicBezTo>
                  <a:cubicBezTo>
                    <a:pt x="343" y="612"/>
                    <a:pt x="355" y="621"/>
                    <a:pt x="362" y="640"/>
                  </a:cubicBezTo>
                  <a:cubicBezTo>
                    <a:pt x="387" y="718"/>
                    <a:pt x="413" y="795"/>
                    <a:pt x="439" y="873"/>
                  </a:cubicBezTo>
                  <a:cubicBezTo>
                    <a:pt x="441" y="880"/>
                    <a:pt x="444" y="891"/>
                    <a:pt x="440" y="896"/>
                  </a:cubicBezTo>
                  <a:cubicBezTo>
                    <a:pt x="434" y="905"/>
                    <a:pt x="425" y="914"/>
                    <a:pt x="415" y="917"/>
                  </a:cubicBezTo>
                  <a:cubicBezTo>
                    <a:pt x="399" y="921"/>
                    <a:pt x="389" y="910"/>
                    <a:pt x="384" y="895"/>
                  </a:cubicBezTo>
                  <a:cubicBezTo>
                    <a:pt x="368" y="849"/>
                    <a:pt x="352" y="802"/>
                    <a:pt x="337" y="755"/>
                  </a:cubicBezTo>
                  <a:cubicBezTo>
                    <a:pt x="329" y="733"/>
                    <a:pt x="321" y="711"/>
                    <a:pt x="315" y="689"/>
                  </a:cubicBezTo>
                  <a:cubicBezTo>
                    <a:pt x="311" y="677"/>
                    <a:pt x="305" y="673"/>
                    <a:pt x="292" y="673"/>
                  </a:cubicBezTo>
                  <a:cubicBezTo>
                    <a:pt x="244" y="672"/>
                    <a:pt x="195" y="672"/>
                    <a:pt x="146" y="670"/>
                  </a:cubicBezTo>
                  <a:cubicBezTo>
                    <a:pt x="72" y="665"/>
                    <a:pt x="2" y="594"/>
                    <a:pt x="1" y="519"/>
                  </a:cubicBezTo>
                  <a:cubicBezTo>
                    <a:pt x="0" y="412"/>
                    <a:pt x="0" y="304"/>
                    <a:pt x="1" y="197"/>
                  </a:cubicBezTo>
                  <a:cubicBezTo>
                    <a:pt x="1" y="141"/>
                    <a:pt x="50" y="94"/>
                    <a:pt x="106" y="92"/>
                  </a:cubicBezTo>
                  <a:cubicBezTo>
                    <a:pt x="132" y="92"/>
                    <a:pt x="158" y="93"/>
                    <a:pt x="184" y="92"/>
                  </a:cubicBezTo>
                  <a:cubicBezTo>
                    <a:pt x="200" y="91"/>
                    <a:pt x="212" y="97"/>
                    <a:pt x="223" y="108"/>
                  </a:cubicBezTo>
                  <a:cubicBezTo>
                    <a:pt x="259" y="144"/>
                    <a:pt x="295" y="179"/>
                    <a:pt x="330" y="216"/>
                  </a:cubicBezTo>
                  <a:cubicBezTo>
                    <a:pt x="343" y="230"/>
                    <a:pt x="358" y="229"/>
                    <a:pt x="374" y="227"/>
                  </a:cubicBezTo>
                  <a:cubicBezTo>
                    <a:pt x="378" y="227"/>
                    <a:pt x="383" y="218"/>
                    <a:pt x="383" y="213"/>
                  </a:cubicBezTo>
                  <a:cubicBezTo>
                    <a:pt x="384" y="194"/>
                    <a:pt x="384" y="174"/>
                    <a:pt x="383" y="155"/>
                  </a:cubicBezTo>
                  <a:cubicBezTo>
                    <a:pt x="382" y="120"/>
                    <a:pt x="398" y="93"/>
                    <a:pt x="425" y="73"/>
                  </a:cubicBezTo>
                  <a:cubicBezTo>
                    <a:pt x="467" y="40"/>
                    <a:pt x="517" y="27"/>
                    <a:pt x="568" y="17"/>
                  </a:cubicBezTo>
                  <a:cubicBezTo>
                    <a:pt x="654" y="0"/>
                    <a:pt x="736" y="12"/>
                    <a:pt x="817" y="44"/>
                  </a:cubicBezTo>
                  <a:cubicBezTo>
                    <a:pt x="832" y="50"/>
                    <a:pt x="846" y="59"/>
                    <a:pt x="860" y="68"/>
                  </a:cubicBezTo>
                  <a:cubicBezTo>
                    <a:pt x="894" y="90"/>
                    <a:pt x="909" y="122"/>
                    <a:pt x="909" y="161"/>
                  </a:cubicBezTo>
                  <a:cubicBezTo>
                    <a:pt x="909" y="178"/>
                    <a:pt x="910" y="196"/>
                    <a:pt x="909" y="213"/>
                  </a:cubicBezTo>
                  <a:cubicBezTo>
                    <a:pt x="909" y="224"/>
                    <a:pt x="913" y="228"/>
                    <a:pt x="924" y="229"/>
                  </a:cubicBezTo>
                  <a:cubicBezTo>
                    <a:pt x="957" y="231"/>
                    <a:pt x="984" y="226"/>
                    <a:pt x="1007" y="198"/>
                  </a:cubicBezTo>
                  <a:cubicBezTo>
                    <a:pt x="1033" y="166"/>
                    <a:pt x="1066" y="138"/>
                    <a:pt x="1095" y="108"/>
                  </a:cubicBezTo>
                  <a:cubicBezTo>
                    <a:pt x="1106" y="97"/>
                    <a:pt x="1118" y="91"/>
                    <a:pt x="1134" y="92"/>
                  </a:cubicBezTo>
                  <a:cubicBezTo>
                    <a:pt x="1159" y="93"/>
                    <a:pt x="1185" y="92"/>
                    <a:pt x="1210" y="92"/>
                  </a:cubicBezTo>
                  <a:cubicBezTo>
                    <a:pt x="1269" y="93"/>
                    <a:pt x="1318" y="141"/>
                    <a:pt x="1318" y="201"/>
                  </a:cubicBezTo>
                  <a:cubicBezTo>
                    <a:pt x="1319" y="304"/>
                    <a:pt x="1319" y="406"/>
                    <a:pt x="1318" y="509"/>
                  </a:cubicBezTo>
                  <a:cubicBezTo>
                    <a:pt x="1318" y="595"/>
                    <a:pt x="1245" y="669"/>
                    <a:pt x="1162" y="670"/>
                  </a:cubicBezTo>
                  <a:cubicBezTo>
                    <a:pt x="1118" y="671"/>
                    <a:pt x="1075" y="671"/>
                    <a:pt x="1032" y="671"/>
                  </a:cubicBezTo>
                  <a:cubicBezTo>
                    <a:pt x="1015" y="670"/>
                    <a:pt x="1007" y="676"/>
                    <a:pt x="1002" y="692"/>
                  </a:cubicBezTo>
                  <a:cubicBezTo>
                    <a:pt x="981" y="757"/>
                    <a:pt x="960" y="821"/>
                    <a:pt x="938" y="886"/>
                  </a:cubicBezTo>
                  <a:cubicBezTo>
                    <a:pt x="936" y="892"/>
                    <a:pt x="934" y="902"/>
                    <a:pt x="929" y="905"/>
                  </a:cubicBezTo>
                  <a:cubicBezTo>
                    <a:pt x="920" y="911"/>
                    <a:pt x="907" y="918"/>
                    <a:pt x="898" y="916"/>
                  </a:cubicBezTo>
                  <a:cubicBezTo>
                    <a:pt x="889" y="913"/>
                    <a:pt x="882" y="900"/>
                    <a:pt x="877" y="890"/>
                  </a:cubicBezTo>
                  <a:cubicBezTo>
                    <a:pt x="875" y="885"/>
                    <a:pt x="878" y="876"/>
                    <a:pt x="880" y="869"/>
                  </a:cubicBezTo>
                  <a:cubicBezTo>
                    <a:pt x="905" y="794"/>
                    <a:pt x="931" y="718"/>
                    <a:pt x="956" y="642"/>
                  </a:cubicBezTo>
                  <a:cubicBezTo>
                    <a:pt x="965" y="616"/>
                    <a:pt x="971" y="612"/>
                    <a:pt x="998" y="612"/>
                  </a:cubicBezTo>
                  <a:cubicBezTo>
                    <a:pt x="1045" y="612"/>
                    <a:pt x="1093" y="612"/>
                    <a:pt x="1140" y="612"/>
                  </a:cubicBezTo>
                  <a:cubicBezTo>
                    <a:pt x="1212" y="612"/>
                    <a:pt x="1258" y="570"/>
                    <a:pt x="1259" y="498"/>
                  </a:cubicBezTo>
                  <a:cubicBezTo>
                    <a:pt x="1261" y="402"/>
                    <a:pt x="1260" y="306"/>
                    <a:pt x="1259" y="210"/>
                  </a:cubicBezTo>
                  <a:cubicBezTo>
                    <a:pt x="1259" y="173"/>
                    <a:pt x="1239" y="153"/>
                    <a:pt x="1201" y="151"/>
                  </a:cubicBezTo>
                  <a:cubicBezTo>
                    <a:pt x="1200" y="150"/>
                    <a:pt x="1200" y="151"/>
                    <a:pt x="1199" y="150"/>
                  </a:cubicBezTo>
                  <a:cubicBezTo>
                    <a:pt x="1159" y="145"/>
                    <a:pt x="1126" y="154"/>
                    <a:pt x="1099" y="188"/>
                  </a:cubicBezTo>
                  <a:cubicBezTo>
                    <a:pt x="1076" y="217"/>
                    <a:pt x="1046" y="242"/>
                    <a:pt x="1019" y="269"/>
                  </a:cubicBezTo>
                  <a:cubicBezTo>
                    <a:pt x="1006" y="283"/>
                    <a:pt x="991" y="289"/>
                    <a:pt x="972" y="289"/>
                  </a:cubicBezTo>
                  <a:cubicBezTo>
                    <a:pt x="934" y="289"/>
                    <a:pt x="896" y="289"/>
                    <a:pt x="858" y="289"/>
                  </a:cubicBezTo>
                  <a:cubicBezTo>
                    <a:pt x="859" y="321"/>
                    <a:pt x="873" y="336"/>
                    <a:pt x="901" y="336"/>
                  </a:cubicBezTo>
                  <a:cubicBezTo>
                    <a:pt x="948" y="337"/>
                    <a:pt x="995" y="338"/>
                    <a:pt x="1041" y="336"/>
                  </a:cubicBezTo>
                  <a:cubicBezTo>
                    <a:pt x="1051" y="336"/>
                    <a:pt x="1063" y="331"/>
                    <a:pt x="1070" y="324"/>
                  </a:cubicBezTo>
                  <a:cubicBezTo>
                    <a:pt x="1098" y="298"/>
                    <a:pt x="1124" y="270"/>
                    <a:pt x="1152" y="244"/>
                  </a:cubicBezTo>
                  <a:cubicBezTo>
                    <a:pt x="1160" y="236"/>
                    <a:pt x="1174" y="229"/>
                    <a:pt x="1185" y="230"/>
                  </a:cubicBezTo>
                  <a:cubicBezTo>
                    <a:pt x="1209" y="233"/>
                    <a:pt x="1217" y="261"/>
                    <a:pt x="1199" y="281"/>
                  </a:cubicBezTo>
                  <a:cubicBezTo>
                    <a:pt x="1180" y="301"/>
                    <a:pt x="1159" y="320"/>
                    <a:pt x="1140" y="341"/>
                  </a:cubicBezTo>
                  <a:cubicBezTo>
                    <a:pt x="1133" y="349"/>
                    <a:pt x="1128" y="361"/>
                    <a:pt x="1127" y="372"/>
                  </a:cubicBezTo>
                  <a:cubicBezTo>
                    <a:pt x="1126" y="403"/>
                    <a:pt x="1127" y="435"/>
                    <a:pt x="1127" y="466"/>
                  </a:cubicBezTo>
                  <a:cubicBezTo>
                    <a:pt x="1126" y="499"/>
                    <a:pt x="1119" y="506"/>
                    <a:pt x="1085" y="507"/>
                  </a:cubicBezTo>
                  <a:cubicBezTo>
                    <a:pt x="1043" y="508"/>
                    <a:pt x="1001" y="508"/>
                    <a:pt x="959" y="510"/>
                  </a:cubicBezTo>
                  <a:cubicBezTo>
                    <a:pt x="926" y="511"/>
                    <a:pt x="912" y="524"/>
                    <a:pt x="902" y="556"/>
                  </a:cubicBezTo>
                  <a:cubicBezTo>
                    <a:pt x="869" y="664"/>
                    <a:pt x="836" y="773"/>
                    <a:pt x="802" y="882"/>
                  </a:cubicBezTo>
                  <a:cubicBezTo>
                    <a:pt x="802" y="884"/>
                    <a:pt x="801" y="887"/>
                    <a:pt x="800" y="889"/>
                  </a:cubicBezTo>
                  <a:cubicBezTo>
                    <a:pt x="792" y="913"/>
                    <a:pt x="777" y="923"/>
                    <a:pt x="759" y="917"/>
                  </a:cubicBezTo>
                  <a:cubicBezTo>
                    <a:pt x="742" y="911"/>
                    <a:pt x="736" y="894"/>
                    <a:pt x="743" y="871"/>
                  </a:cubicBezTo>
                  <a:cubicBezTo>
                    <a:pt x="763" y="806"/>
                    <a:pt x="783" y="742"/>
                    <a:pt x="802" y="677"/>
                  </a:cubicBezTo>
                  <a:cubicBezTo>
                    <a:pt x="817" y="631"/>
                    <a:pt x="830" y="585"/>
                    <a:pt x="845" y="540"/>
                  </a:cubicBezTo>
                  <a:cubicBezTo>
                    <a:pt x="863" y="479"/>
                    <a:pt x="903" y="449"/>
                    <a:pt x="967" y="448"/>
                  </a:cubicBezTo>
                  <a:cubicBezTo>
                    <a:pt x="994" y="448"/>
                    <a:pt x="1021" y="447"/>
                    <a:pt x="1047" y="448"/>
                  </a:cubicBezTo>
                  <a:cubicBezTo>
                    <a:pt x="1069" y="449"/>
                    <a:pt x="1068" y="436"/>
                    <a:pt x="1068" y="421"/>
                  </a:cubicBezTo>
                  <a:cubicBezTo>
                    <a:pt x="1069" y="406"/>
                    <a:pt x="1066" y="397"/>
                    <a:pt x="1047" y="397"/>
                  </a:cubicBezTo>
                  <a:cubicBezTo>
                    <a:pt x="806" y="398"/>
                    <a:pt x="564" y="398"/>
                    <a:pt x="323" y="398"/>
                  </a:cubicBezTo>
                  <a:cubicBezTo>
                    <a:pt x="304" y="398"/>
                    <a:pt x="286" y="398"/>
                    <a:pt x="267" y="397"/>
                  </a:cubicBezTo>
                  <a:cubicBezTo>
                    <a:pt x="247" y="397"/>
                    <a:pt x="250" y="410"/>
                    <a:pt x="250" y="422"/>
                  </a:cubicBezTo>
                  <a:cubicBezTo>
                    <a:pt x="251" y="434"/>
                    <a:pt x="246" y="448"/>
                    <a:pt x="267" y="448"/>
                  </a:cubicBezTo>
                  <a:cubicBezTo>
                    <a:pt x="305" y="449"/>
                    <a:pt x="343" y="448"/>
                    <a:pt x="381" y="453"/>
                  </a:cubicBezTo>
                  <a:cubicBezTo>
                    <a:pt x="427" y="459"/>
                    <a:pt x="458" y="487"/>
                    <a:pt x="471" y="532"/>
                  </a:cubicBezTo>
                  <a:cubicBezTo>
                    <a:pt x="506" y="645"/>
                    <a:pt x="541" y="758"/>
                    <a:pt x="575" y="872"/>
                  </a:cubicBezTo>
                  <a:cubicBezTo>
                    <a:pt x="578" y="883"/>
                    <a:pt x="576" y="898"/>
                    <a:pt x="570" y="908"/>
                  </a:cubicBezTo>
                  <a:cubicBezTo>
                    <a:pt x="566" y="915"/>
                    <a:pt x="548" y="920"/>
                    <a:pt x="542" y="916"/>
                  </a:cubicBezTo>
                  <a:cubicBezTo>
                    <a:pt x="532" y="909"/>
                    <a:pt x="522" y="897"/>
                    <a:pt x="518" y="885"/>
                  </a:cubicBezTo>
                  <a:cubicBezTo>
                    <a:pt x="495" y="816"/>
                    <a:pt x="474" y="746"/>
                    <a:pt x="453" y="676"/>
                  </a:cubicBezTo>
                  <a:cubicBezTo>
                    <a:pt x="440" y="635"/>
                    <a:pt x="428" y="595"/>
                    <a:pt x="416" y="554"/>
                  </a:cubicBezTo>
                  <a:cubicBezTo>
                    <a:pt x="408" y="526"/>
                    <a:pt x="389" y="512"/>
                    <a:pt x="361" y="510"/>
                  </a:cubicBezTo>
                  <a:cubicBezTo>
                    <a:pt x="343" y="508"/>
                    <a:pt x="325" y="507"/>
                    <a:pt x="307" y="507"/>
                  </a:cubicBezTo>
                  <a:cubicBezTo>
                    <a:pt x="173" y="505"/>
                    <a:pt x="193" y="526"/>
                    <a:pt x="191" y="390"/>
                  </a:cubicBezTo>
                  <a:cubicBezTo>
                    <a:pt x="191" y="384"/>
                    <a:pt x="193" y="378"/>
                    <a:pt x="191" y="372"/>
                  </a:cubicBezTo>
                  <a:cubicBezTo>
                    <a:pt x="188" y="361"/>
                    <a:pt x="185" y="349"/>
                    <a:pt x="178" y="341"/>
                  </a:cubicBezTo>
                  <a:cubicBezTo>
                    <a:pt x="160" y="321"/>
                    <a:pt x="140" y="303"/>
                    <a:pt x="122" y="284"/>
                  </a:cubicBezTo>
                  <a:cubicBezTo>
                    <a:pt x="106" y="267"/>
                    <a:pt x="105" y="251"/>
                    <a:pt x="118" y="238"/>
                  </a:cubicBezTo>
                  <a:cubicBezTo>
                    <a:pt x="131" y="225"/>
                    <a:pt x="147" y="225"/>
                    <a:pt x="164" y="241"/>
                  </a:cubicBezTo>
                  <a:cubicBezTo>
                    <a:pt x="193" y="269"/>
                    <a:pt x="220" y="298"/>
                    <a:pt x="249" y="325"/>
                  </a:cubicBezTo>
                  <a:cubicBezTo>
                    <a:pt x="256" y="332"/>
                    <a:pt x="266" y="336"/>
                    <a:pt x="275" y="336"/>
                  </a:cubicBezTo>
                  <a:cubicBezTo>
                    <a:pt x="322" y="337"/>
                    <a:pt x="370" y="337"/>
                    <a:pt x="417" y="336"/>
                  </a:cubicBezTo>
                  <a:cubicBezTo>
                    <a:pt x="445" y="336"/>
                    <a:pt x="460" y="321"/>
                    <a:pt x="460" y="289"/>
                  </a:cubicBezTo>
                  <a:close/>
                  <a:moveTo>
                    <a:pt x="802" y="336"/>
                  </a:moveTo>
                  <a:cubicBezTo>
                    <a:pt x="799" y="311"/>
                    <a:pt x="795" y="288"/>
                    <a:pt x="793" y="264"/>
                  </a:cubicBezTo>
                  <a:cubicBezTo>
                    <a:pt x="792" y="246"/>
                    <a:pt x="801" y="233"/>
                    <a:pt x="819" y="229"/>
                  </a:cubicBezTo>
                  <a:cubicBezTo>
                    <a:pt x="848" y="222"/>
                    <a:pt x="849" y="223"/>
                    <a:pt x="849" y="193"/>
                  </a:cubicBezTo>
                  <a:cubicBezTo>
                    <a:pt x="849" y="185"/>
                    <a:pt x="848" y="176"/>
                    <a:pt x="849" y="167"/>
                  </a:cubicBezTo>
                  <a:cubicBezTo>
                    <a:pt x="852" y="140"/>
                    <a:pt x="838" y="123"/>
                    <a:pt x="816" y="111"/>
                  </a:cubicBezTo>
                  <a:cubicBezTo>
                    <a:pt x="807" y="105"/>
                    <a:pt x="796" y="100"/>
                    <a:pt x="786" y="96"/>
                  </a:cubicBezTo>
                  <a:cubicBezTo>
                    <a:pt x="691" y="61"/>
                    <a:pt x="596" y="61"/>
                    <a:pt x="502" y="98"/>
                  </a:cubicBezTo>
                  <a:cubicBezTo>
                    <a:pt x="451" y="117"/>
                    <a:pt x="442" y="131"/>
                    <a:pt x="442" y="185"/>
                  </a:cubicBezTo>
                  <a:cubicBezTo>
                    <a:pt x="442" y="228"/>
                    <a:pt x="442" y="228"/>
                    <a:pt x="485" y="228"/>
                  </a:cubicBezTo>
                  <a:cubicBezTo>
                    <a:pt x="514" y="229"/>
                    <a:pt x="527" y="240"/>
                    <a:pt x="525" y="270"/>
                  </a:cubicBezTo>
                  <a:cubicBezTo>
                    <a:pt x="524" y="291"/>
                    <a:pt x="520" y="313"/>
                    <a:pt x="516" y="336"/>
                  </a:cubicBezTo>
                  <a:cubicBezTo>
                    <a:pt x="611" y="336"/>
                    <a:pt x="707" y="336"/>
                    <a:pt x="802" y="3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/>
            <a:p>
              <a:endParaRPr lang="en-US" sz="3456"/>
            </a:p>
          </p:txBody>
        </p:sp>
        <p:sp>
          <p:nvSpPr>
            <p:cNvPr id="108" name="Freeform 100">
              <a:extLst>
                <a:ext uri="{FF2B5EF4-FFF2-40B4-BE49-F238E27FC236}">
                  <a16:creationId xmlns:a16="http://schemas.microsoft.com/office/drawing/2014/main" id="{873D33CA-BD7B-4006-31FD-1CF2D4D37A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98" y="2191"/>
              <a:ext cx="52" cy="63"/>
            </a:xfrm>
            <a:custGeom>
              <a:avLst/>
              <a:gdLst>
                <a:gd name="T0" fmla="*/ 0 w 258"/>
                <a:gd name="T1" fmla="*/ 161 h 318"/>
                <a:gd name="T2" fmla="*/ 39 w 258"/>
                <a:gd name="T3" fmla="*/ 46 h 318"/>
                <a:gd name="T4" fmla="*/ 167 w 258"/>
                <a:gd name="T5" fmla="*/ 15 h 318"/>
                <a:gd name="T6" fmla="*/ 251 w 258"/>
                <a:gd name="T7" fmla="*/ 118 h 318"/>
                <a:gd name="T8" fmla="*/ 241 w 258"/>
                <a:gd name="T9" fmla="*/ 237 h 318"/>
                <a:gd name="T10" fmla="*/ 120 w 258"/>
                <a:gd name="T11" fmla="*/ 314 h 318"/>
                <a:gd name="T12" fmla="*/ 6 w 258"/>
                <a:gd name="T13" fmla="*/ 211 h 318"/>
                <a:gd name="T14" fmla="*/ 0 w 258"/>
                <a:gd name="T15" fmla="*/ 161 h 318"/>
                <a:gd name="T16" fmla="*/ 62 w 258"/>
                <a:gd name="T17" fmla="*/ 159 h 318"/>
                <a:gd name="T18" fmla="*/ 63 w 258"/>
                <a:gd name="T19" fmla="*/ 159 h 318"/>
                <a:gd name="T20" fmla="*/ 63 w 258"/>
                <a:gd name="T21" fmla="*/ 189 h 318"/>
                <a:gd name="T22" fmla="*/ 120 w 258"/>
                <a:gd name="T23" fmla="*/ 253 h 318"/>
                <a:gd name="T24" fmla="*/ 189 w 258"/>
                <a:gd name="T25" fmla="*/ 202 h 318"/>
                <a:gd name="T26" fmla="*/ 189 w 258"/>
                <a:gd name="T27" fmla="*/ 121 h 318"/>
                <a:gd name="T28" fmla="*/ 128 w 258"/>
                <a:gd name="T29" fmla="*/ 68 h 318"/>
                <a:gd name="T30" fmla="*/ 66 w 258"/>
                <a:gd name="T31" fmla="*/ 120 h 318"/>
                <a:gd name="T32" fmla="*/ 62 w 258"/>
                <a:gd name="T33" fmla="*/ 159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8" h="318">
                  <a:moveTo>
                    <a:pt x="0" y="161"/>
                  </a:moveTo>
                  <a:cubicBezTo>
                    <a:pt x="1" y="118"/>
                    <a:pt x="8" y="78"/>
                    <a:pt x="39" y="46"/>
                  </a:cubicBezTo>
                  <a:cubicBezTo>
                    <a:pt x="75" y="9"/>
                    <a:pt x="119" y="0"/>
                    <a:pt x="167" y="15"/>
                  </a:cubicBezTo>
                  <a:cubicBezTo>
                    <a:pt x="216" y="31"/>
                    <a:pt x="243" y="68"/>
                    <a:pt x="251" y="118"/>
                  </a:cubicBezTo>
                  <a:cubicBezTo>
                    <a:pt x="257" y="158"/>
                    <a:pt x="258" y="199"/>
                    <a:pt x="241" y="237"/>
                  </a:cubicBezTo>
                  <a:cubicBezTo>
                    <a:pt x="217" y="295"/>
                    <a:pt x="168" y="318"/>
                    <a:pt x="120" y="314"/>
                  </a:cubicBezTo>
                  <a:cubicBezTo>
                    <a:pt x="59" y="308"/>
                    <a:pt x="16" y="268"/>
                    <a:pt x="6" y="211"/>
                  </a:cubicBezTo>
                  <a:cubicBezTo>
                    <a:pt x="3" y="194"/>
                    <a:pt x="2" y="178"/>
                    <a:pt x="0" y="161"/>
                  </a:cubicBezTo>
                  <a:close/>
                  <a:moveTo>
                    <a:pt x="62" y="159"/>
                  </a:moveTo>
                  <a:cubicBezTo>
                    <a:pt x="62" y="159"/>
                    <a:pt x="63" y="159"/>
                    <a:pt x="63" y="159"/>
                  </a:cubicBezTo>
                  <a:cubicBezTo>
                    <a:pt x="63" y="169"/>
                    <a:pt x="63" y="179"/>
                    <a:pt x="63" y="189"/>
                  </a:cubicBezTo>
                  <a:cubicBezTo>
                    <a:pt x="65" y="223"/>
                    <a:pt x="90" y="251"/>
                    <a:pt x="120" y="253"/>
                  </a:cubicBezTo>
                  <a:cubicBezTo>
                    <a:pt x="156" y="256"/>
                    <a:pt x="183" y="239"/>
                    <a:pt x="189" y="202"/>
                  </a:cubicBezTo>
                  <a:cubicBezTo>
                    <a:pt x="194" y="176"/>
                    <a:pt x="193" y="148"/>
                    <a:pt x="189" y="121"/>
                  </a:cubicBezTo>
                  <a:cubicBezTo>
                    <a:pt x="184" y="87"/>
                    <a:pt x="158" y="68"/>
                    <a:pt x="128" y="68"/>
                  </a:cubicBezTo>
                  <a:cubicBezTo>
                    <a:pt x="98" y="68"/>
                    <a:pt x="74" y="87"/>
                    <a:pt x="66" y="120"/>
                  </a:cubicBezTo>
                  <a:cubicBezTo>
                    <a:pt x="63" y="133"/>
                    <a:pt x="63" y="146"/>
                    <a:pt x="62" y="1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/>
            <a:p>
              <a:endParaRPr lang="en-US" sz="3456"/>
            </a:p>
          </p:txBody>
        </p:sp>
        <p:sp>
          <p:nvSpPr>
            <p:cNvPr id="109" name="Freeform 101">
              <a:extLst>
                <a:ext uri="{FF2B5EF4-FFF2-40B4-BE49-F238E27FC236}">
                  <a16:creationId xmlns:a16="http://schemas.microsoft.com/office/drawing/2014/main" id="{8B232643-D0C6-2789-F219-25C348F647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71" y="2191"/>
              <a:ext cx="52" cy="63"/>
            </a:xfrm>
            <a:custGeom>
              <a:avLst/>
              <a:gdLst>
                <a:gd name="T0" fmla="*/ 260 w 260"/>
                <a:gd name="T1" fmla="*/ 154 h 319"/>
                <a:gd name="T2" fmla="*/ 224 w 260"/>
                <a:gd name="T3" fmla="*/ 271 h 319"/>
                <a:gd name="T4" fmla="*/ 103 w 260"/>
                <a:gd name="T5" fmla="*/ 308 h 319"/>
                <a:gd name="T6" fmla="*/ 16 w 260"/>
                <a:gd name="T7" fmla="*/ 225 h 319"/>
                <a:gd name="T8" fmla="*/ 22 w 260"/>
                <a:gd name="T9" fmla="*/ 79 h 319"/>
                <a:gd name="T10" fmla="*/ 154 w 260"/>
                <a:gd name="T11" fmla="*/ 8 h 319"/>
                <a:gd name="T12" fmla="*/ 256 w 260"/>
                <a:gd name="T13" fmla="*/ 114 h 319"/>
                <a:gd name="T14" fmla="*/ 260 w 260"/>
                <a:gd name="T15" fmla="*/ 154 h 319"/>
                <a:gd name="T16" fmla="*/ 69 w 260"/>
                <a:gd name="T17" fmla="*/ 159 h 319"/>
                <a:gd name="T18" fmla="*/ 68 w 260"/>
                <a:gd name="T19" fmla="*/ 159 h 319"/>
                <a:gd name="T20" fmla="*/ 68 w 260"/>
                <a:gd name="T21" fmla="*/ 189 h 319"/>
                <a:gd name="T22" fmla="*/ 125 w 260"/>
                <a:gd name="T23" fmla="*/ 251 h 319"/>
                <a:gd name="T24" fmla="*/ 194 w 260"/>
                <a:gd name="T25" fmla="*/ 201 h 319"/>
                <a:gd name="T26" fmla="*/ 195 w 260"/>
                <a:gd name="T27" fmla="*/ 120 h 319"/>
                <a:gd name="T28" fmla="*/ 131 w 260"/>
                <a:gd name="T29" fmla="*/ 66 h 319"/>
                <a:gd name="T30" fmla="*/ 69 w 260"/>
                <a:gd name="T31" fmla="*/ 123 h 319"/>
                <a:gd name="T32" fmla="*/ 69 w 260"/>
                <a:gd name="T33" fmla="*/ 159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0" h="319">
                  <a:moveTo>
                    <a:pt x="260" y="154"/>
                  </a:moveTo>
                  <a:cubicBezTo>
                    <a:pt x="259" y="200"/>
                    <a:pt x="253" y="240"/>
                    <a:pt x="224" y="271"/>
                  </a:cubicBezTo>
                  <a:cubicBezTo>
                    <a:pt x="191" y="307"/>
                    <a:pt x="150" y="319"/>
                    <a:pt x="103" y="308"/>
                  </a:cubicBezTo>
                  <a:cubicBezTo>
                    <a:pt x="58" y="297"/>
                    <a:pt x="28" y="268"/>
                    <a:pt x="16" y="225"/>
                  </a:cubicBezTo>
                  <a:cubicBezTo>
                    <a:pt x="1" y="177"/>
                    <a:pt x="0" y="126"/>
                    <a:pt x="22" y="79"/>
                  </a:cubicBezTo>
                  <a:cubicBezTo>
                    <a:pt x="45" y="27"/>
                    <a:pt x="96" y="0"/>
                    <a:pt x="154" y="8"/>
                  </a:cubicBezTo>
                  <a:cubicBezTo>
                    <a:pt x="204" y="15"/>
                    <a:pt x="249" y="61"/>
                    <a:pt x="256" y="114"/>
                  </a:cubicBezTo>
                  <a:cubicBezTo>
                    <a:pt x="258" y="129"/>
                    <a:pt x="259" y="145"/>
                    <a:pt x="260" y="154"/>
                  </a:cubicBezTo>
                  <a:close/>
                  <a:moveTo>
                    <a:pt x="69" y="159"/>
                  </a:moveTo>
                  <a:cubicBezTo>
                    <a:pt x="69" y="159"/>
                    <a:pt x="68" y="159"/>
                    <a:pt x="68" y="159"/>
                  </a:cubicBezTo>
                  <a:cubicBezTo>
                    <a:pt x="68" y="169"/>
                    <a:pt x="67" y="179"/>
                    <a:pt x="68" y="189"/>
                  </a:cubicBezTo>
                  <a:cubicBezTo>
                    <a:pt x="71" y="222"/>
                    <a:pt x="95" y="249"/>
                    <a:pt x="125" y="251"/>
                  </a:cubicBezTo>
                  <a:cubicBezTo>
                    <a:pt x="160" y="255"/>
                    <a:pt x="188" y="237"/>
                    <a:pt x="194" y="201"/>
                  </a:cubicBezTo>
                  <a:cubicBezTo>
                    <a:pt x="199" y="175"/>
                    <a:pt x="199" y="146"/>
                    <a:pt x="195" y="120"/>
                  </a:cubicBezTo>
                  <a:cubicBezTo>
                    <a:pt x="190" y="85"/>
                    <a:pt x="162" y="64"/>
                    <a:pt x="131" y="66"/>
                  </a:cubicBezTo>
                  <a:cubicBezTo>
                    <a:pt x="101" y="67"/>
                    <a:pt x="75" y="89"/>
                    <a:pt x="69" y="123"/>
                  </a:cubicBezTo>
                  <a:cubicBezTo>
                    <a:pt x="67" y="135"/>
                    <a:pt x="69" y="147"/>
                    <a:pt x="69" y="1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/>
            <a:p>
              <a:endParaRPr lang="en-US" sz="3456"/>
            </a:p>
          </p:txBody>
        </p:sp>
        <p:sp>
          <p:nvSpPr>
            <p:cNvPr id="110" name="Freeform 102">
              <a:extLst>
                <a:ext uri="{FF2B5EF4-FFF2-40B4-BE49-F238E27FC236}">
                  <a16:creationId xmlns:a16="http://schemas.microsoft.com/office/drawing/2014/main" id="{2A6A3066-15B3-2F5F-50E4-6EE2A1A71A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78" y="2174"/>
              <a:ext cx="53" cy="68"/>
            </a:xfrm>
            <a:custGeom>
              <a:avLst/>
              <a:gdLst>
                <a:gd name="T0" fmla="*/ 261 w 264"/>
                <a:gd name="T1" fmla="*/ 158 h 341"/>
                <a:gd name="T2" fmla="*/ 225 w 264"/>
                <a:gd name="T3" fmla="*/ 277 h 341"/>
                <a:gd name="T4" fmla="*/ 25 w 264"/>
                <a:gd name="T5" fmla="*/ 241 h 341"/>
                <a:gd name="T6" fmla="*/ 36 w 264"/>
                <a:gd name="T7" fmla="*/ 63 h 341"/>
                <a:gd name="T8" fmla="*/ 170 w 264"/>
                <a:gd name="T9" fmla="*/ 15 h 341"/>
                <a:gd name="T10" fmla="*/ 261 w 264"/>
                <a:gd name="T11" fmla="*/ 127 h 341"/>
                <a:gd name="T12" fmla="*/ 261 w 264"/>
                <a:gd name="T13" fmla="*/ 158 h 341"/>
                <a:gd name="T14" fmla="*/ 204 w 264"/>
                <a:gd name="T15" fmla="*/ 162 h 341"/>
                <a:gd name="T16" fmla="*/ 199 w 264"/>
                <a:gd name="T17" fmla="*/ 123 h 341"/>
                <a:gd name="T18" fmla="*/ 135 w 264"/>
                <a:gd name="T19" fmla="*/ 70 h 341"/>
                <a:gd name="T20" fmla="*/ 74 w 264"/>
                <a:gd name="T21" fmla="*/ 125 h 341"/>
                <a:gd name="T22" fmla="*/ 74 w 264"/>
                <a:gd name="T23" fmla="*/ 202 h 341"/>
                <a:gd name="T24" fmla="*/ 137 w 264"/>
                <a:gd name="T25" fmla="*/ 256 h 341"/>
                <a:gd name="T26" fmla="*/ 199 w 264"/>
                <a:gd name="T27" fmla="*/ 202 h 341"/>
                <a:gd name="T28" fmla="*/ 204 w 264"/>
                <a:gd name="T29" fmla="*/ 162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4" h="341">
                  <a:moveTo>
                    <a:pt x="261" y="158"/>
                  </a:moveTo>
                  <a:cubicBezTo>
                    <a:pt x="264" y="206"/>
                    <a:pt x="256" y="245"/>
                    <a:pt x="225" y="277"/>
                  </a:cubicBezTo>
                  <a:cubicBezTo>
                    <a:pt x="164" y="341"/>
                    <a:pt x="57" y="323"/>
                    <a:pt x="25" y="241"/>
                  </a:cubicBezTo>
                  <a:cubicBezTo>
                    <a:pt x="1" y="182"/>
                    <a:pt x="0" y="119"/>
                    <a:pt x="36" y="63"/>
                  </a:cubicBezTo>
                  <a:cubicBezTo>
                    <a:pt x="64" y="19"/>
                    <a:pt x="120" y="0"/>
                    <a:pt x="170" y="15"/>
                  </a:cubicBezTo>
                  <a:cubicBezTo>
                    <a:pt x="220" y="30"/>
                    <a:pt x="258" y="76"/>
                    <a:pt x="261" y="127"/>
                  </a:cubicBezTo>
                  <a:cubicBezTo>
                    <a:pt x="262" y="139"/>
                    <a:pt x="261" y="151"/>
                    <a:pt x="261" y="158"/>
                  </a:cubicBezTo>
                  <a:close/>
                  <a:moveTo>
                    <a:pt x="204" y="162"/>
                  </a:moveTo>
                  <a:cubicBezTo>
                    <a:pt x="203" y="149"/>
                    <a:pt x="202" y="135"/>
                    <a:pt x="199" y="123"/>
                  </a:cubicBezTo>
                  <a:cubicBezTo>
                    <a:pt x="193" y="91"/>
                    <a:pt x="166" y="69"/>
                    <a:pt x="135" y="70"/>
                  </a:cubicBezTo>
                  <a:cubicBezTo>
                    <a:pt x="105" y="70"/>
                    <a:pt x="77" y="93"/>
                    <a:pt x="74" y="125"/>
                  </a:cubicBezTo>
                  <a:cubicBezTo>
                    <a:pt x="71" y="150"/>
                    <a:pt x="71" y="176"/>
                    <a:pt x="74" y="202"/>
                  </a:cubicBezTo>
                  <a:cubicBezTo>
                    <a:pt x="78" y="233"/>
                    <a:pt x="107" y="256"/>
                    <a:pt x="137" y="256"/>
                  </a:cubicBezTo>
                  <a:cubicBezTo>
                    <a:pt x="167" y="256"/>
                    <a:pt x="194" y="233"/>
                    <a:pt x="199" y="202"/>
                  </a:cubicBezTo>
                  <a:cubicBezTo>
                    <a:pt x="202" y="189"/>
                    <a:pt x="203" y="175"/>
                    <a:pt x="204" y="1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/>
            <a:p>
              <a:endParaRPr lang="en-US" sz="3456"/>
            </a:p>
          </p:txBody>
        </p:sp>
      </p:grpSp>
      <p:grpSp>
        <p:nvGrpSpPr>
          <p:cNvPr id="89" name="Group 1073">
            <a:extLst>
              <a:ext uri="{FF2B5EF4-FFF2-40B4-BE49-F238E27FC236}">
                <a16:creationId xmlns:a16="http://schemas.microsoft.com/office/drawing/2014/main" id="{41F81CB3-3A8C-AC1F-3649-D0D891C923E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21188" y="3927916"/>
            <a:ext cx="347632" cy="317604"/>
            <a:chOff x="5340" y="3144"/>
            <a:chExt cx="301" cy="275"/>
          </a:xfrm>
          <a:solidFill>
            <a:schemeClr val="bg1">
              <a:alpha val="80000"/>
            </a:schemeClr>
          </a:solidFill>
        </p:grpSpPr>
        <p:sp>
          <p:nvSpPr>
            <p:cNvPr id="102" name="Freeform 1074">
              <a:extLst>
                <a:ext uri="{FF2B5EF4-FFF2-40B4-BE49-F238E27FC236}">
                  <a16:creationId xmlns:a16="http://schemas.microsoft.com/office/drawing/2014/main" id="{44A6880A-14C3-B661-6109-A75D8702F4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0" y="3220"/>
              <a:ext cx="139" cy="199"/>
            </a:xfrm>
            <a:custGeom>
              <a:avLst/>
              <a:gdLst>
                <a:gd name="T0" fmla="*/ 612 w 681"/>
                <a:gd name="T1" fmla="*/ 969 h 973"/>
                <a:gd name="T2" fmla="*/ 527 w 681"/>
                <a:gd name="T3" fmla="*/ 711 h 973"/>
                <a:gd name="T4" fmla="*/ 495 w 681"/>
                <a:gd name="T5" fmla="*/ 614 h 973"/>
                <a:gd name="T6" fmla="*/ 389 w 681"/>
                <a:gd name="T7" fmla="*/ 538 h 973"/>
                <a:gd name="T8" fmla="*/ 235 w 681"/>
                <a:gd name="T9" fmla="*/ 538 h 973"/>
                <a:gd name="T10" fmla="*/ 214 w 681"/>
                <a:gd name="T11" fmla="*/ 518 h 973"/>
                <a:gd name="T12" fmla="*/ 215 w 681"/>
                <a:gd name="T13" fmla="*/ 290 h 973"/>
                <a:gd name="T14" fmla="*/ 192 w 681"/>
                <a:gd name="T15" fmla="*/ 254 h 973"/>
                <a:gd name="T16" fmla="*/ 146 w 681"/>
                <a:gd name="T17" fmla="*/ 232 h 973"/>
                <a:gd name="T18" fmla="*/ 179 w 681"/>
                <a:gd name="T19" fmla="*/ 167 h 973"/>
                <a:gd name="T20" fmla="*/ 271 w 681"/>
                <a:gd name="T21" fmla="*/ 213 h 973"/>
                <a:gd name="T22" fmla="*/ 442 w 681"/>
                <a:gd name="T23" fmla="*/ 253 h 973"/>
                <a:gd name="T24" fmla="*/ 526 w 681"/>
                <a:gd name="T25" fmla="*/ 252 h 973"/>
                <a:gd name="T26" fmla="*/ 568 w 681"/>
                <a:gd name="T27" fmla="*/ 228 h 973"/>
                <a:gd name="T28" fmla="*/ 475 w 681"/>
                <a:gd name="T29" fmla="*/ 214 h 973"/>
                <a:gd name="T30" fmla="*/ 408 w 681"/>
                <a:gd name="T31" fmla="*/ 204 h 973"/>
                <a:gd name="T32" fmla="*/ 374 w 681"/>
                <a:gd name="T33" fmla="*/ 189 h 973"/>
                <a:gd name="T34" fmla="*/ 254 w 681"/>
                <a:gd name="T35" fmla="*/ 99 h 973"/>
                <a:gd name="T36" fmla="*/ 195 w 681"/>
                <a:gd name="T37" fmla="*/ 81 h 973"/>
                <a:gd name="T38" fmla="*/ 133 w 681"/>
                <a:gd name="T39" fmla="*/ 82 h 973"/>
                <a:gd name="T40" fmla="*/ 76 w 681"/>
                <a:gd name="T41" fmla="*/ 138 h 973"/>
                <a:gd name="T42" fmla="*/ 76 w 681"/>
                <a:gd name="T43" fmla="*/ 542 h 973"/>
                <a:gd name="T44" fmla="*/ 184 w 681"/>
                <a:gd name="T45" fmla="*/ 648 h 973"/>
                <a:gd name="T46" fmla="*/ 376 w 681"/>
                <a:gd name="T47" fmla="*/ 648 h 973"/>
                <a:gd name="T48" fmla="*/ 407 w 681"/>
                <a:gd name="T49" fmla="*/ 669 h 973"/>
                <a:gd name="T50" fmla="*/ 519 w 681"/>
                <a:gd name="T51" fmla="*/ 923 h 973"/>
                <a:gd name="T52" fmla="*/ 527 w 681"/>
                <a:gd name="T53" fmla="*/ 944 h 973"/>
                <a:gd name="T54" fmla="*/ 462 w 681"/>
                <a:gd name="T55" fmla="*/ 973 h 973"/>
                <a:gd name="T56" fmla="*/ 435 w 681"/>
                <a:gd name="T57" fmla="*/ 914 h 973"/>
                <a:gd name="T58" fmla="*/ 358 w 681"/>
                <a:gd name="T59" fmla="*/ 740 h 973"/>
                <a:gd name="T60" fmla="*/ 330 w 681"/>
                <a:gd name="T61" fmla="*/ 722 h 973"/>
                <a:gd name="T62" fmla="*/ 196 w 681"/>
                <a:gd name="T63" fmla="*/ 722 h 973"/>
                <a:gd name="T64" fmla="*/ 2 w 681"/>
                <a:gd name="T65" fmla="*/ 527 h 973"/>
                <a:gd name="T66" fmla="*/ 2 w 681"/>
                <a:gd name="T67" fmla="*/ 147 h 973"/>
                <a:gd name="T68" fmla="*/ 141 w 681"/>
                <a:gd name="T69" fmla="*/ 8 h 973"/>
                <a:gd name="T70" fmla="*/ 171 w 681"/>
                <a:gd name="T71" fmla="*/ 8 h 973"/>
                <a:gd name="T72" fmla="*/ 322 w 681"/>
                <a:gd name="T73" fmla="*/ 56 h 973"/>
                <a:gd name="T74" fmla="*/ 407 w 681"/>
                <a:gd name="T75" fmla="*/ 120 h 973"/>
                <a:gd name="T76" fmla="*/ 437 w 681"/>
                <a:gd name="T77" fmla="*/ 134 h 973"/>
                <a:gd name="T78" fmla="*/ 616 w 681"/>
                <a:gd name="T79" fmla="*/ 160 h 973"/>
                <a:gd name="T80" fmla="*/ 653 w 681"/>
                <a:gd name="T81" fmla="*/ 207 h 973"/>
                <a:gd name="T82" fmla="*/ 520 w 681"/>
                <a:gd name="T83" fmla="*/ 325 h 973"/>
                <a:gd name="T84" fmla="*/ 366 w 681"/>
                <a:gd name="T85" fmla="*/ 326 h 973"/>
                <a:gd name="T86" fmla="*/ 309 w 681"/>
                <a:gd name="T87" fmla="*/ 313 h 973"/>
                <a:gd name="T88" fmla="*/ 290 w 681"/>
                <a:gd name="T89" fmla="*/ 305 h 973"/>
                <a:gd name="T90" fmla="*/ 288 w 681"/>
                <a:gd name="T91" fmla="*/ 336 h 973"/>
                <a:gd name="T92" fmla="*/ 288 w 681"/>
                <a:gd name="T93" fmla="*/ 448 h 973"/>
                <a:gd name="T94" fmla="*/ 305 w 681"/>
                <a:gd name="T95" fmla="*/ 465 h 973"/>
                <a:gd name="T96" fmla="*/ 419 w 681"/>
                <a:gd name="T97" fmla="*/ 468 h 973"/>
                <a:gd name="T98" fmla="*/ 556 w 681"/>
                <a:gd name="T99" fmla="*/ 572 h 973"/>
                <a:gd name="T100" fmla="*/ 628 w 681"/>
                <a:gd name="T101" fmla="*/ 783 h 973"/>
                <a:gd name="T102" fmla="*/ 676 w 681"/>
                <a:gd name="T103" fmla="*/ 929 h 973"/>
                <a:gd name="T104" fmla="*/ 665 w 681"/>
                <a:gd name="T105" fmla="*/ 952 h 973"/>
                <a:gd name="T106" fmla="*/ 612 w 681"/>
                <a:gd name="T107" fmla="*/ 969 h 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81" h="973">
                  <a:moveTo>
                    <a:pt x="612" y="969"/>
                  </a:moveTo>
                  <a:cubicBezTo>
                    <a:pt x="583" y="881"/>
                    <a:pt x="555" y="796"/>
                    <a:pt x="527" y="711"/>
                  </a:cubicBezTo>
                  <a:cubicBezTo>
                    <a:pt x="516" y="678"/>
                    <a:pt x="505" y="646"/>
                    <a:pt x="495" y="614"/>
                  </a:cubicBezTo>
                  <a:cubicBezTo>
                    <a:pt x="477" y="561"/>
                    <a:pt x="445" y="538"/>
                    <a:pt x="389" y="538"/>
                  </a:cubicBezTo>
                  <a:cubicBezTo>
                    <a:pt x="338" y="538"/>
                    <a:pt x="286" y="538"/>
                    <a:pt x="235" y="538"/>
                  </a:cubicBezTo>
                  <a:cubicBezTo>
                    <a:pt x="220" y="539"/>
                    <a:pt x="214" y="535"/>
                    <a:pt x="214" y="518"/>
                  </a:cubicBezTo>
                  <a:cubicBezTo>
                    <a:pt x="215" y="442"/>
                    <a:pt x="214" y="366"/>
                    <a:pt x="215" y="290"/>
                  </a:cubicBezTo>
                  <a:cubicBezTo>
                    <a:pt x="216" y="271"/>
                    <a:pt x="209" y="261"/>
                    <a:pt x="192" y="254"/>
                  </a:cubicBezTo>
                  <a:cubicBezTo>
                    <a:pt x="177" y="248"/>
                    <a:pt x="162" y="240"/>
                    <a:pt x="146" y="232"/>
                  </a:cubicBezTo>
                  <a:cubicBezTo>
                    <a:pt x="157" y="210"/>
                    <a:pt x="167" y="189"/>
                    <a:pt x="179" y="167"/>
                  </a:cubicBezTo>
                  <a:cubicBezTo>
                    <a:pt x="211" y="182"/>
                    <a:pt x="242" y="195"/>
                    <a:pt x="271" y="213"/>
                  </a:cubicBezTo>
                  <a:cubicBezTo>
                    <a:pt x="324" y="245"/>
                    <a:pt x="380" y="259"/>
                    <a:pt x="442" y="253"/>
                  </a:cubicBezTo>
                  <a:cubicBezTo>
                    <a:pt x="470" y="250"/>
                    <a:pt x="498" y="253"/>
                    <a:pt x="526" y="252"/>
                  </a:cubicBezTo>
                  <a:cubicBezTo>
                    <a:pt x="543" y="251"/>
                    <a:pt x="558" y="247"/>
                    <a:pt x="568" y="228"/>
                  </a:cubicBezTo>
                  <a:cubicBezTo>
                    <a:pt x="536" y="223"/>
                    <a:pt x="505" y="218"/>
                    <a:pt x="475" y="214"/>
                  </a:cubicBezTo>
                  <a:cubicBezTo>
                    <a:pt x="452" y="210"/>
                    <a:pt x="430" y="209"/>
                    <a:pt x="408" y="204"/>
                  </a:cubicBezTo>
                  <a:cubicBezTo>
                    <a:pt x="396" y="202"/>
                    <a:pt x="384" y="196"/>
                    <a:pt x="374" y="189"/>
                  </a:cubicBezTo>
                  <a:cubicBezTo>
                    <a:pt x="334" y="159"/>
                    <a:pt x="295" y="129"/>
                    <a:pt x="254" y="99"/>
                  </a:cubicBezTo>
                  <a:cubicBezTo>
                    <a:pt x="237" y="86"/>
                    <a:pt x="217" y="79"/>
                    <a:pt x="195" y="81"/>
                  </a:cubicBezTo>
                  <a:cubicBezTo>
                    <a:pt x="174" y="83"/>
                    <a:pt x="153" y="81"/>
                    <a:pt x="133" y="82"/>
                  </a:cubicBezTo>
                  <a:cubicBezTo>
                    <a:pt x="98" y="83"/>
                    <a:pt x="76" y="104"/>
                    <a:pt x="76" y="138"/>
                  </a:cubicBezTo>
                  <a:cubicBezTo>
                    <a:pt x="75" y="273"/>
                    <a:pt x="75" y="407"/>
                    <a:pt x="76" y="542"/>
                  </a:cubicBezTo>
                  <a:cubicBezTo>
                    <a:pt x="77" y="598"/>
                    <a:pt x="127" y="647"/>
                    <a:pt x="184" y="648"/>
                  </a:cubicBezTo>
                  <a:cubicBezTo>
                    <a:pt x="248" y="649"/>
                    <a:pt x="312" y="649"/>
                    <a:pt x="376" y="648"/>
                  </a:cubicBezTo>
                  <a:cubicBezTo>
                    <a:pt x="392" y="648"/>
                    <a:pt x="400" y="654"/>
                    <a:pt x="407" y="669"/>
                  </a:cubicBezTo>
                  <a:cubicBezTo>
                    <a:pt x="443" y="754"/>
                    <a:pt x="481" y="838"/>
                    <a:pt x="519" y="923"/>
                  </a:cubicBezTo>
                  <a:cubicBezTo>
                    <a:pt x="522" y="929"/>
                    <a:pt x="524" y="936"/>
                    <a:pt x="527" y="944"/>
                  </a:cubicBezTo>
                  <a:cubicBezTo>
                    <a:pt x="505" y="954"/>
                    <a:pt x="484" y="963"/>
                    <a:pt x="462" y="973"/>
                  </a:cubicBezTo>
                  <a:cubicBezTo>
                    <a:pt x="452" y="952"/>
                    <a:pt x="443" y="933"/>
                    <a:pt x="435" y="914"/>
                  </a:cubicBezTo>
                  <a:cubicBezTo>
                    <a:pt x="409" y="856"/>
                    <a:pt x="383" y="798"/>
                    <a:pt x="358" y="740"/>
                  </a:cubicBezTo>
                  <a:cubicBezTo>
                    <a:pt x="352" y="726"/>
                    <a:pt x="344" y="722"/>
                    <a:pt x="330" y="722"/>
                  </a:cubicBezTo>
                  <a:cubicBezTo>
                    <a:pt x="285" y="723"/>
                    <a:pt x="240" y="721"/>
                    <a:pt x="196" y="722"/>
                  </a:cubicBezTo>
                  <a:cubicBezTo>
                    <a:pt x="88" y="725"/>
                    <a:pt x="0" y="634"/>
                    <a:pt x="2" y="527"/>
                  </a:cubicBezTo>
                  <a:cubicBezTo>
                    <a:pt x="4" y="400"/>
                    <a:pt x="4" y="274"/>
                    <a:pt x="2" y="147"/>
                  </a:cubicBezTo>
                  <a:cubicBezTo>
                    <a:pt x="0" y="76"/>
                    <a:pt x="50" y="7"/>
                    <a:pt x="141" y="8"/>
                  </a:cubicBezTo>
                  <a:cubicBezTo>
                    <a:pt x="151" y="8"/>
                    <a:pt x="161" y="9"/>
                    <a:pt x="171" y="8"/>
                  </a:cubicBezTo>
                  <a:cubicBezTo>
                    <a:pt x="229" y="0"/>
                    <a:pt x="278" y="22"/>
                    <a:pt x="322" y="56"/>
                  </a:cubicBezTo>
                  <a:cubicBezTo>
                    <a:pt x="351" y="78"/>
                    <a:pt x="378" y="100"/>
                    <a:pt x="407" y="120"/>
                  </a:cubicBezTo>
                  <a:cubicBezTo>
                    <a:pt x="416" y="127"/>
                    <a:pt x="426" y="133"/>
                    <a:pt x="437" y="134"/>
                  </a:cubicBezTo>
                  <a:cubicBezTo>
                    <a:pt x="496" y="144"/>
                    <a:pt x="556" y="152"/>
                    <a:pt x="616" y="160"/>
                  </a:cubicBezTo>
                  <a:cubicBezTo>
                    <a:pt x="646" y="164"/>
                    <a:pt x="657" y="177"/>
                    <a:pt x="653" y="207"/>
                  </a:cubicBezTo>
                  <a:cubicBezTo>
                    <a:pt x="644" y="280"/>
                    <a:pt x="593" y="325"/>
                    <a:pt x="520" y="325"/>
                  </a:cubicBezTo>
                  <a:cubicBezTo>
                    <a:pt x="469" y="325"/>
                    <a:pt x="417" y="325"/>
                    <a:pt x="366" y="326"/>
                  </a:cubicBezTo>
                  <a:cubicBezTo>
                    <a:pt x="345" y="326"/>
                    <a:pt x="326" y="324"/>
                    <a:pt x="309" y="313"/>
                  </a:cubicBezTo>
                  <a:cubicBezTo>
                    <a:pt x="304" y="310"/>
                    <a:pt x="298" y="308"/>
                    <a:pt x="290" y="305"/>
                  </a:cubicBezTo>
                  <a:cubicBezTo>
                    <a:pt x="289" y="317"/>
                    <a:pt x="288" y="326"/>
                    <a:pt x="288" y="336"/>
                  </a:cubicBezTo>
                  <a:cubicBezTo>
                    <a:pt x="288" y="373"/>
                    <a:pt x="289" y="410"/>
                    <a:pt x="288" y="448"/>
                  </a:cubicBezTo>
                  <a:cubicBezTo>
                    <a:pt x="288" y="461"/>
                    <a:pt x="292" y="465"/>
                    <a:pt x="305" y="465"/>
                  </a:cubicBezTo>
                  <a:cubicBezTo>
                    <a:pt x="343" y="465"/>
                    <a:pt x="381" y="465"/>
                    <a:pt x="419" y="468"/>
                  </a:cubicBezTo>
                  <a:cubicBezTo>
                    <a:pt x="487" y="472"/>
                    <a:pt x="532" y="512"/>
                    <a:pt x="556" y="572"/>
                  </a:cubicBezTo>
                  <a:cubicBezTo>
                    <a:pt x="583" y="641"/>
                    <a:pt x="604" y="713"/>
                    <a:pt x="628" y="783"/>
                  </a:cubicBezTo>
                  <a:cubicBezTo>
                    <a:pt x="644" y="832"/>
                    <a:pt x="660" y="880"/>
                    <a:pt x="676" y="929"/>
                  </a:cubicBezTo>
                  <a:cubicBezTo>
                    <a:pt x="681" y="941"/>
                    <a:pt x="680" y="948"/>
                    <a:pt x="665" y="952"/>
                  </a:cubicBezTo>
                  <a:cubicBezTo>
                    <a:pt x="648" y="956"/>
                    <a:pt x="631" y="963"/>
                    <a:pt x="612" y="9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/>
            <a:p>
              <a:endParaRPr lang="en-US" sz="3456"/>
            </a:p>
          </p:txBody>
        </p:sp>
        <p:sp>
          <p:nvSpPr>
            <p:cNvPr id="103" name="Freeform 1075">
              <a:extLst>
                <a:ext uri="{FF2B5EF4-FFF2-40B4-BE49-F238E27FC236}">
                  <a16:creationId xmlns:a16="http://schemas.microsoft.com/office/drawing/2014/main" id="{82D3D246-D5B0-708A-2E9A-701B2EF8F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03" y="3221"/>
              <a:ext cx="138" cy="198"/>
            </a:xfrm>
            <a:custGeom>
              <a:avLst/>
              <a:gdLst>
                <a:gd name="T0" fmla="*/ 114 w 679"/>
                <a:gd name="T1" fmla="*/ 224 h 967"/>
                <a:gd name="T2" fmla="*/ 154 w 679"/>
                <a:gd name="T3" fmla="*/ 247 h 967"/>
                <a:gd name="T4" fmla="*/ 319 w 679"/>
                <a:gd name="T5" fmla="*/ 247 h 967"/>
                <a:gd name="T6" fmla="*/ 344 w 679"/>
                <a:gd name="T7" fmla="*/ 239 h 967"/>
                <a:gd name="T8" fmla="*/ 502 w 679"/>
                <a:gd name="T9" fmla="*/ 161 h 967"/>
                <a:gd name="T10" fmla="*/ 535 w 679"/>
                <a:gd name="T11" fmla="*/ 226 h 967"/>
                <a:gd name="T12" fmla="*/ 483 w 679"/>
                <a:gd name="T13" fmla="*/ 252 h 967"/>
                <a:gd name="T14" fmla="*/ 465 w 679"/>
                <a:gd name="T15" fmla="*/ 281 h 967"/>
                <a:gd name="T16" fmla="*/ 466 w 679"/>
                <a:gd name="T17" fmla="*/ 509 h 967"/>
                <a:gd name="T18" fmla="*/ 441 w 679"/>
                <a:gd name="T19" fmla="*/ 534 h 967"/>
                <a:gd name="T20" fmla="*/ 287 w 679"/>
                <a:gd name="T21" fmla="*/ 533 h 967"/>
                <a:gd name="T22" fmla="*/ 189 w 679"/>
                <a:gd name="T23" fmla="*/ 603 h 967"/>
                <a:gd name="T24" fmla="*/ 85 w 679"/>
                <a:gd name="T25" fmla="*/ 917 h 967"/>
                <a:gd name="T26" fmla="*/ 69 w 679"/>
                <a:gd name="T27" fmla="*/ 964 h 967"/>
                <a:gd name="T28" fmla="*/ 0 w 679"/>
                <a:gd name="T29" fmla="*/ 942 h 967"/>
                <a:gd name="T30" fmla="*/ 38 w 679"/>
                <a:gd name="T31" fmla="*/ 827 h 967"/>
                <a:gd name="T32" fmla="*/ 116 w 679"/>
                <a:gd name="T33" fmla="*/ 588 h 967"/>
                <a:gd name="T34" fmla="*/ 235 w 679"/>
                <a:gd name="T35" fmla="*/ 466 h 967"/>
                <a:gd name="T36" fmla="*/ 292 w 679"/>
                <a:gd name="T37" fmla="*/ 460 h 967"/>
                <a:gd name="T38" fmla="*/ 390 w 679"/>
                <a:gd name="T39" fmla="*/ 460 h 967"/>
                <a:gd name="T40" fmla="*/ 390 w 679"/>
                <a:gd name="T41" fmla="*/ 302 h 967"/>
                <a:gd name="T42" fmla="*/ 377 w 679"/>
                <a:gd name="T43" fmla="*/ 305 h 967"/>
                <a:gd name="T44" fmla="*/ 303 w 679"/>
                <a:gd name="T45" fmla="*/ 321 h 967"/>
                <a:gd name="T46" fmla="*/ 157 w 679"/>
                <a:gd name="T47" fmla="*/ 320 h 967"/>
                <a:gd name="T48" fmla="*/ 27 w 679"/>
                <a:gd name="T49" fmla="*/ 193 h 967"/>
                <a:gd name="T50" fmla="*/ 58 w 679"/>
                <a:gd name="T51" fmla="*/ 156 h 967"/>
                <a:gd name="T52" fmla="*/ 237 w 679"/>
                <a:gd name="T53" fmla="*/ 130 h 967"/>
                <a:gd name="T54" fmla="*/ 275 w 679"/>
                <a:gd name="T55" fmla="*/ 115 h 967"/>
                <a:gd name="T56" fmla="*/ 391 w 679"/>
                <a:gd name="T57" fmla="*/ 30 h 967"/>
                <a:gd name="T58" fmla="*/ 483 w 679"/>
                <a:gd name="T59" fmla="*/ 3 h 967"/>
                <a:gd name="T60" fmla="*/ 579 w 679"/>
                <a:gd name="T61" fmla="*/ 8 h 967"/>
                <a:gd name="T62" fmla="*/ 677 w 679"/>
                <a:gd name="T63" fmla="*/ 120 h 967"/>
                <a:gd name="T64" fmla="*/ 677 w 679"/>
                <a:gd name="T65" fmla="*/ 550 h 967"/>
                <a:gd name="T66" fmla="*/ 530 w 679"/>
                <a:gd name="T67" fmla="*/ 712 h 967"/>
                <a:gd name="T68" fmla="*/ 492 w 679"/>
                <a:gd name="T69" fmla="*/ 716 h 967"/>
                <a:gd name="T70" fmla="*/ 354 w 679"/>
                <a:gd name="T71" fmla="*/ 716 h 967"/>
                <a:gd name="T72" fmla="*/ 321 w 679"/>
                <a:gd name="T73" fmla="*/ 737 h 967"/>
                <a:gd name="T74" fmla="*/ 229 w 679"/>
                <a:gd name="T75" fmla="*/ 947 h 967"/>
                <a:gd name="T76" fmla="*/ 219 w 679"/>
                <a:gd name="T77" fmla="*/ 967 h 967"/>
                <a:gd name="T78" fmla="*/ 163 w 679"/>
                <a:gd name="T79" fmla="*/ 942 h 967"/>
                <a:gd name="T80" fmla="*/ 161 w 679"/>
                <a:gd name="T81" fmla="*/ 921 h 967"/>
                <a:gd name="T82" fmla="*/ 258 w 679"/>
                <a:gd name="T83" fmla="*/ 702 h 967"/>
                <a:gd name="T84" fmla="*/ 259 w 679"/>
                <a:gd name="T85" fmla="*/ 698 h 967"/>
                <a:gd name="T86" fmla="*/ 343 w 679"/>
                <a:gd name="T87" fmla="*/ 642 h 967"/>
                <a:gd name="T88" fmla="*/ 485 w 679"/>
                <a:gd name="T89" fmla="*/ 643 h 967"/>
                <a:gd name="T90" fmla="*/ 606 w 679"/>
                <a:gd name="T91" fmla="*/ 527 h 967"/>
                <a:gd name="T92" fmla="*/ 606 w 679"/>
                <a:gd name="T93" fmla="*/ 139 h 967"/>
                <a:gd name="T94" fmla="*/ 542 w 679"/>
                <a:gd name="T95" fmla="*/ 76 h 967"/>
                <a:gd name="T96" fmla="*/ 508 w 679"/>
                <a:gd name="T97" fmla="*/ 76 h 967"/>
                <a:gd name="T98" fmla="*/ 402 w 679"/>
                <a:gd name="T99" fmla="*/ 110 h 967"/>
                <a:gd name="T100" fmla="*/ 312 w 679"/>
                <a:gd name="T101" fmla="*/ 181 h 967"/>
                <a:gd name="T102" fmla="*/ 240 w 679"/>
                <a:gd name="T103" fmla="*/ 204 h 967"/>
                <a:gd name="T104" fmla="*/ 122 w 679"/>
                <a:gd name="T105" fmla="*/ 221 h 967"/>
                <a:gd name="T106" fmla="*/ 114 w 679"/>
                <a:gd name="T107" fmla="*/ 224 h 9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79" h="967">
                  <a:moveTo>
                    <a:pt x="114" y="224"/>
                  </a:moveTo>
                  <a:cubicBezTo>
                    <a:pt x="123" y="241"/>
                    <a:pt x="137" y="247"/>
                    <a:pt x="154" y="247"/>
                  </a:cubicBezTo>
                  <a:cubicBezTo>
                    <a:pt x="209" y="247"/>
                    <a:pt x="264" y="247"/>
                    <a:pt x="319" y="247"/>
                  </a:cubicBezTo>
                  <a:cubicBezTo>
                    <a:pt x="328" y="247"/>
                    <a:pt x="336" y="243"/>
                    <a:pt x="344" y="239"/>
                  </a:cubicBezTo>
                  <a:cubicBezTo>
                    <a:pt x="396" y="214"/>
                    <a:pt x="448" y="188"/>
                    <a:pt x="502" y="161"/>
                  </a:cubicBezTo>
                  <a:cubicBezTo>
                    <a:pt x="513" y="183"/>
                    <a:pt x="523" y="203"/>
                    <a:pt x="535" y="226"/>
                  </a:cubicBezTo>
                  <a:cubicBezTo>
                    <a:pt x="517" y="235"/>
                    <a:pt x="500" y="245"/>
                    <a:pt x="483" y="252"/>
                  </a:cubicBezTo>
                  <a:cubicBezTo>
                    <a:pt x="469" y="258"/>
                    <a:pt x="465" y="267"/>
                    <a:pt x="465" y="281"/>
                  </a:cubicBezTo>
                  <a:cubicBezTo>
                    <a:pt x="465" y="357"/>
                    <a:pt x="464" y="433"/>
                    <a:pt x="466" y="509"/>
                  </a:cubicBezTo>
                  <a:cubicBezTo>
                    <a:pt x="466" y="529"/>
                    <a:pt x="459" y="534"/>
                    <a:pt x="441" y="534"/>
                  </a:cubicBezTo>
                  <a:cubicBezTo>
                    <a:pt x="389" y="532"/>
                    <a:pt x="338" y="533"/>
                    <a:pt x="287" y="533"/>
                  </a:cubicBezTo>
                  <a:cubicBezTo>
                    <a:pt x="238" y="533"/>
                    <a:pt x="205" y="555"/>
                    <a:pt x="189" y="603"/>
                  </a:cubicBezTo>
                  <a:cubicBezTo>
                    <a:pt x="154" y="707"/>
                    <a:pt x="120" y="812"/>
                    <a:pt x="85" y="917"/>
                  </a:cubicBezTo>
                  <a:cubicBezTo>
                    <a:pt x="80" y="932"/>
                    <a:pt x="75" y="947"/>
                    <a:pt x="69" y="964"/>
                  </a:cubicBezTo>
                  <a:cubicBezTo>
                    <a:pt x="46" y="956"/>
                    <a:pt x="24" y="949"/>
                    <a:pt x="0" y="942"/>
                  </a:cubicBezTo>
                  <a:cubicBezTo>
                    <a:pt x="13" y="902"/>
                    <a:pt x="25" y="864"/>
                    <a:pt x="38" y="827"/>
                  </a:cubicBezTo>
                  <a:cubicBezTo>
                    <a:pt x="64" y="747"/>
                    <a:pt x="90" y="668"/>
                    <a:pt x="116" y="588"/>
                  </a:cubicBezTo>
                  <a:cubicBezTo>
                    <a:pt x="136" y="528"/>
                    <a:pt x="172" y="484"/>
                    <a:pt x="235" y="466"/>
                  </a:cubicBezTo>
                  <a:cubicBezTo>
                    <a:pt x="253" y="461"/>
                    <a:pt x="273" y="461"/>
                    <a:pt x="292" y="460"/>
                  </a:cubicBezTo>
                  <a:cubicBezTo>
                    <a:pt x="324" y="459"/>
                    <a:pt x="356" y="460"/>
                    <a:pt x="390" y="460"/>
                  </a:cubicBezTo>
                  <a:cubicBezTo>
                    <a:pt x="390" y="407"/>
                    <a:pt x="390" y="355"/>
                    <a:pt x="390" y="302"/>
                  </a:cubicBezTo>
                  <a:cubicBezTo>
                    <a:pt x="386" y="303"/>
                    <a:pt x="381" y="303"/>
                    <a:pt x="377" y="305"/>
                  </a:cubicBezTo>
                  <a:cubicBezTo>
                    <a:pt x="355" y="321"/>
                    <a:pt x="329" y="321"/>
                    <a:pt x="303" y="321"/>
                  </a:cubicBezTo>
                  <a:cubicBezTo>
                    <a:pt x="254" y="320"/>
                    <a:pt x="205" y="321"/>
                    <a:pt x="157" y="320"/>
                  </a:cubicBezTo>
                  <a:cubicBezTo>
                    <a:pt x="84" y="319"/>
                    <a:pt x="28" y="265"/>
                    <a:pt x="27" y="193"/>
                  </a:cubicBezTo>
                  <a:cubicBezTo>
                    <a:pt x="27" y="173"/>
                    <a:pt x="38" y="159"/>
                    <a:pt x="58" y="156"/>
                  </a:cubicBezTo>
                  <a:cubicBezTo>
                    <a:pt x="118" y="147"/>
                    <a:pt x="178" y="140"/>
                    <a:pt x="237" y="130"/>
                  </a:cubicBezTo>
                  <a:cubicBezTo>
                    <a:pt x="250" y="128"/>
                    <a:pt x="264" y="122"/>
                    <a:pt x="275" y="115"/>
                  </a:cubicBezTo>
                  <a:cubicBezTo>
                    <a:pt x="314" y="87"/>
                    <a:pt x="352" y="57"/>
                    <a:pt x="391" y="30"/>
                  </a:cubicBezTo>
                  <a:cubicBezTo>
                    <a:pt x="418" y="11"/>
                    <a:pt x="449" y="0"/>
                    <a:pt x="483" y="3"/>
                  </a:cubicBezTo>
                  <a:cubicBezTo>
                    <a:pt x="515" y="5"/>
                    <a:pt x="547" y="3"/>
                    <a:pt x="579" y="8"/>
                  </a:cubicBezTo>
                  <a:cubicBezTo>
                    <a:pt x="633" y="16"/>
                    <a:pt x="677" y="66"/>
                    <a:pt x="677" y="120"/>
                  </a:cubicBezTo>
                  <a:cubicBezTo>
                    <a:pt x="678" y="264"/>
                    <a:pt x="679" y="407"/>
                    <a:pt x="677" y="550"/>
                  </a:cubicBezTo>
                  <a:cubicBezTo>
                    <a:pt x="676" y="624"/>
                    <a:pt x="609" y="694"/>
                    <a:pt x="530" y="712"/>
                  </a:cubicBezTo>
                  <a:cubicBezTo>
                    <a:pt x="518" y="715"/>
                    <a:pt x="505" y="716"/>
                    <a:pt x="492" y="716"/>
                  </a:cubicBezTo>
                  <a:cubicBezTo>
                    <a:pt x="446" y="717"/>
                    <a:pt x="400" y="717"/>
                    <a:pt x="354" y="716"/>
                  </a:cubicBezTo>
                  <a:cubicBezTo>
                    <a:pt x="337" y="716"/>
                    <a:pt x="328" y="721"/>
                    <a:pt x="321" y="737"/>
                  </a:cubicBezTo>
                  <a:cubicBezTo>
                    <a:pt x="291" y="808"/>
                    <a:pt x="260" y="877"/>
                    <a:pt x="229" y="947"/>
                  </a:cubicBezTo>
                  <a:cubicBezTo>
                    <a:pt x="226" y="953"/>
                    <a:pt x="223" y="959"/>
                    <a:pt x="219" y="967"/>
                  </a:cubicBezTo>
                  <a:cubicBezTo>
                    <a:pt x="200" y="959"/>
                    <a:pt x="181" y="952"/>
                    <a:pt x="163" y="942"/>
                  </a:cubicBezTo>
                  <a:cubicBezTo>
                    <a:pt x="159" y="940"/>
                    <a:pt x="158" y="927"/>
                    <a:pt x="161" y="921"/>
                  </a:cubicBezTo>
                  <a:cubicBezTo>
                    <a:pt x="192" y="848"/>
                    <a:pt x="225" y="775"/>
                    <a:pt x="258" y="702"/>
                  </a:cubicBezTo>
                  <a:cubicBezTo>
                    <a:pt x="258" y="701"/>
                    <a:pt x="259" y="699"/>
                    <a:pt x="259" y="698"/>
                  </a:cubicBezTo>
                  <a:cubicBezTo>
                    <a:pt x="269" y="652"/>
                    <a:pt x="296" y="637"/>
                    <a:pt x="343" y="642"/>
                  </a:cubicBezTo>
                  <a:cubicBezTo>
                    <a:pt x="390" y="647"/>
                    <a:pt x="438" y="643"/>
                    <a:pt x="485" y="643"/>
                  </a:cubicBezTo>
                  <a:cubicBezTo>
                    <a:pt x="554" y="643"/>
                    <a:pt x="605" y="595"/>
                    <a:pt x="606" y="527"/>
                  </a:cubicBezTo>
                  <a:cubicBezTo>
                    <a:pt x="607" y="397"/>
                    <a:pt x="607" y="268"/>
                    <a:pt x="606" y="139"/>
                  </a:cubicBezTo>
                  <a:cubicBezTo>
                    <a:pt x="606" y="97"/>
                    <a:pt x="584" y="77"/>
                    <a:pt x="542" y="76"/>
                  </a:cubicBezTo>
                  <a:cubicBezTo>
                    <a:pt x="531" y="76"/>
                    <a:pt x="520" y="78"/>
                    <a:pt x="508" y="76"/>
                  </a:cubicBezTo>
                  <a:cubicBezTo>
                    <a:pt x="467" y="70"/>
                    <a:pt x="433" y="85"/>
                    <a:pt x="402" y="110"/>
                  </a:cubicBezTo>
                  <a:cubicBezTo>
                    <a:pt x="372" y="134"/>
                    <a:pt x="340" y="155"/>
                    <a:pt x="312" y="181"/>
                  </a:cubicBezTo>
                  <a:cubicBezTo>
                    <a:pt x="291" y="200"/>
                    <a:pt x="265" y="200"/>
                    <a:pt x="240" y="204"/>
                  </a:cubicBezTo>
                  <a:cubicBezTo>
                    <a:pt x="201" y="211"/>
                    <a:pt x="161" y="215"/>
                    <a:pt x="122" y="221"/>
                  </a:cubicBezTo>
                  <a:cubicBezTo>
                    <a:pt x="119" y="221"/>
                    <a:pt x="117" y="223"/>
                    <a:pt x="114" y="2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/>
            <a:p>
              <a:endParaRPr lang="en-US" sz="3456"/>
            </a:p>
          </p:txBody>
        </p:sp>
        <p:sp>
          <p:nvSpPr>
            <p:cNvPr id="104" name="Freeform 1076">
              <a:extLst>
                <a:ext uri="{FF2B5EF4-FFF2-40B4-BE49-F238E27FC236}">
                  <a16:creationId xmlns:a16="http://schemas.microsoft.com/office/drawing/2014/main" id="{06E5A2E6-D157-C5E5-A281-E8FD2E33855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3" y="3290"/>
              <a:ext cx="136" cy="126"/>
            </a:xfrm>
            <a:custGeom>
              <a:avLst/>
              <a:gdLst>
                <a:gd name="T0" fmla="*/ 332 w 667"/>
                <a:gd name="T1" fmla="*/ 29 h 615"/>
                <a:gd name="T2" fmla="*/ 366 w 667"/>
                <a:gd name="T3" fmla="*/ 1 h 615"/>
                <a:gd name="T4" fmla="*/ 646 w 667"/>
                <a:gd name="T5" fmla="*/ 1 h 615"/>
                <a:gd name="T6" fmla="*/ 667 w 667"/>
                <a:gd name="T7" fmla="*/ 21 h 615"/>
                <a:gd name="T8" fmla="*/ 614 w 667"/>
                <a:gd name="T9" fmla="*/ 74 h 615"/>
                <a:gd name="T10" fmla="*/ 400 w 667"/>
                <a:gd name="T11" fmla="*/ 74 h 615"/>
                <a:gd name="T12" fmla="*/ 370 w 667"/>
                <a:gd name="T13" fmla="*/ 105 h 615"/>
                <a:gd name="T14" fmla="*/ 371 w 667"/>
                <a:gd name="T15" fmla="*/ 591 h 615"/>
                <a:gd name="T16" fmla="*/ 346 w 667"/>
                <a:gd name="T17" fmla="*/ 615 h 615"/>
                <a:gd name="T18" fmla="*/ 297 w 667"/>
                <a:gd name="T19" fmla="*/ 566 h 615"/>
                <a:gd name="T20" fmla="*/ 297 w 667"/>
                <a:gd name="T21" fmla="*/ 104 h 615"/>
                <a:gd name="T22" fmla="*/ 266 w 667"/>
                <a:gd name="T23" fmla="*/ 74 h 615"/>
                <a:gd name="T24" fmla="*/ 20 w 667"/>
                <a:gd name="T25" fmla="*/ 75 h 615"/>
                <a:gd name="T26" fmla="*/ 0 w 667"/>
                <a:gd name="T27" fmla="*/ 54 h 615"/>
                <a:gd name="T28" fmla="*/ 54 w 667"/>
                <a:gd name="T29" fmla="*/ 1 h 615"/>
                <a:gd name="T30" fmla="*/ 303 w 667"/>
                <a:gd name="T31" fmla="*/ 1 h 615"/>
                <a:gd name="T32" fmla="*/ 332 w 667"/>
                <a:gd name="T33" fmla="*/ 29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67" h="615">
                  <a:moveTo>
                    <a:pt x="332" y="29"/>
                  </a:moveTo>
                  <a:cubicBezTo>
                    <a:pt x="337" y="1"/>
                    <a:pt x="337" y="1"/>
                    <a:pt x="366" y="1"/>
                  </a:cubicBezTo>
                  <a:cubicBezTo>
                    <a:pt x="460" y="1"/>
                    <a:pt x="553" y="1"/>
                    <a:pt x="646" y="1"/>
                  </a:cubicBezTo>
                  <a:cubicBezTo>
                    <a:pt x="662" y="1"/>
                    <a:pt x="667" y="5"/>
                    <a:pt x="667" y="21"/>
                  </a:cubicBezTo>
                  <a:cubicBezTo>
                    <a:pt x="667" y="74"/>
                    <a:pt x="667" y="74"/>
                    <a:pt x="614" y="74"/>
                  </a:cubicBezTo>
                  <a:cubicBezTo>
                    <a:pt x="542" y="74"/>
                    <a:pt x="471" y="74"/>
                    <a:pt x="400" y="74"/>
                  </a:cubicBezTo>
                  <a:cubicBezTo>
                    <a:pt x="370" y="74"/>
                    <a:pt x="370" y="74"/>
                    <a:pt x="370" y="105"/>
                  </a:cubicBezTo>
                  <a:cubicBezTo>
                    <a:pt x="370" y="267"/>
                    <a:pt x="370" y="429"/>
                    <a:pt x="371" y="591"/>
                  </a:cubicBezTo>
                  <a:cubicBezTo>
                    <a:pt x="371" y="611"/>
                    <a:pt x="365" y="615"/>
                    <a:pt x="346" y="615"/>
                  </a:cubicBezTo>
                  <a:cubicBezTo>
                    <a:pt x="297" y="614"/>
                    <a:pt x="297" y="615"/>
                    <a:pt x="297" y="566"/>
                  </a:cubicBezTo>
                  <a:cubicBezTo>
                    <a:pt x="297" y="412"/>
                    <a:pt x="297" y="258"/>
                    <a:pt x="297" y="104"/>
                  </a:cubicBezTo>
                  <a:cubicBezTo>
                    <a:pt x="297" y="71"/>
                    <a:pt x="300" y="74"/>
                    <a:pt x="266" y="74"/>
                  </a:cubicBezTo>
                  <a:cubicBezTo>
                    <a:pt x="184" y="74"/>
                    <a:pt x="102" y="74"/>
                    <a:pt x="20" y="75"/>
                  </a:cubicBezTo>
                  <a:cubicBezTo>
                    <a:pt x="4" y="75"/>
                    <a:pt x="0" y="70"/>
                    <a:pt x="0" y="54"/>
                  </a:cubicBezTo>
                  <a:cubicBezTo>
                    <a:pt x="1" y="1"/>
                    <a:pt x="0" y="1"/>
                    <a:pt x="54" y="1"/>
                  </a:cubicBezTo>
                  <a:cubicBezTo>
                    <a:pt x="137" y="1"/>
                    <a:pt x="220" y="2"/>
                    <a:pt x="303" y="1"/>
                  </a:cubicBezTo>
                  <a:cubicBezTo>
                    <a:pt x="324" y="0"/>
                    <a:pt x="337" y="3"/>
                    <a:pt x="332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/>
            <a:p>
              <a:endParaRPr lang="en-US" sz="3456"/>
            </a:p>
          </p:txBody>
        </p:sp>
        <p:sp>
          <p:nvSpPr>
            <p:cNvPr id="105" name="Freeform 1077">
              <a:extLst>
                <a:ext uri="{FF2B5EF4-FFF2-40B4-BE49-F238E27FC236}">
                  <a16:creationId xmlns:a16="http://schemas.microsoft.com/office/drawing/2014/main" id="{CCA8157F-20A4-81E4-361B-6349F4FB4C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58" y="3144"/>
              <a:ext cx="65" cy="77"/>
            </a:xfrm>
            <a:custGeom>
              <a:avLst/>
              <a:gdLst>
                <a:gd name="T0" fmla="*/ 1 w 320"/>
                <a:gd name="T1" fmla="*/ 189 h 376"/>
                <a:gd name="T2" fmla="*/ 127 w 320"/>
                <a:gd name="T3" fmla="*/ 20 h 376"/>
                <a:gd name="T4" fmla="*/ 315 w 320"/>
                <a:gd name="T5" fmla="*/ 157 h 376"/>
                <a:gd name="T6" fmla="*/ 277 w 320"/>
                <a:gd name="T7" fmla="*/ 309 h 376"/>
                <a:gd name="T8" fmla="*/ 105 w 320"/>
                <a:gd name="T9" fmla="*/ 354 h 376"/>
                <a:gd name="T10" fmla="*/ 1 w 320"/>
                <a:gd name="T11" fmla="*/ 215 h 376"/>
                <a:gd name="T12" fmla="*/ 1 w 320"/>
                <a:gd name="T13" fmla="*/ 189 h 376"/>
                <a:gd name="T14" fmla="*/ 244 w 320"/>
                <a:gd name="T15" fmla="*/ 189 h 376"/>
                <a:gd name="T16" fmla="*/ 244 w 320"/>
                <a:gd name="T17" fmla="*/ 183 h 376"/>
                <a:gd name="T18" fmla="*/ 158 w 320"/>
                <a:gd name="T19" fmla="*/ 90 h 376"/>
                <a:gd name="T20" fmla="*/ 73 w 320"/>
                <a:gd name="T21" fmla="*/ 183 h 376"/>
                <a:gd name="T22" fmla="*/ 74 w 320"/>
                <a:gd name="T23" fmla="*/ 212 h 376"/>
                <a:gd name="T24" fmla="*/ 182 w 320"/>
                <a:gd name="T25" fmla="*/ 287 h 376"/>
                <a:gd name="T26" fmla="*/ 244 w 320"/>
                <a:gd name="T27" fmla="*/ 189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0" h="376">
                  <a:moveTo>
                    <a:pt x="1" y="189"/>
                  </a:moveTo>
                  <a:cubicBezTo>
                    <a:pt x="0" y="99"/>
                    <a:pt x="45" y="39"/>
                    <a:pt x="127" y="20"/>
                  </a:cubicBezTo>
                  <a:cubicBezTo>
                    <a:pt x="215" y="0"/>
                    <a:pt x="306" y="67"/>
                    <a:pt x="315" y="157"/>
                  </a:cubicBezTo>
                  <a:cubicBezTo>
                    <a:pt x="320" y="213"/>
                    <a:pt x="315" y="264"/>
                    <a:pt x="277" y="309"/>
                  </a:cubicBezTo>
                  <a:cubicBezTo>
                    <a:pt x="236" y="357"/>
                    <a:pt x="167" y="376"/>
                    <a:pt x="105" y="354"/>
                  </a:cubicBezTo>
                  <a:cubicBezTo>
                    <a:pt x="47" y="335"/>
                    <a:pt x="3" y="276"/>
                    <a:pt x="1" y="215"/>
                  </a:cubicBezTo>
                  <a:cubicBezTo>
                    <a:pt x="0" y="207"/>
                    <a:pt x="1" y="198"/>
                    <a:pt x="1" y="189"/>
                  </a:cubicBezTo>
                  <a:close/>
                  <a:moveTo>
                    <a:pt x="244" y="189"/>
                  </a:moveTo>
                  <a:cubicBezTo>
                    <a:pt x="244" y="187"/>
                    <a:pt x="244" y="185"/>
                    <a:pt x="244" y="183"/>
                  </a:cubicBezTo>
                  <a:cubicBezTo>
                    <a:pt x="243" y="128"/>
                    <a:pt x="208" y="92"/>
                    <a:pt x="158" y="90"/>
                  </a:cubicBezTo>
                  <a:cubicBezTo>
                    <a:pt x="118" y="89"/>
                    <a:pt x="69" y="123"/>
                    <a:pt x="73" y="183"/>
                  </a:cubicBezTo>
                  <a:cubicBezTo>
                    <a:pt x="74" y="193"/>
                    <a:pt x="73" y="203"/>
                    <a:pt x="74" y="212"/>
                  </a:cubicBezTo>
                  <a:cubicBezTo>
                    <a:pt x="77" y="266"/>
                    <a:pt x="131" y="303"/>
                    <a:pt x="182" y="287"/>
                  </a:cubicBezTo>
                  <a:cubicBezTo>
                    <a:pt x="223" y="274"/>
                    <a:pt x="244" y="241"/>
                    <a:pt x="244" y="1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/>
            <a:p>
              <a:endParaRPr lang="en-US" sz="3456"/>
            </a:p>
          </p:txBody>
        </p:sp>
        <p:sp>
          <p:nvSpPr>
            <p:cNvPr id="106" name="Freeform 1078">
              <a:extLst>
                <a:ext uri="{FF2B5EF4-FFF2-40B4-BE49-F238E27FC236}">
                  <a16:creationId xmlns:a16="http://schemas.microsoft.com/office/drawing/2014/main" id="{E674D8FC-041C-F82A-908A-44205EAE6B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59" y="3146"/>
              <a:ext cx="65" cy="75"/>
            </a:xfrm>
            <a:custGeom>
              <a:avLst/>
              <a:gdLst>
                <a:gd name="T0" fmla="*/ 316 w 322"/>
                <a:gd name="T1" fmla="*/ 179 h 368"/>
                <a:gd name="T2" fmla="*/ 185 w 322"/>
                <a:gd name="T3" fmla="*/ 352 h 368"/>
                <a:gd name="T4" fmla="*/ 2 w 322"/>
                <a:gd name="T5" fmla="*/ 209 h 368"/>
                <a:gd name="T6" fmla="*/ 5 w 322"/>
                <a:gd name="T7" fmla="*/ 131 h 368"/>
                <a:gd name="T8" fmla="*/ 180 w 322"/>
                <a:gd name="T9" fmla="*/ 8 h 368"/>
                <a:gd name="T10" fmla="*/ 316 w 322"/>
                <a:gd name="T11" fmla="*/ 161 h 368"/>
                <a:gd name="T12" fmla="*/ 316 w 322"/>
                <a:gd name="T13" fmla="*/ 179 h 368"/>
                <a:gd name="T14" fmla="*/ 246 w 322"/>
                <a:gd name="T15" fmla="*/ 180 h 368"/>
                <a:gd name="T16" fmla="*/ 241 w 322"/>
                <a:gd name="T17" fmla="*/ 145 h 368"/>
                <a:gd name="T18" fmla="*/ 158 w 322"/>
                <a:gd name="T19" fmla="*/ 81 h 368"/>
                <a:gd name="T20" fmla="*/ 76 w 322"/>
                <a:gd name="T21" fmla="*/ 146 h 368"/>
                <a:gd name="T22" fmla="*/ 76 w 322"/>
                <a:gd name="T23" fmla="*/ 213 h 368"/>
                <a:gd name="T24" fmla="*/ 182 w 322"/>
                <a:gd name="T25" fmla="*/ 277 h 368"/>
                <a:gd name="T26" fmla="*/ 246 w 322"/>
                <a:gd name="T27" fmla="*/ 18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2" h="368">
                  <a:moveTo>
                    <a:pt x="316" y="179"/>
                  </a:moveTo>
                  <a:cubicBezTo>
                    <a:pt x="322" y="279"/>
                    <a:pt x="253" y="339"/>
                    <a:pt x="185" y="352"/>
                  </a:cubicBezTo>
                  <a:cubicBezTo>
                    <a:pt x="98" y="368"/>
                    <a:pt x="5" y="297"/>
                    <a:pt x="2" y="209"/>
                  </a:cubicBezTo>
                  <a:cubicBezTo>
                    <a:pt x="1" y="183"/>
                    <a:pt x="0" y="156"/>
                    <a:pt x="5" y="131"/>
                  </a:cubicBezTo>
                  <a:cubicBezTo>
                    <a:pt x="22" y="50"/>
                    <a:pt x="95" y="0"/>
                    <a:pt x="180" y="8"/>
                  </a:cubicBezTo>
                  <a:cubicBezTo>
                    <a:pt x="255" y="16"/>
                    <a:pt x="314" y="82"/>
                    <a:pt x="316" y="161"/>
                  </a:cubicBezTo>
                  <a:cubicBezTo>
                    <a:pt x="316" y="168"/>
                    <a:pt x="316" y="175"/>
                    <a:pt x="316" y="179"/>
                  </a:cubicBezTo>
                  <a:close/>
                  <a:moveTo>
                    <a:pt x="246" y="180"/>
                  </a:moveTo>
                  <a:cubicBezTo>
                    <a:pt x="245" y="168"/>
                    <a:pt x="244" y="156"/>
                    <a:pt x="241" y="145"/>
                  </a:cubicBezTo>
                  <a:cubicBezTo>
                    <a:pt x="233" y="107"/>
                    <a:pt x="199" y="81"/>
                    <a:pt x="158" y="81"/>
                  </a:cubicBezTo>
                  <a:cubicBezTo>
                    <a:pt x="118" y="81"/>
                    <a:pt x="82" y="108"/>
                    <a:pt x="76" y="146"/>
                  </a:cubicBezTo>
                  <a:cubicBezTo>
                    <a:pt x="73" y="168"/>
                    <a:pt x="73" y="191"/>
                    <a:pt x="76" y="213"/>
                  </a:cubicBezTo>
                  <a:cubicBezTo>
                    <a:pt x="83" y="260"/>
                    <a:pt x="136" y="291"/>
                    <a:pt x="182" y="277"/>
                  </a:cubicBezTo>
                  <a:cubicBezTo>
                    <a:pt x="223" y="265"/>
                    <a:pt x="245" y="232"/>
                    <a:pt x="246" y="1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/>
            <a:p>
              <a:endParaRPr lang="en-US" sz="3456"/>
            </a:p>
          </p:txBody>
        </p:sp>
      </p:grpSp>
      <p:grpSp>
        <p:nvGrpSpPr>
          <p:cNvPr id="90" name="Group 1286">
            <a:extLst>
              <a:ext uri="{FF2B5EF4-FFF2-40B4-BE49-F238E27FC236}">
                <a16:creationId xmlns:a16="http://schemas.microsoft.com/office/drawing/2014/main" id="{46B7EE10-EEAF-B302-03BB-11E9A85A608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195200" y="3826056"/>
            <a:ext cx="458479" cy="436194"/>
            <a:chOff x="6480" y="3593"/>
            <a:chExt cx="288" cy="274"/>
          </a:xfrm>
          <a:solidFill>
            <a:schemeClr val="bg1">
              <a:alpha val="80000"/>
            </a:schemeClr>
          </a:solidFill>
        </p:grpSpPr>
        <p:sp>
          <p:nvSpPr>
            <p:cNvPr id="97" name="Freeform 1287">
              <a:extLst>
                <a:ext uri="{FF2B5EF4-FFF2-40B4-BE49-F238E27FC236}">
                  <a16:creationId xmlns:a16="http://schemas.microsoft.com/office/drawing/2014/main" id="{15F71BC5-53AC-7314-4B47-84BCB8A24A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80" y="3679"/>
              <a:ext cx="288" cy="188"/>
            </a:xfrm>
            <a:custGeom>
              <a:avLst/>
              <a:gdLst>
                <a:gd name="T0" fmla="*/ 582 w 1461"/>
                <a:gd name="T1" fmla="*/ 885 h 959"/>
                <a:gd name="T2" fmla="*/ 560 w 1461"/>
                <a:gd name="T3" fmla="*/ 958 h 959"/>
                <a:gd name="T4" fmla="*/ 246 w 1461"/>
                <a:gd name="T5" fmla="*/ 936 h 959"/>
                <a:gd name="T6" fmla="*/ 373 w 1461"/>
                <a:gd name="T7" fmla="*/ 885 h 959"/>
                <a:gd name="T8" fmla="*/ 390 w 1461"/>
                <a:gd name="T9" fmla="*/ 761 h 959"/>
                <a:gd name="T10" fmla="*/ 280 w 1461"/>
                <a:gd name="T11" fmla="*/ 745 h 959"/>
                <a:gd name="T12" fmla="*/ 238 w 1461"/>
                <a:gd name="T13" fmla="*/ 634 h 959"/>
                <a:gd name="T14" fmla="*/ 121 w 1461"/>
                <a:gd name="T15" fmla="*/ 513 h 959"/>
                <a:gd name="T16" fmla="*/ 19 w 1461"/>
                <a:gd name="T17" fmla="*/ 502 h 959"/>
                <a:gd name="T18" fmla="*/ 57 w 1461"/>
                <a:gd name="T19" fmla="*/ 428 h 959"/>
                <a:gd name="T20" fmla="*/ 115 w 1461"/>
                <a:gd name="T21" fmla="*/ 410 h 959"/>
                <a:gd name="T22" fmla="*/ 142 w 1461"/>
                <a:gd name="T23" fmla="*/ 87 h 959"/>
                <a:gd name="T24" fmla="*/ 542 w 1461"/>
                <a:gd name="T25" fmla="*/ 1 h 959"/>
                <a:gd name="T26" fmla="*/ 735 w 1461"/>
                <a:gd name="T27" fmla="*/ 163 h 959"/>
                <a:gd name="T28" fmla="*/ 780 w 1461"/>
                <a:gd name="T29" fmla="*/ 427 h 959"/>
                <a:gd name="T30" fmla="*/ 787 w 1461"/>
                <a:gd name="T31" fmla="*/ 222 h 959"/>
                <a:gd name="T32" fmla="*/ 963 w 1461"/>
                <a:gd name="T33" fmla="*/ 33 h 959"/>
                <a:gd name="T34" fmla="*/ 1408 w 1461"/>
                <a:gd name="T35" fmla="*/ 211 h 959"/>
                <a:gd name="T36" fmla="*/ 1432 w 1461"/>
                <a:gd name="T37" fmla="*/ 428 h 959"/>
                <a:gd name="T38" fmla="*/ 1418 w 1461"/>
                <a:gd name="T39" fmla="*/ 501 h 959"/>
                <a:gd name="T40" fmla="*/ 729 w 1461"/>
                <a:gd name="T41" fmla="*/ 524 h 959"/>
                <a:gd name="T42" fmla="*/ 615 w 1461"/>
                <a:gd name="T43" fmla="*/ 637 h 959"/>
                <a:gd name="T44" fmla="*/ 576 w 1461"/>
                <a:gd name="T45" fmla="*/ 745 h 959"/>
                <a:gd name="T46" fmla="*/ 463 w 1461"/>
                <a:gd name="T47" fmla="*/ 759 h 959"/>
                <a:gd name="T48" fmla="*/ 465 w 1461"/>
                <a:gd name="T49" fmla="*/ 885 h 959"/>
                <a:gd name="T50" fmla="*/ 1335 w 1461"/>
                <a:gd name="T51" fmla="*/ 306 h 959"/>
                <a:gd name="T52" fmla="*/ 1226 w 1461"/>
                <a:gd name="T53" fmla="*/ 106 h 959"/>
                <a:gd name="T54" fmla="*/ 860 w 1461"/>
                <a:gd name="T55" fmla="*/ 217 h 959"/>
                <a:gd name="T56" fmla="*/ 883 w 1461"/>
                <a:gd name="T57" fmla="*/ 428 h 959"/>
                <a:gd name="T58" fmla="*/ 909 w 1461"/>
                <a:gd name="T59" fmla="*/ 272 h 959"/>
                <a:gd name="T60" fmla="*/ 983 w 1461"/>
                <a:gd name="T61" fmla="*/ 247 h 959"/>
                <a:gd name="T62" fmla="*/ 1003 w 1461"/>
                <a:gd name="T63" fmla="*/ 428 h 959"/>
                <a:gd name="T64" fmla="*/ 1214 w 1461"/>
                <a:gd name="T65" fmla="*/ 406 h 959"/>
                <a:gd name="T66" fmla="*/ 1267 w 1461"/>
                <a:gd name="T67" fmla="*/ 223 h 959"/>
                <a:gd name="T68" fmla="*/ 1287 w 1461"/>
                <a:gd name="T69" fmla="*/ 412 h 959"/>
                <a:gd name="T70" fmla="*/ 1335 w 1461"/>
                <a:gd name="T71" fmla="*/ 412 h 959"/>
                <a:gd name="T72" fmla="*/ 311 w 1461"/>
                <a:gd name="T73" fmla="*/ 449 h 959"/>
                <a:gd name="T74" fmla="*/ 329 w 1461"/>
                <a:gd name="T75" fmla="*/ 672 h 959"/>
                <a:gd name="T76" fmla="*/ 543 w 1461"/>
                <a:gd name="T77" fmla="*/ 653 h 959"/>
                <a:gd name="T78" fmla="*/ 523 w 1461"/>
                <a:gd name="T79" fmla="*/ 226 h 959"/>
                <a:gd name="T80" fmla="*/ 311 w 1461"/>
                <a:gd name="T81" fmla="*/ 247 h 959"/>
                <a:gd name="T82" fmla="*/ 615 w 1461"/>
                <a:gd name="T83" fmla="*/ 539 h 959"/>
                <a:gd name="T84" fmla="*/ 665 w 1461"/>
                <a:gd name="T85" fmla="*/ 186 h 959"/>
                <a:gd name="T86" fmla="*/ 289 w 1461"/>
                <a:gd name="T87" fmla="*/ 76 h 959"/>
                <a:gd name="T88" fmla="*/ 188 w 1461"/>
                <a:gd name="T89" fmla="*/ 202 h 959"/>
                <a:gd name="T90" fmla="*/ 192 w 1461"/>
                <a:gd name="T91" fmla="*/ 494 h 959"/>
                <a:gd name="T92" fmla="*/ 238 w 1461"/>
                <a:gd name="T93" fmla="*/ 512 h 959"/>
                <a:gd name="T94" fmla="*/ 285 w 1461"/>
                <a:gd name="T95" fmla="*/ 153 h 959"/>
                <a:gd name="T96" fmla="*/ 565 w 1461"/>
                <a:gd name="T97" fmla="*/ 153 h 959"/>
                <a:gd name="T98" fmla="*/ 615 w 1461"/>
                <a:gd name="T99" fmla="*/ 514 h 9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461" h="959">
                  <a:moveTo>
                    <a:pt x="465" y="885"/>
                  </a:moveTo>
                  <a:cubicBezTo>
                    <a:pt x="505" y="885"/>
                    <a:pt x="543" y="885"/>
                    <a:pt x="582" y="885"/>
                  </a:cubicBezTo>
                  <a:cubicBezTo>
                    <a:pt x="607" y="885"/>
                    <a:pt x="607" y="885"/>
                    <a:pt x="607" y="911"/>
                  </a:cubicBezTo>
                  <a:cubicBezTo>
                    <a:pt x="607" y="958"/>
                    <a:pt x="607" y="958"/>
                    <a:pt x="560" y="958"/>
                  </a:cubicBezTo>
                  <a:cubicBezTo>
                    <a:pt x="463" y="958"/>
                    <a:pt x="365" y="958"/>
                    <a:pt x="268" y="958"/>
                  </a:cubicBezTo>
                  <a:cubicBezTo>
                    <a:pt x="251" y="959"/>
                    <a:pt x="245" y="954"/>
                    <a:pt x="246" y="936"/>
                  </a:cubicBezTo>
                  <a:cubicBezTo>
                    <a:pt x="247" y="885"/>
                    <a:pt x="246" y="885"/>
                    <a:pt x="297" y="885"/>
                  </a:cubicBezTo>
                  <a:cubicBezTo>
                    <a:pt x="323" y="885"/>
                    <a:pt x="348" y="884"/>
                    <a:pt x="373" y="885"/>
                  </a:cubicBezTo>
                  <a:cubicBezTo>
                    <a:pt x="385" y="885"/>
                    <a:pt x="391" y="882"/>
                    <a:pt x="390" y="869"/>
                  </a:cubicBezTo>
                  <a:cubicBezTo>
                    <a:pt x="390" y="833"/>
                    <a:pt x="390" y="797"/>
                    <a:pt x="390" y="761"/>
                  </a:cubicBezTo>
                  <a:cubicBezTo>
                    <a:pt x="390" y="749"/>
                    <a:pt x="386" y="745"/>
                    <a:pt x="374" y="745"/>
                  </a:cubicBezTo>
                  <a:cubicBezTo>
                    <a:pt x="343" y="746"/>
                    <a:pt x="311" y="746"/>
                    <a:pt x="280" y="745"/>
                  </a:cubicBezTo>
                  <a:cubicBezTo>
                    <a:pt x="253" y="745"/>
                    <a:pt x="238" y="731"/>
                    <a:pt x="238" y="703"/>
                  </a:cubicBezTo>
                  <a:cubicBezTo>
                    <a:pt x="238" y="680"/>
                    <a:pt x="238" y="657"/>
                    <a:pt x="238" y="634"/>
                  </a:cubicBezTo>
                  <a:cubicBezTo>
                    <a:pt x="238" y="623"/>
                    <a:pt x="236" y="616"/>
                    <a:pt x="224" y="613"/>
                  </a:cubicBezTo>
                  <a:cubicBezTo>
                    <a:pt x="172" y="599"/>
                    <a:pt x="135" y="568"/>
                    <a:pt x="121" y="513"/>
                  </a:cubicBezTo>
                  <a:cubicBezTo>
                    <a:pt x="120" y="508"/>
                    <a:pt x="110" y="502"/>
                    <a:pt x="103" y="502"/>
                  </a:cubicBezTo>
                  <a:cubicBezTo>
                    <a:pt x="75" y="501"/>
                    <a:pt x="47" y="501"/>
                    <a:pt x="19" y="502"/>
                  </a:cubicBezTo>
                  <a:cubicBezTo>
                    <a:pt x="7" y="502"/>
                    <a:pt x="2" y="498"/>
                    <a:pt x="2" y="485"/>
                  </a:cubicBezTo>
                  <a:cubicBezTo>
                    <a:pt x="0" y="428"/>
                    <a:pt x="0" y="428"/>
                    <a:pt x="57" y="428"/>
                  </a:cubicBezTo>
                  <a:cubicBezTo>
                    <a:pt x="71" y="428"/>
                    <a:pt x="84" y="427"/>
                    <a:pt x="97" y="428"/>
                  </a:cubicBezTo>
                  <a:cubicBezTo>
                    <a:pt x="112" y="429"/>
                    <a:pt x="115" y="423"/>
                    <a:pt x="115" y="410"/>
                  </a:cubicBezTo>
                  <a:cubicBezTo>
                    <a:pt x="115" y="344"/>
                    <a:pt x="114" y="278"/>
                    <a:pt x="115" y="212"/>
                  </a:cubicBezTo>
                  <a:cubicBezTo>
                    <a:pt x="116" y="168"/>
                    <a:pt x="118" y="125"/>
                    <a:pt x="142" y="87"/>
                  </a:cubicBezTo>
                  <a:cubicBezTo>
                    <a:pt x="173" y="37"/>
                    <a:pt x="218" y="8"/>
                    <a:pt x="275" y="5"/>
                  </a:cubicBezTo>
                  <a:cubicBezTo>
                    <a:pt x="364" y="0"/>
                    <a:pt x="453" y="0"/>
                    <a:pt x="542" y="1"/>
                  </a:cubicBezTo>
                  <a:cubicBezTo>
                    <a:pt x="586" y="1"/>
                    <a:pt x="630" y="9"/>
                    <a:pt x="666" y="37"/>
                  </a:cubicBezTo>
                  <a:cubicBezTo>
                    <a:pt x="708" y="69"/>
                    <a:pt x="733" y="111"/>
                    <a:pt x="735" y="163"/>
                  </a:cubicBezTo>
                  <a:cubicBezTo>
                    <a:pt x="738" y="242"/>
                    <a:pt x="736" y="321"/>
                    <a:pt x="737" y="401"/>
                  </a:cubicBezTo>
                  <a:cubicBezTo>
                    <a:pt x="737" y="426"/>
                    <a:pt x="757" y="438"/>
                    <a:pt x="780" y="427"/>
                  </a:cubicBezTo>
                  <a:cubicBezTo>
                    <a:pt x="784" y="424"/>
                    <a:pt x="786" y="415"/>
                    <a:pt x="786" y="408"/>
                  </a:cubicBezTo>
                  <a:cubicBezTo>
                    <a:pt x="786" y="346"/>
                    <a:pt x="784" y="284"/>
                    <a:pt x="787" y="222"/>
                  </a:cubicBezTo>
                  <a:cubicBezTo>
                    <a:pt x="789" y="191"/>
                    <a:pt x="795" y="158"/>
                    <a:pt x="808" y="130"/>
                  </a:cubicBezTo>
                  <a:cubicBezTo>
                    <a:pt x="837" y="65"/>
                    <a:pt x="894" y="35"/>
                    <a:pt x="963" y="33"/>
                  </a:cubicBezTo>
                  <a:cubicBezTo>
                    <a:pt x="1053" y="30"/>
                    <a:pt x="1142" y="31"/>
                    <a:pt x="1231" y="33"/>
                  </a:cubicBezTo>
                  <a:cubicBezTo>
                    <a:pt x="1334" y="35"/>
                    <a:pt x="1406" y="109"/>
                    <a:pt x="1408" y="211"/>
                  </a:cubicBezTo>
                  <a:cubicBezTo>
                    <a:pt x="1409" y="276"/>
                    <a:pt x="1409" y="340"/>
                    <a:pt x="1408" y="405"/>
                  </a:cubicBezTo>
                  <a:cubicBezTo>
                    <a:pt x="1408" y="424"/>
                    <a:pt x="1414" y="429"/>
                    <a:pt x="1432" y="428"/>
                  </a:cubicBezTo>
                  <a:cubicBezTo>
                    <a:pt x="1461" y="427"/>
                    <a:pt x="1461" y="428"/>
                    <a:pt x="1461" y="458"/>
                  </a:cubicBezTo>
                  <a:cubicBezTo>
                    <a:pt x="1461" y="501"/>
                    <a:pt x="1461" y="501"/>
                    <a:pt x="1418" y="501"/>
                  </a:cubicBezTo>
                  <a:cubicBezTo>
                    <a:pt x="1199" y="501"/>
                    <a:pt x="981" y="502"/>
                    <a:pt x="762" y="501"/>
                  </a:cubicBezTo>
                  <a:cubicBezTo>
                    <a:pt x="744" y="501"/>
                    <a:pt x="734" y="504"/>
                    <a:pt x="729" y="524"/>
                  </a:cubicBezTo>
                  <a:cubicBezTo>
                    <a:pt x="715" y="572"/>
                    <a:pt x="679" y="599"/>
                    <a:pt x="633" y="612"/>
                  </a:cubicBezTo>
                  <a:cubicBezTo>
                    <a:pt x="618" y="616"/>
                    <a:pt x="615" y="624"/>
                    <a:pt x="615" y="637"/>
                  </a:cubicBezTo>
                  <a:cubicBezTo>
                    <a:pt x="616" y="660"/>
                    <a:pt x="616" y="683"/>
                    <a:pt x="615" y="705"/>
                  </a:cubicBezTo>
                  <a:cubicBezTo>
                    <a:pt x="615" y="730"/>
                    <a:pt x="601" y="745"/>
                    <a:pt x="576" y="745"/>
                  </a:cubicBezTo>
                  <a:cubicBezTo>
                    <a:pt x="544" y="746"/>
                    <a:pt x="512" y="746"/>
                    <a:pt x="480" y="745"/>
                  </a:cubicBezTo>
                  <a:cubicBezTo>
                    <a:pt x="470" y="745"/>
                    <a:pt x="463" y="747"/>
                    <a:pt x="463" y="759"/>
                  </a:cubicBezTo>
                  <a:cubicBezTo>
                    <a:pt x="464" y="795"/>
                    <a:pt x="463" y="831"/>
                    <a:pt x="463" y="867"/>
                  </a:cubicBezTo>
                  <a:cubicBezTo>
                    <a:pt x="463" y="872"/>
                    <a:pt x="464" y="876"/>
                    <a:pt x="465" y="885"/>
                  </a:cubicBezTo>
                  <a:close/>
                  <a:moveTo>
                    <a:pt x="1335" y="306"/>
                  </a:moveTo>
                  <a:cubicBezTo>
                    <a:pt x="1335" y="306"/>
                    <a:pt x="1335" y="306"/>
                    <a:pt x="1335" y="306"/>
                  </a:cubicBezTo>
                  <a:cubicBezTo>
                    <a:pt x="1335" y="275"/>
                    <a:pt x="1335" y="243"/>
                    <a:pt x="1335" y="212"/>
                  </a:cubicBezTo>
                  <a:cubicBezTo>
                    <a:pt x="1333" y="146"/>
                    <a:pt x="1292" y="106"/>
                    <a:pt x="1226" y="106"/>
                  </a:cubicBezTo>
                  <a:cubicBezTo>
                    <a:pt x="1141" y="105"/>
                    <a:pt x="1056" y="105"/>
                    <a:pt x="972" y="106"/>
                  </a:cubicBezTo>
                  <a:cubicBezTo>
                    <a:pt x="903" y="106"/>
                    <a:pt x="861" y="148"/>
                    <a:pt x="860" y="217"/>
                  </a:cubicBezTo>
                  <a:cubicBezTo>
                    <a:pt x="859" y="281"/>
                    <a:pt x="860" y="345"/>
                    <a:pt x="859" y="408"/>
                  </a:cubicBezTo>
                  <a:cubicBezTo>
                    <a:pt x="859" y="427"/>
                    <a:pt x="868" y="429"/>
                    <a:pt x="883" y="428"/>
                  </a:cubicBezTo>
                  <a:cubicBezTo>
                    <a:pt x="897" y="428"/>
                    <a:pt x="910" y="431"/>
                    <a:pt x="910" y="408"/>
                  </a:cubicBezTo>
                  <a:cubicBezTo>
                    <a:pt x="909" y="363"/>
                    <a:pt x="909" y="318"/>
                    <a:pt x="909" y="272"/>
                  </a:cubicBezTo>
                  <a:cubicBezTo>
                    <a:pt x="909" y="224"/>
                    <a:pt x="909" y="224"/>
                    <a:pt x="959" y="223"/>
                  </a:cubicBezTo>
                  <a:cubicBezTo>
                    <a:pt x="977" y="223"/>
                    <a:pt x="984" y="228"/>
                    <a:pt x="983" y="247"/>
                  </a:cubicBezTo>
                  <a:cubicBezTo>
                    <a:pt x="982" y="300"/>
                    <a:pt x="983" y="353"/>
                    <a:pt x="982" y="407"/>
                  </a:cubicBezTo>
                  <a:cubicBezTo>
                    <a:pt x="982" y="423"/>
                    <a:pt x="986" y="429"/>
                    <a:pt x="1003" y="428"/>
                  </a:cubicBezTo>
                  <a:cubicBezTo>
                    <a:pt x="1067" y="428"/>
                    <a:pt x="1130" y="428"/>
                    <a:pt x="1193" y="428"/>
                  </a:cubicBezTo>
                  <a:cubicBezTo>
                    <a:pt x="1210" y="429"/>
                    <a:pt x="1215" y="422"/>
                    <a:pt x="1214" y="406"/>
                  </a:cubicBezTo>
                  <a:cubicBezTo>
                    <a:pt x="1213" y="363"/>
                    <a:pt x="1214" y="320"/>
                    <a:pt x="1214" y="276"/>
                  </a:cubicBezTo>
                  <a:cubicBezTo>
                    <a:pt x="1214" y="223"/>
                    <a:pt x="1214" y="224"/>
                    <a:pt x="1267" y="223"/>
                  </a:cubicBezTo>
                  <a:cubicBezTo>
                    <a:pt x="1283" y="223"/>
                    <a:pt x="1288" y="228"/>
                    <a:pt x="1288" y="244"/>
                  </a:cubicBezTo>
                  <a:cubicBezTo>
                    <a:pt x="1287" y="300"/>
                    <a:pt x="1288" y="356"/>
                    <a:pt x="1287" y="412"/>
                  </a:cubicBezTo>
                  <a:cubicBezTo>
                    <a:pt x="1287" y="432"/>
                    <a:pt x="1299" y="428"/>
                    <a:pt x="1311" y="428"/>
                  </a:cubicBezTo>
                  <a:cubicBezTo>
                    <a:pt x="1322" y="428"/>
                    <a:pt x="1336" y="432"/>
                    <a:pt x="1335" y="412"/>
                  </a:cubicBezTo>
                  <a:cubicBezTo>
                    <a:pt x="1334" y="377"/>
                    <a:pt x="1335" y="341"/>
                    <a:pt x="1335" y="306"/>
                  </a:cubicBezTo>
                  <a:close/>
                  <a:moveTo>
                    <a:pt x="311" y="449"/>
                  </a:moveTo>
                  <a:cubicBezTo>
                    <a:pt x="311" y="517"/>
                    <a:pt x="312" y="584"/>
                    <a:pt x="311" y="652"/>
                  </a:cubicBezTo>
                  <a:cubicBezTo>
                    <a:pt x="311" y="666"/>
                    <a:pt x="314" y="673"/>
                    <a:pt x="329" y="672"/>
                  </a:cubicBezTo>
                  <a:cubicBezTo>
                    <a:pt x="394" y="672"/>
                    <a:pt x="459" y="672"/>
                    <a:pt x="523" y="672"/>
                  </a:cubicBezTo>
                  <a:cubicBezTo>
                    <a:pt x="538" y="673"/>
                    <a:pt x="543" y="668"/>
                    <a:pt x="543" y="653"/>
                  </a:cubicBezTo>
                  <a:cubicBezTo>
                    <a:pt x="542" y="517"/>
                    <a:pt x="542" y="381"/>
                    <a:pt x="543" y="245"/>
                  </a:cubicBezTo>
                  <a:cubicBezTo>
                    <a:pt x="543" y="230"/>
                    <a:pt x="537" y="226"/>
                    <a:pt x="523" y="226"/>
                  </a:cubicBezTo>
                  <a:cubicBezTo>
                    <a:pt x="459" y="226"/>
                    <a:pt x="395" y="227"/>
                    <a:pt x="331" y="226"/>
                  </a:cubicBezTo>
                  <a:cubicBezTo>
                    <a:pt x="315" y="226"/>
                    <a:pt x="311" y="231"/>
                    <a:pt x="311" y="247"/>
                  </a:cubicBezTo>
                  <a:cubicBezTo>
                    <a:pt x="312" y="314"/>
                    <a:pt x="311" y="381"/>
                    <a:pt x="311" y="449"/>
                  </a:cubicBezTo>
                  <a:close/>
                  <a:moveTo>
                    <a:pt x="615" y="539"/>
                  </a:moveTo>
                  <a:cubicBezTo>
                    <a:pt x="657" y="531"/>
                    <a:pt x="664" y="501"/>
                    <a:pt x="665" y="468"/>
                  </a:cubicBezTo>
                  <a:cubicBezTo>
                    <a:pt x="666" y="374"/>
                    <a:pt x="667" y="280"/>
                    <a:pt x="665" y="186"/>
                  </a:cubicBezTo>
                  <a:cubicBezTo>
                    <a:pt x="663" y="118"/>
                    <a:pt x="630" y="80"/>
                    <a:pt x="565" y="76"/>
                  </a:cubicBezTo>
                  <a:cubicBezTo>
                    <a:pt x="473" y="71"/>
                    <a:pt x="381" y="73"/>
                    <a:pt x="289" y="76"/>
                  </a:cubicBezTo>
                  <a:cubicBezTo>
                    <a:pt x="241" y="77"/>
                    <a:pt x="206" y="104"/>
                    <a:pt x="194" y="153"/>
                  </a:cubicBezTo>
                  <a:cubicBezTo>
                    <a:pt x="190" y="169"/>
                    <a:pt x="188" y="186"/>
                    <a:pt x="188" y="202"/>
                  </a:cubicBezTo>
                  <a:cubicBezTo>
                    <a:pt x="188" y="285"/>
                    <a:pt x="188" y="368"/>
                    <a:pt x="188" y="450"/>
                  </a:cubicBezTo>
                  <a:cubicBezTo>
                    <a:pt x="188" y="465"/>
                    <a:pt x="190" y="480"/>
                    <a:pt x="192" y="494"/>
                  </a:cubicBezTo>
                  <a:cubicBezTo>
                    <a:pt x="196" y="519"/>
                    <a:pt x="214" y="536"/>
                    <a:pt x="238" y="536"/>
                  </a:cubicBezTo>
                  <a:cubicBezTo>
                    <a:pt x="238" y="528"/>
                    <a:pt x="238" y="520"/>
                    <a:pt x="238" y="512"/>
                  </a:cubicBezTo>
                  <a:cubicBezTo>
                    <a:pt x="238" y="409"/>
                    <a:pt x="239" y="306"/>
                    <a:pt x="238" y="202"/>
                  </a:cubicBezTo>
                  <a:cubicBezTo>
                    <a:pt x="237" y="168"/>
                    <a:pt x="255" y="154"/>
                    <a:pt x="285" y="153"/>
                  </a:cubicBezTo>
                  <a:cubicBezTo>
                    <a:pt x="309" y="153"/>
                    <a:pt x="332" y="153"/>
                    <a:pt x="355" y="153"/>
                  </a:cubicBezTo>
                  <a:cubicBezTo>
                    <a:pt x="425" y="153"/>
                    <a:pt x="495" y="152"/>
                    <a:pt x="565" y="153"/>
                  </a:cubicBezTo>
                  <a:cubicBezTo>
                    <a:pt x="603" y="153"/>
                    <a:pt x="615" y="166"/>
                    <a:pt x="615" y="204"/>
                  </a:cubicBezTo>
                  <a:cubicBezTo>
                    <a:pt x="615" y="307"/>
                    <a:pt x="615" y="410"/>
                    <a:pt x="615" y="514"/>
                  </a:cubicBezTo>
                  <a:cubicBezTo>
                    <a:pt x="615" y="522"/>
                    <a:pt x="615" y="529"/>
                    <a:pt x="615" y="5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/>
            <a:p>
              <a:endParaRPr lang="en-US" sz="3456"/>
            </a:p>
          </p:txBody>
        </p:sp>
        <p:sp>
          <p:nvSpPr>
            <p:cNvPr id="98" name="Freeform 1288">
              <a:extLst>
                <a:ext uri="{FF2B5EF4-FFF2-40B4-BE49-F238E27FC236}">
                  <a16:creationId xmlns:a16="http://schemas.microsoft.com/office/drawing/2014/main" id="{9EFB36DA-3E10-52E6-966E-3DE6978A2B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65" y="3601"/>
              <a:ext cx="63" cy="76"/>
            </a:xfrm>
            <a:custGeom>
              <a:avLst/>
              <a:gdLst>
                <a:gd name="T0" fmla="*/ 316 w 320"/>
                <a:gd name="T1" fmla="*/ 202 h 390"/>
                <a:gd name="T2" fmla="*/ 276 w 320"/>
                <a:gd name="T3" fmla="*/ 329 h 390"/>
                <a:gd name="T4" fmla="*/ 103 w 320"/>
                <a:gd name="T5" fmla="*/ 370 h 390"/>
                <a:gd name="T6" fmla="*/ 2 w 320"/>
                <a:gd name="T7" fmla="*/ 240 h 390"/>
                <a:gd name="T8" fmla="*/ 2 w 320"/>
                <a:gd name="T9" fmla="*/ 142 h 390"/>
                <a:gd name="T10" fmla="*/ 162 w 320"/>
                <a:gd name="T11" fmla="*/ 2 h 390"/>
                <a:gd name="T12" fmla="*/ 316 w 320"/>
                <a:gd name="T13" fmla="*/ 155 h 390"/>
                <a:gd name="T14" fmla="*/ 316 w 320"/>
                <a:gd name="T15" fmla="*/ 202 h 390"/>
                <a:gd name="T16" fmla="*/ 242 w 320"/>
                <a:gd name="T17" fmla="*/ 192 h 390"/>
                <a:gd name="T18" fmla="*/ 242 w 320"/>
                <a:gd name="T19" fmla="*/ 160 h 390"/>
                <a:gd name="T20" fmla="*/ 166 w 320"/>
                <a:gd name="T21" fmla="*/ 75 h 390"/>
                <a:gd name="T22" fmla="*/ 76 w 320"/>
                <a:gd name="T23" fmla="*/ 140 h 390"/>
                <a:gd name="T24" fmla="*/ 72 w 320"/>
                <a:gd name="T25" fmla="*/ 213 h 390"/>
                <a:gd name="T26" fmla="*/ 169 w 320"/>
                <a:gd name="T27" fmla="*/ 305 h 390"/>
                <a:gd name="T28" fmla="*/ 242 w 320"/>
                <a:gd name="T29" fmla="*/ 230 h 390"/>
                <a:gd name="T30" fmla="*/ 242 w 320"/>
                <a:gd name="T31" fmla="*/ 192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20" h="390">
                  <a:moveTo>
                    <a:pt x="316" y="202"/>
                  </a:moveTo>
                  <a:cubicBezTo>
                    <a:pt x="320" y="245"/>
                    <a:pt x="312" y="291"/>
                    <a:pt x="276" y="329"/>
                  </a:cubicBezTo>
                  <a:cubicBezTo>
                    <a:pt x="228" y="381"/>
                    <a:pt x="168" y="390"/>
                    <a:pt x="103" y="370"/>
                  </a:cubicBezTo>
                  <a:cubicBezTo>
                    <a:pt x="46" y="354"/>
                    <a:pt x="6" y="301"/>
                    <a:pt x="2" y="240"/>
                  </a:cubicBezTo>
                  <a:cubicBezTo>
                    <a:pt x="0" y="208"/>
                    <a:pt x="0" y="175"/>
                    <a:pt x="2" y="142"/>
                  </a:cubicBezTo>
                  <a:cubicBezTo>
                    <a:pt x="6" y="70"/>
                    <a:pt x="71" y="0"/>
                    <a:pt x="162" y="2"/>
                  </a:cubicBezTo>
                  <a:cubicBezTo>
                    <a:pt x="247" y="4"/>
                    <a:pt x="314" y="73"/>
                    <a:pt x="316" y="155"/>
                  </a:cubicBezTo>
                  <a:cubicBezTo>
                    <a:pt x="316" y="169"/>
                    <a:pt x="316" y="182"/>
                    <a:pt x="316" y="202"/>
                  </a:cubicBezTo>
                  <a:close/>
                  <a:moveTo>
                    <a:pt x="242" y="192"/>
                  </a:moveTo>
                  <a:cubicBezTo>
                    <a:pt x="242" y="181"/>
                    <a:pt x="242" y="171"/>
                    <a:pt x="242" y="160"/>
                  </a:cubicBezTo>
                  <a:cubicBezTo>
                    <a:pt x="242" y="115"/>
                    <a:pt x="210" y="80"/>
                    <a:pt x="166" y="75"/>
                  </a:cubicBezTo>
                  <a:cubicBezTo>
                    <a:pt x="126" y="70"/>
                    <a:pt x="84" y="98"/>
                    <a:pt x="76" y="140"/>
                  </a:cubicBezTo>
                  <a:cubicBezTo>
                    <a:pt x="71" y="164"/>
                    <a:pt x="72" y="189"/>
                    <a:pt x="72" y="213"/>
                  </a:cubicBezTo>
                  <a:cubicBezTo>
                    <a:pt x="72" y="277"/>
                    <a:pt x="106" y="309"/>
                    <a:pt x="169" y="305"/>
                  </a:cubicBezTo>
                  <a:cubicBezTo>
                    <a:pt x="210" y="303"/>
                    <a:pt x="242" y="270"/>
                    <a:pt x="242" y="230"/>
                  </a:cubicBezTo>
                  <a:cubicBezTo>
                    <a:pt x="242" y="217"/>
                    <a:pt x="242" y="205"/>
                    <a:pt x="242" y="1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/>
            <a:p>
              <a:endParaRPr lang="en-US" sz="3456"/>
            </a:p>
          </p:txBody>
        </p:sp>
        <p:sp>
          <p:nvSpPr>
            <p:cNvPr id="99" name="Freeform 1289">
              <a:extLst>
                <a:ext uri="{FF2B5EF4-FFF2-40B4-BE49-F238E27FC236}">
                  <a16:creationId xmlns:a16="http://schemas.microsoft.com/office/drawing/2014/main" id="{95767095-9D1D-B14A-48BF-0D2F679C0C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33" y="3593"/>
              <a:ext cx="63" cy="79"/>
            </a:xfrm>
            <a:custGeom>
              <a:avLst/>
              <a:gdLst>
                <a:gd name="T0" fmla="*/ 317 w 321"/>
                <a:gd name="T1" fmla="*/ 200 h 398"/>
                <a:gd name="T2" fmla="*/ 279 w 321"/>
                <a:gd name="T3" fmla="*/ 334 h 398"/>
                <a:gd name="T4" fmla="*/ 103 w 321"/>
                <a:gd name="T5" fmla="*/ 376 h 398"/>
                <a:gd name="T6" fmla="*/ 3 w 321"/>
                <a:gd name="T7" fmla="*/ 240 h 398"/>
                <a:gd name="T8" fmla="*/ 7 w 321"/>
                <a:gd name="T9" fmla="*/ 129 h 398"/>
                <a:gd name="T10" fmla="*/ 181 w 321"/>
                <a:gd name="T11" fmla="*/ 9 h 398"/>
                <a:gd name="T12" fmla="*/ 317 w 321"/>
                <a:gd name="T13" fmla="*/ 162 h 398"/>
                <a:gd name="T14" fmla="*/ 317 w 321"/>
                <a:gd name="T15" fmla="*/ 200 h 398"/>
                <a:gd name="T16" fmla="*/ 72 w 321"/>
                <a:gd name="T17" fmla="*/ 199 h 398"/>
                <a:gd name="T18" fmla="*/ 77 w 321"/>
                <a:gd name="T19" fmla="*/ 249 h 398"/>
                <a:gd name="T20" fmla="*/ 164 w 321"/>
                <a:gd name="T21" fmla="*/ 313 h 398"/>
                <a:gd name="T22" fmla="*/ 243 w 321"/>
                <a:gd name="T23" fmla="*/ 245 h 398"/>
                <a:gd name="T24" fmla="*/ 243 w 321"/>
                <a:gd name="T25" fmla="*/ 152 h 398"/>
                <a:gd name="T26" fmla="*/ 164 w 321"/>
                <a:gd name="T27" fmla="*/ 82 h 398"/>
                <a:gd name="T28" fmla="*/ 77 w 321"/>
                <a:gd name="T29" fmla="*/ 148 h 398"/>
                <a:gd name="T30" fmla="*/ 72 w 321"/>
                <a:gd name="T31" fmla="*/ 199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21" h="398">
                  <a:moveTo>
                    <a:pt x="317" y="200"/>
                  </a:moveTo>
                  <a:cubicBezTo>
                    <a:pt x="321" y="250"/>
                    <a:pt x="313" y="295"/>
                    <a:pt x="279" y="334"/>
                  </a:cubicBezTo>
                  <a:cubicBezTo>
                    <a:pt x="239" y="380"/>
                    <a:pt x="166" y="398"/>
                    <a:pt x="103" y="376"/>
                  </a:cubicBezTo>
                  <a:cubicBezTo>
                    <a:pt x="45" y="356"/>
                    <a:pt x="4" y="301"/>
                    <a:pt x="3" y="240"/>
                  </a:cubicBezTo>
                  <a:cubicBezTo>
                    <a:pt x="2" y="203"/>
                    <a:pt x="0" y="164"/>
                    <a:pt x="7" y="129"/>
                  </a:cubicBezTo>
                  <a:cubicBezTo>
                    <a:pt x="24" y="49"/>
                    <a:pt x="98" y="0"/>
                    <a:pt x="181" y="9"/>
                  </a:cubicBezTo>
                  <a:cubicBezTo>
                    <a:pt x="256" y="17"/>
                    <a:pt x="316" y="84"/>
                    <a:pt x="317" y="162"/>
                  </a:cubicBezTo>
                  <a:cubicBezTo>
                    <a:pt x="317" y="175"/>
                    <a:pt x="317" y="188"/>
                    <a:pt x="317" y="200"/>
                  </a:cubicBezTo>
                  <a:close/>
                  <a:moveTo>
                    <a:pt x="72" y="199"/>
                  </a:moveTo>
                  <a:cubicBezTo>
                    <a:pt x="73" y="216"/>
                    <a:pt x="74" y="233"/>
                    <a:pt x="77" y="249"/>
                  </a:cubicBezTo>
                  <a:cubicBezTo>
                    <a:pt x="84" y="288"/>
                    <a:pt x="120" y="314"/>
                    <a:pt x="164" y="313"/>
                  </a:cubicBezTo>
                  <a:cubicBezTo>
                    <a:pt x="205" y="312"/>
                    <a:pt x="239" y="284"/>
                    <a:pt x="243" y="245"/>
                  </a:cubicBezTo>
                  <a:cubicBezTo>
                    <a:pt x="245" y="215"/>
                    <a:pt x="246" y="183"/>
                    <a:pt x="243" y="152"/>
                  </a:cubicBezTo>
                  <a:cubicBezTo>
                    <a:pt x="239" y="112"/>
                    <a:pt x="204" y="83"/>
                    <a:pt x="164" y="82"/>
                  </a:cubicBezTo>
                  <a:cubicBezTo>
                    <a:pt x="120" y="81"/>
                    <a:pt x="85" y="107"/>
                    <a:pt x="77" y="148"/>
                  </a:cubicBezTo>
                  <a:cubicBezTo>
                    <a:pt x="74" y="165"/>
                    <a:pt x="73" y="182"/>
                    <a:pt x="72" y="1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/>
            <a:p>
              <a:endParaRPr lang="en-US" sz="3456"/>
            </a:p>
          </p:txBody>
        </p:sp>
        <p:sp>
          <p:nvSpPr>
            <p:cNvPr id="100" name="Freeform 1290">
              <a:extLst>
                <a:ext uri="{FF2B5EF4-FFF2-40B4-BE49-F238E27FC236}">
                  <a16:creationId xmlns:a16="http://schemas.microsoft.com/office/drawing/2014/main" id="{ED2E5ECF-E9D8-2FC3-3D66-6C3A181FBE60}"/>
                </a:ext>
              </a:extLst>
            </p:cNvPr>
            <p:cNvSpPr>
              <a:spLocks/>
            </p:cNvSpPr>
            <p:nvPr/>
          </p:nvSpPr>
          <p:spPr bwMode="auto">
            <a:xfrm>
              <a:off x="6749" y="3782"/>
              <a:ext cx="15" cy="84"/>
            </a:xfrm>
            <a:custGeom>
              <a:avLst/>
              <a:gdLst>
                <a:gd name="T0" fmla="*/ 0 w 74"/>
                <a:gd name="T1" fmla="*/ 211 h 423"/>
                <a:gd name="T2" fmla="*/ 0 w 74"/>
                <a:gd name="T3" fmla="*/ 21 h 423"/>
                <a:gd name="T4" fmla="*/ 20 w 74"/>
                <a:gd name="T5" fmla="*/ 1 h 423"/>
                <a:gd name="T6" fmla="*/ 73 w 74"/>
                <a:gd name="T7" fmla="*/ 54 h 423"/>
                <a:gd name="T8" fmla="*/ 74 w 74"/>
                <a:gd name="T9" fmla="*/ 402 h 423"/>
                <a:gd name="T10" fmla="*/ 52 w 74"/>
                <a:gd name="T11" fmla="*/ 423 h 423"/>
                <a:gd name="T12" fmla="*/ 0 w 74"/>
                <a:gd name="T13" fmla="*/ 371 h 423"/>
                <a:gd name="T14" fmla="*/ 0 w 74"/>
                <a:gd name="T15" fmla="*/ 211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4" h="423">
                  <a:moveTo>
                    <a:pt x="0" y="211"/>
                  </a:moveTo>
                  <a:cubicBezTo>
                    <a:pt x="0" y="148"/>
                    <a:pt x="1" y="84"/>
                    <a:pt x="0" y="21"/>
                  </a:cubicBezTo>
                  <a:cubicBezTo>
                    <a:pt x="0" y="5"/>
                    <a:pt x="4" y="1"/>
                    <a:pt x="20" y="1"/>
                  </a:cubicBezTo>
                  <a:cubicBezTo>
                    <a:pt x="73" y="1"/>
                    <a:pt x="73" y="0"/>
                    <a:pt x="73" y="54"/>
                  </a:cubicBezTo>
                  <a:cubicBezTo>
                    <a:pt x="73" y="170"/>
                    <a:pt x="73" y="286"/>
                    <a:pt x="74" y="402"/>
                  </a:cubicBezTo>
                  <a:cubicBezTo>
                    <a:pt x="74" y="418"/>
                    <a:pt x="69" y="423"/>
                    <a:pt x="52" y="423"/>
                  </a:cubicBezTo>
                  <a:cubicBezTo>
                    <a:pt x="0" y="423"/>
                    <a:pt x="0" y="423"/>
                    <a:pt x="0" y="371"/>
                  </a:cubicBezTo>
                  <a:cubicBezTo>
                    <a:pt x="0" y="318"/>
                    <a:pt x="0" y="264"/>
                    <a:pt x="0" y="2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/>
            <a:p>
              <a:endParaRPr lang="en-US" sz="3456"/>
            </a:p>
          </p:txBody>
        </p:sp>
        <p:sp>
          <p:nvSpPr>
            <p:cNvPr id="101" name="Freeform 1291">
              <a:extLst>
                <a:ext uri="{FF2B5EF4-FFF2-40B4-BE49-F238E27FC236}">
                  <a16:creationId xmlns:a16="http://schemas.microsoft.com/office/drawing/2014/main" id="{FD73783D-136B-098B-C739-6D1B833D838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5" y="3782"/>
              <a:ext cx="14" cy="84"/>
            </a:xfrm>
            <a:custGeom>
              <a:avLst/>
              <a:gdLst>
                <a:gd name="T0" fmla="*/ 72 w 73"/>
                <a:gd name="T1" fmla="*/ 214 h 424"/>
                <a:gd name="T2" fmla="*/ 72 w 73"/>
                <a:gd name="T3" fmla="*/ 403 h 424"/>
                <a:gd name="T4" fmla="*/ 53 w 73"/>
                <a:gd name="T5" fmla="*/ 423 h 424"/>
                <a:gd name="T6" fmla="*/ 1 w 73"/>
                <a:gd name="T7" fmla="*/ 373 h 424"/>
                <a:gd name="T8" fmla="*/ 0 w 73"/>
                <a:gd name="T9" fmla="*/ 25 h 424"/>
                <a:gd name="T10" fmla="*/ 25 w 73"/>
                <a:gd name="T11" fmla="*/ 1 h 424"/>
                <a:gd name="T12" fmla="*/ 72 w 73"/>
                <a:gd name="T13" fmla="*/ 48 h 424"/>
                <a:gd name="T14" fmla="*/ 72 w 73"/>
                <a:gd name="T15" fmla="*/ 214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3" h="424">
                  <a:moveTo>
                    <a:pt x="72" y="214"/>
                  </a:moveTo>
                  <a:cubicBezTo>
                    <a:pt x="72" y="277"/>
                    <a:pt x="72" y="340"/>
                    <a:pt x="72" y="403"/>
                  </a:cubicBezTo>
                  <a:cubicBezTo>
                    <a:pt x="73" y="418"/>
                    <a:pt x="68" y="423"/>
                    <a:pt x="53" y="423"/>
                  </a:cubicBezTo>
                  <a:cubicBezTo>
                    <a:pt x="1" y="423"/>
                    <a:pt x="1" y="424"/>
                    <a:pt x="1" y="373"/>
                  </a:cubicBezTo>
                  <a:cubicBezTo>
                    <a:pt x="1" y="257"/>
                    <a:pt x="1" y="141"/>
                    <a:pt x="0" y="25"/>
                  </a:cubicBezTo>
                  <a:cubicBezTo>
                    <a:pt x="0" y="6"/>
                    <a:pt x="6" y="0"/>
                    <a:pt x="25" y="1"/>
                  </a:cubicBezTo>
                  <a:cubicBezTo>
                    <a:pt x="72" y="2"/>
                    <a:pt x="72" y="1"/>
                    <a:pt x="72" y="48"/>
                  </a:cubicBezTo>
                  <a:cubicBezTo>
                    <a:pt x="72" y="103"/>
                    <a:pt x="72" y="159"/>
                    <a:pt x="72" y="2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/>
            <a:p>
              <a:endParaRPr lang="en-US" sz="3456"/>
            </a:p>
          </p:txBody>
        </p:sp>
      </p:grpSp>
      <p:grpSp>
        <p:nvGrpSpPr>
          <p:cNvPr id="91" name="Group 144">
            <a:extLst>
              <a:ext uri="{FF2B5EF4-FFF2-40B4-BE49-F238E27FC236}">
                <a16:creationId xmlns:a16="http://schemas.microsoft.com/office/drawing/2014/main" id="{5761188B-97FE-76AD-4E46-1CE16E789F9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302426" y="3770138"/>
            <a:ext cx="500774" cy="469905"/>
            <a:chOff x="5886" y="739"/>
            <a:chExt cx="292" cy="274"/>
          </a:xfrm>
          <a:solidFill>
            <a:schemeClr val="bg1">
              <a:alpha val="80000"/>
            </a:schemeClr>
          </a:solidFill>
        </p:grpSpPr>
        <p:sp>
          <p:nvSpPr>
            <p:cNvPr id="92" name="Freeform 145">
              <a:extLst>
                <a:ext uri="{FF2B5EF4-FFF2-40B4-BE49-F238E27FC236}">
                  <a16:creationId xmlns:a16="http://schemas.microsoft.com/office/drawing/2014/main" id="{CEB5FD61-BEB7-0930-F725-946145D8C14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6" y="831"/>
              <a:ext cx="292" cy="182"/>
            </a:xfrm>
            <a:custGeom>
              <a:avLst/>
              <a:gdLst>
                <a:gd name="T0" fmla="*/ 466 w 1184"/>
                <a:gd name="T1" fmla="*/ 228 h 733"/>
                <a:gd name="T2" fmla="*/ 489 w 1184"/>
                <a:gd name="T3" fmla="*/ 228 h 733"/>
                <a:gd name="T4" fmla="*/ 1155 w 1184"/>
                <a:gd name="T5" fmla="*/ 228 h 733"/>
                <a:gd name="T6" fmla="*/ 1182 w 1184"/>
                <a:gd name="T7" fmla="*/ 234 h 733"/>
                <a:gd name="T8" fmla="*/ 1182 w 1184"/>
                <a:gd name="T9" fmla="*/ 283 h 733"/>
                <a:gd name="T10" fmla="*/ 1172 w 1184"/>
                <a:gd name="T11" fmla="*/ 287 h 733"/>
                <a:gd name="T12" fmla="*/ 1154 w 1184"/>
                <a:gd name="T13" fmla="*/ 288 h 733"/>
                <a:gd name="T14" fmla="*/ 258 w 1184"/>
                <a:gd name="T15" fmla="*/ 288 h 733"/>
                <a:gd name="T16" fmla="*/ 233 w 1184"/>
                <a:gd name="T17" fmla="*/ 288 h 733"/>
                <a:gd name="T18" fmla="*/ 233 w 1184"/>
                <a:gd name="T19" fmla="*/ 327 h 733"/>
                <a:gd name="T20" fmla="*/ 281 w 1184"/>
                <a:gd name="T21" fmla="*/ 327 h 733"/>
                <a:gd name="T22" fmla="*/ 340 w 1184"/>
                <a:gd name="T23" fmla="*/ 332 h 733"/>
                <a:gd name="T24" fmla="*/ 420 w 1184"/>
                <a:gd name="T25" fmla="*/ 399 h 733"/>
                <a:gd name="T26" fmla="*/ 519 w 1184"/>
                <a:gd name="T27" fmla="*/ 708 h 733"/>
                <a:gd name="T28" fmla="*/ 519 w 1184"/>
                <a:gd name="T29" fmla="*/ 715 h 733"/>
                <a:gd name="T30" fmla="*/ 466 w 1184"/>
                <a:gd name="T31" fmla="*/ 733 h 733"/>
                <a:gd name="T32" fmla="*/ 430 w 1184"/>
                <a:gd name="T33" fmla="*/ 622 h 733"/>
                <a:gd name="T34" fmla="*/ 369 w 1184"/>
                <a:gd name="T35" fmla="*/ 428 h 733"/>
                <a:gd name="T36" fmla="*/ 321 w 1184"/>
                <a:gd name="T37" fmla="*/ 388 h 733"/>
                <a:gd name="T38" fmla="*/ 195 w 1184"/>
                <a:gd name="T39" fmla="*/ 385 h 733"/>
                <a:gd name="T40" fmla="*/ 173 w 1184"/>
                <a:gd name="T41" fmla="*/ 363 h 733"/>
                <a:gd name="T42" fmla="*/ 172 w 1184"/>
                <a:gd name="T43" fmla="*/ 271 h 733"/>
                <a:gd name="T44" fmla="*/ 159 w 1184"/>
                <a:gd name="T45" fmla="*/ 239 h 733"/>
                <a:gd name="T46" fmla="*/ 101 w 1184"/>
                <a:gd name="T47" fmla="*/ 183 h 733"/>
                <a:gd name="T48" fmla="*/ 146 w 1184"/>
                <a:gd name="T49" fmla="*/ 143 h 733"/>
                <a:gd name="T50" fmla="*/ 211 w 1184"/>
                <a:gd name="T51" fmla="*/ 208 h 733"/>
                <a:gd name="T52" fmla="*/ 260 w 1184"/>
                <a:gd name="T53" fmla="*/ 228 h 733"/>
                <a:gd name="T54" fmla="*/ 372 w 1184"/>
                <a:gd name="T55" fmla="*/ 227 h 733"/>
                <a:gd name="T56" fmla="*/ 408 w 1184"/>
                <a:gd name="T57" fmla="*/ 188 h 733"/>
                <a:gd name="T58" fmla="*/ 327 w 1184"/>
                <a:gd name="T59" fmla="*/ 189 h 733"/>
                <a:gd name="T60" fmla="*/ 248 w 1184"/>
                <a:gd name="T61" fmla="*/ 156 h 733"/>
                <a:gd name="T62" fmla="*/ 170 w 1184"/>
                <a:gd name="T63" fmla="*/ 78 h 733"/>
                <a:gd name="T64" fmla="*/ 141 w 1184"/>
                <a:gd name="T65" fmla="*/ 65 h 733"/>
                <a:gd name="T66" fmla="*/ 97 w 1184"/>
                <a:gd name="T67" fmla="*/ 65 h 733"/>
                <a:gd name="T68" fmla="*/ 59 w 1184"/>
                <a:gd name="T69" fmla="*/ 103 h 733"/>
                <a:gd name="T70" fmla="*/ 60 w 1184"/>
                <a:gd name="T71" fmla="*/ 395 h 733"/>
                <a:gd name="T72" fmla="*/ 146 w 1184"/>
                <a:gd name="T73" fmla="*/ 475 h 733"/>
                <a:gd name="T74" fmla="*/ 296 w 1184"/>
                <a:gd name="T75" fmla="*/ 475 h 733"/>
                <a:gd name="T76" fmla="*/ 319 w 1184"/>
                <a:gd name="T77" fmla="*/ 490 h 733"/>
                <a:gd name="T78" fmla="*/ 389 w 1184"/>
                <a:gd name="T79" fmla="*/ 698 h 733"/>
                <a:gd name="T80" fmla="*/ 378 w 1184"/>
                <a:gd name="T81" fmla="*/ 720 h 733"/>
                <a:gd name="T82" fmla="*/ 339 w 1184"/>
                <a:gd name="T83" fmla="*/ 733 h 733"/>
                <a:gd name="T84" fmla="*/ 294 w 1184"/>
                <a:gd name="T85" fmla="*/ 601 h 733"/>
                <a:gd name="T86" fmla="*/ 278 w 1184"/>
                <a:gd name="T87" fmla="*/ 550 h 733"/>
                <a:gd name="T88" fmla="*/ 255 w 1184"/>
                <a:gd name="T89" fmla="*/ 534 h 733"/>
                <a:gd name="T90" fmla="*/ 137 w 1184"/>
                <a:gd name="T91" fmla="*/ 533 h 733"/>
                <a:gd name="T92" fmla="*/ 2 w 1184"/>
                <a:gd name="T93" fmla="*/ 399 h 733"/>
                <a:gd name="T94" fmla="*/ 2 w 1184"/>
                <a:gd name="T95" fmla="*/ 94 h 733"/>
                <a:gd name="T96" fmla="*/ 93 w 1184"/>
                <a:gd name="T97" fmla="*/ 7 h 733"/>
                <a:gd name="T98" fmla="*/ 97 w 1184"/>
                <a:gd name="T99" fmla="*/ 7 h 733"/>
                <a:gd name="T100" fmla="*/ 180 w 1184"/>
                <a:gd name="T101" fmla="*/ 10 h 733"/>
                <a:gd name="T102" fmla="*/ 240 w 1184"/>
                <a:gd name="T103" fmla="*/ 65 h 733"/>
                <a:gd name="T104" fmla="*/ 308 w 1184"/>
                <a:gd name="T105" fmla="*/ 127 h 733"/>
                <a:gd name="T106" fmla="*/ 399 w 1184"/>
                <a:gd name="T107" fmla="*/ 131 h 733"/>
                <a:gd name="T108" fmla="*/ 445 w 1184"/>
                <a:gd name="T109" fmla="*/ 130 h 733"/>
                <a:gd name="T110" fmla="*/ 470 w 1184"/>
                <a:gd name="T111" fmla="*/ 152 h 733"/>
                <a:gd name="T112" fmla="*/ 466 w 1184"/>
                <a:gd name="T113" fmla="*/ 228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84" h="733">
                  <a:moveTo>
                    <a:pt x="466" y="228"/>
                  </a:moveTo>
                  <a:cubicBezTo>
                    <a:pt x="473" y="228"/>
                    <a:pt x="481" y="228"/>
                    <a:pt x="489" y="228"/>
                  </a:cubicBezTo>
                  <a:cubicBezTo>
                    <a:pt x="711" y="228"/>
                    <a:pt x="933" y="228"/>
                    <a:pt x="1155" y="228"/>
                  </a:cubicBezTo>
                  <a:cubicBezTo>
                    <a:pt x="1164" y="228"/>
                    <a:pt x="1181" y="230"/>
                    <a:pt x="1182" y="234"/>
                  </a:cubicBezTo>
                  <a:cubicBezTo>
                    <a:pt x="1184" y="250"/>
                    <a:pt x="1183" y="267"/>
                    <a:pt x="1182" y="283"/>
                  </a:cubicBezTo>
                  <a:cubicBezTo>
                    <a:pt x="1182" y="285"/>
                    <a:pt x="1175" y="287"/>
                    <a:pt x="1172" y="287"/>
                  </a:cubicBezTo>
                  <a:cubicBezTo>
                    <a:pt x="1166" y="288"/>
                    <a:pt x="1160" y="288"/>
                    <a:pt x="1154" y="288"/>
                  </a:cubicBezTo>
                  <a:cubicBezTo>
                    <a:pt x="855" y="288"/>
                    <a:pt x="557" y="288"/>
                    <a:pt x="258" y="288"/>
                  </a:cubicBezTo>
                  <a:cubicBezTo>
                    <a:pt x="250" y="288"/>
                    <a:pt x="242" y="288"/>
                    <a:pt x="233" y="288"/>
                  </a:cubicBezTo>
                  <a:cubicBezTo>
                    <a:pt x="233" y="301"/>
                    <a:pt x="233" y="313"/>
                    <a:pt x="233" y="327"/>
                  </a:cubicBezTo>
                  <a:cubicBezTo>
                    <a:pt x="249" y="327"/>
                    <a:pt x="265" y="327"/>
                    <a:pt x="281" y="327"/>
                  </a:cubicBezTo>
                  <a:cubicBezTo>
                    <a:pt x="301" y="328"/>
                    <a:pt x="321" y="328"/>
                    <a:pt x="340" y="332"/>
                  </a:cubicBezTo>
                  <a:cubicBezTo>
                    <a:pt x="379" y="339"/>
                    <a:pt x="408" y="360"/>
                    <a:pt x="420" y="399"/>
                  </a:cubicBezTo>
                  <a:cubicBezTo>
                    <a:pt x="453" y="502"/>
                    <a:pt x="486" y="605"/>
                    <a:pt x="519" y="708"/>
                  </a:cubicBezTo>
                  <a:cubicBezTo>
                    <a:pt x="519" y="709"/>
                    <a:pt x="519" y="711"/>
                    <a:pt x="519" y="715"/>
                  </a:cubicBezTo>
                  <a:cubicBezTo>
                    <a:pt x="503" y="721"/>
                    <a:pt x="485" y="726"/>
                    <a:pt x="466" y="733"/>
                  </a:cubicBezTo>
                  <a:cubicBezTo>
                    <a:pt x="454" y="695"/>
                    <a:pt x="442" y="658"/>
                    <a:pt x="430" y="622"/>
                  </a:cubicBezTo>
                  <a:cubicBezTo>
                    <a:pt x="410" y="557"/>
                    <a:pt x="389" y="492"/>
                    <a:pt x="369" y="428"/>
                  </a:cubicBezTo>
                  <a:cubicBezTo>
                    <a:pt x="362" y="403"/>
                    <a:pt x="347" y="389"/>
                    <a:pt x="321" y="388"/>
                  </a:cubicBezTo>
                  <a:cubicBezTo>
                    <a:pt x="279" y="387"/>
                    <a:pt x="237" y="385"/>
                    <a:pt x="195" y="385"/>
                  </a:cubicBezTo>
                  <a:cubicBezTo>
                    <a:pt x="178" y="385"/>
                    <a:pt x="172" y="380"/>
                    <a:pt x="173" y="363"/>
                  </a:cubicBezTo>
                  <a:cubicBezTo>
                    <a:pt x="174" y="332"/>
                    <a:pt x="174" y="301"/>
                    <a:pt x="172" y="271"/>
                  </a:cubicBezTo>
                  <a:cubicBezTo>
                    <a:pt x="172" y="260"/>
                    <a:pt x="166" y="248"/>
                    <a:pt x="159" y="239"/>
                  </a:cubicBezTo>
                  <a:cubicBezTo>
                    <a:pt x="141" y="220"/>
                    <a:pt x="121" y="202"/>
                    <a:pt x="101" y="183"/>
                  </a:cubicBezTo>
                  <a:cubicBezTo>
                    <a:pt x="117" y="168"/>
                    <a:pt x="131" y="157"/>
                    <a:pt x="146" y="143"/>
                  </a:cubicBezTo>
                  <a:cubicBezTo>
                    <a:pt x="166" y="163"/>
                    <a:pt x="190" y="185"/>
                    <a:pt x="211" y="208"/>
                  </a:cubicBezTo>
                  <a:cubicBezTo>
                    <a:pt x="224" y="224"/>
                    <a:pt x="239" y="229"/>
                    <a:pt x="260" y="228"/>
                  </a:cubicBezTo>
                  <a:cubicBezTo>
                    <a:pt x="297" y="227"/>
                    <a:pt x="334" y="228"/>
                    <a:pt x="372" y="227"/>
                  </a:cubicBezTo>
                  <a:cubicBezTo>
                    <a:pt x="395" y="227"/>
                    <a:pt x="405" y="217"/>
                    <a:pt x="408" y="188"/>
                  </a:cubicBezTo>
                  <a:cubicBezTo>
                    <a:pt x="381" y="188"/>
                    <a:pt x="354" y="186"/>
                    <a:pt x="327" y="189"/>
                  </a:cubicBezTo>
                  <a:cubicBezTo>
                    <a:pt x="294" y="193"/>
                    <a:pt x="269" y="182"/>
                    <a:pt x="248" y="156"/>
                  </a:cubicBezTo>
                  <a:cubicBezTo>
                    <a:pt x="224" y="128"/>
                    <a:pt x="197" y="103"/>
                    <a:pt x="170" y="78"/>
                  </a:cubicBezTo>
                  <a:cubicBezTo>
                    <a:pt x="163" y="71"/>
                    <a:pt x="151" y="67"/>
                    <a:pt x="141" y="65"/>
                  </a:cubicBezTo>
                  <a:cubicBezTo>
                    <a:pt x="127" y="63"/>
                    <a:pt x="112" y="64"/>
                    <a:pt x="97" y="65"/>
                  </a:cubicBezTo>
                  <a:cubicBezTo>
                    <a:pt x="74" y="67"/>
                    <a:pt x="60" y="80"/>
                    <a:pt x="59" y="103"/>
                  </a:cubicBezTo>
                  <a:cubicBezTo>
                    <a:pt x="59" y="201"/>
                    <a:pt x="58" y="298"/>
                    <a:pt x="60" y="395"/>
                  </a:cubicBezTo>
                  <a:cubicBezTo>
                    <a:pt x="61" y="440"/>
                    <a:pt x="100" y="475"/>
                    <a:pt x="146" y="475"/>
                  </a:cubicBezTo>
                  <a:cubicBezTo>
                    <a:pt x="196" y="476"/>
                    <a:pt x="246" y="476"/>
                    <a:pt x="296" y="475"/>
                  </a:cubicBezTo>
                  <a:cubicBezTo>
                    <a:pt x="308" y="475"/>
                    <a:pt x="315" y="478"/>
                    <a:pt x="319" y="490"/>
                  </a:cubicBezTo>
                  <a:cubicBezTo>
                    <a:pt x="342" y="560"/>
                    <a:pt x="365" y="629"/>
                    <a:pt x="389" y="698"/>
                  </a:cubicBezTo>
                  <a:cubicBezTo>
                    <a:pt x="393" y="711"/>
                    <a:pt x="391" y="717"/>
                    <a:pt x="378" y="720"/>
                  </a:cubicBezTo>
                  <a:cubicBezTo>
                    <a:pt x="366" y="724"/>
                    <a:pt x="353" y="728"/>
                    <a:pt x="339" y="733"/>
                  </a:cubicBezTo>
                  <a:cubicBezTo>
                    <a:pt x="324" y="688"/>
                    <a:pt x="309" y="645"/>
                    <a:pt x="294" y="601"/>
                  </a:cubicBezTo>
                  <a:cubicBezTo>
                    <a:pt x="289" y="584"/>
                    <a:pt x="283" y="568"/>
                    <a:pt x="278" y="550"/>
                  </a:cubicBezTo>
                  <a:cubicBezTo>
                    <a:pt x="274" y="538"/>
                    <a:pt x="267" y="534"/>
                    <a:pt x="255" y="534"/>
                  </a:cubicBezTo>
                  <a:cubicBezTo>
                    <a:pt x="215" y="534"/>
                    <a:pt x="176" y="533"/>
                    <a:pt x="137" y="533"/>
                  </a:cubicBezTo>
                  <a:cubicBezTo>
                    <a:pt x="65" y="532"/>
                    <a:pt x="4" y="468"/>
                    <a:pt x="2" y="399"/>
                  </a:cubicBezTo>
                  <a:cubicBezTo>
                    <a:pt x="0" y="298"/>
                    <a:pt x="0" y="196"/>
                    <a:pt x="2" y="94"/>
                  </a:cubicBezTo>
                  <a:cubicBezTo>
                    <a:pt x="3" y="45"/>
                    <a:pt x="45" y="9"/>
                    <a:pt x="93" y="7"/>
                  </a:cubicBezTo>
                  <a:cubicBezTo>
                    <a:pt x="95" y="7"/>
                    <a:pt x="96" y="7"/>
                    <a:pt x="97" y="7"/>
                  </a:cubicBezTo>
                  <a:cubicBezTo>
                    <a:pt x="125" y="7"/>
                    <a:pt x="156" y="0"/>
                    <a:pt x="180" y="10"/>
                  </a:cubicBezTo>
                  <a:cubicBezTo>
                    <a:pt x="204" y="19"/>
                    <a:pt x="220" y="46"/>
                    <a:pt x="240" y="65"/>
                  </a:cubicBezTo>
                  <a:cubicBezTo>
                    <a:pt x="262" y="86"/>
                    <a:pt x="281" y="116"/>
                    <a:pt x="308" y="127"/>
                  </a:cubicBezTo>
                  <a:cubicBezTo>
                    <a:pt x="334" y="138"/>
                    <a:pt x="369" y="131"/>
                    <a:pt x="399" y="131"/>
                  </a:cubicBezTo>
                  <a:cubicBezTo>
                    <a:pt x="415" y="131"/>
                    <a:pt x="430" y="132"/>
                    <a:pt x="445" y="130"/>
                  </a:cubicBezTo>
                  <a:cubicBezTo>
                    <a:pt x="463" y="129"/>
                    <a:pt x="470" y="136"/>
                    <a:pt x="470" y="152"/>
                  </a:cubicBezTo>
                  <a:cubicBezTo>
                    <a:pt x="469" y="176"/>
                    <a:pt x="467" y="201"/>
                    <a:pt x="466" y="2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/>
            <a:p>
              <a:endParaRPr lang="en-US" sz="3456"/>
            </a:p>
          </p:txBody>
        </p:sp>
        <p:sp>
          <p:nvSpPr>
            <p:cNvPr id="93" name="Freeform 146">
              <a:extLst>
                <a:ext uri="{FF2B5EF4-FFF2-40B4-BE49-F238E27FC236}">
                  <a16:creationId xmlns:a16="http://schemas.microsoft.com/office/drawing/2014/main" id="{2007E5F3-772D-9263-2A3F-B4DFE64874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80" y="790"/>
              <a:ext cx="157" cy="88"/>
            </a:xfrm>
            <a:custGeom>
              <a:avLst/>
              <a:gdLst>
                <a:gd name="T0" fmla="*/ 258 w 634"/>
                <a:gd name="T1" fmla="*/ 1 h 355"/>
                <a:gd name="T2" fmla="*/ 470 w 634"/>
                <a:gd name="T3" fmla="*/ 1 h 355"/>
                <a:gd name="T4" fmla="*/ 511 w 634"/>
                <a:gd name="T5" fmla="*/ 28 h 355"/>
                <a:gd name="T6" fmla="*/ 621 w 634"/>
                <a:gd name="T7" fmla="*/ 306 h 355"/>
                <a:gd name="T8" fmla="*/ 589 w 634"/>
                <a:gd name="T9" fmla="*/ 354 h 355"/>
                <a:gd name="T10" fmla="*/ 167 w 634"/>
                <a:gd name="T11" fmla="*/ 355 h 355"/>
                <a:gd name="T12" fmla="*/ 129 w 634"/>
                <a:gd name="T13" fmla="*/ 330 h 355"/>
                <a:gd name="T14" fmla="*/ 13 w 634"/>
                <a:gd name="T15" fmla="*/ 50 h 355"/>
                <a:gd name="T16" fmla="*/ 46 w 634"/>
                <a:gd name="T17" fmla="*/ 1 h 355"/>
                <a:gd name="T18" fmla="*/ 258 w 634"/>
                <a:gd name="T19" fmla="*/ 1 h 355"/>
                <a:gd name="T20" fmla="*/ 553 w 634"/>
                <a:gd name="T21" fmla="*/ 296 h 355"/>
                <a:gd name="T22" fmla="*/ 549 w 634"/>
                <a:gd name="T23" fmla="*/ 281 h 355"/>
                <a:gd name="T24" fmla="*/ 465 w 634"/>
                <a:gd name="T25" fmla="*/ 72 h 355"/>
                <a:gd name="T26" fmla="*/ 442 w 634"/>
                <a:gd name="T27" fmla="*/ 58 h 355"/>
                <a:gd name="T28" fmla="*/ 100 w 634"/>
                <a:gd name="T29" fmla="*/ 59 h 355"/>
                <a:gd name="T30" fmla="*/ 81 w 634"/>
                <a:gd name="T31" fmla="*/ 61 h 355"/>
                <a:gd name="T32" fmla="*/ 89 w 634"/>
                <a:gd name="T33" fmla="*/ 81 h 355"/>
                <a:gd name="T34" fmla="*/ 170 w 634"/>
                <a:gd name="T35" fmla="*/ 276 h 355"/>
                <a:gd name="T36" fmla="*/ 201 w 634"/>
                <a:gd name="T37" fmla="*/ 297 h 355"/>
                <a:gd name="T38" fmla="*/ 528 w 634"/>
                <a:gd name="T39" fmla="*/ 297 h 355"/>
                <a:gd name="T40" fmla="*/ 553 w 634"/>
                <a:gd name="T41" fmla="*/ 296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34" h="355">
                  <a:moveTo>
                    <a:pt x="258" y="1"/>
                  </a:moveTo>
                  <a:cubicBezTo>
                    <a:pt x="328" y="1"/>
                    <a:pt x="399" y="1"/>
                    <a:pt x="470" y="1"/>
                  </a:cubicBezTo>
                  <a:cubicBezTo>
                    <a:pt x="491" y="0"/>
                    <a:pt x="503" y="9"/>
                    <a:pt x="511" y="28"/>
                  </a:cubicBezTo>
                  <a:cubicBezTo>
                    <a:pt x="547" y="121"/>
                    <a:pt x="585" y="213"/>
                    <a:pt x="621" y="306"/>
                  </a:cubicBezTo>
                  <a:cubicBezTo>
                    <a:pt x="634" y="337"/>
                    <a:pt x="622" y="354"/>
                    <a:pt x="589" y="354"/>
                  </a:cubicBezTo>
                  <a:cubicBezTo>
                    <a:pt x="449" y="355"/>
                    <a:pt x="308" y="354"/>
                    <a:pt x="167" y="355"/>
                  </a:cubicBezTo>
                  <a:cubicBezTo>
                    <a:pt x="148" y="355"/>
                    <a:pt x="136" y="347"/>
                    <a:pt x="129" y="330"/>
                  </a:cubicBezTo>
                  <a:cubicBezTo>
                    <a:pt x="90" y="236"/>
                    <a:pt x="51" y="143"/>
                    <a:pt x="13" y="50"/>
                  </a:cubicBezTo>
                  <a:cubicBezTo>
                    <a:pt x="0" y="18"/>
                    <a:pt x="11" y="1"/>
                    <a:pt x="46" y="1"/>
                  </a:cubicBezTo>
                  <a:cubicBezTo>
                    <a:pt x="116" y="1"/>
                    <a:pt x="187" y="1"/>
                    <a:pt x="258" y="1"/>
                  </a:cubicBezTo>
                  <a:close/>
                  <a:moveTo>
                    <a:pt x="553" y="296"/>
                  </a:moveTo>
                  <a:cubicBezTo>
                    <a:pt x="551" y="288"/>
                    <a:pt x="550" y="285"/>
                    <a:pt x="549" y="281"/>
                  </a:cubicBezTo>
                  <a:cubicBezTo>
                    <a:pt x="521" y="211"/>
                    <a:pt x="493" y="142"/>
                    <a:pt x="465" y="72"/>
                  </a:cubicBezTo>
                  <a:cubicBezTo>
                    <a:pt x="461" y="60"/>
                    <a:pt x="453" y="58"/>
                    <a:pt x="442" y="58"/>
                  </a:cubicBezTo>
                  <a:cubicBezTo>
                    <a:pt x="328" y="59"/>
                    <a:pt x="214" y="58"/>
                    <a:pt x="100" y="59"/>
                  </a:cubicBezTo>
                  <a:cubicBezTo>
                    <a:pt x="95" y="59"/>
                    <a:pt x="89" y="60"/>
                    <a:pt x="81" y="61"/>
                  </a:cubicBezTo>
                  <a:cubicBezTo>
                    <a:pt x="84" y="69"/>
                    <a:pt x="86" y="75"/>
                    <a:pt x="89" y="81"/>
                  </a:cubicBezTo>
                  <a:cubicBezTo>
                    <a:pt x="116" y="146"/>
                    <a:pt x="144" y="211"/>
                    <a:pt x="170" y="276"/>
                  </a:cubicBezTo>
                  <a:cubicBezTo>
                    <a:pt x="176" y="292"/>
                    <a:pt x="184" y="297"/>
                    <a:pt x="201" y="297"/>
                  </a:cubicBezTo>
                  <a:cubicBezTo>
                    <a:pt x="310" y="297"/>
                    <a:pt x="419" y="297"/>
                    <a:pt x="528" y="297"/>
                  </a:cubicBezTo>
                  <a:cubicBezTo>
                    <a:pt x="536" y="297"/>
                    <a:pt x="543" y="296"/>
                    <a:pt x="553" y="2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/>
            <a:p>
              <a:endParaRPr lang="en-US" sz="3456"/>
            </a:p>
          </p:txBody>
        </p:sp>
        <p:sp>
          <p:nvSpPr>
            <p:cNvPr id="94" name="Freeform 147">
              <a:extLst>
                <a:ext uri="{FF2B5EF4-FFF2-40B4-BE49-F238E27FC236}">
                  <a16:creationId xmlns:a16="http://schemas.microsoft.com/office/drawing/2014/main" id="{6B8072D6-934A-5ADC-63E4-CBB4AD8DA5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09" y="759"/>
              <a:ext cx="59" cy="72"/>
            </a:xfrm>
            <a:custGeom>
              <a:avLst/>
              <a:gdLst>
                <a:gd name="T0" fmla="*/ 239 w 239"/>
                <a:gd name="T1" fmla="*/ 140 h 287"/>
                <a:gd name="T2" fmla="*/ 185 w 239"/>
                <a:gd name="T3" fmla="*/ 259 h 287"/>
                <a:gd name="T4" fmla="*/ 71 w 239"/>
                <a:gd name="T5" fmla="*/ 269 h 287"/>
                <a:gd name="T6" fmla="*/ 6 w 239"/>
                <a:gd name="T7" fmla="*/ 171 h 287"/>
                <a:gd name="T8" fmla="*/ 17 w 239"/>
                <a:gd name="T9" fmla="*/ 67 h 287"/>
                <a:gd name="T10" fmla="*/ 118 w 239"/>
                <a:gd name="T11" fmla="*/ 1 h 287"/>
                <a:gd name="T12" fmla="*/ 221 w 239"/>
                <a:gd name="T13" fmla="*/ 66 h 287"/>
                <a:gd name="T14" fmla="*/ 239 w 239"/>
                <a:gd name="T15" fmla="*/ 140 h 287"/>
                <a:gd name="T16" fmla="*/ 178 w 239"/>
                <a:gd name="T17" fmla="*/ 141 h 287"/>
                <a:gd name="T18" fmla="*/ 177 w 239"/>
                <a:gd name="T19" fmla="*/ 141 h 287"/>
                <a:gd name="T20" fmla="*/ 176 w 239"/>
                <a:gd name="T21" fmla="*/ 115 h 287"/>
                <a:gd name="T22" fmla="*/ 122 w 239"/>
                <a:gd name="T23" fmla="*/ 59 h 287"/>
                <a:gd name="T24" fmla="*/ 65 w 239"/>
                <a:gd name="T25" fmla="*/ 109 h 287"/>
                <a:gd name="T26" fmla="*/ 66 w 239"/>
                <a:gd name="T27" fmla="*/ 176 h 287"/>
                <a:gd name="T28" fmla="*/ 120 w 239"/>
                <a:gd name="T29" fmla="*/ 221 h 287"/>
                <a:gd name="T30" fmla="*/ 174 w 239"/>
                <a:gd name="T31" fmla="*/ 175 h 287"/>
                <a:gd name="T32" fmla="*/ 178 w 239"/>
                <a:gd name="T33" fmla="*/ 141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9" h="287">
                  <a:moveTo>
                    <a:pt x="239" y="140"/>
                  </a:moveTo>
                  <a:cubicBezTo>
                    <a:pt x="237" y="189"/>
                    <a:pt x="225" y="230"/>
                    <a:pt x="185" y="259"/>
                  </a:cubicBezTo>
                  <a:cubicBezTo>
                    <a:pt x="150" y="284"/>
                    <a:pt x="110" y="287"/>
                    <a:pt x="71" y="269"/>
                  </a:cubicBezTo>
                  <a:cubicBezTo>
                    <a:pt x="30" y="250"/>
                    <a:pt x="9" y="215"/>
                    <a:pt x="6" y="171"/>
                  </a:cubicBezTo>
                  <a:cubicBezTo>
                    <a:pt x="3" y="136"/>
                    <a:pt x="0" y="100"/>
                    <a:pt x="17" y="67"/>
                  </a:cubicBezTo>
                  <a:cubicBezTo>
                    <a:pt x="38" y="25"/>
                    <a:pt x="70" y="2"/>
                    <a:pt x="118" y="1"/>
                  </a:cubicBezTo>
                  <a:cubicBezTo>
                    <a:pt x="166" y="0"/>
                    <a:pt x="202" y="22"/>
                    <a:pt x="221" y="66"/>
                  </a:cubicBezTo>
                  <a:cubicBezTo>
                    <a:pt x="231" y="89"/>
                    <a:pt x="233" y="115"/>
                    <a:pt x="239" y="140"/>
                  </a:cubicBezTo>
                  <a:close/>
                  <a:moveTo>
                    <a:pt x="178" y="141"/>
                  </a:moveTo>
                  <a:cubicBezTo>
                    <a:pt x="177" y="141"/>
                    <a:pt x="177" y="141"/>
                    <a:pt x="177" y="141"/>
                  </a:cubicBezTo>
                  <a:cubicBezTo>
                    <a:pt x="177" y="132"/>
                    <a:pt x="177" y="124"/>
                    <a:pt x="176" y="115"/>
                  </a:cubicBezTo>
                  <a:cubicBezTo>
                    <a:pt x="173" y="82"/>
                    <a:pt x="151" y="60"/>
                    <a:pt x="122" y="59"/>
                  </a:cubicBezTo>
                  <a:cubicBezTo>
                    <a:pt x="93" y="57"/>
                    <a:pt x="69" y="76"/>
                    <a:pt x="65" y="109"/>
                  </a:cubicBezTo>
                  <a:cubicBezTo>
                    <a:pt x="61" y="131"/>
                    <a:pt x="62" y="154"/>
                    <a:pt x="66" y="176"/>
                  </a:cubicBezTo>
                  <a:cubicBezTo>
                    <a:pt x="72" y="207"/>
                    <a:pt x="92" y="221"/>
                    <a:pt x="120" y="221"/>
                  </a:cubicBezTo>
                  <a:cubicBezTo>
                    <a:pt x="148" y="221"/>
                    <a:pt x="167" y="205"/>
                    <a:pt x="174" y="175"/>
                  </a:cubicBezTo>
                  <a:cubicBezTo>
                    <a:pt x="177" y="164"/>
                    <a:pt x="177" y="152"/>
                    <a:pt x="178" y="1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/>
            <a:p>
              <a:endParaRPr lang="en-US" sz="3456"/>
            </a:p>
          </p:txBody>
        </p:sp>
        <p:sp>
          <p:nvSpPr>
            <p:cNvPr id="95" name="Freeform 148">
              <a:extLst>
                <a:ext uri="{FF2B5EF4-FFF2-40B4-BE49-F238E27FC236}">
                  <a16:creationId xmlns:a16="http://schemas.microsoft.com/office/drawing/2014/main" id="{BBD7132A-9D41-E153-7BA3-886104394956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" y="739"/>
              <a:ext cx="59" cy="68"/>
            </a:xfrm>
            <a:custGeom>
              <a:avLst/>
              <a:gdLst>
                <a:gd name="T0" fmla="*/ 169 w 238"/>
                <a:gd name="T1" fmla="*/ 273 h 273"/>
                <a:gd name="T2" fmla="*/ 159 w 238"/>
                <a:gd name="T3" fmla="*/ 253 h 273"/>
                <a:gd name="T4" fmla="*/ 162 w 238"/>
                <a:gd name="T5" fmla="*/ 203 h 273"/>
                <a:gd name="T6" fmla="*/ 160 w 238"/>
                <a:gd name="T7" fmla="*/ 87 h 273"/>
                <a:gd name="T8" fmla="*/ 100 w 238"/>
                <a:gd name="T9" fmla="*/ 69 h 273"/>
                <a:gd name="T10" fmla="*/ 61 w 238"/>
                <a:gd name="T11" fmla="*/ 119 h 273"/>
                <a:gd name="T12" fmla="*/ 60 w 238"/>
                <a:gd name="T13" fmla="*/ 123 h 273"/>
                <a:gd name="T14" fmla="*/ 56 w 238"/>
                <a:gd name="T15" fmla="*/ 155 h 273"/>
                <a:gd name="T16" fmla="*/ 14 w 238"/>
                <a:gd name="T17" fmla="*/ 158 h 273"/>
                <a:gd name="T18" fmla="*/ 3 w 238"/>
                <a:gd name="T19" fmla="*/ 148 h 273"/>
                <a:gd name="T20" fmla="*/ 53 w 238"/>
                <a:gd name="T21" fmla="*/ 29 h 273"/>
                <a:gd name="T22" fmla="*/ 178 w 238"/>
                <a:gd name="T23" fmla="*/ 27 h 273"/>
                <a:gd name="T24" fmla="*/ 222 w 238"/>
                <a:gd name="T25" fmla="*/ 84 h 273"/>
                <a:gd name="T26" fmla="*/ 225 w 238"/>
                <a:gd name="T27" fmla="*/ 207 h 273"/>
                <a:gd name="T28" fmla="*/ 169 w 238"/>
                <a:gd name="T29" fmla="*/ 273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8" h="273">
                  <a:moveTo>
                    <a:pt x="169" y="273"/>
                  </a:moveTo>
                  <a:cubicBezTo>
                    <a:pt x="165" y="265"/>
                    <a:pt x="162" y="259"/>
                    <a:pt x="159" y="253"/>
                  </a:cubicBezTo>
                  <a:cubicBezTo>
                    <a:pt x="147" y="235"/>
                    <a:pt x="143" y="222"/>
                    <a:pt x="162" y="203"/>
                  </a:cubicBezTo>
                  <a:cubicBezTo>
                    <a:pt x="184" y="180"/>
                    <a:pt x="180" y="113"/>
                    <a:pt x="160" y="87"/>
                  </a:cubicBezTo>
                  <a:cubicBezTo>
                    <a:pt x="146" y="70"/>
                    <a:pt x="122" y="62"/>
                    <a:pt x="100" y="69"/>
                  </a:cubicBezTo>
                  <a:cubicBezTo>
                    <a:pt x="76" y="77"/>
                    <a:pt x="65" y="95"/>
                    <a:pt x="61" y="119"/>
                  </a:cubicBezTo>
                  <a:cubicBezTo>
                    <a:pt x="60" y="121"/>
                    <a:pt x="61" y="122"/>
                    <a:pt x="60" y="123"/>
                  </a:cubicBezTo>
                  <a:cubicBezTo>
                    <a:pt x="59" y="134"/>
                    <a:pt x="61" y="153"/>
                    <a:pt x="56" y="155"/>
                  </a:cubicBezTo>
                  <a:cubicBezTo>
                    <a:pt x="44" y="160"/>
                    <a:pt x="28" y="159"/>
                    <a:pt x="14" y="158"/>
                  </a:cubicBezTo>
                  <a:cubicBezTo>
                    <a:pt x="10" y="158"/>
                    <a:pt x="3" y="151"/>
                    <a:pt x="3" y="148"/>
                  </a:cubicBezTo>
                  <a:cubicBezTo>
                    <a:pt x="0" y="100"/>
                    <a:pt x="11" y="57"/>
                    <a:pt x="53" y="29"/>
                  </a:cubicBezTo>
                  <a:cubicBezTo>
                    <a:pt x="93" y="1"/>
                    <a:pt x="138" y="0"/>
                    <a:pt x="178" y="27"/>
                  </a:cubicBezTo>
                  <a:cubicBezTo>
                    <a:pt x="197" y="41"/>
                    <a:pt x="214" y="62"/>
                    <a:pt x="222" y="84"/>
                  </a:cubicBezTo>
                  <a:cubicBezTo>
                    <a:pt x="238" y="124"/>
                    <a:pt x="237" y="166"/>
                    <a:pt x="225" y="207"/>
                  </a:cubicBezTo>
                  <a:cubicBezTo>
                    <a:pt x="216" y="236"/>
                    <a:pt x="198" y="257"/>
                    <a:pt x="169" y="27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/>
            <a:p>
              <a:endParaRPr lang="en-US" sz="3456"/>
            </a:p>
          </p:txBody>
        </p:sp>
        <p:sp>
          <p:nvSpPr>
            <p:cNvPr id="96" name="Freeform 149">
              <a:extLst>
                <a:ext uri="{FF2B5EF4-FFF2-40B4-BE49-F238E27FC236}">
                  <a16:creationId xmlns:a16="http://schemas.microsoft.com/office/drawing/2014/main" id="{42B54EE9-3939-D4E0-B4D4-20394025FC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4" y="816"/>
              <a:ext cx="45" cy="61"/>
            </a:xfrm>
            <a:custGeom>
              <a:avLst/>
              <a:gdLst>
                <a:gd name="T0" fmla="*/ 0 w 180"/>
                <a:gd name="T1" fmla="*/ 55 h 246"/>
                <a:gd name="T2" fmla="*/ 7 w 180"/>
                <a:gd name="T3" fmla="*/ 12 h 246"/>
                <a:gd name="T4" fmla="*/ 19 w 180"/>
                <a:gd name="T5" fmla="*/ 0 h 246"/>
                <a:gd name="T6" fmla="*/ 150 w 180"/>
                <a:gd name="T7" fmla="*/ 58 h 246"/>
                <a:gd name="T8" fmla="*/ 179 w 180"/>
                <a:gd name="T9" fmla="*/ 124 h 246"/>
                <a:gd name="T10" fmla="*/ 179 w 180"/>
                <a:gd name="T11" fmla="*/ 224 h 246"/>
                <a:gd name="T12" fmla="*/ 162 w 180"/>
                <a:gd name="T13" fmla="*/ 241 h 246"/>
                <a:gd name="T14" fmla="*/ 121 w 180"/>
                <a:gd name="T15" fmla="*/ 202 h 246"/>
                <a:gd name="T16" fmla="*/ 121 w 180"/>
                <a:gd name="T17" fmla="*/ 136 h 246"/>
                <a:gd name="T18" fmla="*/ 95 w 180"/>
                <a:gd name="T19" fmla="*/ 89 h 246"/>
                <a:gd name="T20" fmla="*/ 22 w 180"/>
                <a:gd name="T21" fmla="*/ 61 h 246"/>
                <a:gd name="T22" fmla="*/ 0 w 180"/>
                <a:gd name="T23" fmla="*/ 5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0" h="246">
                  <a:moveTo>
                    <a:pt x="0" y="55"/>
                  </a:moveTo>
                  <a:cubicBezTo>
                    <a:pt x="2" y="39"/>
                    <a:pt x="3" y="25"/>
                    <a:pt x="7" y="12"/>
                  </a:cubicBezTo>
                  <a:cubicBezTo>
                    <a:pt x="8" y="7"/>
                    <a:pt x="16" y="0"/>
                    <a:pt x="19" y="0"/>
                  </a:cubicBezTo>
                  <a:cubicBezTo>
                    <a:pt x="66" y="11"/>
                    <a:pt x="113" y="24"/>
                    <a:pt x="150" y="58"/>
                  </a:cubicBezTo>
                  <a:cubicBezTo>
                    <a:pt x="169" y="77"/>
                    <a:pt x="179" y="98"/>
                    <a:pt x="179" y="124"/>
                  </a:cubicBezTo>
                  <a:cubicBezTo>
                    <a:pt x="180" y="157"/>
                    <a:pt x="179" y="191"/>
                    <a:pt x="179" y="224"/>
                  </a:cubicBezTo>
                  <a:cubicBezTo>
                    <a:pt x="180" y="237"/>
                    <a:pt x="175" y="241"/>
                    <a:pt x="162" y="241"/>
                  </a:cubicBezTo>
                  <a:cubicBezTo>
                    <a:pt x="114" y="240"/>
                    <a:pt x="122" y="246"/>
                    <a:pt x="121" y="202"/>
                  </a:cubicBezTo>
                  <a:cubicBezTo>
                    <a:pt x="121" y="180"/>
                    <a:pt x="120" y="158"/>
                    <a:pt x="121" y="136"/>
                  </a:cubicBezTo>
                  <a:cubicBezTo>
                    <a:pt x="123" y="114"/>
                    <a:pt x="114" y="98"/>
                    <a:pt x="95" y="89"/>
                  </a:cubicBezTo>
                  <a:cubicBezTo>
                    <a:pt x="71" y="78"/>
                    <a:pt x="47" y="70"/>
                    <a:pt x="22" y="61"/>
                  </a:cubicBezTo>
                  <a:cubicBezTo>
                    <a:pt x="16" y="58"/>
                    <a:pt x="8" y="57"/>
                    <a:pt x="0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/>
            <a:p>
              <a:endParaRPr lang="en-US" sz="3456"/>
            </a:p>
          </p:txBody>
        </p:sp>
      </p:grpSp>
      <p:sp>
        <p:nvSpPr>
          <p:cNvPr id="160" name="TextBox 159">
            <a:extLst>
              <a:ext uri="{FF2B5EF4-FFF2-40B4-BE49-F238E27FC236}">
                <a16:creationId xmlns:a16="http://schemas.microsoft.com/office/drawing/2014/main" id="{8543283D-8E7C-170E-312A-3F717D4CD38B}"/>
              </a:ext>
            </a:extLst>
          </p:cNvPr>
          <p:cNvSpPr txBox="1"/>
          <p:nvPr/>
        </p:nvSpPr>
        <p:spPr>
          <a:xfrm>
            <a:off x="6620083" y="5280274"/>
            <a:ext cx="1198428" cy="43562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188" lvl="2" algn="ctr" defTabSz="1097280">
              <a:buClr>
                <a:srgbClr val="41869F"/>
              </a:buClr>
              <a:buSzPct val="125000"/>
              <a:defRPr/>
            </a:pPr>
            <a:r>
              <a:rPr lang="en-US" altLang="pl-PL" sz="2800" b="1">
                <a:solidFill>
                  <a:schemeClr val="accent1"/>
                </a:solidFill>
                <a:latin typeface="+mn-ea"/>
                <a:sym typeface="Open Sans" pitchFamily="34" charset="0"/>
              </a:rPr>
              <a:t>18%</a:t>
            </a:r>
          </a:p>
          <a:p>
            <a:pPr marL="188" lvl="2" algn="ctr" defTabSz="1097280">
              <a:buClr>
                <a:srgbClr val="41869F"/>
              </a:buClr>
              <a:buSzPct val="125000"/>
              <a:defRPr/>
            </a:pPr>
            <a:r>
              <a:rPr lang="en-US" altLang="pl-PL" sz="1320">
                <a:latin typeface="+mn-ea"/>
                <a:cs typeface="Open Sans"/>
                <a:sym typeface="Open Sans" pitchFamily="34" charset="0"/>
              </a:rPr>
              <a:t>PM interviews</a:t>
            </a: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06650057-26E6-4CA8-DEF4-7DDCFF57CF7F}"/>
              </a:ext>
            </a:extLst>
          </p:cNvPr>
          <p:cNvSpPr txBox="1"/>
          <p:nvPr/>
        </p:nvSpPr>
        <p:spPr>
          <a:xfrm>
            <a:off x="2626479" y="5345214"/>
            <a:ext cx="1580192" cy="122548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188" lvl="2" algn="ctr" defTabSz="1097280">
              <a:spcAft>
                <a:spcPts val="1320"/>
              </a:spcAft>
              <a:buClr>
                <a:srgbClr val="41869F"/>
              </a:buClr>
              <a:buSzPct val="125000"/>
              <a:defRPr/>
            </a:pPr>
            <a:r>
              <a:rPr lang="en-US" altLang="pl-PL" sz="1400" b="1">
                <a:solidFill>
                  <a:schemeClr val="accent1"/>
                </a:solidFill>
                <a:latin typeface="+mn-ea"/>
                <a:sym typeface="Open Sans" pitchFamily="34" charset="0"/>
              </a:rPr>
              <a:t>Universe of resumes received </a:t>
            </a:r>
            <a:r>
              <a:rPr lang="en-US" altLang="pl-PL" sz="1200">
                <a:latin typeface="+mn-ea"/>
                <a:sym typeface="Open Sans" pitchFamily="34" charset="0"/>
              </a:rPr>
              <a:t>(application gathering stage)</a:t>
            </a:r>
            <a:endParaRPr lang="en-US" sz="1200">
              <a:latin typeface="+mn-ea"/>
            </a:endParaRP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2A0799EE-1C27-8D10-2226-21D47BE312A5}"/>
              </a:ext>
            </a:extLst>
          </p:cNvPr>
          <p:cNvSpPr txBox="1"/>
          <p:nvPr/>
        </p:nvSpPr>
        <p:spPr>
          <a:xfrm>
            <a:off x="4832973" y="5284586"/>
            <a:ext cx="1068406" cy="77356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188" lvl="2" algn="ctr" defTabSz="1097280">
              <a:buClr>
                <a:srgbClr val="41869F"/>
              </a:buClr>
              <a:buSzPct val="125000"/>
              <a:defRPr/>
            </a:pPr>
            <a:r>
              <a:rPr lang="en-US" sz="2800" b="1">
                <a:solidFill>
                  <a:schemeClr val="accent1"/>
                </a:solidFill>
                <a:latin typeface="+mn-ea"/>
              </a:rPr>
              <a:t>58%</a:t>
            </a:r>
          </a:p>
          <a:p>
            <a:pPr marL="188" lvl="2" algn="ctr" defTabSz="1097280">
              <a:buClr>
                <a:srgbClr val="41869F"/>
              </a:buClr>
              <a:buSzPct val="125000"/>
              <a:defRPr/>
            </a:pPr>
            <a:r>
              <a:rPr lang="en-US" altLang="pl-PL" sz="1320">
                <a:latin typeface="+mn-ea"/>
                <a:cs typeface="Open Sans"/>
                <a:sym typeface="Open Sans" pitchFamily="34" charset="0"/>
              </a:rPr>
              <a:t>applicants </a:t>
            </a:r>
            <a:br>
              <a:rPr lang="en-US" altLang="pl-PL" sz="1320">
                <a:latin typeface="+mn-ea"/>
                <a:cs typeface="Open Sans"/>
                <a:sym typeface="Open Sans" pitchFamily="34" charset="0"/>
              </a:rPr>
            </a:br>
            <a:r>
              <a:rPr lang="en-US" altLang="pl-PL" sz="1320">
                <a:latin typeface="+mn-ea"/>
                <a:cs typeface="Open Sans"/>
                <a:sym typeface="Open Sans" pitchFamily="34" charset="0"/>
              </a:rPr>
              <a:t>interviewed </a:t>
            </a:r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43AF34DC-E712-0AC4-0BD7-4D92A7625555}"/>
              </a:ext>
            </a:extLst>
          </p:cNvPr>
          <p:cNvSpPr/>
          <p:nvPr/>
        </p:nvSpPr>
        <p:spPr>
          <a:xfrm>
            <a:off x="713246" y="5345214"/>
            <a:ext cx="1616368" cy="1606704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algn="ctr" defTabSz="1097280">
              <a:spcAft>
                <a:spcPts val="800"/>
              </a:spcAft>
              <a:defRPr/>
            </a:pPr>
            <a:r>
              <a:rPr lang="en-US" sz="1400" b="1">
                <a:solidFill>
                  <a:schemeClr val="accent1"/>
                </a:solidFill>
                <a:latin typeface="+mn-ea"/>
                <a:cs typeface="Open Sans"/>
                <a:sym typeface="Open Sans Bold" charset="0"/>
              </a:rPr>
              <a:t>Global Sources</a:t>
            </a:r>
            <a:endParaRPr lang="en-US" sz="1400" b="1" i="1">
              <a:solidFill>
                <a:schemeClr val="accent1"/>
              </a:solidFill>
              <a:latin typeface="+mn-ea"/>
              <a:cs typeface="Open Sans"/>
              <a:sym typeface="Open Sans Bold" charset="0"/>
            </a:endParaRPr>
          </a:p>
          <a:p>
            <a:pPr algn="ctr" defTabSz="1097280">
              <a:spcAft>
                <a:spcPts val="800"/>
              </a:spcAft>
              <a:defRPr/>
            </a:pPr>
            <a:r>
              <a:rPr lang="en-US" sz="1000">
                <a:latin typeface="+mn-ea"/>
                <a:cs typeface="Open Sans"/>
                <a:sym typeface="Open Sans Bold" charset="0"/>
              </a:rPr>
              <a:t>LinkedIn, Monster, </a:t>
            </a:r>
            <a:r>
              <a:rPr lang="en-US" sz="1000" err="1">
                <a:latin typeface="+mn-ea"/>
                <a:cs typeface="Open Sans"/>
                <a:sym typeface="Open Sans Bold" charset="0"/>
              </a:rPr>
              <a:t>CareerJet</a:t>
            </a:r>
            <a:r>
              <a:rPr lang="en-US" sz="1000">
                <a:latin typeface="+mn-ea"/>
                <a:cs typeface="Open Sans"/>
                <a:sym typeface="Open Sans Bold" charset="0"/>
              </a:rPr>
              <a:t> Indeed, </a:t>
            </a:r>
            <a:r>
              <a:rPr lang="en-US" sz="1000" err="1">
                <a:latin typeface="+mn-ea"/>
                <a:cs typeface="Open Sans"/>
                <a:sym typeface="Open Sans Bold" charset="0"/>
              </a:rPr>
              <a:t>SiliconArmada</a:t>
            </a:r>
            <a:r>
              <a:rPr lang="en-US" sz="1000">
                <a:latin typeface="+mn-ea"/>
                <a:cs typeface="Open Sans"/>
                <a:sym typeface="Open Sans Bold" charset="0"/>
              </a:rPr>
              <a:t>, </a:t>
            </a:r>
            <a:r>
              <a:rPr lang="en-US" sz="1000" err="1">
                <a:latin typeface="+mn-ea"/>
                <a:cs typeface="Open Sans"/>
                <a:sym typeface="Open Sans Bold" charset="0"/>
              </a:rPr>
              <a:t>JobISJob</a:t>
            </a:r>
            <a:endParaRPr lang="en-US" sz="1000">
              <a:latin typeface="+mn-ea"/>
              <a:cs typeface="Open Sans"/>
              <a:sym typeface="Open Sans Bold" charset="0"/>
            </a:endParaRPr>
          </a:p>
          <a:p>
            <a:pPr algn="ctr">
              <a:spcAft>
                <a:spcPts val="800"/>
              </a:spcAft>
              <a:defRPr/>
            </a:pPr>
            <a:r>
              <a:rPr lang="en-US" sz="1400" b="1">
                <a:solidFill>
                  <a:schemeClr val="accent1"/>
                </a:solidFill>
                <a:latin typeface="+mn-ea"/>
                <a:cs typeface="Open Sans"/>
                <a:sym typeface="Open Sans Bold" charset="0"/>
              </a:rPr>
              <a:t>Local Sources</a:t>
            </a:r>
          </a:p>
          <a:p>
            <a:pPr algn="ctr" defTabSz="1097252">
              <a:spcAft>
                <a:spcPts val="800"/>
              </a:spcAft>
              <a:defRPr/>
            </a:pPr>
            <a:r>
              <a:rPr lang="en-US" sz="1000"/>
              <a:t>TOP recruitment agencies Naukri.com, </a:t>
            </a:r>
            <a:r>
              <a:rPr lang="en-US" sz="1000" err="1"/>
              <a:t>Foundit</a:t>
            </a:r>
            <a:r>
              <a:rPr lang="en-US" sz="1000"/>
              <a:t>, </a:t>
            </a:r>
            <a:r>
              <a:rPr lang="en-US" sz="1000" err="1"/>
              <a:t>LinkedIN</a:t>
            </a:r>
            <a:r>
              <a:rPr lang="en-US" sz="1000"/>
              <a:t>, </a:t>
            </a:r>
            <a:r>
              <a:rPr lang="en-US" sz="1000" err="1"/>
              <a:t>Instahyre</a:t>
            </a:r>
            <a:r>
              <a:rPr lang="en-US" sz="1000"/>
              <a:t>, </a:t>
            </a:r>
            <a:r>
              <a:rPr lang="en-US" sz="1000" err="1"/>
              <a:t>Hirist</a:t>
            </a:r>
            <a:r>
              <a:rPr lang="en-US" sz="1000"/>
              <a:t> and others</a:t>
            </a:r>
            <a:endParaRPr lang="en-US" sz="1000">
              <a:latin typeface="+mn-ea"/>
              <a:cs typeface="Open Sans"/>
              <a:sym typeface="Open Sans Bold" charset="0"/>
            </a:endParaRP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479ED0ED-C852-2B57-3D32-AAAF89A6FFE1}"/>
              </a:ext>
            </a:extLst>
          </p:cNvPr>
          <p:cNvSpPr txBox="1"/>
          <p:nvPr/>
        </p:nvSpPr>
        <p:spPr>
          <a:xfrm>
            <a:off x="8363079" y="5284861"/>
            <a:ext cx="1360105" cy="5634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188" lvl="2" algn="ctr" defTabSz="1097280">
              <a:buClr>
                <a:srgbClr val="41869F"/>
              </a:buClr>
              <a:buSzPct val="125000"/>
              <a:defRPr/>
            </a:pPr>
            <a:r>
              <a:rPr lang="en-US" altLang="pl-PL" sz="2800" b="1">
                <a:solidFill>
                  <a:schemeClr val="accent1"/>
                </a:solidFill>
                <a:latin typeface="+mn-ea"/>
                <a:sym typeface="Open Sans" pitchFamily="34" charset="0"/>
              </a:rPr>
              <a:t>13%</a:t>
            </a:r>
          </a:p>
          <a:p>
            <a:pPr marL="188" lvl="2" algn="ctr" defTabSz="1097280">
              <a:buClr>
                <a:srgbClr val="41869F"/>
              </a:buClr>
              <a:buSzPct val="125000"/>
              <a:defRPr/>
            </a:pPr>
            <a:r>
              <a:rPr lang="en-US" altLang="pl-PL" sz="1320">
                <a:latin typeface="+mn-ea"/>
                <a:cs typeface="Open Sans"/>
                <a:sym typeface="Open Sans" pitchFamily="34" charset="0"/>
              </a:rPr>
              <a:t>Client interviews</a:t>
            </a: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6874498F-332E-53FF-4A07-058DBE67B180}"/>
              </a:ext>
            </a:extLst>
          </p:cNvPr>
          <p:cNvSpPr txBox="1"/>
          <p:nvPr/>
        </p:nvSpPr>
        <p:spPr>
          <a:xfrm>
            <a:off x="10367022" y="5232484"/>
            <a:ext cx="1128616" cy="53120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188" lvl="2" algn="ctr" defTabSz="1097280">
              <a:buClr>
                <a:srgbClr val="41869F"/>
              </a:buClr>
              <a:buSzPct val="125000"/>
              <a:defRPr/>
            </a:pPr>
            <a:r>
              <a:rPr lang="en-US" altLang="pl-PL" sz="2800" b="1">
                <a:solidFill>
                  <a:schemeClr val="accent1"/>
                </a:solidFill>
                <a:latin typeface="+mn-ea"/>
                <a:sym typeface="Open Sans" pitchFamily="34" charset="0"/>
              </a:rPr>
              <a:t>11%</a:t>
            </a:r>
          </a:p>
          <a:p>
            <a:pPr marL="188" lvl="2" algn="ctr" defTabSz="1097280">
              <a:buClr>
                <a:srgbClr val="41869F"/>
              </a:buClr>
              <a:buSzPct val="125000"/>
              <a:defRPr/>
            </a:pPr>
            <a:r>
              <a:rPr lang="en-US" altLang="pl-PL" sz="1320">
                <a:latin typeface="+mn-ea"/>
                <a:cs typeface="Open Sans"/>
                <a:sym typeface="Open Sans" pitchFamily="34" charset="0"/>
              </a:rPr>
              <a:t>Offers Made</a:t>
            </a:r>
          </a:p>
        </p:txBody>
      </p:sp>
      <p:grpSp>
        <p:nvGrpSpPr>
          <p:cNvPr id="180" name="Group 179">
            <a:extLst>
              <a:ext uri="{FF2B5EF4-FFF2-40B4-BE49-F238E27FC236}">
                <a16:creationId xmlns:a16="http://schemas.microsoft.com/office/drawing/2014/main" id="{988A04C6-2146-9C2E-173B-D6AFA4644763}"/>
              </a:ext>
            </a:extLst>
          </p:cNvPr>
          <p:cNvGrpSpPr/>
          <p:nvPr/>
        </p:nvGrpSpPr>
        <p:grpSpPr>
          <a:xfrm>
            <a:off x="12204407" y="4957886"/>
            <a:ext cx="1433519" cy="1433519"/>
            <a:chOff x="12131556" y="5077803"/>
            <a:chExt cx="1433519" cy="1433519"/>
          </a:xfrm>
        </p:grpSpPr>
        <p:sp>
          <p:nvSpPr>
            <p:cNvPr id="166" name="Oval 165">
              <a:extLst>
                <a:ext uri="{FF2B5EF4-FFF2-40B4-BE49-F238E27FC236}">
                  <a16:creationId xmlns:a16="http://schemas.microsoft.com/office/drawing/2014/main" id="{E2EB6C54-291A-CCE9-DB15-D7AFC88BD437}"/>
                </a:ext>
              </a:extLst>
            </p:cNvPr>
            <p:cNvSpPr/>
            <p:nvPr/>
          </p:nvSpPr>
          <p:spPr>
            <a:xfrm>
              <a:off x="12131556" y="5077803"/>
              <a:ext cx="1433519" cy="1433519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>
                <a:defRPr/>
              </a:pPr>
              <a:endParaRPr lang="en-US" sz="2160">
                <a:solidFill>
                  <a:prstClr val="white"/>
                </a:solidFill>
                <a:latin typeface="+mn-ea"/>
              </a:endParaRPr>
            </a:p>
          </p:txBody>
        </p:sp>
        <p:sp>
          <p:nvSpPr>
            <p:cNvPr id="167" name="Rectangle 166">
              <a:extLst>
                <a:ext uri="{FF2B5EF4-FFF2-40B4-BE49-F238E27FC236}">
                  <a16:creationId xmlns:a16="http://schemas.microsoft.com/office/drawing/2014/main" id="{41AC9F79-4459-9D84-F9D8-04160D9CEAD8}"/>
                </a:ext>
              </a:extLst>
            </p:cNvPr>
            <p:cNvSpPr/>
            <p:nvPr/>
          </p:nvSpPr>
          <p:spPr>
            <a:xfrm>
              <a:off x="12214819" y="5342087"/>
              <a:ext cx="1236522" cy="94551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88" lvl="2" algn="ctr" defTabSz="1097280">
                <a:lnSpc>
                  <a:spcPct val="90000"/>
                </a:lnSpc>
                <a:buClr>
                  <a:srgbClr val="41869F"/>
                </a:buClr>
                <a:buSzPct val="125000"/>
                <a:defRPr/>
              </a:pPr>
              <a:r>
                <a:rPr lang="en-US" altLang="pl-PL" sz="3600" b="1">
                  <a:solidFill>
                    <a:schemeClr val="bg1"/>
                  </a:solidFill>
                  <a:latin typeface="+mn-ea"/>
                  <a:cs typeface="Arial" panose="020B0604020202020204" pitchFamily="34" charset="0"/>
                  <a:sym typeface="Open Sans" pitchFamily="34" charset="0"/>
                </a:rPr>
                <a:t>10%</a:t>
              </a:r>
              <a:br>
                <a:rPr lang="en-US" altLang="pl-PL" sz="2560">
                  <a:solidFill>
                    <a:prstClr val="white"/>
                  </a:solidFill>
                  <a:latin typeface="+mn-ea"/>
                  <a:cs typeface="Arial" pitchFamily="34" charset="0"/>
                  <a:sym typeface="Open Sans" pitchFamily="34" charset="0"/>
                </a:rPr>
              </a:br>
              <a:r>
                <a:rPr lang="en-US" altLang="pl-PL" sz="1280">
                  <a:solidFill>
                    <a:prstClr val="white"/>
                  </a:solidFill>
                  <a:latin typeface="+mn-ea"/>
                  <a:cs typeface="Open Sans"/>
                  <a:sym typeface="Open Sans" pitchFamily="34" charset="0"/>
                </a:rPr>
                <a:t>Offers accepted</a:t>
              </a:r>
            </a:p>
          </p:txBody>
        </p:sp>
      </p:grpSp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id="{5069EF1D-37F4-E4AA-2736-19E1147811EC}"/>
              </a:ext>
            </a:extLst>
          </p:cNvPr>
          <p:cNvCxnSpPr>
            <a:cxnSpLocks/>
          </p:cNvCxnSpPr>
          <p:nvPr/>
        </p:nvCxnSpPr>
        <p:spPr>
          <a:xfrm>
            <a:off x="2514676" y="5234965"/>
            <a:ext cx="0" cy="1727538"/>
          </a:xfrm>
          <a:prstGeom prst="line">
            <a:avLst/>
          </a:prstGeom>
          <a:ln w="12700" cap="rnd">
            <a:gradFill>
              <a:gsLst>
                <a:gs pos="100000">
                  <a:schemeClr val="accent1">
                    <a:lumMod val="20000"/>
                    <a:lumOff val="80000"/>
                    <a:alpha val="0"/>
                  </a:schemeClr>
                </a:gs>
                <a:gs pos="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Straight Connector 169">
            <a:extLst>
              <a:ext uri="{FF2B5EF4-FFF2-40B4-BE49-F238E27FC236}">
                <a16:creationId xmlns:a16="http://schemas.microsoft.com/office/drawing/2014/main" id="{ECCE85BB-B712-04EF-0A31-761A6E90ECFD}"/>
              </a:ext>
            </a:extLst>
          </p:cNvPr>
          <p:cNvCxnSpPr>
            <a:cxnSpLocks/>
          </p:cNvCxnSpPr>
          <p:nvPr/>
        </p:nvCxnSpPr>
        <p:spPr>
          <a:xfrm>
            <a:off x="4366336" y="5160682"/>
            <a:ext cx="0" cy="1268693"/>
          </a:xfrm>
          <a:prstGeom prst="line">
            <a:avLst/>
          </a:prstGeom>
          <a:ln w="12700" cap="rnd">
            <a:gradFill>
              <a:gsLst>
                <a:gs pos="100000">
                  <a:schemeClr val="accent1">
                    <a:lumMod val="20000"/>
                    <a:lumOff val="80000"/>
                    <a:alpha val="0"/>
                  </a:schemeClr>
                </a:gs>
                <a:gs pos="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2" name="Straight Connector 171">
            <a:extLst>
              <a:ext uri="{FF2B5EF4-FFF2-40B4-BE49-F238E27FC236}">
                <a16:creationId xmlns:a16="http://schemas.microsoft.com/office/drawing/2014/main" id="{2042A6D5-0F5C-0238-C516-478E6D8B7781}"/>
              </a:ext>
            </a:extLst>
          </p:cNvPr>
          <p:cNvCxnSpPr>
            <a:cxnSpLocks/>
          </p:cNvCxnSpPr>
          <p:nvPr/>
        </p:nvCxnSpPr>
        <p:spPr>
          <a:xfrm flipH="1">
            <a:off x="6225690" y="5088244"/>
            <a:ext cx="10466" cy="1099917"/>
          </a:xfrm>
          <a:prstGeom prst="line">
            <a:avLst/>
          </a:prstGeom>
          <a:ln w="12700" cap="rnd">
            <a:gradFill>
              <a:gsLst>
                <a:gs pos="100000">
                  <a:schemeClr val="accent1">
                    <a:lumMod val="20000"/>
                    <a:lumOff val="80000"/>
                    <a:alpha val="0"/>
                  </a:schemeClr>
                </a:gs>
                <a:gs pos="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Connector 173">
            <a:extLst>
              <a:ext uri="{FF2B5EF4-FFF2-40B4-BE49-F238E27FC236}">
                <a16:creationId xmlns:a16="http://schemas.microsoft.com/office/drawing/2014/main" id="{90944509-0547-895D-31FB-83BDAC854903}"/>
              </a:ext>
            </a:extLst>
          </p:cNvPr>
          <p:cNvCxnSpPr>
            <a:cxnSpLocks/>
          </p:cNvCxnSpPr>
          <p:nvPr/>
        </p:nvCxnSpPr>
        <p:spPr>
          <a:xfrm>
            <a:off x="8115376" y="5060681"/>
            <a:ext cx="0" cy="1127480"/>
          </a:xfrm>
          <a:prstGeom prst="line">
            <a:avLst/>
          </a:prstGeom>
          <a:ln w="12700" cap="rnd">
            <a:gradFill>
              <a:gsLst>
                <a:gs pos="100000">
                  <a:schemeClr val="accent1">
                    <a:lumMod val="20000"/>
                    <a:lumOff val="80000"/>
                    <a:alpha val="0"/>
                  </a:schemeClr>
                </a:gs>
                <a:gs pos="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646F7272-7D71-03E3-92BE-9CE58174E9EB}"/>
              </a:ext>
            </a:extLst>
          </p:cNvPr>
          <p:cNvCxnSpPr>
            <a:cxnSpLocks/>
          </p:cNvCxnSpPr>
          <p:nvPr/>
        </p:nvCxnSpPr>
        <p:spPr>
          <a:xfrm>
            <a:off x="9997516" y="4968218"/>
            <a:ext cx="0" cy="1153664"/>
          </a:xfrm>
          <a:prstGeom prst="line">
            <a:avLst/>
          </a:prstGeom>
          <a:ln w="12700" cap="rnd">
            <a:gradFill>
              <a:gsLst>
                <a:gs pos="100000">
                  <a:schemeClr val="accent1">
                    <a:lumMod val="20000"/>
                    <a:lumOff val="80000"/>
                    <a:alpha val="0"/>
                  </a:schemeClr>
                </a:gs>
                <a:gs pos="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0C87D9EC-2A12-D52D-67BB-D862D2ECAC14}"/>
              </a:ext>
            </a:extLst>
          </p:cNvPr>
          <p:cNvCxnSpPr>
            <a:cxnSpLocks/>
          </p:cNvCxnSpPr>
          <p:nvPr/>
        </p:nvCxnSpPr>
        <p:spPr>
          <a:xfrm>
            <a:off x="11874576" y="4906156"/>
            <a:ext cx="0" cy="1215726"/>
          </a:xfrm>
          <a:prstGeom prst="line">
            <a:avLst/>
          </a:prstGeom>
          <a:ln w="12700" cap="rnd">
            <a:gradFill>
              <a:gsLst>
                <a:gs pos="100000">
                  <a:schemeClr val="accent1">
                    <a:lumMod val="20000"/>
                    <a:lumOff val="80000"/>
                    <a:alpha val="0"/>
                  </a:schemeClr>
                </a:gs>
                <a:gs pos="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4392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6FD10F-5CDA-A2C4-1F9E-83EA59E9B3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DAC95FE-10E0-64E6-4F72-B9039F52DB8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pPr marL="0" marR="0" lvl="0" indent="0" algn="l" defTabSz="1463040" fontAlgn="auto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SzTx/>
              <a:buNone/>
              <a:defRPr kumimoji="0" sz="3600" b="1" i="0" u="none" strike="noStrike" cap="none" spc="0" normalizeH="0" baseline="0" noProof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5F249F"/>
                </a:solidFill>
                <a:uLnTx/>
                <a:uFillTx/>
                <a:latin typeface="+mj-lt"/>
                <a:ea typeface="+mj-ea"/>
                <a:cs typeface="+mj-cs"/>
                <a:sym typeface="Wingdings" charset="2"/>
              </a:defRPr>
            </a:pPr>
            <a:r>
              <a:rPr kumimoji="0" lang="en-US" sz="3600" b="1" i="0" u="none" strike="noStrike" cap="none" spc="0" normalizeH="0" baseline="0" noProof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5F249F"/>
                </a:solidFill>
                <a:uLnTx/>
                <a:uFillTx/>
                <a:latin typeface="+mj-lt"/>
                <a:ea typeface="+mj-ea"/>
                <a:cs typeface="+mj-cs"/>
                <a:sym typeface="Wingdings" charset="2"/>
              </a:rPr>
              <a:t>Employee Cycle at DXC &amp; Talent Retention</a:t>
            </a:r>
            <a:endParaRPr kumimoji="0" lang="en-US" sz="3600" b="1" i="0" u="none" strike="noStrike" cap="none" spc="0" normalizeH="0" baseline="0" noProof="0"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solidFill>
                <a:srgbClr val="5F249F"/>
              </a:solidFill>
              <a:uLnTx/>
              <a:uFillTx/>
              <a:latin typeface="+mn-lt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F4393CD5-FE67-5C82-638A-DAE9F7C48F8C}"/>
              </a:ext>
            </a:extLst>
          </p:cNvPr>
          <p:cNvSpPr txBox="1"/>
          <p:nvPr/>
        </p:nvSpPr>
        <p:spPr>
          <a:xfrm>
            <a:off x="912779" y="-3058220"/>
            <a:ext cx="1891268" cy="2357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1097280">
              <a:lnSpc>
                <a:spcPct val="90000"/>
              </a:lnSpc>
              <a:defRPr/>
            </a:pPr>
            <a:r>
              <a:rPr lang="en-US" sz="1440">
                <a:solidFill>
                  <a:schemeClr val="accent1">
                    <a:lumMod val="50000"/>
                  </a:schemeClr>
                </a:solidFill>
                <a:latin typeface="+mn-ea"/>
              </a:rPr>
              <a:t>Pipeline Generation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F869F97-5A6A-39C4-43E5-388212F5B2C0}"/>
              </a:ext>
            </a:extLst>
          </p:cNvPr>
          <p:cNvGrpSpPr/>
          <p:nvPr/>
        </p:nvGrpSpPr>
        <p:grpSpPr>
          <a:xfrm>
            <a:off x="542338" y="1539579"/>
            <a:ext cx="5149586" cy="5150441"/>
            <a:chOff x="594086" y="1334376"/>
            <a:chExt cx="4708185" cy="4708966"/>
          </a:xfrm>
        </p:grpSpPr>
        <p:sp>
          <p:nvSpPr>
            <p:cNvPr id="6" name="Freeform 2">
              <a:extLst>
                <a:ext uri="{FF2B5EF4-FFF2-40B4-BE49-F238E27FC236}">
                  <a16:creationId xmlns:a16="http://schemas.microsoft.com/office/drawing/2014/main" id="{1B59981C-C6CD-1C62-E2DD-213AA6FC54A2}"/>
                </a:ext>
              </a:extLst>
            </p:cNvPr>
            <p:cNvSpPr/>
            <p:nvPr/>
          </p:nvSpPr>
          <p:spPr>
            <a:xfrm rot="5400000">
              <a:off x="821968" y="1558524"/>
              <a:ext cx="1520965" cy="152096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593" h="4593">
                  <a:moveTo>
                    <a:pt x="2968" y="0"/>
                  </a:moveTo>
                  <a:cubicBezTo>
                    <a:pt x="0" y="1218"/>
                    <a:pt x="0" y="1218"/>
                    <a:pt x="0" y="1218"/>
                  </a:cubicBezTo>
                  <a:cubicBezTo>
                    <a:pt x="718" y="2687"/>
                    <a:pt x="1906" y="3875"/>
                    <a:pt x="3375" y="4593"/>
                  </a:cubicBezTo>
                  <a:cubicBezTo>
                    <a:pt x="4593" y="1656"/>
                    <a:pt x="4593" y="1656"/>
                    <a:pt x="4593" y="1656"/>
                  </a:cubicBezTo>
                  <a:cubicBezTo>
                    <a:pt x="3906" y="1281"/>
                    <a:pt x="3312" y="687"/>
                    <a:pt x="2968" y="0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cap="flat">
              <a:noFill/>
              <a:prstDash val="solid"/>
            </a:ln>
          </p:spPr>
          <p:txBody>
            <a:bodyPr vert="horz" wrap="none" lIns="108000" tIns="54000" rIns="108000" bIns="54000" anchor="ctr" anchorCtr="1" compatLnSpc="0"/>
            <a:lstStyle/>
            <a:p>
              <a:pPr defTabSz="1097280" hangingPunct="0">
                <a:defRPr/>
              </a:pPr>
              <a:endParaRPr lang="x-none" sz="2160">
                <a:solidFill>
                  <a:prstClr val="black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" name="Freeform 3">
              <a:extLst>
                <a:ext uri="{FF2B5EF4-FFF2-40B4-BE49-F238E27FC236}">
                  <a16:creationId xmlns:a16="http://schemas.microsoft.com/office/drawing/2014/main" id="{90A63005-02E5-070F-C066-50E937A0106A}"/>
                </a:ext>
              </a:extLst>
            </p:cNvPr>
            <p:cNvSpPr/>
            <p:nvPr/>
          </p:nvSpPr>
          <p:spPr>
            <a:xfrm rot="5400000">
              <a:off x="356104" y="3131657"/>
              <a:ext cx="1583236" cy="110727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781" h="3344">
                  <a:moveTo>
                    <a:pt x="2406" y="156"/>
                  </a:moveTo>
                  <a:cubicBezTo>
                    <a:pt x="2000" y="156"/>
                    <a:pt x="1625" y="94"/>
                    <a:pt x="1250" y="0"/>
                  </a:cubicBezTo>
                  <a:cubicBezTo>
                    <a:pt x="0" y="2938"/>
                    <a:pt x="0" y="2938"/>
                    <a:pt x="0" y="2938"/>
                  </a:cubicBezTo>
                  <a:cubicBezTo>
                    <a:pt x="750" y="3188"/>
                    <a:pt x="1562" y="3344"/>
                    <a:pt x="2406" y="3344"/>
                  </a:cubicBezTo>
                  <a:cubicBezTo>
                    <a:pt x="3250" y="3344"/>
                    <a:pt x="4031" y="3188"/>
                    <a:pt x="4781" y="2938"/>
                  </a:cubicBezTo>
                  <a:cubicBezTo>
                    <a:pt x="3562" y="0"/>
                    <a:pt x="3562" y="0"/>
                    <a:pt x="3562" y="0"/>
                  </a:cubicBezTo>
                  <a:cubicBezTo>
                    <a:pt x="3187" y="125"/>
                    <a:pt x="2812" y="156"/>
                    <a:pt x="2406" y="156"/>
                  </a:cubicBezTo>
                  <a:close/>
                </a:path>
              </a:pathLst>
            </a:custGeom>
            <a:solidFill>
              <a:schemeClr val="tx2"/>
            </a:solidFill>
            <a:ln cap="flat">
              <a:noFill/>
              <a:prstDash val="solid"/>
            </a:ln>
          </p:spPr>
          <p:txBody>
            <a:bodyPr vert="horz" wrap="none" lIns="108000" tIns="54000" rIns="108000" bIns="54000" anchor="ctr" anchorCtr="1" compatLnSpc="0"/>
            <a:lstStyle/>
            <a:p>
              <a:pPr defTabSz="1097280" hangingPunct="0">
                <a:defRPr/>
              </a:pPr>
              <a:endParaRPr lang="x-none" sz="2160">
                <a:solidFill>
                  <a:prstClr val="black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" name="Freeform 4">
              <a:extLst>
                <a:ext uri="{FF2B5EF4-FFF2-40B4-BE49-F238E27FC236}">
                  <a16:creationId xmlns:a16="http://schemas.microsoft.com/office/drawing/2014/main" id="{B155D71A-0321-988F-A5B7-14322B6C927A}"/>
                </a:ext>
              </a:extLst>
            </p:cNvPr>
            <p:cNvSpPr/>
            <p:nvPr/>
          </p:nvSpPr>
          <p:spPr>
            <a:xfrm>
              <a:off x="4184733" y="2907675"/>
              <a:ext cx="1117538" cy="157296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375" h="4750">
                  <a:moveTo>
                    <a:pt x="188" y="2344"/>
                  </a:moveTo>
                  <a:cubicBezTo>
                    <a:pt x="188" y="2781"/>
                    <a:pt x="125" y="3156"/>
                    <a:pt x="0" y="3531"/>
                  </a:cubicBezTo>
                  <a:cubicBezTo>
                    <a:pt x="2938" y="4750"/>
                    <a:pt x="2938" y="4750"/>
                    <a:pt x="2938" y="4750"/>
                  </a:cubicBezTo>
                  <a:cubicBezTo>
                    <a:pt x="3219" y="4000"/>
                    <a:pt x="3375" y="3188"/>
                    <a:pt x="3375" y="2344"/>
                  </a:cubicBezTo>
                  <a:cubicBezTo>
                    <a:pt x="3375" y="1531"/>
                    <a:pt x="3219" y="750"/>
                    <a:pt x="2969" y="0"/>
                  </a:cubicBezTo>
                  <a:cubicBezTo>
                    <a:pt x="31" y="1219"/>
                    <a:pt x="31" y="1219"/>
                    <a:pt x="31" y="1219"/>
                  </a:cubicBezTo>
                  <a:cubicBezTo>
                    <a:pt x="125" y="1563"/>
                    <a:pt x="188" y="1969"/>
                    <a:pt x="188" y="2344"/>
                  </a:cubicBezTo>
                  <a:close/>
                </a:path>
              </a:pathLst>
            </a:custGeom>
            <a:solidFill>
              <a:schemeClr val="accent5"/>
            </a:solidFill>
            <a:ln cap="flat">
              <a:noFill/>
              <a:prstDash val="solid"/>
            </a:ln>
          </p:spPr>
          <p:txBody>
            <a:bodyPr vert="horz" wrap="none" lIns="108000" tIns="54000" rIns="108000" bIns="54000" anchor="ctr" anchorCtr="1" compatLnSpc="0"/>
            <a:lstStyle/>
            <a:p>
              <a:pPr defTabSz="1097280" hangingPunct="0">
                <a:defRPr/>
              </a:pPr>
              <a:endParaRPr lang="x-none" sz="2160">
                <a:solidFill>
                  <a:prstClr val="black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B06CF7BB-8CC0-344D-4581-C892F21AFE53}"/>
                </a:ext>
              </a:extLst>
            </p:cNvPr>
            <p:cNvSpPr/>
            <p:nvPr/>
          </p:nvSpPr>
          <p:spPr>
            <a:xfrm>
              <a:off x="3553425" y="4304764"/>
              <a:ext cx="1510698" cy="151069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562" h="4562">
                  <a:moveTo>
                    <a:pt x="0" y="1625"/>
                  </a:moveTo>
                  <a:cubicBezTo>
                    <a:pt x="1187" y="4562"/>
                    <a:pt x="1187" y="4562"/>
                    <a:pt x="1187" y="4562"/>
                  </a:cubicBezTo>
                  <a:cubicBezTo>
                    <a:pt x="2687" y="3875"/>
                    <a:pt x="3875" y="2687"/>
                    <a:pt x="4562" y="1219"/>
                  </a:cubicBezTo>
                  <a:cubicBezTo>
                    <a:pt x="1625" y="0"/>
                    <a:pt x="1625" y="0"/>
                    <a:pt x="1625" y="0"/>
                  </a:cubicBezTo>
                  <a:cubicBezTo>
                    <a:pt x="1281" y="687"/>
                    <a:pt x="687" y="1250"/>
                    <a:pt x="0" y="1625"/>
                  </a:cubicBezTo>
                  <a:close/>
                </a:path>
              </a:pathLst>
            </a:custGeom>
            <a:solidFill>
              <a:schemeClr val="accent3"/>
            </a:solidFill>
            <a:ln cap="flat">
              <a:noFill/>
              <a:prstDash val="solid"/>
            </a:ln>
          </p:spPr>
          <p:txBody>
            <a:bodyPr vert="horz" wrap="none" lIns="108000" tIns="54000" rIns="108000" bIns="54000" anchor="ctr" anchorCtr="1" compatLnSpc="0"/>
            <a:lstStyle/>
            <a:p>
              <a:pPr defTabSz="1097280" hangingPunct="0">
                <a:defRPr/>
              </a:pPr>
              <a:endParaRPr lang="x-none" sz="2160">
                <a:solidFill>
                  <a:prstClr val="black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3447D4FB-B46F-2ADE-C26C-B7858AEB808B}"/>
                </a:ext>
              </a:extLst>
            </p:cNvPr>
            <p:cNvGrpSpPr/>
            <p:nvPr/>
          </p:nvGrpSpPr>
          <p:grpSpPr>
            <a:xfrm>
              <a:off x="810917" y="1562256"/>
              <a:ext cx="4263803" cy="4253205"/>
              <a:chOff x="4209544" y="2406576"/>
              <a:chExt cx="3741080" cy="3731780"/>
            </a:xfrm>
          </p:grpSpPr>
          <p:sp>
            <p:nvSpPr>
              <p:cNvPr id="35" name="Freeform 7">
                <a:extLst>
                  <a:ext uri="{FF2B5EF4-FFF2-40B4-BE49-F238E27FC236}">
                    <a16:creationId xmlns:a16="http://schemas.microsoft.com/office/drawing/2014/main" id="{E532C15E-3C4E-15D5-9253-365353BA0ED0}"/>
                  </a:ext>
                </a:extLst>
              </p:cNvPr>
              <p:cNvSpPr/>
              <p:nvPr/>
            </p:nvSpPr>
            <p:spPr>
              <a:xfrm>
                <a:off x="6615831" y="2406576"/>
                <a:ext cx="1334793" cy="1334501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4594" h="4593">
                    <a:moveTo>
                      <a:pt x="1656" y="4593"/>
                    </a:moveTo>
                    <a:cubicBezTo>
                      <a:pt x="4594" y="3375"/>
                      <a:pt x="4594" y="3375"/>
                      <a:pt x="4594" y="3375"/>
                    </a:cubicBezTo>
                    <a:cubicBezTo>
                      <a:pt x="3906" y="1906"/>
                      <a:pt x="2719" y="718"/>
                      <a:pt x="1250" y="0"/>
                    </a:cubicBezTo>
                    <a:cubicBezTo>
                      <a:pt x="0" y="2937"/>
                      <a:pt x="0" y="2937"/>
                      <a:pt x="0" y="2937"/>
                    </a:cubicBezTo>
                    <a:cubicBezTo>
                      <a:pt x="719" y="3312"/>
                      <a:pt x="1281" y="3906"/>
                      <a:pt x="1656" y="4593"/>
                    </a:cubicBez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 cap="flat">
                <a:noFill/>
                <a:prstDash val="solid"/>
              </a:ln>
            </p:spPr>
            <p:txBody>
              <a:bodyPr vert="horz" wrap="none" lIns="108000" tIns="54000" rIns="108000" bIns="54000" anchor="ctr" anchorCtr="1" compatLnSpc="0"/>
              <a:lstStyle/>
              <a:p>
                <a:pPr defTabSz="1097280" hangingPunct="0">
                  <a:defRPr/>
                </a:pPr>
                <a:endParaRPr lang="x-none" sz="2160">
                  <a:solidFill>
                    <a:prstClr val="black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36" name="Freeform 8">
                <a:extLst>
                  <a:ext uri="{FF2B5EF4-FFF2-40B4-BE49-F238E27FC236}">
                    <a16:creationId xmlns:a16="http://schemas.microsoft.com/office/drawing/2014/main" id="{86944C23-5F8D-A928-F2B7-50F45B09AD8B}"/>
                  </a:ext>
                </a:extLst>
              </p:cNvPr>
              <p:cNvSpPr/>
              <p:nvPr/>
            </p:nvSpPr>
            <p:spPr>
              <a:xfrm>
                <a:off x="4209543" y="4803855"/>
                <a:ext cx="1334501" cy="1334501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4593" h="4593">
                    <a:moveTo>
                      <a:pt x="2968" y="0"/>
                    </a:moveTo>
                    <a:cubicBezTo>
                      <a:pt x="0" y="1218"/>
                      <a:pt x="0" y="1218"/>
                      <a:pt x="0" y="1218"/>
                    </a:cubicBezTo>
                    <a:cubicBezTo>
                      <a:pt x="718" y="2687"/>
                      <a:pt x="1906" y="3875"/>
                      <a:pt x="3375" y="4593"/>
                    </a:cubicBezTo>
                    <a:cubicBezTo>
                      <a:pt x="4593" y="1656"/>
                      <a:pt x="4593" y="1656"/>
                      <a:pt x="4593" y="1656"/>
                    </a:cubicBezTo>
                    <a:cubicBezTo>
                      <a:pt x="3906" y="1281"/>
                      <a:pt x="3312" y="687"/>
                      <a:pt x="2968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 cap="flat">
                <a:noFill/>
                <a:prstDash val="solid"/>
              </a:ln>
            </p:spPr>
            <p:txBody>
              <a:bodyPr vert="horz" wrap="none" lIns="108000" tIns="54000" rIns="108000" bIns="54000" anchor="ctr" anchorCtr="1" compatLnSpc="0"/>
              <a:lstStyle/>
              <a:p>
                <a:pPr defTabSz="1097280" hangingPunct="0">
                  <a:defRPr/>
                </a:pPr>
                <a:endParaRPr lang="x-none" sz="2160">
                  <a:solidFill>
                    <a:prstClr val="black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BF5B3022-15E7-FFB0-4FB9-E46B0DD33EFA}"/>
                </a:ext>
              </a:extLst>
            </p:cNvPr>
            <p:cNvGrpSpPr/>
            <p:nvPr/>
          </p:nvGrpSpPr>
          <p:grpSpPr>
            <a:xfrm>
              <a:off x="2146068" y="1334376"/>
              <a:ext cx="1593503" cy="4708966"/>
              <a:chOff x="5381010" y="2206633"/>
              <a:chExt cx="1398146" cy="4131667"/>
            </a:xfrm>
          </p:grpSpPr>
          <p:sp>
            <p:nvSpPr>
              <p:cNvPr id="33" name="Freeform 10">
                <a:extLst>
                  <a:ext uri="{FF2B5EF4-FFF2-40B4-BE49-F238E27FC236}">
                    <a16:creationId xmlns:a16="http://schemas.microsoft.com/office/drawing/2014/main" id="{A99DF099-8933-226A-26B4-BD3213C5C7AA}"/>
                  </a:ext>
                </a:extLst>
              </p:cNvPr>
              <p:cNvSpPr/>
              <p:nvPr/>
            </p:nvSpPr>
            <p:spPr>
              <a:xfrm>
                <a:off x="5399027" y="2206633"/>
                <a:ext cx="1380129" cy="971524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4750" h="3344">
                    <a:moveTo>
                      <a:pt x="2344" y="3188"/>
                    </a:moveTo>
                    <a:cubicBezTo>
                      <a:pt x="2750" y="3188"/>
                      <a:pt x="3157" y="3250"/>
                      <a:pt x="3532" y="3344"/>
                    </a:cubicBezTo>
                    <a:cubicBezTo>
                      <a:pt x="4750" y="406"/>
                      <a:pt x="4750" y="406"/>
                      <a:pt x="4750" y="406"/>
                    </a:cubicBezTo>
                    <a:cubicBezTo>
                      <a:pt x="4000" y="156"/>
                      <a:pt x="3188" y="0"/>
                      <a:pt x="2344" y="0"/>
                    </a:cubicBezTo>
                    <a:cubicBezTo>
                      <a:pt x="1532" y="0"/>
                      <a:pt x="719" y="125"/>
                      <a:pt x="0" y="406"/>
                    </a:cubicBezTo>
                    <a:cubicBezTo>
                      <a:pt x="1188" y="3344"/>
                      <a:pt x="1188" y="3344"/>
                      <a:pt x="1188" y="3344"/>
                    </a:cubicBezTo>
                    <a:cubicBezTo>
                      <a:pt x="1563" y="3219"/>
                      <a:pt x="1938" y="3188"/>
                      <a:pt x="2344" y="3188"/>
                    </a:cubicBezTo>
                    <a:close/>
                  </a:path>
                </a:pathLst>
              </a:custGeom>
              <a:solidFill>
                <a:schemeClr val="accent1"/>
              </a:solidFill>
              <a:ln cap="flat">
                <a:noFill/>
                <a:prstDash val="solid"/>
              </a:ln>
            </p:spPr>
            <p:txBody>
              <a:bodyPr vert="horz" wrap="none" lIns="108000" tIns="54000" rIns="108000" bIns="54000" anchor="ctr" anchorCtr="1" compatLnSpc="0"/>
              <a:lstStyle/>
              <a:p>
                <a:pPr defTabSz="1097280" hangingPunct="0">
                  <a:defRPr/>
                </a:pPr>
                <a:endParaRPr lang="x-none" sz="2160">
                  <a:solidFill>
                    <a:prstClr val="black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34" name="Freeform 11">
                <a:extLst>
                  <a:ext uri="{FF2B5EF4-FFF2-40B4-BE49-F238E27FC236}">
                    <a16:creationId xmlns:a16="http://schemas.microsoft.com/office/drawing/2014/main" id="{DF86AF95-FCF1-965A-D670-E079C876C9C7}"/>
                  </a:ext>
                </a:extLst>
              </p:cNvPr>
              <p:cNvSpPr/>
              <p:nvPr/>
            </p:nvSpPr>
            <p:spPr>
              <a:xfrm>
                <a:off x="5381010" y="5366776"/>
                <a:ext cx="1389138" cy="971524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4781" h="3344">
                    <a:moveTo>
                      <a:pt x="2406" y="156"/>
                    </a:moveTo>
                    <a:cubicBezTo>
                      <a:pt x="2000" y="156"/>
                      <a:pt x="1625" y="94"/>
                      <a:pt x="1250" y="0"/>
                    </a:cubicBezTo>
                    <a:cubicBezTo>
                      <a:pt x="0" y="2938"/>
                      <a:pt x="0" y="2938"/>
                      <a:pt x="0" y="2938"/>
                    </a:cubicBezTo>
                    <a:cubicBezTo>
                      <a:pt x="750" y="3188"/>
                      <a:pt x="1562" y="3344"/>
                      <a:pt x="2406" y="3344"/>
                    </a:cubicBezTo>
                    <a:cubicBezTo>
                      <a:pt x="3250" y="3344"/>
                      <a:pt x="4031" y="3188"/>
                      <a:pt x="4781" y="2938"/>
                    </a:cubicBezTo>
                    <a:cubicBezTo>
                      <a:pt x="3562" y="0"/>
                      <a:pt x="3562" y="0"/>
                      <a:pt x="3562" y="0"/>
                    </a:cubicBezTo>
                    <a:cubicBezTo>
                      <a:pt x="3187" y="125"/>
                      <a:pt x="2812" y="156"/>
                      <a:pt x="2406" y="156"/>
                    </a:cubicBezTo>
                    <a:close/>
                  </a:path>
                </a:pathLst>
              </a:custGeom>
              <a:solidFill>
                <a:schemeClr val="accent4"/>
              </a:solidFill>
              <a:ln cap="flat">
                <a:noFill/>
                <a:prstDash val="solid"/>
              </a:ln>
            </p:spPr>
            <p:txBody>
              <a:bodyPr vert="horz" wrap="none" lIns="108000" tIns="54000" rIns="108000" bIns="54000" anchor="ctr" anchorCtr="1" compatLnSpc="0"/>
              <a:lstStyle/>
              <a:p>
                <a:pPr defTabSz="1097280" hangingPunct="0">
                  <a:defRPr/>
                </a:pPr>
                <a:endParaRPr lang="x-none" sz="2160">
                  <a:solidFill>
                    <a:prstClr val="black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</p:grpSp>
        <p:sp>
          <p:nvSpPr>
            <p:cNvPr id="16" name="Shape 1406">
              <a:extLst>
                <a:ext uri="{FF2B5EF4-FFF2-40B4-BE49-F238E27FC236}">
                  <a16:creationId xmlns:a16="http://schemas.microsoft.com/office/drawing/2014/main" id="{902E6116-0E2D-22B6-C4B9-41D6C106D3CF}"/>
                </a:ext>
              </a:extLst>
            </p:cNvPr>
            <p:cNvSpPr txBox="1"/>
            <p:nvPr/>
          </p:nvSpPr>
          <p:spPr>
            <a:xfrm>
              <a:off x="4001879" y="2247483"/>
              <a:ext cx="906681" cy="52138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defTabSz="1097280">
                <a:buClr>
                  <a:srgbClr val="243E79"/>
                </a:buClr>
                <a:buSzPts val="700"/>
                <a:defRPr/>
              </a:pPr>
              <a:r>
                <a:rPr lang="en-US" sz="1080">
                  <a:solidFill>
                    <a:prstClr val="white"/>
                  </a:solidFill>
                  <a:latin typeface="Open Sans"/>
                  <a:ea typeface="Arial"/>
                  <a:cs typeface="Arial"/>
                  <a:sym typeface="Arial"/>
                </a:rPr>
                <a:t>Ongoing feedback</a:t>
              </a:r>
              <a:endParaRPr sz="1080">
                <a:solidFill>
                  <a:prstClr val="white"/>
                </a:solidFill>
                <a:latin typeface="Open Sans"/>
              </a:endParaRPr>
            </a:p>
          </p:txBody>
        </p:sp>
        <p:sp>
          <p:nvSpPr>
            <p:cNvPr id="17" name="Shape 1418">
              <a:extLst>
                <a:ext uri="{FF2B5EF4-FFF2-40B4-BE49-F238E27FC236}">
                  <a16:creationId xmlns:a16="http://schemas.microsoft.com/office/drawing/2014/main" id="{91F22BC3-149E-14BC-7FE6-84749A633BCD}"/>
                </a:ext>
              </a:extLst>
            </p:cNvPr>
            <p:cNvSpPr txBox="1"/>
            <p:nvPr/>
          </p:nvSpPr>
          <p:spPr>
            <a:xfrm>
              <a:off x="3805111" y="4780968"/>
              <a:ext cx="840187" cy="32385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>
              <a:defPPr>
                <a:defRPr lang="pl-PL"/>
              </a:defPPr>
              <a:lvl1pPr algn="ctr">
                <a:buClr>
                  <a:srgbClr val="243E79"/>
                </a:buClr>
                <a:buSzPts val="700"/>
                <a:defRPr sz="933" b="1">
                  <a:solidFill>
                    <a:srgbClr val="243E79"/>
                  </a:solidFill>
                  <a:ea typeface="Arial"/>
                  <a:cs typeface="Arial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algn="l" defTabSz="1097280">
                <a:defRPr/>
              </a:pPr>
              <a:r>
                <a:rPr lang="en-US" sz="1080" b="0">
                  <a:solidFill>
                    <a:prstClr val="white"/>
                  </a:solidFill>
                  <a:latin typeface="Open Sans"/>
                  <a:sym typeface="Arial"/>
                </a:rPr>
                <a:t>Training and development</a:t>
              </a:r>
              <a:endParaRPr sz="1080" b="0">
                <a:solidFill>
                  <a:prstClr val="white"/>
                </a:solidFill>
                <a:latin typeface="Open Sans"/>
                <a:sym typeface="Arial"/>
              </a:endParaRPr>
            </a:p>
          </p:txBody>
        </p:sp>
        <p:sp>
          <p:nvSpPr>
            <p:cNvPr id="18" name="Shape 1406">
              <a:extLst>
                <a:ext uri="{FF2B5EF4-FFF2-40B4-BE49-F238E27FC236}">
                  <a16:creationId xmlns:a16="http://schemas.microsoft.com/office/drawing/2014/main" id="{152A3DB1-7673-F9EB-5EF2-519D3D40ED1A}"/>
                </a:ext>
              </a:extLst>
            </p:cNvPr>
            <p:cNvSpPr txBox="1"/>
            <p:nvPr/>
          </p:nvSpPr>
          <p:spPr>
            <a:xfrm>
              <a:off x="4439139" y="3443963"/>
              <a:ext cx="787048" cy="50005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>
              <a:defPPr>
                <a:defRPr lang="pl-PL"/>
              </a:defPPr>
              <a:lvl1pPr algn="ctr">
                <a:buClr>
                  <a:srgbClr val="243E79"/>
                </a:buClr>
                <a:buSzPts val="700"/>
                <a:defRPr sz="933" b="1">
                  <a:solidFill>
                    <a:srgbClr val="243E79"/>
                  </a:solidFill>
                  <a:ea typeface="Arial"/>
                  <a:cs typeface="Arial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algn="l" defTabSz="1097280">
                <a:defRPr/>
              </a:pPr>
              <a:r>
                <a:rPr lang="en-US" sz="1080" b="0">
                  <a:solidFill>
                    <a:prstClr val="white"/>
                  </a:solidFill>
                  <a:latin typeface="Open Sans"/>
                  <a:sym typeface="Arial"/>
                </a:rPr>
                <a:t>Yearly Performance appraisal</a:t>
              </a:r>
              <a:endParaRPr sz="1080" b="0">
                <a:solidFill>
                  <a:prstClr val="white"/>
                </a:solidFill>
                <a:latin typeface="Open Sans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2EE08E30-D735-4DDA-93FA-8CF62E1D68FF}"/>
                </a:ext>
              </a:extLst>
            </p:cNvPr>
            <p:cNvSpPr/>
            <p:nvPr/>
          </p:nvSpPr>
          <p:spPr>
            <a:xfrm>
              <a:off x="2516876" y="1623730"/>
              <a:ext cx="845092" cy="45434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1097280">
                <a:buClr>
                  <a:srgbClr val="243E79"/>
                </a:buClr>
                <a:buSzPts val="700"/>
                <a:defRPr/>
              </a:pPr>
              <a:r>
                <a:rPr lang="en-US" sz="1080">
                  <a:solidFill>
                    <a:prstClr val="white"/>
                  </a:solidFill>
                  <a:latin typeface="Open Sans"/>
                  <a:ea typeface="Arial"/>
                  <a:cs typeface="Arial"/>
                  <a:sym typeface="Arial"/>
                </a:rPr>
                <a:t>Probationary Period closed</a:t>
              </a:r>
            </a:p>
            <a:p>
              <a:pPr algn="ctr" defTabSz="1097280">
                <a:buClr>
                  <a:srgbClr val="243E79"/>
                </a:buClr>
                <a:buSzPts val="700"/>
                <a:defRPr/>
              </a:pPr>
              <a:r>
                <a:rPr lang="en-US" sz="1080">
                  <a:solidFill>
                    <a:prstClr val="white"/>
                  </a:solidFill>
                  <a:latin typeface="Open Sans"/>
                  <a:ea typeface="Arial"/>
                  <a:cs typeface="Arial"/>
                  <a:sym typeface="Arial"/>
                </a:rPr>
                <a:t>(after 3M)</a:t>
              </a:r>
              <a:endParaRPr lang="ru-RU" sz="1080">
                <a:solidFill>
                  <a:prstClr val="white"/>
                </a:solidFill>
                <a:ea typeface="Arial"/>
                <a:cs typeface="Arial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10589D0F-F7AF-8B74-4643-7E0BC31FCF76}"/>
                </a:ext>
              </a:extLst>
            </p:cNvPr>
            <p:cNvSpPr/>
            <p:nvPr/>
          </p:nvSpPr>
          <p:spPr>
            <a:xfrm>
              <a:off x="2478754" y="5259764"/>
              <a:ext cx="883214" cy="66743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1097280">
                <a:buClr>
                  <a:srgbClr val="243E79"/>
                </a:buClr>
                <a:buSzPts val="700"/>
                <a:defRPr/>
              </a:pPr>
              <a:r>
                <a:rPr lang="en-US" sz="1080">
                  <a:solidFill>
                    <a:prstClr val="white"/>
                  </a:solidFill>
                  <a:latin typeface="Open Sans"/>
                  <a:ea typeface="Arial"/>
                  <a:cs typeface="Arial"/>
                  <a:sym typeface="Arial"/>
                </a:rPr>
                <a:t>Relocation, mobility, promotion</a:t>
              </a:r>
              <a:endParaRPr lang="ru-RU" sz="1080">
                <a:solidFill>
                  <a:prstClr val="white"/>
                </a:solidFill>
                <a:ea typeface="Arial"/>
                <a:cs typeface="Arial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E95F0A4-B978-4B55-5A49-93A9E5F4EB45}"/>
                </a:ext>
              </a:extLst>
            </p:cNvPr>
            <p:cNvSpPr/>
            <p:nvPr/>
          </p:nvSpPr>
          <p:spPr>
            <a:xfrm>
              <a:off x="1069821" y="4694499"/>
              <a:ext cx="976580" cy="55365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r" defTabSz="1097280">
                <a:buClr>
                  <a:srgbClr val="243E79"/>
                </a:buClr>
                <a:buSzPts val="700"/>
                <a:defRPr/>
              </a:pPr>
              <a:r>
                <a:rPr lang="en-US" sz="1080">
                  <a:solidFill>
                    <a:prstClr val="white"/>
                  </a:solidFill>
                  <a:latin typeface="Open Sans"/>
                  <a:ea typeface="Arial"/>
                  <a:cs typeface="Arial"/>
                  <a:sym typeface="Arial"/>
                </a:rPr>
                <a:t>Introduction meeting for creating goals after 1 week</a:t>
              </a:r>
              <a:endParaRPr lang="ru-RU" sz="1080">
                <a:solidFill>
                  <a:prstClr val="white"/>
                </a:solidFill>
                <a:ea typeface="Arial"/>
                <a:cs typeface="Arial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C285FEA0-6EF1-3CF4-33AA-4CF9DA2A3398}"/>
                </a:ext>
              </a:extLst>
            </p:cNvPr>
            <p:cNvSpPr/>
            <p:nvPr/>
          </p:nvSpPr>
          <p:spPr>
            <a:xfrm>
              <a:off x="706361" y="3466907"/>
              <a:ext cx="791886" cy="51557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r" defTabSz="1097280">
                <a:buClr>
                  <a:srgbClr val="243E79"/>
                </a:buClr>
                <a:buSzPts val="700"/>
                <a:defRPr/>
              </a:pPr>
              <a:r>
                <a:rPr lang="en-US" sz="1080">
                  <a:solidFill>
                    <a:prstClr val="white"/>
                  </a:solidFill>
                  <a:latin typeface="Open Sans"/>
                  <a:ea typeface="Arial"/>
                  <a:cs typeface="Arial"/>
                  <a:sym typeface="Arial"/>
                </a:rPr>
                <a:t>Mood monitoring after 2 weeks</a:t>
              </a:r>
              <a:endParaRPr lang="ru-RU" sz="1080">
                <a:solidFill>
                  <a:prstClr val="white"/>
                </a:solidFill>
                <a:ea typeface="Arial"/>
                <a:cs typeface="Arial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D95EB113-38E7-1592-C17F-B6865A73C644}"/>
                </a:ext>
              </a:extLst>
            </p:cNvPr>
            <p:cNvSpPr/>
            <p:nvPr/>
          </p:nvSpPr>
          <p:spPr>
            <a:xfrm>
              <a:off x="1193818" y="1953815"/>
              <a:ext cx="852583" cy="89321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r" defTabSz="1097280">
                <a:buClr>
                  <a:srgbClr val="243E79"/>
                </a:buClr>
                <a:buSzPts val="700"/>
                <a:defRPr/>
              </a:pPr>
              <a:r>
                <a:rPr lang="en-US" sz="1080">
                  <a:solidFill>
                    <a:prstClr val="white"/>
                  </a:solidFill>
                  <a:latin typeface="Open Sans"/>
                  <a:ea typeface="Arial"/>
                  <a:cs typeface="Arial"/>
                  <a:sym typeface="Arial"/>
                </a:rPr>
                <a:t>Interim meeting  and mood monitoring after 6 weeks</a:t>
              </a:r>
              <a:endParaRPr lang="ru-RU" sz="1080">
                <a:solidFill>
                  <a:prstClr val="white"/>
                </a:solidFill>
                <a:ea typeface="Arial"/>
                <a:cs typeface="Arial"/>
              </a:endParaRP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0330B438-20DE-8D5A-4273-81358A520AE5}"/>
                </a:ext>
              </a:extLst>
            </p:cNvPr>
            <p:cNvGrpSpPr/>
            <p:nvPr/>
          </p:nvGrpSpPr>
          <p:grpSpPr>
            <a:xfrm>
              <a:off x="2174153" y="2999888"/>
              <a:ext cx="1537000" cy="1440937"/>
              <a:chOff x="2174153" y="2999888"/>
              <a:chExt cx="1537000" cy="1440937"/>
            </a:xfrm>
            <a:solidFill>
              <a:schemeClr val="accent3"/>
            </a:solidFill>
          </p:grpSpPr>
          <p:grpSp>
            <p:nvGrpSpPr>
              <p:cNvPr id="27" name="Group 496">
                <a:extLst>
                  <a:ext uri="{FF2B5EF4-FFF2-40B4-BE49-F238E27FC236}">
                    <a16:creationId xmlns:a16="http://schemas.microsoft.com/office/drawing/2014/main" id="{38A171CB-81ED-802A-6E3C-6ACF4E76E65B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2174153" y="2999888"/>
                <a:ext cx="1537000" cy="1440937"/>
                <a:chOff x="1493" y="3206"/>
                <a:chExt cx="304" cy="285"/>
              </a:xfrm>
              <a:grpFill/>
            </p:grpSpPr>
            <p:sp>
              <p:nvSpPr>
                <p:cNvPr id="31" name="Freeform 498">
                  <a:extLst>
                    <a:ext uri="{FF2B5EF4-FFF2-40B4-BE49-F238E27FC236}">
                      <a16:creationId xmlns:a16="http://schemas.microsoft.com/office/drawing/2014/main" id="{4616F660-6CA7-CAA3-1C38-98D339661E9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9" y="3285"/>
                  <a:ext cx="268" cy="206"/>
                </a:xfrm>
                <a:custGeom>
                  <a:avLst/>
                  <a:gdLst>
                    <a:gd name="T0" fmla="*/ 69 w 1237"/>
                    <a:gd name="T1" fmla="*/ 762 h 950"/>
                    <a:gd name="T2" fmla="*/ 69 w 1237"/>
                    <a:gd name="T3" fmla="*/ 843 h 950"/>
                    <a:gd name="T4" fmla="*/ 36 w 1237"/>
                    <a:gd name="T5" fmla="*/ 882 h 950"/>
                    <a:gd name="T6" fmla="*/ 2 w 1237"/>
                    <a:gd name="T7" fmla="*/ 844 h 950"/>
                    <a:gd name="T8" fmla="*/ 0 w 1237"/>
                    <a:gd name="T9" fmla="*/ 674 h 950"/>
                    <a:gd name="T10" fmla="*/ 39 w 1237"/>
                    <a:gd name="T11" fmla="*/ 637 h 950"/>
                    <a:gd name="T12" fmla="*/ 201 w 1237"/>
                    <a:gd name="T13" fmla="*/ 637 h 950"/>
                    <a:gd name="T14" fmla="*/ 219 w 1237"/>
                    <a:gd name="T15" fmla="*/ 640 h 950"/>
                    <a:gd name="T16" fmla="*/ 245 w 1237"/>
                    <a:gd name="T17" fmla="*/ 676 h 950"/>
                    <a:gd name="T18" fmla="*/ 213 w 1237"/>
                    <a:gd name="T19" fmla="*/ 706 h 950"/>
                    <a:gd name="T20" fmla="*/ 123 w 1237"/>
                    <a:gd name="T21" fmla="*/ 710 h 950"/>
                    <a:gd name="T22" fmla="*/ 145 w 1237"/>
                    <a:gd name="T23" fmla="*/ 733 h 950"/>
                    <a:gd name="T24" fmla="*/ 434 w 1237"/>
                    <a:gd name="T25" fmla="*/ 867 h 950"/>
                    <a:gd name="T26" fmla="*/ 1018 w 1237"/>
                    <a:gd name="T27" fmla="*/ 616 h 950"/>
                    <a:gd name="T28" fmla="*/ 1076 w 1237"/>
                    <a:gd name="T29" fmla="*/ 74 h 950"/>
                    <a:gd name="T30" fmla="*/ 1068 w 1237"/>
                    <a:gd name="T31" fmla="*/ 53 h 950"/>
                    <a:gd name="T32" fmla="*/ 1087 w 1237"/>
                    <a:gd name="T33" fmla="*/ 7 h 950"/>
                    <a:gd name="T34" fmla="*/ 1131 w 1237"/>
                    <a:gd name="T35" fmla="*/ 27 h 950"/>
                    <a:gd name="T36" fmla="*/ 1172 w 1237"/>
                    <a:gd name="T37" fmla="*/ 154 h 950"/>
                    <a:gd name="T38" fmla="*/ 847 w 1237"/>
                    <a:gd name="T39" fmla="*/ 862 h 950"/>
                    <a:gd name="T40" fmla="*/ 465 w 1237"/>
                    <a:gd name="T41" fmla="*/ 939 h 950"/>
                    <a:gd name="T42" fmla="*/ 81 w 1237"/>
                    <a:gd name="T43" fmla="*/ 767 h 950"/>
                    <a:gd name="T44" fmla="*/ 77 w 1237"/>
                    <a:gd name="T45" fmla="*/ 763 h 950"/>
                    <a:gd name="T46" fmla="*/ 69 w 1237"/>
                    <a:gd name="T47" fmla="*/ 762 h 9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237" h="950">
                      <a:moveTo>
                        <a:pt x="69" y="762"/>
                      </a:moveTo>
                      <a:cubicBezTo>
                        <a:pt x="69" y="790"/>
                        <a:pt x="69" y="817"/>
                        <a:pt x="69" y="843"/>
                      </a:cubicBezTo>
                      <a:cubicBezTo>
                        <a:pt x="69" y="868"/>
                        <a:pt x="56" y="882"/>
                        <a:pt x="36" y="882"/>
                      </a:cubicBezTo>
                      <a:cubicBezTo>
                        <a:pt x="15" y="882"/>
                        <a:pt x="3" y="869"/>
                        <a:pt x="2" y="844"/>
                      </a:cubicBezTo>
                      <a:cubicBezTo>
                        <a:pt x="1" y="787"/>
                        <a:pt x="1" y="731"/>
                        <a:pt x="0" y="674"/>
                      </a:cubicBezTo>
                      <a:cubicBezTo>
                        <a:pt x="0" y="653"/>
                        <a:pt x="17" y="637"/>
                        <a:pt x="39" y="637"/>
                      </a:cubicBezTo>
                      <a:cubicBezTo>
                        <a:pt x="93" y="636"/>
                        <a:pt x="147" y="637"/>
                        <a:pt x="201" y="637"/>
                      </a:cubicBezTo>
                      <a:cubicBezTo>
                        <a:pt x="207" y="637"/>
                        <a:pt x="213" y="638"/>
                        <a:pt x="219" y="640"/>
                      </a:cubicBezTo>
                      <a:cubicBezTo>
                        <a:pt x="237" y="644"/>
                        <a:pt x="247" y="658"/>
                        <a:pt x="245" y="676"/>
                      </a:cubicBezTo>
                      <a:cubicBezTo>
                        <a:pt x="243" y="693"/>
                        <a:pt x="230" y="705"/>
                        <a:pt x="213" y="706"/>
                      </a:cubicBezTo>
                      <a:cubicBezTo>
                        <a:pt x="184" y="706"/>
                        <a:pt x="154" y="706"/>
                        <a:pt x="123" y="710"/>
                      </a:cubicBezTo>
                      <a:cubicBezTo>
                        <a:pt x="130" y="718"/>
                        <a:pt x="137" y="726"/>
                        <a:pt x="145" y="733"/>
                      </a:cubicBezTo>
                      <a:cubicBezTo>
                        <a:pt x="229" y="805"/>
                        <a:pt x="324" y="854"/>
                        <a:pt x="434" y="867"/>
                      </a:cubicBezTo>
                      <a:cubicBezTo>
                        <a:pt x="677" y="896"/>
                        <a:pt x="878" y="819"/>
                        <a:pt x="1018" y="616"/>
                      </a:cubicBezTo>
                      <a:cubicBezTo>
                        <a:pt x="1133" y="449"/>
                        <a:pt x="1151" y="265"/>
                        <a:pt x="1076" y="74"/>
                      </a:cubicBezTo>
                      <a:cubicBezTo>
                        <a:pt x="1074" y="67"/>
                        <a:pt x="1070" y="60"/>
                        <a:pt x="1068" y="53"/>
                      </a:cubicBezTo>
                      <a:cubicBezTo>
                        <a:pt x="1061" y="33"/>
                        <a:pt x="1069" y="14"/>
                        <a:pt x="1087" y="7"/>
                      </a:cubicBezTo>
                      <a:cubicBezTo>
                        <a:pt x="1104" y="0"/>
                        <a:pt x="1123" y="7"/>
                        <a:pt x="1131" y="27"/>
                      </a:cubicBezTo>
                      <a:cubicBezTo>
                        <a:pt x="1146" y="69"/>
                        <a:pt x="1163" y="111"/>
                        <a:pt x="1172" y="154"/>
                      </a:cubicBezTo>
                      <a:cubicBezTo>
                        <a:pt x="1237" y="436"/>
                        <a:pt x="1098" y="726"/>
                        <a:pt x="847" y="862"/>
                      </a:cubicBezTo>
                      <a:cubicBezTo>
                        <a:pt x="728" y="927"/>
                        <a:pt x="600" y="950"/>
                        <a:pt x="465" y="939"/>
                      </a:cubicBezTo>
                      <a:cubicBezTo>
                        <a:pt x="317" y="927"/>
                        <a:pt x="190" y="869"/>
                        <a:pt x="81" y="767"/>
                      </a:cubicBezTo>
                      <a:cubicBezTo>
                        <a:pt x="80" y="766"/>
                        <a:pt x="78" y="764"/>
                        <a:pt x="77" y="763"/>
                      </a:cubicBezTo>
                      <a:cubicBezTo>
                        <a:pt x="76" y="763"/>
                        <a:pt x="74" y="763"/>
                        <a:pt x="69" y="76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09728" tIns="54864" rIns="109728" bIns="54864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97280">
                    <a:defRPr/>
                  </a:pPr>
                  <a:endParaRPr lang="uk-UA" sz="216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" name="Freeform 499">
                  <a:extLst>
                    <a:ext uri="{FF2B5EF4-FFF2-40B4-BE49-F238E27FC236}">
                      <a16:creationId xmlns:a16="http://schemas.microsoft.com/office/drawing/2014/main" id="{4F6E605F-EE60-A478-1E44-9735A85AC19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93" y="3206"/>
                  <a:ext cx="268" cy="205"/>
                </a:xfrm>
                <a:custGeom>
                  <a:avLst/>
                  <a:gdLst>
                    <a:gd name="T0" fmla="*/ 1173 w 1242"/>
                    <a:gd name="T1" fmla="*/ 182 h 946"/>
                    <a:gd name="T2" fmla="*/ 1173 w 1242"/>
                    <a:gd name="T3" fmla="*/ 119 h 946"/>
                    <a:gd name="T4" fmla="*/ 1173 w 1242"/>
                    <a:gd name="T5" fmla="*/ 93 h 946"/>
                    <a:gd name="T6" fmla="*/ 1207 w 1242"/>
                    <a:gd name="T7" fmla="*/ 63 h 946"/>
                    <a:gd name="T8" fmla="*/ 1239 w 1242"/>
                    <a:gd name="T9" fmla="*/ 93 h 946"/>
                    <a:gd name="T10" fmla="*/ 1240 w 1242"/>
                    <a:gd name="T11" fmla="*/ 181 h 946"/>
                    <a:gd name="T12" fmla="*/ 1241 w 1242"/>
                    <a:gd name="T13" fmla="*/ 269 h 946"/>
                    <a:gd name="T14" fmla="*/ 1203 w 1242"/>
                    <a:gd name="T15" fmla="*/ 308 h 946"/>
                    <a:gd name="T16" fmla="*/ 1036 w 1242"/>
                    <a:gd name="T17" fmla="*/ 308 h 946"/>
                    <a:gd name="T18" fmla="*/ 997 w 1242"/>
                    <a:gd name="T19" fmla="*/ 275 h 946"/>
                    <a:gd name="T20" fmla="*/ 1036 w 1242"/>
                    <a:gd name="T21" fmla="*/ 239 h 946"/>
                    <a:gd name="T22" fmla="*/ 1117 w 1242"/>
                    <a:gd name="T23" fmla="*/ 239 h 946"/>
                    <a:gd name="T24" fmla="*/ 1121 w 1242"/>
                    <a:gd name="T25" fmla="*/ 232 h 946"/>
                    <a:gd name="T26" fmla="*/ 1097 w 1242"/>
                    <a:gd name="T27" fmla="*/ 213 h 946"/>
                    <a:gd name="T28" fmla="*/ 670 w 1242"/>
                    <a:gd name="T29" fmla="*/ 74 h 946"/>
                    <a:gd name="T30" fmla="*/ 149 w 1242"/>
                    <a:gd name="T31" fmla="*/ 482 h 946"/>
                    <a:gd name="T32" fmla="*/ 165 w 1242"/>
                    <a:gd name="T33" fmla="*/ 872 h 946"/>
                    <a:gd name="T34" fmla="*/ 174 w 1242"/>
                    <a:gd name="T35" fmla="*/ 892 h 946"/>
                    <a:gd name="T36" fmla="*/ 155 w 1242"/>
                    <a:gd name="T37" fmla="*/ 939 h 946"/>
                    <a:gd name="T38" fmla="*/ 111 w 1242"/>
                    <a:gd name="T39" fmla="*/ 919 h 946"/>
                    <a:gd name="T40" fmla="*/ 74 w 1242"/>
                    <a:gd name="T41" fmla="*/ 813 h 946"/>
                    <a:gd name="T42" fmla="*/ 395 w 1242"/>
                    <a:gd name="T43" fmla="*/ 84 h 946"/>
                    <a:gd name="T44" fmla="*/ 747 w 1242"/>
                    <a:gd name="T45" fmla="*/ 5 h 946"/>
                    <a:gd name="T46" fmla="*/ 1159 w 1242"/>
                    <a:gd name="T47" fmla="*/ 177 h 946"/>
                    <a:gd name="T48" fmla="*/ 1165 w 1242"/>
                    <a:gd name="T49" fmla="*/ 182 h 946"/>
                    <a:gd name="T50" fmla="*/ 1173 w 1242"/>
                    <a:gd name="T51" fmla="*/ 182 h 9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1242" h="946">
                      <a:moveTo>
                        <a:pt x="1173" y="182"/>
                      </a:moveTo>
                      <a:cubicBezTo>
                        <a:pt x="1173" y="161"/>
                        <a:pt x="1173" y="140"/>
                        <a:pt x="1173" y="119"/>
                      </a:cubicBezTo>
                      <a:cubicBezTo>
                        <a:pt x="1173" y="111"/>
                        <a:pt x="1172" y="102"/>
                        <a:pt x="1173" y="93"/>
                      </a:cubicBezTo>
                      <a:cubicBezTo>
                        <a:pt x="1175" y="76"/>
                        <a:pt x="1190" y="63"/>
                        <a:pt x="1207" y="63"/>
                      </a:cubicBezTo>
                      <a:cubicBezTo>
                        <a:pt x="1224" y="64"/>
                        <a:pt x="1238" y="76"/>
                        <a:pt x="1239" y="93"/>
                      </a:cubicBezTo>
                      <a:cubicBezTo>
                        <a:pt x="1240" y="123"/>
                        <a:pt x="1240" y="152"/>
                        <a:pt x="1240" y="181"/>
                      </a:cubicBezTo>
                      <a:cubicBezTo>
                        <a:pt x="1240" y="211"/>
                        <a:pt x="1241" y="240"/>
                        <a:pt x="1241" y="269"/>
                      </a:cubicBezTo>
                      <a:cubicBezTo>
                        <a:pt x="1242" y="293"/>
                        <a:pt x="1227" y="308"/>
                        <a:pt x="1203" y="308"/>
                      </a:cubicBezTo>
                      <a:cubicBezTo>
                        <a:pt x="1147" y="309"/>
                        <a:pt x="1091" y="309"/>
                        <a:pt x="1036" y="308"/>
                      </a:cubicBezTo>
                      <a:cubicBezTo>
                        <a:pt x="1012" y="308"/>
                        <a:pt x="997" y="295"/>
                        <a:pt x="997" y="275"/>
                      </a:cubicBezTo>
                      <a:cubicBezTo>
                        <a:pt x="996" y="253"/>
                        <a:pt x="1011" y="240"/>
                        <a:pt x="1036" y="239"/>
                      </a:cubicBezTo>
                      <a:cubicBezTo>
                        <a:pt x="1063" y="239"/>
                        <a:pt x="1090" y="239"/>
                        <a:pt x="1117" y="239"/>
                      </a:cubicBezTo>
                      <a:cubicBezTo>
                        <a:pt x="1118" y="237"/>
                        <a:pt x="1119" y="234"/>
                        <a:pt x="1121" y="232"/>
                      </a:cubicBezTo>
                      <a:cubicBezTo>
                        <a:pt x="1113" y="226"/>
                        <a:pt x="1104" y="219"/>
                        <a:pt x="1097" y="213"/>
                      </a:cubicBezTo>
                      <a:cubicBezTo>
                        <a:pt x="974" y="105"/>
                        <a:pt x="830" y="63"/>
                        <a:pt x="670" y="74"/>
                      </a:cubicBezTo>
                      <a:cubicBezTo>
                        <a:pt x="427" y="89"/>
                        <a:pt x="224" y="250"/>
                        <a:pt x="149" y="482"/>
                      </a:cubicBezTo>
                      <a:cubicBezTo>
                        <a:pt x="107" y="613"/>
                        <a:pt x="114" y="744"/>
                        <a:pt x="165" y="872"/>
                      </a:cubicBezTo>
                      <a:cubicBezTo>
                        <a:pt x="168" y="879"/>
                        <a:pt x="171" y="885"/>
                        <a:pt x="174" y="892"/>
                      </a:cubicBezTo>
                      <a:cubicBezTo>
                        <a:pt x="181" y="913"/>
                        <a:pt x="172" y="933"/>
                        <a:pt x="155" y="939"/>
                      </a:cubicBezTo>
                      <a:cubicBezTo>
                        <a:pt x="138" y="946"/>
                        <a:pt x="119" y="939"/>
                        <a:pt x="111" y="919"/>
                      </a:cubicBezTo>
                      <a:cubicBezTo>
                        <a:pt x="97" y="884"/>
                        <a:pt x="83" y="849"/>
                        <a:pt x="74" y="813"/>
                      </a:cubicBezTo>
                      <a:cubicBezTo>
                        <a:pt x="0" y="526"/>
                        <a:pt x="135" y="226"/>
                        <a:pt x="395" y="84"/>
                      </a:cubicBezTo>
                      <a:cubicBezTo>
                        <a:pt x="504" y="24"/>
                        <a:pt x="621" y="0"/>
                        <a:pt x="747" y="5"/>
                      </a:cubicBezTo>
                      <a:cubicBezTo>
                        <a:pt x="906" y="12"/>
                        <a:pt x="1043" y="70"/>
                        <a:pt x="1159" y="177"/>
                      </a:cubicBezTo>
                      <a:cubicBezTo>
                        <a:pt x="1161" y="179"/>
                        <a:pt x="1163" y="181"/>
                        <a:pt x="1165" y="182"/>
                      </a:cubicBezTo>
                      <a:cubicBezTo>
                        <a:pt x="1166" y="183"/>
                        <a:pt x="1168" y="182"/>
                        <a:pt x="1173" y="18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09728" tIns="54864" rIns="109728" bIns="54864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97280">
                    <a:defRPr/>
                  </a:pPr>
                  <a:endParaRPr lang="uk-UA" sz="2160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30" name="Freeform 136">
                <a:extLst>
                  <a:ext uri="{FF2B5EF4-FFF2-40B4-BE49-F238E27FC236}">
                    <a16:creationId xmlns:a16="http://schemas.microsoft.com/office/drawing/2014/main" id="{5A8A3D75-EC48-1501-4ED2-45648E44D80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65673" y="3379498"/>
                <a:ext cx="544026" cy="602984"/>
              </a:xfrm>
              <a:custGeom>
                <a:avLst/>
                <a:gdLst>
                  <a:gd name="T0" fmla="*/ 439 w 1120"/>
                  <a:gd name="T1" fmla="*/ 822 h 1245"/>
                  <a:gd name="T2" fmla="*/ 436 w 1120"/>
                  <a:gd name="T3" fmla="*/ 892 h 1245"/>
                  <a:gd name="T4" fmla="*/ 193 w 1120"/>
                  <a:gd name="T5" fmla="*/ 1041 h 1245"/>
                  <a:gd name="T6" fmla="*/ 70 w 1120"/>
                  <a:gd name="T7" fmla="*/ 1200 h 1245"/>
                  <a:gd name="T8" fmla="*/ 6 w 1120"/>
                  <a:gd name="T9" fmla="*/ 1217 h 1245"/>
                  <a:gd name="T10" fmla="*/ 182 w 1120"/>
                  <a:gd name="T11" fmla="*/ 981 h 1245"/>
                  <a:gd name="T12" fmla="*/ 374 w 1120"/>
                  <a:gd name="T13" fmla="*/ 883 h 1245"/>
                  <a:gd name="T14" fmla="*/ 359 w 1120"/>
                  <a:gd name="T15" fmla="*/ 780 h 1245"/>
                  <a:gd name="T16" fmla="*/ 270 w 1120"/>
                  <a:gd name="T17" fmla="*/ 601 h 1245"/>
                  <a:gd name="T18" fmla="*/ 218 w 1120"/>
                  <a:gd name="T19" fmla="*/ 469 h 1245"/>
                  <a:gd name="T20" fmla="*/ 231 w 1120"/>
                  <a:gd name="T21" fmla="*/ 351 h 1245"/>
                  <a:gd name="T22" fmla="*/ 431 w 1120"/>
                  <a:gd name="T23" fmla="*/ 27 h 1245"/>
                  <a:gd name="T24" fmla="*/ 703 w 1120"/>
                  <a:gd name="T25" fmla="*/ 28 h 1245"/>
                  <a:gd name="T26" fmla="*/ 858 w 1120"/>
                  <a:gd name="T27" fmla="*/ 315 h 1245"/>
                  <a:gd name="T28" fmla="*/ 911 w 1120"/>
                  <a:gd name="T29" fmla="*/ 402 h 1245"/>
                  <a:gd name="T30" fmla="*/ 881 w 1120"/>
                  <a:gd name="T31" fmla="*/ 541 h 1245"/>
                  <a:gd name="T32" fmla="*/ 818 w 1120"/>
                  <a:gd name="T33" fmla="*/ 738 h 1245"/>
                  <a:gd name="T34" fmla="*/ 751 w 1120"/>
                  <a:gd name="T35" fmla="*/ 809 h 1245"/>
                  <a:gd name="T36" fmla="*/ 790 w 1120"/>
                  <a:gd name="T37" fmla="*/ 937 h 1245"/>
                  <a:gd name="T38" fmla="*/ 1082 w 1120"/>
                  <a:gd name="T39" fmla="*/ 1053 h 1245"/>
                  <a:gd name="T40" fmla="*/ 1119 w 1120"/>
                  <a:gd name="T41" fmla="*/ 1225 h 1245"/>
                  <a:gd name="T42" fmla="*/ 1058 w 1120"/>
                  <a:gd name="T43" fmla="*/ 1199 h 1245"/>
                  <a:gd name="T44" fmla="*/ 1020 w 1120"/>
                  <a:gd name="T45" fmla="*/ 1081 h 1245"/>
                  <a:gd name="T46" fmla="*/ 772 w 1120"/>
                  <a:gd name="T47" fmla="*/ 997 h 1245"/>
                  <a:gd name="T48" fmla="*/ 690 w 1120"/>
                  <a:gd name="T49" fmla="*/ 822 h 1245"/>
                  <a:gd name="T50" fmla="*/ 794 w 1120"/>
                  <a:gd name="T51" fmla="*/ 300 h 1245"/>
                  <a:gd name="T52" fmla="*/ 653 w 1120"/>
                  <a:gd name="T53" fmla="*/ 77 h 1245"/>
                  <a:gd name="T54" fmla="*/ 340 w 1120"/>
                  <a:gd name="T55" fmla="*/ 222 h 1245"/>
                  <a:gd name="T56" fmla="*/ 319 w 1120"/>
                  <a:gd name="T57" fmla="*/ 374 h 1245"/>
                  <a:gd name="T58" fmla="*/ 279 w 1120"/>
                  <a:gd name="T59" fmla="*/ 460 h 1245"/>
                  <a:gd name="T60" fmla="*/ 331 w 1120"/>
                  <a:gd name="T61" fmla="*/ 597 h 1245"/>
                  <a:gd name="T62" fmla="*/ 381 w 1120"/>
                  <a:gd name="T63" fmla="*/ 719 h 1245"/>
                  <a:gd name="T64" fmla="*/ 770 w 1120"/>
                  <a:gd name="T65" fmla="*/ 698 h 1245"/>
                  <a:gd name="T66" fmla="*/ 795 w 1120"/>
                  <a:gd name="T67" fmla="*/ 565 h 1245"/>
                  <a:gd name="T68" fmla="*/ 835 w 1120"/>
                  <a:gd name="T69" fmla="*/ 499 h 1245"/>
                  <a:gd name="T70" fmla="*/ 848 w 1120"/>
                  <a:gd name="T71" fmla="*/ 409 h 1245"/>
                  <a:gd name="T72" fmla="*/ 794 w 1120"/>
                  <a:gd name="T73" fmla="*/ 314 h 1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120" h="1245">
                    <a:moveTo>
                      <a:pt x="690" y="822"/>
                    </a:moveTo>
                    <a:cubicBezTo>
                      <a:pt x="605" y="864"/>
                      <a:pt x="523" y="864"/>
                      <a:pt x="439" y="822"/>
                    </a:cubicBezTo>
                    <a:cubicBezTo>
                      <a:pt x="438" y="830"/>
                      <a:pt x="436" y="835"/>
                      <a:pt x="436" y="840"/>
                    </a:cubicBezTo>
                    <a:cubicBezTo>
                      <a:pt x="436" y="857"/>
                      <a:pt x="436" y="875"/>
                      <a:pt x="436" y="892"/>
                    </a:cubicBezTo>
                    <a:cubicBezTo>
                      <a:pt x="436" y="945"/>
                      <a:pt x="414" y="978"/>
                      <a:pt x="363" y="994"/>
                    </a:cubicBezTo>
                    <a:cubicBezTo>
                      <a:pt x="307" y="1012"/>
                      <a:pt x="250" y="1026"/>
                      <a:pt x="193" y="1041"/>
                    </a:cubicBezTo>
                    <a:cubicBezTo>
                      <a:pt x="164" y="1049"/>
                      <a:pt x="138" y="1061"/>
                      <a:pt x="116" y="1082"/>
                    </a:cubicBezTo>
                    <a:cubicBezTo>
                      <a:pt x="82" y="1114"/>
                      <a:pt x="67" y="1152"/>
                      <a:pt x="70" y="1200"/>
                    </a:cubicBezTo>
                    <a:cubicBezTo>
                      <a:pt x="72" y="1245"/>
                      <a:pt x="76" y="1239"/>
                      <a:pt x="30" y="1241"/>
                    </a:cubicBezTo>
                    <a:cubicBezTo>
                      <a:pt x="11" y="1241"/>
                      <a:pt x="7" y="1235"/>
                      <a:pt x="6" y="1217"/>
                    </a:cubicBezTo>
                    <a:cubicBezTo>
                      <a:pt x="0" y="1134"/>
                      <a:pt x="28" y="1066"/>
                      <a:pt x="97" y="1018"/>
                    </a:cubicBezTo>
                    <a:cubicBezTo>
                      <a:pt x="122" y="1001"/>
                      <a:pt x="152" y="990"/>
                      <a:pt x="182" y="981"/>
                    </a:cubicBezTo>
                    <a:cubicBezTo>
                      <a:pt x="231" y="965"/>
                      <a:pt x="282" y="954"/>
                      <a:pt x="332" y="939"/>
                    </a:cubicBezTo>
                    <a:cubicBezTo>
                      <a:pt x="368" y="929"/>
                      <a:pt x="374" y="920"/>
                      <a:pt x="374" y="883"/>
                    </a:cubicBezTo>
                    <a:cubicBezTo>
                      <a:pt x="374" y="859"/>
                      <a:pt x="373" y="834"/>
                      <a:pt x="374" y="809"/>
                    </a:cubicBezTo>
                    <a:cubicBezTo>
                      <a:pt x="375" y="796"/>
                      <a:pt x="370" y="788"/>
                      <a:pt x="359" y="780"/>
                    </a:cubicBezTo>
                    <a:cubicBezTo>
                      <a:pt x="313" y="750"/>
                      <a:pt x="278" y="712"/>
                      <a:pt x="271" y="655"/>
                    </a:cubicBezTo>
                    <a:cubicBezTo>
                      <a:pt x="269" y="637"/>
                      <a:pt x="268" y="619"/>
                      <a:pt x="270" y="601"/>
                    </a:cubicBezTo>
                    <a:cubicBezTo>
                      <a:pt x="273" y="576"/>
                      <a:pt x="263" y="557"/>
                      <a:pt x="246" y="541"/>
                    </a:cubicBezTo>
                    <a:cubicBezTo>
                      <a:pt x="225" y="522"/>
                      <a:pt x="217" y="497"/>
                      <a:pt x="218" y="469"/>
                    </a:cubicBezTo>
                    <a:cubicBezTo>
                      <a:pt x="218" y="437"/>
                      <a:pt x="217" y="404"/>
                      <a:pt x="218" y="371"/>
                    </a:cubicBezTo>
                    <a:cubicBezTo>
                      <a:pt x="219" y="364"/>
                      <a:pt x="225" y="353"/>
                      <a:pt x="231" y="351"/>
                    </a:cubicBezTo>
                    <a:cubicBezTo>
                      <a:pt x="267" y="340"/>
                      <a:pt x="271" y="316"/>
                      <a:pt x="271" y="282"/>
                    </a:cubicBezTo>
                    <a:cubicBezTo>
                      <a:pt x="270" y="164"/>
                      <a:pt x="322" y="76"/>
                      <a:pt x="431" y="27"/>
                    </a:cubicBezTo>
                    <a:cubicBezTo>
                      <a:pt x="462" y="13"/>
                      <a:pt x="499" y="7"/>
                      <a:pt x="533" y="5"/>
                    </a:cubicBezTo>
                    <a:cubicBezTo>
                      <a:pt x="591" y="0"/>
                      <a:pt x="649" y="1"/>
                      <a:pt x="703" y="28"/>
                    </a:cubicBezTo>
                    <a:cubicBezTo>
                      <a:pt x="795" y="75"/>
                      <a:pt x="847" y="148"/>
                      <a:pt x="856" y="251"/>
                    </a:cubicBezTo>
                    <a:cubicBezTo>
                      <a:pt x="857" y="272"/>
                      <a:pt x="858" y="294"/>
                      <a:pt x="858" y="315"/>
                    </a:cubicBezTo>
                    <a:cubicBezTo>
                      <a:pt x="858" y="327"/>
                      <a:pt x="862" y="335"/>
                      <a:pt x="873" y="338"/>
                    </a:cubicBezTo>
                    <a:cubicBezTo>
                      <a:pt x="907" y="347"/>
                      <a:pt x="915" y="369"/>
                      <a:pt x="911" y="402"/>
                    </a:cubicBezTo>
                    <a:cubicBezTo>
                      <a:pt x="908" y="431"/>
                      <a:pt x="912" y="461"/>
                      <a:pt x="907" y="489"/>
                    </a:cubicBezTo>
                    <a:cubicBezTo>
                      <a:pt x="904" y="508"/>
                      <a:pt x="893" y="526"/>
                      <a:pt x="881" y="541"/>
                    </a:cubicBezTo>
                    <a:cubicBezTo>
                      <a:pt x="867" y="559"/>
                      <a:pt x="856" y="575"/>
                      <a:pt x="858" y="600"/>
                    </a:cubicBezTo>
                    <a:cubicBezTo>
                      <a:pt x="861" y="650"/>
                      <a:pt x="855" y="699"/>
                      <a:pt x="818" y="738"/>
                    </a:cubicBezTo>
                    <a:cubicBezTo>
                      <a:pt x="803" y="754"/>
                      <a:pt x="785" y="768"/>
                      <a:pt x="767" y="781"/>
                    </a:cubicBezTo>
                    <a:cubicBezTo>
                      <a:pt x="756" y="789"/>
                      <a:pt x="751" y="796"/>
                      <a:pt x="751" y="809"/>
                    </a:cubicBezTo>
                    <a:cubicBezTo>
                      <a:pt x="752" y="834"/>
                      <a:pt x="752" y="860"/>
                      <a:pt x="752" y="885"/>
                    </a:cubicBezTo>
                    <a:cubicBezTo>
                      <a:pt x="752" y="917"/>
                      <a:pt x="758" y="928"/>
                      <a:pt x="790" y="937"/>
                    </a:cubicBezTo>
                    <a:cubicBezTo>
                      <a:pt x="841" y="953"/>
                      <a:pt x="893" y="966"/>
                      <a:pt x="945" y="980"/>
                    </a:cubicBezTo>
                    <a:cubicBezTo>
                      <a:pt x="997" y="993"/>
                      <a:pt x="1045" y="1013"/>
                      <a:pt x="1082" y="1053"/>
                    </a:cubicBezTo>
                    <a:cubicBezTo>
                      <a:pt x="1106" y="1079"/>
                      <a:pt x="1120" y="1109"/>
                      <a:pt x="1119" y="1145"/>
                    </a:cubicBezTo>
                    <a:cubicBezTo>
                      <a:pt x="1119" y="1172"/>
                      <a:pt x="1119" y="1198"/>
                      <a:pt x="1119" y="1225"/>
                    </a:cubicBezTo>
                    <a:cubicBezTo>
                      <a:pt x="1120" y="1236"/>
                      <a:pt x="1115" y="1240"/>
                      <a:pt x="1104" y="1241"/>
                    </a:cubicBezTo>
                    <a:cubicBezTo>
                      <a:pt x="1058" y="1244"/>
                      <a:pt x="1058" y="1244"/>
                      <a:pt x="1058" y="1199"/>
                    </a:cubicBezTo>
                    <a:cubicBezTo>
                      <a:pt x="1058" y="1185"/>
                      <a:pt x="1057" y="1171"/>
                      <a:pt x="1058" y="1157"/>
                    </a:cubicBezTo>
                    <a:cubicBezTo>
                      <a:pt x="1061" y="1123"/>
                      <a:pt x="1047" y="1097"/>
                      <a:pt x="1020" y="1081"/>
                    </a:cubicBezTo>
                    <a:cubicBezTo>
                      <a:pt x="993" y="1065"/>
                      <a:pt x="965" y="1051"/>
                      <a:pt x="935" y="1042"/>
                    </a:cubicBezTo>
                    <a:cubicBezTo>
                      <a:pt x="881" y="1025"/>
                      <a:pt x="826" y="1013"/>
                      <a:pt x="772" y="997"/>
                    </a:cubicBezTo>
                    <a:cubicBezTo>
                      <a:pt x="713" y="979"/>
                      <a:pt x="690" y="945"/>
                      <a:pt x="690" y="883"/>
                    </a:cubicBezTo>
                    <a:cubicBezTo>
                      <a:pt x="690" y="864"/>
                      <a:pt x="690" y="845"/>
                      <a:pt x="690" y="822"/>
                    </a:cubicBezTo>
                    <a:close/>
                    <a:moveTo>
                      <a:pt x="794" y="300"/>
                    </a:moveTo>
                    <a:cubicBezTo>
                      <a:pt x="794" y="300"/>
                      <a:pt x="794" y="300"/>
                      <a:pt x="794" y="300"/>
                    </a:cubicBezTo>
                    <a:cubicBezTo>
                      <a:pt x="794" y="289"/>
                      <a:pt x="794" y="277"/>
                      <a:pt x="794" y="266"/>
                    </a:cubicBezTo>
                    <a:cubicBezTo>
                      <a:pt x="791" y="177"/>
                      <a:pt x="738" y="101"/>
                      <a:pt x="653" y="77"/>
                    </a:cubicBezTo>
                    <a:cubicBezTo>
                      <a:pt x="616" y="66"/>
                      <a:pt x="575" y="66"/>
                      <a:pt x="536" y="66"/>
                    </a:cubicBezTo>
                    <a:cubicBezTo>
                      <a:pt x="442" y="65"/>
                      <a:pt x="359" y="130"/>
                      <a:pt x="340" y="222"/>
                    </a:cubicBezTo>
                    <a:cubicBezTo>
                      <a:pt x="331" y="264"/>
                      <a:pt x="335" y="308"/>
                      <a:pt x="331" y="351"/>
                    </a:cubicBezTo>
                    <a:cubicBezTo>
                      <a:pt x="330" y="359"/>
                      <a:pt x="325" y="373"/>
                      <a:pt x="319" y="374"/>
                    </a:cubicBezTo>
                    <a:cubicBezTo>
                      <a:pt x="283" y="385"/>
                      <a:pt x="274" y="410"/>
                      <a:pt x="279" y="444"/>
                    </a:cubicBezTo>
                    <a:cubicBezTo>
                      <a:pt x="280" y="449"/>
                      <a:pt x="280" y="455"/>
                      <a:pt x="279" y="460"/>
                    </a:cubicBezTo>
                    <a:cubicBezTo>
                      <a:pt x="278" y="477"/>
                      <a:pt x="282" y="490"/>
                      <a:pt x="295" y="503"/>
                    </a:cubicBezTo>
                    <a:cubicBezTo>
                      <a:pt x="322" y="528"/>
                      <a:pt x="339" y="558"/>
                      <a:pt x="331" y="597"/>
                    </a:cubicBezTo>
                    <a:cubicBezTo>
                      <a:pt x="330" y="603"/>
                      <a:pt x="332" y="610"/>
                      <a:pt x="331" y="617"/>
                    </a:cubicBezTo>
                    <a:cubicBezTo>
                      <a:pt x="328" y="660"/>
                      <a:pt x="344" y="695"/>
                      <a:pt x="381" y="719"/>
                    </a:cubicBezTo>
                    <a:cubicBezTo>
                      <a:pt x="434" y="755"/>
                      <a:pt x="490" y="789"/>
                      <a:pt x="555" y="790"/>
                    </a:cubicBezTo>
                    <a:cubicBezTo>
                      <a:pt x="639" y="792"/>
                      <a:pt x="709" y="752"/>
                      <a:pt x="770" y="698"/>
                    </a:cubicBezTo>
                    <a:cubicBezTo>
                      <a:pt x="787" y="683"/>
                      <a:pt x="795" y="661"/>
                      <a:pt x="794" y="637"/>
                    </a:cubicBezTo>
                    <a:cubicBezTo>
                      <a:pt x="794" y="613"/>
                      <a:pt x="794" y="589"/>
                      <a:pt x="795" y="565"/>
                    </a:cubicBezTo>
                    <a:cubicBezTo>
                      <a:pt x="795" y="557"/>
                      <a:pt x="797" y="549"/>
                      <a:pt x="801" y="543"/>
                    </a:cubicBezTo>
                    <a:cubicBezTo>
                      <a:pt x="811" y="527"/>
                      <a:pt x="824" y="514"/>
                      <a:pt x="835" y="499"/>
                    </a:cubicBezTo>
                    <a:cubicBezTo>
                      <a:pt x="841" y="490"/>
                      <a:pt x="847" y="480"/>
                      <a:pt x="848" y="471"/>
                    </a:cubicBezTo>
                    <a:cubicBezTo>
                      <a:pt x="850" y="450"/>
                      <a:pt x="849" y="429"/>
                      <a:pt x="848" y="409"/>
                    </a:cubicBezTo>
                    <a:cubicBezTo>
                      <a:pt x="847" y="402"/>
                      <a:pt x="842" y="392"/>
                      <a:pt x="837" y="390"/>
                    </a:cubicBezTo>
                    <a:cubicBezTo>
                      <a:pt x="795" y="379"/>
                      <a:pt x="789" y="350"/>
                      <a:pt x="794" y="314"/>
                    </a:cubicBezTo>
                    <a:cubicBezTo>
                      <a:pt x="795" y="309"/>
                      <a:pt x="794" y="305"/>
                      <a:pt x="794" y="30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09728" tIns="54864" rIns="109728" bIns="54864" numCol="1" anchor="t" anchorCtr="0" compatLnSpc="1">
                <a:prstTxWarp prst="textNoShape">
                  <a:avLst/>
                </a:prstTxWarp>
              </a:bodyPr>
              <a:lstStyle/>
              <a:p>
                <a:pPr defTabSz="1097280">
                  <a:defRPr/>
                </a:pPr>
                <a:endParaRPr lang="uk-UA" sz="2160">
                  <a:solidFill>
                    <a:prstClr val="black"/>
                  </a:solidFill>
                </a:endParaRPr>
              </a:p>
            </p:txBody>
          </p:sp>
        </p:grp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851C78CD-25DA-555A-8EAE-AD0A6A54F342}"/>
              </a:ext>
            </a:extLst>
          </p:cNvPr>
          <p:cNvGrpSpPr/>
          <p:nvPr/>
        </p:nvGrpSpPr>
        <p:grpSpPr>
          <a:xfrm>
            <a:off x="1611275" y="6900910"/>
            <a:ext cx="11589245" cy="635824"/>
            <a:chOff x="1382535" y="6049246"/>
            <a:chExt cx="9657704" cy="529853"/>
          </a:xfrm>
        </p:grpSpPr>
        <p:pic>
          <p:nvPicPr>
            <p:cNvPr id="38" name="Picture 4" descr="Loopbaancheques-Hudson-logo.png (304Ã112)">
              <a:extLst>
                <a:ext uri="{FF2B5EF4-FFF2-40B4-BE49-F238E27FC236}">
                  <a16:creationId xmlns:a16="http://schemas.microsoft.com/office/drawing/2014/main" id="{DD4F83AD-A53E-D332-4AB7-7A76C3D0F99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52586" y="6216294"/>
              <a:ext cx="638637" cy="2352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9" name="Picture 5" descr="image011">
              <a:extLst>
                <a:ext uri="{FF2B5EF4-FFF2-40B4-BE49-F238E27FC236}">
                  <a16:creationId xmlns:a16="http://schemas.microsoft.com/office/drawing/2014/main" id="{CC748A99-42FE-5222-D199-3EE2E487374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24356" y="6216294"/>
              <a:ext cx="882106" cy="2656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0" name="Picture 4" descr="image013">
              <a:extLst>
                <a:ext uri="{FF2B5EF4-FFF2-40B4-BE49-F238E27FC236}">
                  <a16:creationId xmlns:a16="http://schemas.microsoft.com/office/drawing/2014/main" id="{8B48AEB4-C3BB-161F-4609-6BF3838C66C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39595" y="6216294"/>
              <a:ext cx="1090165" cy="3202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1" name="Picture 6" descr="image005">
              <a:extLst>
                <a:ext uri="{FF2B5EF4-FFF2-40B4-BE49-F238E27FC236}">
                  <a16:creationId xmlns:a16="http://schemas.microsoft.com/office/drawing/2014/main" id="{ED25B49A-EB15-9EC7-DA54-721826E8F63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62893" y="6257564"/>
              <a:ext cx="943926" cy="2097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" name="Picture 9" descr="image016">
              <a:extLst>
                <a:ext uri="{FF2B5EF4-FFF2-40B4-BE49-F238E27FC236}">
                  <a16:creationId xmlns:a16="http://schemas.microsoft.com/office/drawing/2014/main" id="{4567E716-2C88-ADB0-053F-1EC5611CA50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765049" y="6197313"/>
              <a:ext cx="275190" cy="3392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" name="Picture 10" descr="image017">
              <a:extLst>
                <a:ext uri="{FF2B5EF4-FFF2-40B4-BE49-F238E27FC236}">
                  <a16:creationId xmlns:a16="http://schemas.microsoft.com/office/drawing/2014/main" id="{75DCD653-9A41-5D4A-D5B0-0A0E53D40ED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03742" y="6221421"/>
              <a:ext cx="627104" cy="2538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4" name="Picture 11" descr="image019">
              <a:extLst>
                <a:ext uri="{FF2B5EF4-FFF2-40B4-BE49-F238E27FC236}">
                  <a16:creationId xmlns:a16="http://schemas.microsoft.com/office/drawing/2014/main" id="{B6CFEC64-D82C-2225-A943-4913BF58B60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239952" y="6226064"/>
              <a:ext cx="391963" cy="2559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5" name="Picture 12" descr="image020">
              <a:extLst>
                <a:ext uri="{FF2B5EF4-FFF2-40B4-BE49-F238E27FC236}">
                  <a16:creationId xmlns:a16="http://schemas.microsoft.com/office/drawing/2014/main" id="{D054EC99-D286-8945-316F-33B90C380F2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16290" y="6154872"/>
              <a:ext cx="655017" cy="3853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EABA3193-70CA-3B82-A9A5-EFFC9744414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086918" y="6257197"/>
              <a:ext cx="796239" cy="296171"/>
            </a:xfrm>
            <a:prstGeom prst="rect">
              <a:avLst/>
            </a:prstGeom>
          </p:spPr>
        </p:pic>
        <p:pic>
          <p:nvPicPr>
            <p:cNvPr id="47" name="Picture 46">
              <a:extLst>
                <a:ext uri="{FF2B5EF4-FFF2-40B4-BE49-F238E27FC236}">
                  <a16:creationId xmlns:a16="http://schemas.microsoft.com/office/drawing/2014/main" id="{F01E07AB-DE6C-F68E-0F20-F83FF2F06334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04440" y="6141637"/>
              <a:ext cx="766169" cy="374865"/>
            </a:xfrm>
            <a:prstGeom prst="rect">
              <a:avLst/>
            </a:prstGeom>
          </p:spPr>
        </p:pic>
        <p:pic>
          <p:nvPicPr>
            <p:cNvPr id="48" name="Picture 47">
              <a:extLst>
                <a:ext uri="{FF2B5EF4-FFF2-40B4-BE49-F238E27FC236}">
                  <a16:creationId xmlns:a16="http://schemas.microsoft.com/office/drawing/2014/main" id="{D41FEFFD-7B0C-1DA5-7172-3F5BBF5D5EDA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382535" y="6049246"/>
              <a:ext cx="571250" cy="529853"/>
            </a:xfrm>
            <a:prstGeom prst="rect">
              <a:avLst/>
            </a:prstGeom>
          </p:spPr>
        </p:pic>
        <p:pic>
          <p:nvPicPr>
            <p:cNvPr id="49" name="Picture 48">
              <a:extLst>
                <a:ext uri="{FF2B5EF4-FFF2-40B4-BE49-F238E27FC236}">
                  <a16:creationId xmlns:a16="http://schemas.microsoft.com/office/drawing/2014/main" id="{164E04AD-8AFB-D336-D895-D2639E24A528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463979" y="6049246"/>
              <a:ext cx="555474" cy="478859"/>
            </a:xfrm>
            <a:prstGeom prst="rect">
              <a:avLst/>
            </a:prstGeom>
          </p:spPr>
        </p:pic>
      </p:grpSp>
      <p:sp>
        <p:nvSpPr>
          <p:cNvPr id="50" name="Rectangle 49">
            <a:extLst>
              <a:ext uri="{FF2B5EF4-FFF2-40B4-BE49-F238E27FC236}">
                <a16:creationId xmlns:a16="http://schemas.microsoft.com/office/drawing/2014/main" id="{7DEC182A-77CD-7B4C-86F1-65F45B59D119}"/>
              </a:ext>
            </a:extLst>
          </p:cNvPr>
          <p:cNvSpPr/>
          <p:nvPr/>
        </p:nvSpPr>
        <p:spPr>
          <a:xfrm>
            <a:off x="6382419" y="2156524"/>
            <a:ext cx="7495364" cy="2132290"/>
          </a:xfrm>
          <a:prstGeom prst="rect">
            <a:avLst/>
          </a:prstGeom>
        </p:spPr>
        <p:txBody>
          <a:bodyPr wrap="square" lIns="0" tIns="0" rIns="0" bIns="0" numCol="2" spcCol="360000" anchor="t" anchorCtr="0">
            <a:noAutofit/>
          </a:bodyPr>
          <a:lstStyle/>
          <a:p>
            <a:pPr defTabSz="1097280">
              <a:lnSpc>
                <a:spcPct val="130000"/>
              </a:lnSpc>
              <a:defRPr/>
            </a:pPr>
            <a:r>
              <a:rPr lang="en-US" sz="1320">
                <a:solidFill>
                  <a:schemeClr val="accent1"/>
                </a:solidFill>
              </a:rPr>
              <a:t>Ongoing feedback means continuous feedback to support dialogue between managers and direct reports with regards to goals, successes, and areas for improvement, including:</a:t>
            </a:r>
          </a:p>
          <a:p>
            <a:pPr marL="205740" indent="-205740" defTabSz="1097280">
              <a:lnSpc>
                <a:spcPct val="130000"/>
              </a:lnSpc>
              <a:buClr>
                <a:srgbClr val="1F3C77"/>
              </a:buClr>
              <a:buFont typeface=".Lucida Grande UI Regular"/>
              <a:buChar char="▪"/>
              <a:defRPr/>
            </a:pPr>
            <a:r>
              <a:rPr lang="en-US" sz="1080">
                <a:solidFill>
                  <a:schemeClr val="tx1">
                    <a:lumMod val="75000"/>
                    <a:lumOff val="25000"/>
                  </a:schemeClr>
                </a:solidFill>
              </a:rPr>
              <a:t>technical leaders feedback,</a:t>
            </a:r>
          </a:p>
          <a:p>
            <a:pPr marL="205740" indent="-205740" defTabSz="1097280">
              <a:lnSpc>
                <a:spcPct val="130000"/>
              </a:lnSpc>
              <a:buClr>
                <a:srgbClr val="1F3C77"/>
              </a:buClr>
              <a:buFont typeface=".Lucida Grande UI Regular"/>
              <a:buChar char="▪"/>
              <a:defRPr/>
            </a:pPr>
            <a:r>
              <a:rPr lang="en-US" sz="1080">
                <a:solidFill>
                  <a:schemeClr val="tx1">
                    <a:lumMod val="75000"/>
                    <a:lumOff val="25000"/>
                  </a:schemeClr>
                </a:solidFill>
              </a:rPr>
              <a:t>performance evaluation, </a:t>
            </a:r>
          </a:p>
          <a:p>
            <a:pPr marL="205740" indent="-205740" defTabSz="1097280">
              <a:lnSpc>
                <a:spcPct val="130000"/>
              </a:lnSpc>
              <a:buClr>
                <a:srgbClr val="1F3C77"/>
              </a:buClr>
              <a:buFont typeface=".Lucida Grande UI Regular"/>
              <a:buChar char="▪"/>
              <a:defRPr/>
            </a:pPr>
            <a:r>
              <a:rPr lang="en-US" sz="1080">
                <a:solidFill>
                  <a:schemeClr val="tx1">
                    <a:lumMod val="75000"/>
                    <a:lumOff val="25000"/>
                  </a:schemeClr>
                </a:solidFill>
              </a:rPr>
              <a:t>counterpart feedback from customer side</a:t>
            </a:r>
          </a:p>
          <a:p>
            <a:pPr defTabSz="1097280">
              <a:lnSpc>
                <a:spcPct val="130000"/>
              </a:lnSpc>
              <a:spcAft>
                <a:spcPts val="480"/>
              </a:spcAft>
              <a:defRPr/>
            </a:pPr>
            <a:endParaRPr lang="en-US" sz="156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defTabSz="1097280">
              <a:lnSpc>
                <a:spcPct val="130000"/>
              </a:lnSpc>
              <a:spcAft>
                <a:spcPts val="480"/>
              </a:spcAft>
              <a:defRPr/>
            </a:pPr>
            <a:r>
              <a:rPr lang="en-US" sz="1560">
                <a:solidFill>
                  <a:schemeClr val="accent1"/>
                </a:solidFill>
              </a:rPr>
              <a:t>Feedback format</a:t>
            </a:r>
          </a:p>
          <a:p>
            <a:pPr defTabSz="1097280">
              <a:lnSpc>
                <a:spcPct val="130000"/>
              </a:lnSpc>
              <a:defRPr/>
            </a:pPr>
            <a:r>
              <a:rPr lang="en-US" sz="1320">
                <a:solidFill>
                  <a:schemeClr val="tx1">
                    <a:lumMod val="75000"/>
                    <a:lumOff val="25000"/>
                  </a:schemeClr>
                </a:solidFill>
              </a:rPr>
              <a:t>A task undertaken quarterly with 6 simple statements and a field for comments</a:t>
            </a:r>
          </a:p>
          <a:p>
            <a:pPr defTabSz="1097280">
              <a:lnSpc>
                <a:spcPct val="130000"/>
              </a:lnSpc>
              <a:defRPr/>
            </a:pPr>
            <a:r>
              <a:rPr lang="en-US" sz="1320">
                <a:solidFill>
                  <a:schemeClr val="tx1">
                    <a:lumMod val="75000"/>
                    <a:lumOff val="25000"/>
                  </a:schemeClr>
                </a:solidFill>
              </a:rPr>
              <a:t>A 1-on-1 meeting with the Direct Manager</a:t>
            </a:r>
            <a:endParaRPr lang="uk-UA" sz="132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6D9ADFCA-7E47-D6BF-7EC4-1D604C8F696D}"/>
              </a:ext>
            </a:extLst>
          </p:cNvPr>
          <p:cNvCxnSpPr>
            <a:cxnSpLocks/>
            <a:stCxn id="53" idx="6"/>
          </p:cNvCxnSpPr>
          <p:nvPr/>
        </p:nvCxnSpPr>
        <p:spPr>
          <a:xfrm>
            <a:off x="4621002" y="1964366"/>
            <a:ext cx="9256782" cy="0"/>
          </a:xfrm>
          <a:prstGeom prst="line">
            <a:avLst/>
          </a:prstGeom>
          <a:ln w="127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Oval 51">
            <a:extLst>
              <a:ext uri="{FF2B5EF4-FFF2-40B4-BE49-F238E27FC236}">
                <a16:creationId xmlns:a16="http://schemas.microsoft.com/office/drawing/2014/main" id="{FEB9F6B1-A81E-95F0-22BF-5F3C98E9AC24}"/>
              </a:ext>
            </a:extLst>
          </p:cNvPr>
          <p:cNvSpPr/>
          <p:nvPr/>
        </p:nvSpPr>
        <p:spPr>
          <a:xfrm>
            <a:off x="5926530" y="1808743"/>
            <a:ext cx="329184" cy="329184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>
            <a:noAutofit/>
          </a:bodyPr>
          <a:lstStyle/>
          <a:p>
            <a:pPr algn="ctr" defTabSz="1097280">
              <a:defRPr/>
            </a:pPr>
            <a:endParaRPr lang="uk-UA" sz="1320">
              <a:solidFill>
                <a:srgbClr val="44546A"/>
              </a:solidFill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548D3E3D-0D03-6996-B572-440B5DC646F7}"/>
              </a:ext>
            </a:extLst>
          </p:cNvPr>
          <p:cNvSpPr/>
          <p:nvPr/>
        </p:nvSpPr>
        <p:spPr>
          <a:xfrm>
            <a:off x="4401545" y="1854638"/>
            <a:ext cx="219456" cy="219456"/>
          </a:xfrm>
          <a:prstGeom prst="ellipse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7280">
              <a:defRPr/>
            </a:pPr>
            <a:endParaRPr lang="uk-UA" sz="2160">
              <a:solidFill>
                <a:srgbClr val="44546A"/>
              </a:solidFill>
            </a:endParaRP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30272341-D2EE-66FE-03C0-FC57DAE5693B}"/>
              </a:ext>
            </a:extLst>
          </p:cNvPr>
          <p:cNvCxnSpPr>
            <a:cxnSpLocks/>
            <a:stCxn id="56" idx="6"/>
            <a:endCxn id="55" idx="3"/>
          </p:cNvCxnSpPr>
          <p:nvPr/>
        </p:nvCxnSpPr>
        <p:spPr>
          <a:xfrm flipV="1">
            <a:off x="5420818" y="4498997"/>
            <a:ext cx="553920" cy="876380"/>
          </a:xfrm>
          <a:prstGeom prst="line">
            <a:avLst/>
          </a:prstGeom>
          <a:ln w="127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Oval 54">
            <a:extLst>
              <a:ext uri="{FF2B5EF4-FFF2-40B4-BE49-F238E27FC236}">
                <a16:creationId xmlns:a16="http://schemas.microsoft.com/office/drawing/2014/main" id="{FE3CB56F-B4C7-1738-DE07-BD468B72CF67}"/>
              </a:ext>
            </a:extLst>
          </p:cNvPr>
          <p:cNvSpPr/>
          <p:nvPr/>
        </p:nvSpPr>
        <p:spPr>
          <a:xfrm>
            <a:off x="5926530" y="4218020"/>
            <a:ext cx="329184" cy="329184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7280">
              <a:defRPr/>
            </a:pPr>
            <a:endParaRPr lang="uk-UA" sz="2160">
              <a:solidFill>
                <a:srgbClr val="44546A"/>
              </a:solidFill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AB945F53-9EED-9657-A6EB-D727EA255749}"/>
              </a:ext>
            </a:extLst>
          </p:cNvPr>
          <p:cNvSpPr/>
          <p:nvPr/>
        </p:nvSpPr>
        <p:spPr>
          <a:xfrm>
            <a:off x="5201362" y="5265649"/>
            <a:ext cx="219456" cy="219456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7280">
              <a:defRPr/>
            </a:pPr>
            <a:endParaRPr lang="uk-UA" sz="2160">
              <a:solidFill>
                <a:srgbClr val="44546A"/>
              </a:solidFill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FA5F2A61-0C9B-FA0A-13F1-63DCDCD25FB3}"/>
              </a:ext>
            </a:extLst>
          </p:cNvPr>
          <p:cNvSpPr/>
          <p:nvPr/>
        </p:nvSpPr>
        <p:spPr>
          <a:xfrm>
            <a:off x="6304298" y="4655180"/>
            <a:ext cx="3165316" cy="1974304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defTabSz="1097280">
              <a:spcAft>
                <a:spcPts val="480"/>
              </a:spcAft>
              <a:defRPr/>
            </a:pPr>
            <a:r>
              <a:rPr lang="en-US" sz="1560">
                <a:solidFill>
                  <a:schemeClr val="accent1"/>
                </a:solidFill>
              </a:rPr>
              <a:t>Technical Specialists</a:t>
            </a:r>
          </a:p>
          <a:p>
            <a:pPr marL="205740" indent="-205740" defTabSz="1097280">
              <a:lnSpc>
                <a:spcPct val="130000"/>
              </a:lnSpc>
              <a:buClr>
                <a:srgbClr val="1F3C77"/>
              </a:buClr>
              <a:buFont typeface=".Lucida Grande UI Regular"/>
              <a:buChar char="▪"/>
              <a:defRPr/>
            </a:pPr>
            <a:r>
              <a:rPr lang="en-US" sz="1080">
                <a:solidFill>
                  <a:schemeClr val="tx1">
                    <a:lumMod val="75000"/>
                    <a:lumOff val="25000"/>
                  </a:schemeClr>
                </a:solidFill>
              </a:rPr>
              <a:t>Hot technologies</a:t>
            </a:r>
          </a:p>
          <a:p>
            <a:pPr marL="205740" indent="-205740" defTabSz="1097280">
              <a:lnSpc>
                <a:spcPct val="130000"/>
              </a:lnSpc>
              <a:buClr>
                <a:srgbClr val="1F3C77"/>
              </a:buClr>
              <a:buFont typeface=".Lucida Grande UI Regular"/>
              <a:buChar char="▪"/>
              <a:defRPr/>
            </a:pPr>
            <a:r>
              <a:rPr lang="en-US" sz="1080">
                <a:solidFill>
                  <a:schemeClr val="tx1">
                    <a:lumMod val="75000"/>
                    <a:lumOff val="25000"/>
                  </a:schemeClr>
                </a:solidFill>
              </a:rPr>
              <a:t>Requalification schools</a:t>
            </a:r>
          </a:p>
          <a:p>
            <a:pPr marL="205740" indent="-205740" defTabSz="1097280">
              <a:lnSpc>
                <a:spcPct val="130000"/>
              </a:lnSpc>
              <a:buClr>
                <a:srgbClr val="1F3C77"/>
              </a:buClr>
              <a:buFont typeface=".Lucida Grande UI Regular"/>
              <a:buChar char="▪"/>
              <a:defRPr/>
            </a:pPr>
            <a:r>
              <a:rPr lang="en-US" sz="1080">
                <a:solidFill>
                  <a:schemeClr val="tx1">
                    <a:lumMod val="75000"/>
                    <a:lumOff val="25000"/>
                  </a:schemeClr>
                </a:solidFill>
              </a:rPr>
              <a:t>Self-learning courses and materials</a:t>
            </a:r>
          </a:p>
          <a:p>
            <a:pPr marL="205740" indent="-205740" defTabSz="1097280">
              <a:lnSpc>
                <a:spcPct val="130000"/>
              </a:lnSpc>
              <a:buClr>
                <a:srgbClr val="1F3C77"/>
              </a:buClr>
              <a:buFont typeface=".Lucida Grande UI Regular"/>
              <a:buChar char="▪"/>
              <a:defRPr/>
            </a:pPr>
            <a:r>
              <a:rPr lang="en-US" sz="1080">
                <a:solidFill>
                  <a:schemeClr val="tx1">
                    <a:lumMod val="75000"/>
                    <a:lumOff val="25000"/>
                  </a:schemeClr>
                </a:solidFill>
              </a:rPr>
              <a:t>Technical certifications</a:t>
            </a:r>
          </a:p>
          <a:p>
            <a:pPr marL="205740" indent="-205740" defTabSz="1097280">
              <a:lnSpc>
                <a:spcPct val="130000"/>
              </a:lnSpc>
              <a:buClr>
                <a:srgbClr val="1F3C77"/>
              </a:buClr>
              <a:buFont typeface=".Lucida Grande UI Regular"/>
              <a:buChar char="▪"/>
              <a:defRPr/>
            </a:pPr>
            <a:r>
              <a:rPr lang="en-US" sz="1080">
                <a:solidFill>
                  <a:schemeClr val="tx1">
                    <a:lumMod val="75000"/>
                    <a:lumOff val="25000"/>
                  </a:schemeClr>
                </a:solidFill>
              </a:rPr>
              <a:t>Workshops with industry gurus</a:t>
            </a:r>
          </a:p>
          <a:p>
            <a:pPr marL="205740" indent="-205740" defTabSz="1097280">
              <a:lnSpc>
                <a:spcPct val="130000"/>
              </a:lnSpc>
              <a:buClr>
                <a:srgbClr val="1F3C77"/>
              </a:buClr>
              <a:buFont typeface=".Lucida Grande UI Regular"/>
              <a:buChar char="▪"/>
              <a:defRPr/>
            </a:pPr>
            <a:r>
              <a:rPr lang="en-US" sz="1080">
                <a:solidFill>
                  <a:schemeClr val="tx1">
                    <a:lumMod val="75000"/>
                    <a:lumOff val="25000"/>
                  </a:schemeClr>
                </a:solidFill>
              </a:rPr>
              <a:t>Professional communities &amp; conferences</a:t>
            </a:r>
          </a:p>
          <a:p>
            <a:pPr marL="205740" indent="-205740" defTabSz="1097280">
              <a:lnSpc>
                <a:spcPct val="130000"/>
              </a:lnSpc>
              <a:buClr>
                <a:srgbClr val="1F3C77"/>
              </a:buClr>
              <a:buFont typeface=".Lucida Grande UI Regular"/>
              <a:buChar char="▪"/>
              <a:defRPr/>
            </a:pPr>
            <a:r>
              <a:rPr lang="en-US" sz="1080">
                <a:solidFill>
                  <a:schemeClr val="tx1">
                    <a:lumMod val="75000"/>
                    <a:lumOff val="25000"/>
                  </a:schemeClr>
                </a:solidFill>
              </a:rPr>
              <a:t>Language classes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1C24452-9CBF-A835-F362-C432F750CF4E}"/>
              </a:ext>
            </a:extLst>
          </p:cNvPr>
          <p:cNvSpPr/>
          <p:nvPr/>
        </p:nvSpPr>
        <p:spPr>
          <a:xfrm>
            <a:off x="10342461" y="4655181"/>
            <a:ext cx="3527270" cy="191068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defTabSz="1097280">
              <a:spcAft>
                <a:spcPts val="480"/>
              </a:spcAft>
              <a:defRPr/>
            </a:pPr>
            <a:r>
              <a:rPr lang="en-US" sz="1560">
                <a:solidFill>
                  <a:schemeClr val="accent1"/>
                </a:solidFill>
              </a:rPr>
              <a:t>Management</a:t>
            </a:r>
          </a:p>
          <a:p>
            <a:pPr marL="205740" indent="-205740" defTabSz="1097280">
              <a:lnSpc>
                <a:spcPct val="130000"/>
              </a:lnSpc>
              <a:buClr>
                <a:srgbClr val="1F3C77"/>
              </a:buClr>
              <a:buFont typeface=".Lucida Grande UI Regular"/>
              <a:buChar char="▪"/>
              <a:defRPr/>
            </a:pPr>
            <a:r>
              <a:rPr lang="en-US" sz="1080">
                <a:solidFill>
                  <a:schemeClr val="tx1">
                    <a:lumMod val="75000"/>
                    <a:lumOff val="25000"/>
                  </a:schemeClr>
                </a:solidFill>
              </a:rPr>
              <a:t>Soft skills training</a:t>
            </a:r>
          </a:p>
          <a:p>
            <a:pPr marL="205740" indent="-205740" defTabSz="1097280">
              <a:lnSpc>
                <a:spcPct val="130000"/>
              </a:lnSpc>
              <a:buClr>
                <a:srgbClr val="1F3C77"/>
              </a:buClr>
              <a:buFont typeface=".Lucida Grande UI Regular"/>
              <a:buChar char="▪"/>
              <a:defRPr/>
            </a:pPr>
            <a:r>
              <a:rPr lang="en-US" sz="1080">
                <a:solidFill>
                  <a:schemeClr val="tx1">
                    <a:lumMod val="75000"/>
                    <a:lumOff val="25000"/>
                  </a:schemeClr>
                </a:solidFill>
              </a:rPr>
              <a:t>Bridge Mentoring Program</a:t>
            </a:r>
          </a:p>
          <a:p>
            <a:pPr marL="205740" indent="-205740" defTabSz="1097280">
              <a:lnSpc>
                <a:spcPct val="130000"/>
              </a:lnSpc>
              <a:buClr>
                <a:srgbClr val="1F3C77"/>
              </a:buClr>
              <a:buFont typeface=".Lucida Grande UI Regular"/>
              <a:buChar char="▪"/>
              <a:defRPr/>
            </a:pPr>
            <a:r>
              <a:rPr lang="en-US" sz="1080">
                <a:solidFill>
                  <a:schemeClr val="tx1">
                    <a:lumMod val="75000"/>
                    <a:lumOff val="25000"/>
                  </a:schemeClr>
                </a:solidFill>
              </a:rPr>
              <a:t>Leadership &amp; Management University</a:t>
            </a:r>
          </a:p>
          <a:p>
            <a:pPr marL="205740" indent="-205740" defTabSz="1097280">
              <a:lnSpc>
                <a:spcPct val="130000"/>
              </a:lnSpc>
              <a:buClr>
                <a:srgbClr val="1F3C77"/>
              </a:buClr>
              <a:buFont typeface=".Lucida Grande UI Regular"/>
              <a:buChar char="▪"/>
              <a:defRPr/>
            </a:pPr>
            <a:r>
              <a:rPr lang="en-US" sz="1080">
                <a:solidFill>
                  <a:schemeClr val="tx1">
                    <a:lumMod val="75000"/>
                    <a:lumOff val="25000"/>
                  </a:schemeClr>
                </a:solidFill>
              </a:rPr>
              <a:t>Assessment Center: 3600 Assessment</a:t>
            </a:r>
          </a:p>
          <a:p>
            <a:pPr marL="205740" indent="-205740" defTabSz="1097280">
              <a:lnSpc>
                <a:spcPct val="130000"/>
              </a:lnSpc>
              <a:buClr>
                <a:srgbClr val="1F3C77"/>
              </a:buClr>
              <a:buFont typeface=".Lucida Grande UI Regular"/>
              <a:buChar char="▪"/>
              <a:defRPr/>
            </a:pPr>
            <a:r>
              <a:rPr lang="en-US" sz="1080">
                <a:solidFill>
                  <a:schemeClr val="tx1">
                    <a:lumMod val="75000"/>
                    <a:lumOff val="25000"/>
                  </a:schemeClr>
                </a:solidFill>
              </a:rPr>
              <a:t>Thomas /DISC Assessment</a:t>
            </a:r>
          </a:p>
          <a:p>
            <a:pPr marL="205740" indent="-205740" defTabSz="1097280">
              <a:lnSpc>
                <a:spcPct val="130000"/>
              </a:lnSpc>
              <a:buClr>
                <a:srgbClr val="1F3C77"/>
              </a:buClr>
              <a:buFont typeface=".Lucida Grande UI Regular"/>
              <a:buChar char="▪"/>
              <a:defRPr/>
            </a:pPr>
            <a:r>
              <a:rPr lang="en-US" sz="1080">
                <a:solidFill>
                  <a:schemeClr val="tx1">
                    <a:lumMod val="75000"/>
                    <a:lumOff val="25000"/>
                  </a:schemeClr>
                </a:solidFill>
              </a:rPr>
              <a:t>High Performance Club: individual business coaching</a:t>
            </a:r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D2AE0D1F-E5E4-66D4-8980-2AF748E18986}"/>
              </a:ext>
            </a:extLst>
          </p:cNvPr>
          <p:cNvCxnSpPr>
            <a:cxnSpLocks/>
          </p:cNvCxnSpPr>
          <p:nvPr/>
        </p:nvCxnSpPr>
        <p:spPr>
          <a:xfrm>
            <a:off x="6255714" y="4382612"/>
            <a:ext cx="7614017" cy="0"/>
          </a:xfrm>
          <a:prstGeom prst="line">
            <a:avLst/>
          </a:prstGeom>
          <a:ln w="127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riangle 141">
            <a:extLst>
              <a:ext uri="{FF2B5EF4-FFF2-40B4-BE49-F238E27FC236}">
                <a16:creationId xmlns:a16="http://schemas.microsoft.com/office/drawing/2014/main" id="{75803508-FE9A-AE50-EADB-7D058717A07A}"/>
              </a:ext>
            </a:extLst>
          </p:cNvPr>
          <p:cNvSpPr/>
          <p:nvPr/>
        </p:nvSpPr>
        <p:spPr>
          <a:xfrm rot="1255208">
            <a:off x="1899520" y="6497313"/>
            <a:ext cx="326322" cy="264342"/>
          </a:xfrm>
          <a:prstGeom prst="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7280">
              <a:defRPr/>
            </a:pPr>
            <a:endParaRPr lang="en-US" sz="2160">
              <a:solidFill>
                <a:prstClr val="white"/>
              </a:solidFill>
              <a:latin typeface="Open Sans"/>
            </a:endParaRP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2F81BDF5-A18B-9B17-D4BF-9BDC76236C50}"/>
              </a:ext>
            </a:extLst>
          </p:cNvPr>
          <p:cNvCxnSpPr>
            <a:cxnSpLocks/>
            <a:endCxn id="60" idx="0"/>
          </p:cNvCxnSpPr>
          <p:nvPr/>
        </p:nvCxnSpPr>
        <p:spPr>
          <a:xfrm flipH="1">
            <a:off x="2109876" y="5446168"/>
            <a:ext cx="442189" cy="1059858"/>
          </a:xfrm>
          <a:prstGeom prst="line">
            <a:avLst/>
          </a:prstGeom>
          <a:ln w="19050" cap="rnd">
            <a:solidFill>
              <a:schemeClr val="accent4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5882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ytuł 3">
            <a:extLst>
              <a:ext uri="{FF2B5EF4-FFF2-40B4-BE49-F238E27FC236}">
                <a16:creationId xmlns:a16="http://schemas.microsoft.com/office/drawing/2014/main" id="{447BC5A1-0B76-4A23-B02A-90920E4A0A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3000" y="250371"/>
            <a:ext cx="13791600" cy="832335"/>
          </a:xfrm>
        </p:spPr>
        <p:txBody>
          <a:bodyPr>
            <a:normAutofit/>
          </a:bodyPr>
          <a:lstStyle/>
          <a:p>
            <a:r>
              <a:rPr lang="en-US" sz="2200" dirty="0">
                <a:latin typeface="Arial"/>
                <a:cs typeface="Arial"/>
              </a:rPr>
              <a:t>Luxoft APAC </a:t>
            </a:r>
            <a:r>
              <a:rPr lang="en-US" dirty="0">
                <a:latin typeface="Arial"/>
                <a:cs typeface="Arial"/>
              </a:rPr>
              <a:t>– Best Employer Brand &amp; GPTW® Certified in 2024</a:t>
            </a:r>
            <a:endParaRPr lang="en-GB" dirty="0"/>
          </a:p>
        </p:txBody>
      </p:sp>
      <p:pic>
        <p:nvPicPr>
          <p:cNvPr id="12" name="Picture 11" descr="Timeline&#10;&#10;Description automatically generated">
            <a:extLst>
              <a:ext uri="{FF2B5EF4-FFF2-40B4-BE49-F238E27FC236}">
                <a16:creationId xmlns:a16="http://schemas.microsoft.com/office/drawing/2014/main" id="{99369287-35AE-8A8B-62C7-29CD0FCB5D3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90213" y="2190178"/>
            <a:ext cx="3974673" cy="104287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955554B-39BD-8C92-5F88-BBE1F9DFA632}"/>
              </a:ext>
            </a:extLst>
          </p:cNvPr>
          <p:cNvSpPr txBox="1"/>
          <p:nvPr/>
        </p:nvSpPr>
        <p:spPr>
          <a:xfrm>
            <a:off x="1857855" y="835961"/>
            <a:ext cx="10573631" cy="135421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l">
              <a:lnSpc>
                <a:spcPct val="90000"/>
              </a:lnSpc>
              <a:spcAft>
                <a:spcPts val="400"/>
              </a:spcAft>
            </a:pPr>
            <a:r>
              <a:rPr lang="en-RU" sz="2400" dirty="0"/>
              <a:t>Celebraring our High-Trust High-Performance Culture </a:t>
            </a:r>
            <a:r>
              <a:rPr lang="en-RU" sz="2400" baseline="30000" dirty="0"/>
              <a:t>TM</a:t>
            </a:r>
            <a:endParaRPr lang="en-US" sz="2400" baseline="30000" dirty="0"/>
          </a:p>
          <a:p>
            <a:pPr algn="l">
              <a:lnSpc>
                <a:spcPct val="90000"/>
              </a:lnSpc>
              <a:spcAft>
                <a:spcPts val="400"/>
              </a:spcAft>
            </a:pPr>
            <a:endParaRPr lang="en-US" sz="2400" baseline="30000" dirty="0"/>
          </a:p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2400" b="1" dirty="0">
                <a:solidFill>
                  <a:schemeClr val="accent1"/>
                </a:solidFill>
                <a:latin typeface="Arial"/>
              </a:rPr>
              <a:t>Luxoft APAC </a:t>
            </a:r>
            <a:r>
              <a:rPr lang="en-US" sz="2400" dirty="0">
                <a:solidFill>
                  <a:srgbClr val="000000"/>
                </a:solidFill>
                <a:latin typeface="Arial"/>
              </a:rPr>
              <a:t>is the </a:t>
            </a:r>
            <a:r>
              <a:rPr lang="en-US" sz="2400" b="1" dirty="0">
                <a:solidFill>
                  <a:srgbClr val="FF0000"/>
                </a:solidFill>
                <a:latin typeface="Arial"/>
              </a:rPr>
              <a:t>Best Employer Brand 2023 </a:t>
            </a:r>
            <a:r>
              <a:rPr lang="en-US" sz="2400" dirty="0">
                <a:solidFill>
                  <a:srgbClr val="000000"/>
                </a:solidFill>
                <a:latin typeface="Arial"/>
              </a:rPr>
              <a:t>recognized by HRM Asia</a:t>
            </a:r>
            <a:endParaRPr lang="en-IN" sz="2400" dirty="0">
              <a:solidFill>
                <a:srgbClr val="000000"/>
              </a:solidFill>
              <a:latin typeface="Arial"/>
            </a:endParaRPr>
          </a:p>
          <a:p>
            <a:pPr algn="l">
              <a:lnSpc>
                <a:spcPct val="90000"/>
              </a:lnSpc>
              <a:spcAft>
                <a:spcPts val="400"/>
              </a:spcAft>
            </a:pPr>
            <a:endParaRPr lang="en-RU" sz="2400" baseline="300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337C0B0-E785-D02E-856C-533586ECC38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1054"/>
          <a:stretch/>
        </p:blipFill>
        <p:spPr>
          <a:xfrm>
            <a:off x="1179021" y="4512386"/>
            <a:ext cx="11971424" cy="2837709"/>
          </a:xfrm>
          <a:prstGeom prst="rect">
            <a:avLst/>
          </a:prstGeom>
        </p:spPr>
      </p:pic>
      <p:pic>
        <p:nvPicPr>
          <p:cNvPr id="33" name="Picture 32" descr="A gold trophy and a framed award&#10;&#10;Description automatically generated">
            <a:extLst>
              <a:ext uri="{FF2B5EF4-FFF2-40B4-BE49-F238E27FC236}">
                <a16:creationId xmlns:a16="http://schemas.microsoft.com/office/drawing/2014/main" id="{F132E28E-A052-DE23-35DF-BB2E527014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05474" y="2033631"/>
            <a:ext cx="1873374" cy="2511415"/>
          </a:xfrm>
          <a:prstGeom prst="rect">
            <a:avLst/>
          </a:prstGeom>
        </p:spPr>
      </p:pic>
      <p:pic>
        <p:nvPicPr>
          <p:cNvPr id="6" name="Picture 5" descr="A red and blue sign with white text&#10;&#10;Description automatically generated">
            <a:extLst>
              <a:ext uri="{FF2B5EF4-FFF2-40B4-BE49-F238E27FC236}">
                <a16:creationId xmlns:a16="http://schemas.microsoft.com/office/drawing/2014/main" id="{C1F5FE18-545E-326B-73DB-4AA65916A44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0618" y="2033631"/>
            <a:ext cx="1395292" cy="2263572"/>
          </a:xfrm>
          <a:prstGeom prst="rect">
            <a:avLst/>
          </a:prstGeom>
        </p:spPr>
      </p:pic>
      <p:pic>
        <p:nvPicPr>
          <p:cNvPr id="7" name="Picture 6" descr="A red and blue sign with white text&#10;&#10;Description automatically generated">
            <a:extLst>
              <a:ext uri="{FF2B5EF4-FFF2-40B4-BE49-F238E27FC236}">
                <a16:creationId xmlns:a16="http://schemas.microsoft.com/office/drawing/2014/main" id="{7AACBAEA-2438-AA48-DB64-075C5F5EE45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57177" y="2033631"/>
            <a:ext cx="1575713" cy="2263573"/>
          </a:xfrm>
          <a:prstGeom prst="rect">
            <a:avLst/>
          </a:prstGeom>
        </p:spPr>
      </p:pic>
      <p:pic>
        <p:nvPicPr>
          <p:cNvPr id="9" name="Picture 8" descr="A red and blue sign with white text&#10;&#10;Description automatically generated">
            <a:extLst>
              <a:ext uri="{FF2B5EF4-FFF2-40B4-BE49-F238E27FC236}">
                <a16:creationId xmlns:a16="http://schemas.microsoft.com/office/drawing/2014/main" id="{2ED49D4F-166E-17BE-3151-CE60B2A166F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07810" y="2033631"/>
            <a:ext cx="1730988" cy="2263573"/>
          </a:xfrm>
          <a:prstGeom prst="rect">
            <a:avLst/>
          </a:prstGeom>
        </p:spPr>
      </p:pic>
      <p:pic>
        <p:nvPicPr>
          <p:cNvPr id="11" name="Picture 10" descr="A red and blue sign with white text&#10;&#10;Description automatically generated">
            <a:extLst>
              <a:ext uri="{FF2B5EF4-FFF2-40B4-BE49-F238E27FC236}">
                <a16:creationId xmlns:a16="http://schemas.microsoft.com/office/drawing/2014/main" id="{7DDED34F-7AAC-9519-9AEA-2FCDBB87042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05301" y="2033631"/>
            <a:ext cx="1592967" cy="2263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1998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ytuł 2">
            <a:extLst>
              <a:ext uri="{FF2B5EF4-FFF2-40B4-BE49-F238E27FC236}">
                <a16:creationId xmlns:a16="http://schemas.microsoft.com/office/drawing/2014/main" id="{6C30F336-41FA-4D3D-941D-85E1306317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7942" y="363900"/>
            <a:ext cx="12866915" cy="551728"/>
          </a:xfrm>
        </p:spPr>
        <p:txBody>
          <a:bodyPr/>
          <a:lstStyle>
            <a:defPPr>
              <a:defRPr lang="en-US"/>
            </a:defPPr>
            <a:lvl1pPr marL="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600" dirty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5F249F"/>
                </a:solidFill>
                <a:latin typeface="+mj-lt"/>
                <a:ea typeface="+mj-ea"/>
                <a:cs typeface="+mj-cs"/>
              </a:rPr>
              <a:t>Luxoft India: Certification &amp; Awards</a:t>
            </a:r>
            <a:endParaRPr lang="en-GB" sz="3600" dirty="0"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solidFill>
                <a:srgbClr val="5F249F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2" name="Picture 1" descr="A poster of a company&amp;#39;s workplace&#10;&#10;Description automatically generated">
            <a:extLst>
              <a:ext uri="{FF2B5EF4-FFF2-40B4-BE49-F238E27FC236}">
                <a16:creationId xmlns:a16="http://schemas.microsoft.com/office/drawing/2014/main" id="{41BD9FB2-C362-8EB5-14A7-92F7CC30B5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55452" y="2652305"/>
            <a:ext cx="5589148" cy="2924987"/>
          </a:xfrm>
          <a:prstGeom prst="rect">
            <a:avLst/>
          </a:prstGeom>
        </p:spPr>
      </p:pic>
      <p:pic>
        <p:nvPicPr>
          <p:cNvPr id="4" name="Picture 3" descr="A black and purple award&#10;&#10;Description automatically generated">
            <a:extLst>
              <a:ext uri="{FF2B5EF4-FFF2-40B4-BE49-F238E27FC236}">
                <a16:creationId xmlns:a16="http://schemas.microsoft.com/office/drawing/2014/main" id="{BBBBA63C-C0C6-A54D-67EF-6309B66A732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5944" t="21359" r="-1423" b="20930"/>
          <a:stretch/>
        </p:blipFill>
        <p:spPr>
          <a:xfrm rot="5400000">
            <a:off x="5271966" y="3414456"/>
            <a:ext cx="3660078" cy="170549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5CD9BA9-B443-281D-8BA2-2B3E72CAE917}"/>
              </a:ext>
            </a:extLst>
          </p:cNvPr>
          <p:cNvSpPr txBox="1"/>
          <p:nvPr/>
        </p:nvSpPr>
        <p:spPr>
          <a:xfrm>
            <a:off x="2028567" y="973782"/>
            <a:ext cx="8193120" cy="105157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L="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462981">
              <a:lnSpc>
                <a:spcPct val="90000"/>
              </a:lnSpc>
              <a:spcAft>
                <a:spcPts val="480"/>
              </a:spcAft>
            </a:pPr>
            <a:r>
              <a:rPr lang="en-US" sz="2000" dirty="0">
                <a:solidFill>
                  <a:srgbClr val="000000"/>
                </a:solidFill>
                <a:latin typeface="Arial"/>
                <a:ea typeface="+mn-lt"/>
                <a:cs typeface="Arial"/>
              </a:rPr>
              <a:t>Luxoft India is now </a:t>
            </a:r>
            <a:r>
              <a:rPr lang="en-US" sz="2000" b="1" dirty="0">
                <a:solidFill>
                  <a:srgbClr val="FF0000"/>
                </a:solidFill>
                <a:latin typeface="Arial"/>
                <a:cs typeface="Arial"/>
              </a:rPr>
              <a:t>ISO 9001 </a:t>
            </a:r>
            <a:r>
              <a:rPr lang="en-US" sz="2000" b="1" dirty="0">
                <a:solidFill>
                  <a:srgbClr val="5F249F"/>
                </a:solidFill>
                <a:latin typeface="Arial"/>
                <a:cs typeface="Arial"/>
              </a:rPr>
              <a:t>and  </a:t>
            </a:r>
            <a:r>
              <a:rPr lang="en-US" sz="2000" b="1" dirty="0">
                <a:solidFill>
                  <a:srgbClr val="FF0000"/>
                </a:solidFill>
                <a:latin typeface="Arial"/>
                <a:cs typeface="Arial"/>
              </a:rPr>
              <a:t>ISO 14001 certified</a:t>
            </a:r>
            <a:r>
              <a:rPr lang="en-US" sz="2000" b="1" dirty="0">
                <a:solidFill>
                  <a:srgbClr val="5F249F"/>
                </a:solidFill>
                <a:latin typeface="Arial"/>
                <a:cs typeface="Arial"/>
              </a:rPr>
              <a:t>, </a:t>
            </a:r>
          </a:p>
          <a:p>
            <a:pPr defTabSz="1462981">
              <a:lnSpc>
                <a:spcPct val="90000"/>
              </a:lnSpc>
              <a:spcAft>
                <a:spcPts val="480"/>
              </a:spcAft>
            </a:pPr>
            <a:endParaRPr lang="en-US" sz="20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1462981">
              <a:lnSpc>
                <a:spcPct val="90000"/>
              </a:lnSpc>
              <a:spcAft>
                <a:spcPts val="480"/>
              </a:spcAft>
            </a:pPr>
            <a:r>
              <a:rPr lang="en-US" sz="2000" dirty="0">
                <a:solidFill>
                  <a:srgbClr val="000000"/>
                </a:solidFill>
                <a:latin typeface="Arial"/>
                <a:cs typeface="Arial"/>
              </a:rPr>
              <a:t>&amp; is recognized as</a:t>
            </a:r>
            <a:r>
              <a:rPr lang="en-US" sz="2000" b="1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sz="2000" b="1" dirty="0">
                <a:solidFill>
                  <a:srgbClr val="5F249F"/>
                </a:solidFill>
                <a:latin typeface="Arial"/>
                <a:cs typeface="Arial"/>
              </a:rPr>
              <a:t>"Top 24 of 2024"</a:t>
            </a:r>
            <a:r>
              <a:rPr lang="en-US" sz="2000" b="1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sz="2000" dirty="0">
                <a:solidFill>
                  <a:srgbClr val="000000"/>
                </a:solidFill>
                <a:latin typeface="Arial"/>
                <a:cs typeface="Arial"/>
              </a:rPr>
              <a:t>at the GCC workplace awards!</a:t>
            </a:r>
            <a:endParaRPr lang="en-US" dirty="0"/>
          </a:p>
        </p:txBody>
      </p:sp>
      <p:pic>
        <p:nvPicPr>
          <p:cNvPr id="5" name="Picture 4" descr="A purple and yellow ribbon with white text&#10;&#10;Description automatically generated">
            <a:extLst>
              <a:ext uri="{FF2B5EF4-FFF2-40B4-BE49-F238E27FC236}">
                <a16:creationId xmlns:a16="http://schemas.microsoft.com/office/drawing/2014/main" id="{9E496A52-443C-5723-D7E6-EEBF8E57B7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5856" y="2652306"/>
            <a:ext cx="5589148" cy="2924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8503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A4CAF0B-8C87-94B9-3062-B09C968513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391886"/>
            <a:ext cx="13258800" cy="1257961"/>
          </a:xfrm>
        </p:spPr>
        <p:txBody>
          <a:bodyPr/>
          <a:lstStyle>
            <a:defPPr>
              <a:defRPr lang="en-US"/>
            </a:defPPr>
            <a:lvl1pPr marL="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600" dirty="0">
                <a:solidFill>
                  <a:schemeClr val="accent1"/>
                </a:solidFill>
                <a:latin typeface="Arial"/>
                <a:ea typeface="+mj-ea"/>
                <a:cs typeface="Arial"/>
              </a:rPr>
              <a:t>Luxoft global</a:t>
            </a:r>
            <a:r>
              <a:rPr lang="en-US" sz="3600" b="0" dirty="0">
                <a:solidFill>
                  <a:schemeClr val="accent1"/>
                </a:solidFill>
                <a:latin typeface="Arial"/>
                <a:ea typeface="+mj-ea"/>
                <a:cs typeface="Arial"/>
              </a:rPr>
              <a:t>-</a:t>
            </a:r>
            <a:r>
              <a:rPr lang="en-US" sz="3600" dirty="0">
                <a:solidFill>
                  <a:schemeClr val="accent1"/>
                </a:solidFill>
                <a:latin typeface="Arial"/>
                <a:ea typeface="+mj-ea"/>
                <a:cs typeface="Arial"/>
              </a:rPr>
              <a:t> Awards and Achievements</a:t>
            </a:r>
            <a:endParaRPr lang="en-IN" sz="3600" dirty="0">
              <a:solidFill>
                <a:schemeClr val="accent1"/>
              </a:solidFill>
              <a:latin typeface="Arial"/>
              <a:ea typeface="+mj-ea"/>
              <a:cs typeface="Arial"/>
            </a:endParaRPr>
          </a:p>
        </p:txBody>
      </p:sp>
      <p:pic>
        <p:nvPicPr>
          <p:cNvPr id="8" name="Picture 7" descr="A logo with text on it&#10;&#10;Description automatically generated">
            <a:extLst>
              <a:ext uri="{FF2B5EF4-FFF2-40B4-BE49-F238E27FC236}">
                <a16:creationId xmlns:a16="http://schemas.microsoft.com/office/drawing/2014/main" id="{91F177F9-9820-6CE1-B625-7A7E0B08D06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0208" y="2593728"/>
            <a:ext cx="4014482" cy="3281629"/>
          </a:xfrm>
          <a:prstGeom prst="rect">
            <a:avLst/>
          </a:prstGeom>
        </p:spPr>
      </p:pic>
      <p:pic>
        <p:nvPicPr>
          <p:cNvPr id="2" name="Graphic 1" descr="Best Company Work-Life Balance 2024 (Large Companies)">
            <a:extLst>
              <a:ext uri="{FF2B5EF4-FFF2-40B4-BE49-F238E27FC236}">
                <a16:creationId xmlns:a16="http://schemas.microsoft.com/office/drawing/2014/main" id="{313109E7-1B21-FFAF-BD88-446B9E6B4BD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495396" y="2593727"/>
            <a:ext cx="4006415" cy="328162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046555E-1807-B96D-5752-1C86D5A8F2F2}"/>
              </a:ext>
            </a:extLst>
          </p:cNvPr>
          <p:cNvSpPr txBox="1"/>
          <p:nvPr/>
        </p:nvSpPr>
        <p:spPr>
          <a:xfrm>
            <a:off x="685799" y="1040517"/>
            <a:ext cx="13536021" cy="103618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L="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462981"/>
            <a:r>
              <a:rPr lang="en-US" sz="2000" dirty="0">
                <a:solidFill>
                  <a:srgbClr val="000000"/>
                </a:solidFill>
                <a:latin typeface="Arial"/>
                <a:cs typeface="Arial"/>
              </a:rPr>
              <a:t>Luxoft wins WomenTech community’s </a:t>
            </a:r>
            <a:r>
              <a:rPr lang="en-US" sz="2000" b="1" dirty="0">
                <a:solidFill>
                  <a:srgbClr val="5F249F"/>
                </a:solidFill>
                <a:latin typeface="Arial"/>
                <a:cs typeface="Arial"/>
              </a:rPr>
              <a:t>Gold in Diversity &amp; Inclusion Employer of the Year award 2023</a:t>
            </a:r>
            <a:endParaRPr lang="en-IN" sz="2000" b="1" dirty="0">
              <a:solidFill>
                <a:srgbClr val="5F249F"/>
              </a:solidFill>
              <a:latin typeface="Arial"/>
              <a:cs typeface="Arial"/>
            </a:endParaRPr>
          </a:p>
          <a:p>
            <a:pPr defTabSz="1462981"/>
            <a:endParaRPr lang="en-US" sz="20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1462981"/>
            <a:r>
              <a:rPr lang="en-US" sz="2000" dirty="0">
                <a:solidFill>
                  <a:srgbClr val="000000"/>
                </a:solidFill>
                <a:latin typeface="Arial"/>
                <a:cs typeface="Arial"/>
              </a:rPr>
              <a:t>Luxoft is the winner in Comparably’ s</a:t>
            </a:r>
            <a:r>
              <a:rPr lang="en-US" sz="2000" b="1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sz="2000" b="1" dirty="0">
                <a:solidFill>
                  <a:srgbClr val="5F249F"/>
                </a:solidFill>
                <a:latin typeface="Arial"/>
                <a:cs typeface="Arial"/>
              </a:rPr>
              <a:t>“Best Work-life balance” </a:t>
            </a:r>
            <a:r>
              <a:rPr lang="en-US" sz="2000" dirty="0">
                <a:solidFill>
                  <a:srgbClr val="000000"/>
                </a:solidFill>
                <a:latin typeface="Arial"/>
                <a:cs typeface="Arial"/>
              </a:rPr>
              <a:t>&amp;</a:t>
            </a:r>
            <a:r>
              <a:rPr lang="en-US" sz="2000" b="1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sz="2000" b="1" dirty="0">
                <a:solidFill>
                  <a:srgbClr val="5F249F"/>
                </a:solidFill>
                <a:latin typeface="Arial"/>
                <a:cs typeface="Arial"/>
              </a:rPr>
              <a:t>“Best global culture” </a:t>
            </a:r>
            <a:r>
              <a:rPr lang="en-US" sz="2000" dirty="0">
                <a:solidFill>
                  <a:srgbClr val="000000"/>
                </a:solidFill>
                <a:latin typeface="Arial"/>
                <a:cs typeface="Arial"/>
              </a:rPr>
              <a:t>categories for 2024.</a:t>
            </a:r>
          </a:p>
        </p:txBody>
      </p:sp>
      <p:pic>
        <p:nvPicPr>
          <p:cNvPr id="3" name="Picture 2" descr="A person holding a trophy&#10;&#10;Description automatically generated">
            <a:extLst>
              <a:ext uri="{FF2B5EF4-FFF2-40B4-BE49-F238E27FC236}">
                <a16:creationId xmlns:a16="http://schemas.microsoft.com/office/drawing/2014/main" id="{436EE1A4-013D-A030-FFC6-95F1338920A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2222" y="2646690"/>
            <a:ext cx="6122377" cy="3175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6450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rostokąt 6">
            <a:extLst>
              <a:ext uri="{FF2B5EF4-FFF2-40B4-BE49-F238E27FC236}">
                <a16:creationId xmlns:a16="http://schemas.microsoft.com/office/drawing/2014/main" id="{A76ED432-5F41-C0E4-2C18-00FC7C2399E9}"/>
              </a:ext>
            </a:extLst>
          </p:cNvPr>
          <p:cNvSpPr/>
          <p:nvPr/>
        </p:nvSpPr>
        <p:spPr>
          <a:xfrm>
            <a:off x="-16977" y="1295269"/>
            <a:ext cx="14630399" cy="58026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C055444-2E96-1E4F-A604-8FBB407F89C6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pPr>
              <a:spcAft>
                <a:spcPct val="0"/>
              </a:spcAft>
              <a:defRPr kumimoji="0" sz="3600" b="1" i="0" u="none" strike="noStrike" cap="none" spc="0" normalizeH="0" baseline="0" noProof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5F249F"/>
                </a:solidFill>
                <a:uLnTx/>
                <a:uFillTx/>
                <a:latin typeface="+mj-lt"/>
                <a:ea typeface="+mj-ea"/>
                <a:cs typeface="+mj-cs"/>
                <a:sym typeface="Wingdings" charset="2"/>
              </a:defRPr>
            </a:pPr>
            <a:r>
              <a:rPr kumimoji="0" lang="en-US" b="1" i="0" u="none" strike="noStrike" cap="none" spc="0" normalizeH="0" baseline="0" noProof="0" dirty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5F249F"/>
                </a:solidFill>
                <a:uLnTx/>
                <a:uFillTx/>
                <a:latin typeface="Arial"/>
                <a:cs typeface="Arial"/>
                <a:sym typeface="Wingdings" charset="2"/>
              </a:rPr>
              <a:t>Luxoft India -</a:t>
            </a:r>
            <a:r>
              <a:rPr kumimoji="0" lang="en-US" sz="3600" b="1" i="0" u="none" strike="noStrike" cap="none" spc="0" normalizeH="0" baseline="0" noProof="0" dirty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5F249F"/>
                </a:solidFill>
                <a:uLnTx/>
                <a:uFillTx/>
                <a:latin typeface="Arial"/>
                <a:cs typeface="Arial"/>
                <a:sym typeface="Wingdings" charset="2"/>
              </a:rPr>
              <a:t> </a:t>
            </a:r>
            <a:r>
              <a:rPr lang="en-US" dirty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67209D"/>
                </a:solidFill>
                <a:latin typeface="Arial"/>
                <a:cs typeface="Arial"/>
                <a:sym typeface="Wingdings" charset="2"/>
              </a:rPr>
              <a:t>Recognitions</a:t>
            </a:r>
            <a:endParaRPr kumimoji="0" lang="en-US" sz="3600" b="1" i="0" u="none" strike="noStrike" cap="none" spc="0" normalizeH="0" baseline="0" noProof="0" dirty="0"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solidFill>
                <a:srgbClr val="67209D"/>
              </a:solidFill>
              <a:uLnTx/>
              <a:uFillTx/>
              <a:latin typeface="+mj-lt"/>
              <a:cs typeface="+mj-cs"/>
              <a:sym typeface="Wingdings" charset="2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955554B-39BD-8C92-5F88-BBE1F9DFA63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97242" y="1349834"/>
            <a:ext cx="5037903" cy="974626"/>
          </a:xfrm>
          <a:prstGeom prst="rect">
            <a:avLst/>
          </a:prstGeom>
          <a:noFill/>
        </p:spPr>
        <p:txBody>
          <a:bodyPr wrap="square" lIns="0" tIns="45720" rIns="91440" bIns="45720" rtlCol="0" anchor="t">
            <a:spAutoFit/>
          </a:bodyPr>
          <a:lstStyle>
            <a:defPPr>
              <a:defRPr lang="pl-PL"/>
            </a:defPPr>
          </a:lstStyle>
          <a:p>
            <a:pPr defTabSz="146298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defRPr kumimoji="0" sz="2160" b="0" i="0" normalizeH="0" noProof="0">
                <a:solidFill>
                  <a:srgbClr val="000000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lang="en-US" sz="2000" dirty="0" err="1"/>
              <a:t>AmbitionBox</a:t>
            </a:r>
            <a:r>
              <a:rPr lang="en-US" sz="2000" dirty="0">
                <a:solidFill>
                  <a:srgbClr val="000000"/>
                </a:solidFill>
              </a:rPr>
              <a:t> award for</a:t>
            </a:r>
            <a:r>
              <a:rPr lang="ru-RU" sz="2000" dirty="0">
                <a:solidFill>
                  <a:srgbClr val="000000"/>
                </a:solidFill>
              </a:rPr>
              <a:t> </a:t>
            </a:r>
            <a:endParaRPr lang="en-US" sz="2000" dirty="0">
              <a:solidFill>
                <a:srgbClr val="000000"/>
              </a:solidFill>
            </a:endParaRPr>
          </a:p>
          <a:p>
            <a:pPr defTabSz="146298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defRPr kumimoji="0" sz="2160" b="0" i="0" normalizeH="0" noProof="0">
                <a:solidFill>
                  <a:srgbClr val="000000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lang="en-US" sz="2000" b="1" dirty="0">
                <a:solidFill>
                  <a:srgbClr val="67209D"/>
                </a:solidFill>
              </a:rPr>
              <a:t>"The Best Places to Work in India"</a:t>
            </a:r>
            <a:r>
              <a:rPr lang="en-US" sz="2000" dirty="0">
                <a:solidFill>
                  <a:srgbClr val="000000"/>
                </a:solidFill>
              </a:rPr>
              <a:t> in IT/ITES category</a:t>
            </a:r>
            <a:endParaRPr lang="en-US" sz="2000">
              <a:solidFill>
                <a:srgbClr val="000000"/>
              </a:solidFill>
              <a:cs typeface="Arial"/>
            </a:endParaRPr>
          </a:p>
        </p:txBody>
      </p:sp>
      <p:pic>
        <p:nvPicPr>
          <p:cNvPr id="10" name="Picture 9" descr="Graphical user interface&#10;&#10;Description automatically generated">
            <a:extLst>
              <a:ext uri="{FF2B5EF4-FFF2-40B4-BE49-F238E27FC236}">
                <a16:creationId xmlns:a16="http://schemas.microsoft.com/office/drawing/2014/main" id="{2132444C-246A-41D3-B0C0-149BFF09A567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6"/>
          <a:srcRect l="1805" t="1292" r="1571" b="1447"/>
          <a:stretch>
            <a:fillRect/>
          </a:stretch>
        </p:blipFill>
        <p:spPr>
          <a:xfrm>
            <a:off x="3617360" y="2772207"/>
            <a:ext cx="2133181" cy="2675613"/>
          </a:xfrm>
          <a:prstGeom prst="rect">
            <a:avLst/>
          </a:prstGeom>
          <a:effectLst/>
        </p:spPr>
      </p:pic>
      <p:pic>
        <p:nvPicPr>
          <p:cNvPr id="13" name="Picture 12" descr="Text&#10;&#10;Description automatically generated">
            <a:extLst>
              <a:ext uri="{FF2B5EF4-FFF2-40B4-BE49-F238E27FC236}">
                <a16:creationId xmlns:a16="http://schemas.microsoft.com/office/drawing/2014/main" id="{C468A442-9F5D-4FDB-B3A1-630B9A40C131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685480" y="2767553"/>
            <a:ext cx="2694490" cy="268058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BD544D3-B29E-9025-CF13-88E0EBA3B098}"/>
              </a:ext>
            </a:extLst>
          </p:cNvPr>
          <p:cNvSpPr txBox="1"/>
          <p:nvPr/>
        </p:nvSpPr>
        <p:spPr>
          <a:xfrm>
            <a:off x="10590818" y="1350288"/>
            <a:ext cx="4279911" cy="987450"/>
          </a:xfrm>
          <a:prstGeom prst="rect">
            <a:avLst/>
          </a:prstGeom>
          <a:noFill/>
        </p:spPr>
        <p:txBody>
          <a:bodyPr wrap="square" lIns="0" tIns="45720" rIns="91440" bIns="45720" rtlCol="0" anchor="t">
            <a:spAutoFit/>
          </a:bodyPr>
          <a:lstStyle>
            <a:defPPr>
              <a:defRPr lang="en-US"/>
            </a:defPPr>
            <a:lvl1pPr marL="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480"/>
              </a:spcAft>
            </a:pPr>
            <a:r>
              <a:rPr lang="en-US" sz="2000" dirty="0"/>
              <a:t>World HRD Congress for</a:t>
            </a:r>
            <a:endParaRPr lang="en-IN" sz="2000" b="1" dirty="0"/>
          </a:p>
          <a:p>
            <a:pPr>
              <a:lnSpc>
                <a:spcPct val="90000"/>
              </a:lnSpc>
              <a:spcAft>
                <a:spcPts val="480"/>
              </a:spcAft>
            </a:pPr>
            <a:r>
              <a:rPr lang="en-US" sz="2000" dirty="0">
                <a:solidFill>
                  <a:srgbClr val="67209D"/>
                </a:solidFill>
              </a:rPr>
              <a:t>“</a:t>
            </a:r>
            <a:r>
              <a:rPr lang="en-US" sz="2000" b="1" dirty="0">
                <a:solidFill>
                  <a:srgbClr val="67209D"/>
                </a:solidFill>
              </a:rPr>
              <a:t>National Best Employer Brands 2021”</a:t>
            </a:r>
            <a:endParaRPr lang="en-IN" sz="2000" b="1">
              <a:solidFill>
                <a:srgbClr val="67209D"/>
              </a:solidFill>
              <a:cs typeface="Arial"/>
            </a:endParaRPr>
          </a:p>
        </p:txBody>
      </p:sp>
      <p:pic>
        <p:nvPicPr>
          <p:cNvPr id="8" name="Picture 7" descr="A white certificate with red text and a red stamp&#10;&#10;Description automatically generated">
            <a:extLst>
              <a:ext uri="{FF2B5EF4-FFF2-40B4-BE49-F238E27FC236}">
                <a16:creationId xmlns:a16="http://schemas.microsoft.com/office/drawing/2014/main" id="{C934AC5E-9F5F-9170-8C49-CD3DE7511236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34" b="407"/>
          <a:stretch/>
        </p:blipFill>
        <p:spPr>
          <a:xfrm>
            <a:off x="11785735" y="2762078"/>
            <a:ext cx="2155330" cy="2693565"/>
          </a:xfrm>
          <a:prstGeom prst="rect">
            <a:avLst/>
          </a:prstGeom>
        </p:spPr>
      </p:pic>
      <p:pic>
        <p:nvPicPr>
          <p:cNvPr id="11" name="Picture 10" descr="A gold trophy next to a gold trophy&#10;&#10;Description automatically generated">
            <a:extLst>
              <a:ext uri="{FF2B5EF4-FFF2-40B4-BE49-F238E27FC236}">
                <a16:creationId xmlns:a16="http://schemas.microsoft.com/office/drawing/2014/main" id="{874F2A20-C21D-FDA9-13F0-AD60FEDD4AAF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14" r="3584"/>
          <a:stretch/>
        </p:blipFill>
        <p:spPr>
          <a:xfrm>
            <a:off x="5951747" y="2759738"/>
            <a:ext cx="2709274" cy="2676313"/>
          </a:xfrm>
          <a:prstGeom prst="rect">
            <a:avLst/>
          </a:prstGeom>
        </p:spPr>
      </p:pic>
      <p:pic>
        <p:nvPicPr>
          <p:cNvPr id="14" name="Picture 13" descr="A gold trophy next to a gold trophy&#10;&#10;Description automatically generated">
            <a:extLst>
              <a:ext uri="{FF2B5EF4-FFF2-40B4-BE49-F238E27FC236}">
                <a16:creationId xmlns:a16="http://schemas.microsoft.com/office/drawing/2014/main" id="{69095ADC-2705-B1E7-9CEA-27B2D562204C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19" r="4665"/>
          <a:stretch/>
        </p:blipFill>
        <p:spPr>
          <a:xfrm>
            <a:off x="8661495" y="2779012"/>
            <a:ext cx="2710987" cy="2676312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B8C56DA4-D7CA-C563-4EF2-E7281774F618}"/>
              </a:ext>
            </a:extLst>
          </p:cNvPr>
          <p:cNvSpPr txBox="1"/>
          <p:nvPr/>
        </p:nvSpPr>
        <p:spPr>
          <a:xfrm>
            <a:off x="5738962" y="1341653"/>
            <a:ext cx="4276163" cy="1200329"/>
          </a:xfrm>
          <a:prstGeom prst="rect">
            <a:avLst/>
          </a:prstGeom>
          <a:noFill/>
        </p:spPr>
        <p:txBody>
          <a:bodyPr wrap="square" lIns="0" tIns="45720" rIns="91440" bIns="45720" rtlCol="0" anchor="t">
            <a:spAutoFit/>
          </a:bodyPr>
          <a:lstStyle>
            <a:defPPr>
              <a:defRPr lang="en-US"/>
            </a:defPPr>
            <a:lvl1pPr marL="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480"/>
              </a:spcAft>
            </a:pPr>
            <a:r>
              <a:rPr lang="en-US" sz="2000" dirty="0"/>
              <a:t>Asia Pacific HRM Awards for </a:t>
            </a:r>
            <a:r>
              <a:rPr lang="en-US" sz="2000" dirty="0">
                <a:solidFill>
                  <a:srgbClr val="67209D"/>
                </a:solidFill>
              </a:rPr>
              <a:t>“</a:t>
            </a:r>
            <a:r>
              <a:rPr lang="en-US" sz="2000" b="1" dirty="0">
                <a:solidFill>
                  <a:srgbClr val="67209D"/>
                </a:solidFill>
              </a:rPr>
              <a:t>Dream Company to Work</a:t>
            </a:r>
            <a:r>
              <a:rPr lang="en-US" sz="2000" dirty="0">
                <a:solidFill>
                  <a:srgbClr val="67209D"/>
                </a:solidFill>
              </a:rPr>
              <a:t>” </a:t>
            </a:r>
            <a:r>
              <a:rPr lang="en-US" sz="2000" dirty="0"/>
              <a:t>and </a:t>
            </a:r>
            <a:r>
              <a:rPr lang="en-US" sz="2000" dirty="0">
                <a:solidFill>
                  <a:srgbClr val="67209D"/>
                </a:solidFill>
              </a:rPr>
              <a:t>“</a:t>
            </a:r>
            <a:r>
              <a:rPr lang="en-US" sz="2000" b="1" dirty="0">
                <a:solidFill>
                  <a:srgbClr val="67209D"/>
                </a:solidFill>
              </a:rPr>
              <a:t>Leading HR Practices for Quality Work Life”</a:t>
            </a:r>
            <a:endParaRPr lang="en-IN" sz="2000" b="1">
              <a:solidFill>
                <a:srgbClr val="67209D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2339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12378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33D88AD9-01DD-28BF-FEE8-344DF4CADEC8}"/>
              </a:ext>
            </a:extLst>
          </p:cNvPr>
          <p:cNvSpPr/>
          <p:nvPr/>
        </p:nvSpPr>
        <p:spPr>
          <a:xfrm>
            <a:off x="685800" y="3802063"/>
            <a:ext cx="13258800" cy="2916000"/>
          </a:xfrm>
          <a:prstGeom prst="roundRect">
            <a:avLst>
              <a:gd name="adj" fmla="val 457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9EB8088-616B-C816-12A9-40D59A1308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639764"/>
            <a:ext cx="13258800" cy="916646"/>
          </a:xfrm>
        </p:spPr>
        <p:txBody>
          <a:bodyPr/>
          <a:lstStyle/>
          <a:p>
            <a:pPr defTabSz="1462922">
              <a:defRPr/>
            </a:pPr>
            <a:r>
              <a:rPr lang="en-US" sz="3600" b="1" dirty="0">
                <a:latin typeface="Arial"/>
              </a:rPr>
              <a:t>Our Purpose, Mission and Values</a:t>
            </a:r>
            <a:br>
              <a:rPr lang="en-US" sz="3600" b="1" dirty="0">
                <a:latin typeface="Arial"/>
              </a:rPr>
            </a:br>
            <a:r>
              <a:rPr lang="en-US" sz="2400" b="0" dirty="0">
                <a:solidFill>
                  <a:schemeClr val="tx1"/>
                </a:solidFill>
              </a:rPr>
              <a:t>Strategy</a:t>
            </a:r>
            <a:endParaRPr lang="en-US" sz="3600" b="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4EAFC1B-E72D-AEB0-0518-058C47D1B1C8}"/>
              </a:ext>
            </a:extLst>
          </p:cNvPr>
          <p:cNvSpPr txBox="1"/>
          <p:nvPr/>
        </p:nvSpPr>
        <p:spPr>
          <a:xfrm>
            <a:off x="1766830" y="4727384"/>
            <a:ext cx="2640916" cy="75945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1462922">
              <a:defRPr/>
            </a:pPr>
            <a:r>
              <a:rPr lang="en-US" sz="1800" b="1">
                <a:solidFill>
                  <a:srgbClr val="000000"/>
                </a:solidFill>
                <a:latin typeface="Arial"/>
              </a:rPr>
              <a:t>Deliver </a:t>
            </a:r>
            <a:r>
              <a:rPr lang="en-US" sz="1600">
                <a:solidFill>
                  <a:srgbClr val="000000"/>
                </a:solidFill>
                <a:latin typeface="Arial"/>
              </a:rPr>
              <a:t>... We do what we say we are going to do.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53F81D8-9A66-7184-5D14-74AB0083BA4E}"/>
              </a:ext>
            </a:extLst>
          </p:cNvPr>
          <p:cNvSpPr/>
          <p:nvPr/>
        </p:nvSpPr>
        <p:spPr>
          <a:xfrm>
            <a:off x="1057807" y="4100682"/>
            <a:ext cx="4819253" cy="44683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rmAutofit/>
          </a:bodyPr>
          <a:lstStyle/>
          <a:p>
            <a:pPr defTabSz="1462922">
              <a:defRPr/>
            </a:pPr>
            <a:r>
              <a:rPr lang="en-US" sz="2000" b="1" dirty="0">
                <a:solidFill>
                  <a:srgbClr val="5F249F"/>
                </a:solidFill>
                <a:latin typeface="Arial"/>
              </a:rPr>
              <a:t>Our Valu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F027D21-B6F9-330E-C223-27B01422E2F9}"/>
              </a:ext>
            </a:extLst>
          </p:cNvPr>
          <p:cNvSpPr txBox="1"/>
          <p:nvPr/>
        </p:nvSpPr>
        <p:spPr>
          <a:xfrm>
            <a:off x="10723389" y="4690945"/>
            <a:ext cx="2763874" cy="75945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1462922">
              <a:defRPr/>
            </a:pPr>
            <a:r>
              <a:rPr lang="en-US" sz="1800" b="1" dirty="0">
                <a:solidFill>
                  <a:srgbClr val="000000"/>
                </a:solidFill>
                <a:latin typeface="Arial"/>
              </a:rPr>
              <a:t>Collaborate </a:t>
            </a:r>
            <a:r>
              <a:rPr lang="en-US" sz="1600" dirty="0">
                <a:solidFill>
                  <a:srgbClr val="000000"/>
                </a:solidFill>
                <a:latin typeface="Arial"/>
              </a:rPr>
              <a:t>... We work as a team – globally and locally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4D59F4F-F939-3C34-4242-867B1047B0A3}"/>
              </a:ext>
            </a:extLst>
          </p:cNvPr>
          <p:cNvSpPr txBox="1"/>
          <p:nvPr/>
        </p:nvSpPr>
        <p:spPr>
          <a:xfrm>
            <a:off x="5502481" y="4727384"/>
            <a:ext cx="3927068" cy="75945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1462922">
              <a:defRPr/>
            </a:pPr>
            <a:r>
              <a:rPr lang="en-US" sz="1800" b="1" dirty="0">
                <a:solidFill>
                  <a:srgbClr val="000000"/>
                </a:solidFill>
                <a:latin typeface="Arial"/>
              </a:rPr>
              <a:t>Care </a:t>
            </a:r>
            <a:r>
              <a:rPr lang="en-US" sz="1600" dirty="0">
                <a:solidFill>
                  <a:srgbClr val="000000"/>
                </a:solidFill>
                <a:latin typeface="Arial"/>
              </a:rPr>
              <a:t>... We take care of each other and foster a culture of inclusion and belonging.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AB6F8A1-6B38-746C-3CB4-F77C2EF1C0A3}"/>
              </a:ext>
            </a:extLst>
          </p:cNvPr>
          <p:cNvSpPr txBox="1"/>
          <p:nvPr/>
        </p:nvSpPr>
        <p:spPr>
          <a:xfrm>
            <a:off x="1766830" y="5685137"/>
            <a:ext cx="2155152" cy="75945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914291">
              <a:defRPr/>
            </a:pPr>
            <a:r>
              <a:rPr lang="en-US" sz="1800" b="1" dirty="0">
                <a:solidFill>
                  <a:srgbClr val="000000"/>
                </a:solidFill>
                <a:latin typeface="Arial"/>
              </a:rPr>
              <a:t>Do</a:t>
            </a:r>
            <a:r>
              <a:rPr lang="en-US" sz="2000" b="1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600" dirty="0">
                <a:solidFill>
                  <a:srgbClr val="000000"/>
                </a:solidFill>
                <a:latin typeface="Arial"/>
              </a:rPr>
              <a:t>the right thing … We act with integrity.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A2E9783-46DD-D62F-B5B4-EA560ED6E88A}"/>
              </a:ext>
            </a:extLst>
          </p:cNvPr>
          <p:cNvSpPr txBox="1"/>
          <p:nvPr/>
        </p:nvSpPr>
        <p:spPr>
          <a:xfrm>
            <a:off x="1057807" y="2142250"/>
            <a:ext cx="3145055" cy="96490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defTabSz="1462922">
              <a:spcAft>
                <a:spcPts val="800"/>
              </a:spcAft>
              <a:defRPr/>
            </a:pPr>
            <a:r>
              <a:rPr lang="en-US" sz="2400" b="1" dirty="0">
                <a:solidFill>
                  <a:srgbClr val="5F249F"/>
                </a:solidFill>
                <a:latin typeface="Arial"/>
              </a:rPr>
              <a:t>Purpose</a:t>
            </a:r>
            <a:endParaRPr lang="en-US" sz="2000" b="1" dirty="0">
              <a:solidFill>
                <a:srgbClr val="5F249F"/>
              </a:solidFill>
              <a:latin typeface="Arial"/>
            </a:endParaRPr>
          </a:p>
          <a:p>
            <a:pPr defTabSz="1462922">
              <a:spcAft>
                <a:spcPts val="800"/>
              </a:spcAft>
              <a:defRPr/>
            </a:pPr>
            <a:r>
              <a:rPr lang="en-US" sz="1800" dirty="0">
                <a:solidFill>
                  <a:srgbClr val="000000"/>
                </a:solidFill>
                <a:latin typeface="Arial"/>
              </a:rPr>
              <a:t>Delivering excellence for our customers and colleagues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F453C4BE-0DD6-C449-16B8-A626EC5E27C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67226" y="5714771"/>
            <a:ext cx="390001" cy="468000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52677197-A119-679C-571F-3BAD2AA88C4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37619" y="4752018"/>
            <a:ext cx="423000" cy="43200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5B99332D-901D-C23E-2AD0-5E30606225AF}"/>
              </a:ext>
            </a:extLst>
          </p:cNvPr>
          <p:cNvSpPr txBox="1"/>
          <p:nvPr/>
        </p:nvSpPr>
        <p:spPr>
          <a:xfrm>
            <a:off x="4844712" y="2142250"/>
            <a:ext cx="8161974" cy="126900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defTabSz="1462922">
              <a:spcAft>
                <a:spcPts val="800"/>
              </a:spcAft>
              <a:defRPr/>
            </a:pPr>
            <a:r>
              <a:rPr lang="en-US" sz="2400" b="1" dirty="0">
                <a:solidFill>
                  <a:srgbClr val="5F249F"/>
                </a:solidFill>
                <a:latin typeface="Arial"/>
              </a:rPr>
              <a:t>Mission</a:t>
            </a:r>
            <a:endParaRPr lang="en-US" sz="2000" b="1" dirty="0">
              <a:solidFill>
                <a:srgbClr val="5F249F"/>
              </a:solidFill>
              <a:latin typeface="Arial"/>
            </a:endParaRPr>
          </a:p>
          <a:p>
            <a:pPr defTabSz="914291">
              <a:lnSpc>
                <a:spcPct val="110000"/>
              </a:lnSpc>
              <a:spcAft>
                <a:spcPts val="667"/>
              </a:spcAft>
              <a:defRPr/>
            </a:pPr>
            <a:r>
              <a:rPr lang="en-US" sz="1800" dirty="0">
                <a:solidFill>
                  <a:srgbClr val="000000"/>
                </a:solidFill>
                <a:latin typeface="Arial"/>
              </a:rPr>
              <a:t>Be an IT services company using the power of technology to build better futures for our customers, colleagues, environment and communities, helping our customers deliver business impact, and be the employer of choice 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4F0CE4F-51CD-408A-EECA-EAAB1DF830C0}"/>
              </a:ext>
            </a:extLst>
          </p:cNvPr>
          <p:cNvSpPr txBox="1"/>
          <p:nvPr/>
        </p:nvSpPr>
        <p:spPr>
          <a:xfrm>
            <a:off x="5518275" y="5726225"/>
            <a:ext cx="5353259" cy="75945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1462922">
              <a:defRPr/>
            </a:pPr>
            <a:r>
              <a:rPr lang="en-US" sz="1800" b="1" dirty="0">
                <a:solidFill>
                  <a:srgbClr val="000000"/>
                </a:solidFill>
                <a:latin typeface="Arial"/>
              </a:rPr>
              <a:t>Community </a:t>
            </a:r>
            <a:r>
              <a:rPr lang="en-US" sz="1600" dirty="0">
                <a:solidFill>
                  <a:srgbClr val="000000"/>
                </a:solidFill>
                <a:latin typeface="Arial"/>
              </a:rPr>
              <a:t>... We believe in stewardship and building a sustainable company that supports our communities.</a:t>
            </a:r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B0B06026-8DD5-BC6C-66A6-6D964C615B9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832416" y="4758468"/>
            <a:ext cx="444500" cy="419100"/>
          </a:xfrm>
          <a:prstGeom prst="rect">
            <a:avLst/>
          </a:prstGeom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id="{E3F13D50-5E26-961B-4EE5-2BF95670B16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844712" y="5777321"/>
            <a:ext cx="457200" cy="342900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C2FB29FA-7722-6BE9-34AC-392B67909BE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148095" y="4764818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8287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370FA1-2224-0A36-2A94-7D5932A434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639763"/>
            <a:ext cx="11432406" cy="1417635"/>
          </a:xfrm>
        </p:spPr>
        <p:txBody>
          <a:bodyPr>
            <a:normAutofit/>
          </a:bodyPr>
          <a:lstStyle/>
          <a:p>
            <a:r>
              <a:rPr lang="en-US" dirty="0"/>
              <a:t>DXC Technology Company History</a:t>
            </a:r>
            <a:br>
              <a:rPr lang="en-US" dirty="0"/>
            </a:br>
            <a:r>
              <a:rPr lang="en-US" sz="2400" b="0" dirty="0">
                <a:solidFill>
                  <a:schemeClr val="tx1"/>
                </a:solidFill>
              </a:rPr>
              <a:t>DXC Technology has over 60 years of service and track record, integrated with service division of HP / DEC / COMPAQ / TANDEM / EDS / EDS / CSC</a:t>
            </a:r>
            <a:endParaRPr lang="en-US" b="0" dirty="0">
              <a:solidFill>
                <a:schemeClr val="tx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900374C-B72E-1B0C-84F8-B162B67E234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40336" t="88348" r="55330" b="6343"/>
          <a:stretch>
            <a:fillRect/>
          </a:stretch>
        </p:blipFill>
        <p:spPr>
          <a:xfrm>
            <a:off x="2512812" y="6311904"/>
            <a:ext cx="604825" cy="370735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91934E2-4087-12F9-E6C6-420A410425EB}"/>
              </a:ext>
            </a:extLst>
          </p:cNvPr>
          <p:cNvCxnSpPr>
            <a:cxnSpLocks/>
          </p:cNvCxnSpPr>
          <p:nvPr/>
        </p:nvCxnSpPr>
        <p:spPr>
          <a:xfrm>
            <a:off x="4961612" y="2460893"/>
            <a:ext cx="4762482" cy="0"/>
          </a:xfrm>
          <a:prstGeom prst="line">
            <a:avLst/>
          </a:prstGeom>
          <a:ln w="1905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C00FB2E-CC19-B918-CDE3-B7F9D6821385}"/>
              </a:ext>
            </a:extLst>
          </p:cNvPr>
          <p:cNvCxnSpPr>
            <a:cxnSpLocks/>
          </p:cNvCxnSpPr>
          <p:nvPr/>
        </p:nvCxnSpPr>
        <p:spPr>
          <a:xfrm>
            <a:off x="9724094" y="2460893"/>
            <a:ext cx="2075918" cy="1960657"/>
          </a:xfrm>
          <a:prstGeom prst="line">
            <a:avLst/>
          </a:prstGeom>
          <a:ln w="1905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C50D57F-B97C-7015-5D0B-22293AD6888E}"/>
              </a:ext>
            </a:extLst>
          </p:cNvPr>
          <p:cNvCxnSpPr>
            <a:cxnSpLocks/>
          </p:cNvCxnSpPr>
          <p:nvPr/>
        </p:nvCxnSpPr>
        <p:spPr>
          <a:xfrm>
            <a:off x="4961612" y="2830868"/>
            <a:ext cx="4551535" cy="0"/>
          </a:xfrm>
          <a:prstGeom prst="line">
            <a:avLst/>
          </a:prstGeom>
          <a:ln w="1905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0D391B9-B869-045A-EAB0-B98803284CCB}"/>
              </a:ext>
            </a:extLst>
          </p:cNvPr>
          <p:cNvCxnSpPr>
            <a:cxnSpLocks/>
          </p:cNvCxnSpPr>
          <p:nvPr/>
        </p:nvCxnSpPr>
        <p:spPr>
          <a:xfrm>
            <a:off x="9513147" y="2830868"/>
            <a:ext cx="1719119" cy="1585118"/>
          </a:xfrm>
          <a:prstGeom prst="line">
            <a:avLst/>
          </a:prstGeom>
          <a:ln w="1905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54326F61-17F3-8165-0199-1217D8758103}"/>
              </a:ext>
            </a:extLst>
          </p:cNvPr>
          <p:cNvSpPr txBox="1"/>
          <p:nvPr/>
        </p:nvSpPr>
        <p:spPr>
          <a:xfrm>
            <a:off x="4368309" y="2331627"/>
            <a:ext cx="593303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Aft>
                <a:spcPts val="400"/>
              </a:spcAft>
            </a:pPr>
            <a:r>
              <a:rPr lang="en-US" sz="1200" dirty="0"/>
              <a:t>2000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9F8F391-816B-1368-9C5A-65B8A30A3106}"/>
              </a:ext>
            </a:extLst>
          </p:cNvPr>
          <p:cNvSpPr txBox="1"/>
          <p:nvPr/>
        </p:nvSpPr>
        <p:spPr>
          <a:xfrm>
            <a:off x="4368309" y="2674384"/>
            <a:ext cx="593303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Aft>
                <a:spcPts val="400"/>
              </a:spcAft>
            </a:pPr>
            <a:r>
              <a:rPr lang="en-US" sz="1200" dirty="0"/>
              <a:t>2008</a:t>
            </a:r>
          </a:p>
        </p:txBody>
      </p:sp>
      <p:pic>
        <p:nvPicPr>
          <p:cNvPr id="1026" name="Picture 2" descr="Virtual Clarity (Acquired) | LinkedIn">
            <a:extLst>
              <a:ext uri="{FF2B5EF4-FFF2-40B4-BE49-F238E27FC236}">
                <a16:creationId xmlns:a16="http://schemas.microsoft.com/office/drawing/2014/main" id="{61A29D6B-F4F7-E7AE-2709-5CA608755B3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903" b="45818"/>
          <a:stretch>
            <a:fillRect/>
          </a:stretch>
        </p:blipFill>
        <p:spPr bwMode="auto">
          <a:xfrm>
            <a:off x="4883523" y="2540437"/>
            <a:ext cx="1013460" cy="246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78B220B-85F1-F576-DC4C-F8318D03FC9A}"/>
              </a:ext>
            </a:extLst>
          </p:cNvPr>
          <p:cNvCxnSpPr>
            <a:cxnSpLocks/>
          </p:cNvCxnSpPr>
          <p:nvPr/>
        </p:nvCxnSpPr>
        <p:spPr>
          <a:xfrm>
            <a:off x="1282700" y="5086708"/>
            <a:ext cx="9386102" cy="0"/>
          </a:xfrm>
          <a:prstGeom prst="line">
            <a:avLst/>
          </a:prstGeom>
          <a:ln w="57150" cap="sq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E126A29-31CF-C184-ECBF-E354A5811283}"/>
              </a:ext>
            </a:extLst>
          </p:cNvPr>
          <p:cNvCxnSpPr>
            <a:cxnSpLocks/>
          </p:cNvCxnSpPr>
          <p:nvPr/>
        </p:nvCxnSpPr>
        <p:spPr>
          <a:xfrm>
            <a:off x="8924924" y="3103917"/>
            <a:ext cx="1422400" cy="1320009"/>
          </a:xfrm>
          <a:prstGeom prst="line">
            <a:avLst/>
          </a:prstGeom>
          <a:ln w="57150" cap="rnd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E8A6820-1E5A-5323-27DF-60549E981CDE}"/>
              </a:ext>
            </a:extLst>
          </p:cNvPr>
          <p:cNvCxnSpPr>
            <a:cxnSpLocks/>
          </p:cNvCxnSpPr>
          <p:nvPr/>
        </p:nvCxnSpPr>
        <p:spPr>
          <a:xfrm flipV="1">
            <a:off x="9754110" y="4423926"/>
            <a:ext cx="593216" cy="639991"/>
          </a:xfrm>
          <a:prstGeom prst="line">
            <a:avLst/>
          </a:prstGeom>
          <a:ln w="5715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FAF3B04-CBDC-5A28-96F0-B56CCEE05ED0}"/>
              </a:ext>
            </a:extLst>
          </p:cNvPr>
          <p:cNvCxnSpPr>
            <a:cxnSpLocks/>
          </p:cNvCxnSpPr>
          <p:nvPr/>
        </p:nvCxnSpPr>
        <p:spPr>
          <a:xfrm>
            <a:off x="10347326" y="4428137"/>
            <a:ext cx="3607800" cy="0"/>
          </a:xfrm>
          <a:prstGeom prst="line">
            <a:avLst/>
          </a:prstGeom>
          <a:ln w="57150" cap="sq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0B49C91-5DC8-D65E-DAF1-44A0EC5B1BE4}"/>
              </a:ext>
            </a:extLst>
          </p:cNvPr>
          <p:cNvCxnSpPr>
            <a:cxnSpLocks/>
          </p:cNvCxnSpPr>
          <p:nvPr/>
        </p:nvCxnSpPr>
        <p:spPr>
          <a:xfrm>
            <a:off x="6815245" y="3641553"/>
            <a:ext cx="991516" cy="0"/>
          </a:xfrm>
          <a:prstGeom prst="line">
            <a:avLst/>
          </a:prstGeom>
          <a:ln w="38100" cap="rnd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03E24A4-D147-CAC8-4260-6C7C941ACB11}"/>
              </a:ext>
            </a:extLst>
          </p:cNvPr>
          <p:cNvCxnSpPr>
            <a:cxnSpLocks/>
          </p:cNvCxnSpPr>
          <p:nvPr/>
        </p:nvCxnSpPr>
        <p:spPr>
          <a:xfrm>
            <a:off x="1279525" y="3103918"/>
            <a:ext cx="7645400" cy="0"/>
          </a:xfrm>
          <a:prstGeom prst="line">
            <a:avLst/>
          </a:prstGeom>
          <a:ln w="57150" cap="rnd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D671BD4-6125-3484-F32B-CE9F85493C3E}"/>
              </a:ext>
            </a:extLst>
          </p:cNvPr>
          <p:cNvCxnSpPr>
            <a:cxnSpLocks/>
          </p:cNvCxnSpPr>
          <p:nvPr/>
        </p:nvCxnSpPr>
        <p:spPr>
          <a:xfrm>
            <a:off x="1279524" y="3630968"/>
            <a:ext cx="4710075" cy="0"/>
          </a:xfrm>
          <a:prstGeom prst="line">
            <a:avLst/>
          </a:prstGeom>
          <a:ln w="19050" cap="rnd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ED572558-34ED-A436-8F61-AC2D2808338C}"/>
              </a:ext>
            </a:extLst>
          </p:cNvPr>
          <p:cNvCxnSpPr>
            <a:cxnSpLocks/>
          </p:cNvCxnSpPr>
          <p:nvPr/>
        </p:nvCxnSpPr>
        <p:spPr>
          <a:xfrm>
            <a:off x="1279524" y="3930688"/>
            <a:ext cx="4710075" cy="0"/>
          </a:xfrm>
          <a:prstGeom prst="line">
            <a:avLst/>
          </a:prstGeom>
          <a:ln w="19050" cap="rnd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682EBA46-7C48-8AF8-7B3B-6CB117BABE94}"/>
              </a:ext>
            </a:extLst>
          </p:cNvPr>
          <p:cNvCxnSpPr>
            <a:cxnSpLocks/>
          </p:cNvCxnSpPr>
          <p:nvPr/>
        </p:nvCxnSpPr>
        <p:spPr>
          <a:xfrm>
            <a:off x="1279524" y="4220248"/>
            <a:ext cx="5029200" cy="0"/>
          </a:xfrm>
          <a:prstGeom prst="line">
            <a:avLst/>
          </a:prstGeom>
          <a:ln w="1905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77461B0E-1AFE-0BD6-18F7-942B7F9BA2FC}"/>
              </a:ext>
            </a:extLst>
          </p:cNvPr>
          <p:cNvCxnSpPr>
            <a:cxnSpLocks/>
          </p:cNvCxnSpPr>
          <p:nvPr/>
        </p:nvCxnSpPr>
        <p:spPr>
          <a:xfrm>
            <a:off x="1279524" y="4519968"/>
            <a:ext cx="5347903" cy="0"/>
          </a:xfrm>
          <a:prstGeom prst="line">
            <a:avLst/>
          </a:prstGeom>
          <a:ln w="1905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A3FD400B-42DB-103A-A902-35FBB43B2FED}"/>
              </a:ext>
            </a:extLst>
          </p:cNvPr>
          <p:cNvCxnSpPr>
            <a:cxnSpLocks/>
          </p:cNvCxnSpPr>
          <p:nvPr/>
        </p:nvCxnSpPr>
        <p:spPr>
          <a:xfrm>
            <a:off x="5989600" y="3630968"/>
            <a:ext cx="1607713" cy="1463681"/>
          </a:xfrm>
          <a:prstGeom prst="line">
            <a:avLst/>
          </a:prstGeom>
          <a:ln w="19050" cap="rnd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F06EBD6A-A4AC-0DA6-0597-A8FA7683DCB5}"/>
              </a:ext>
            </a:extLst>
          </p:cNvPr>
          <p:cNvCxnSpPr>
            <a:cxnSpLocks/>
          </p:cNvCxnSpPr>
          <p:nvPr/>
        </p:nvCxnSpPr>
        <p:spPr>
          <a:xfrm>
            <a:off x="5996592" y="3930688"/>
            <a:ext cx="1274754" cy="1163961"/>
          </a:xfrm>
          <a:prstGeom prst="line">
            <a:avLst/>
          </a:prstGeom>
          <a:ln w="19050" cap="rnd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4B6D27B3-3150-984A-5532-EDFE2002644F}"/>
              </a:ext>
            </a:extLst>
          </p:cNvPr>
          <p:cNvSpPr txBox="1"/>
          <p:nvPr/>
        </p:nvSpPr>
        <p:spPr>
          <a:xfrm>
            <a:off x="692002" y="2987347"/>
            <a:ext cx="540000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Aft>
                <a:spcPts val="400"/>
              </a:spcAft>
            </a:pPr>
            <a:r>
              <a:rPr lang="en-US" sz="1200" dirty="0"/>
              <a:t>1959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055CF9DE-609C-4FD5-38F7-35CCB5ACFED4}"/>
              </a:ext>
            </a:extLst>
          </p:cNvPr>
          <p:cNvSpPr txBox="1"/>
          <p:nvPr/>
        </p:nvSpPr>
        <p:spPr>
          <a:xfrm>
            <a:off x="692002" y="3498186"/>
            <a:ext cx="540000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Aft>
                <a:spcPts val="400"/>
              </a:spcAft>
            </a:pPr>
            <a:r>
              <a:rPr lang="en-US" sz="1200" dirty="0"/>
              <a:t>1962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7BEB9EC-1FCC-E9EA-6E2A-422D79E2A931}"/>
              </a:ext>
            </a:extLst>
          </p:cNvPr>
          <p:cNvSpPr txBox="1"/>
          <p:nvPr/>
        </p:nvSpPr>
        <p:spPr>
          <a:xfrm>
            <a:off x="692002" y="3807219"/>
            <a:ext cx="540000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Aft>
                <a:spcPts val="400"/>
              </a:spcAft>
            </a:pPr>
            <a:r>
              <a:rPr lang="en-US" sz="1200" dirty="0"/>
              <a:t>1982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3C2C9391-1BA9-01EB-3EE4-F9FAC89ADB20}"/>
              </a:ext>
            </a:extLst>
          </p:cNvPr>
          <p:cNvSpPr txBox="1"/>
          <p:nvPr/>
        </p:nvSpPr>
        <p:spPr>
          <a:xfrm>
            <a:off x="692002" y="4102303"/>
            <a:ext cx="540000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Aft>
                <a:spcPts val="400"/>
              </a:spcAft>
            </a:pPr>
            <a:r>
              <a:rPr lang="en-US" sz="1200" dirty="0"/>
              <a:t>1974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8881D5D5-E608-FBF6-847D-063324FA7BC0}"/>
              </a:ext>
            </a:extLst>
          </p:cNvPr>
          <p:cNvSpPr txBox="1"/>
          <p:nvPr/>
        </p:nvSpPr>
        <p:spPr>
          <a:xfrm>
            <a:off x="692002" y="4396936"/>
            <a:ext cx="540000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Aft>
                <a:spcPts val="400"/>
              </a:spcAft>
            </a:pPr>
            <a:r>
              <a:rPr lang="en-US" sz="1200" dirty="0"/>
              <a:t>1957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3210C999-50D3-A97B-2090-6B9EC60015D4}"/>
              </a:ext>
            </a:extLst>
          </p:cNvPr>
          <p:cNvSpPr txBox="1"/>
          <p:nvPr/>
        </p:nvSpPr>
        <p:spPr>
          <a:xfrm>
            <a:off x="692002" y="4957442"/>
            <a:ext cx="540000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Aft>
                <a:spcPts val="400"/>
              </a:spcAft>
            </a:pPr>
            <a:r>
              <a:rPr lang="en-US" sz="1200" dirty="0"/>
              <a:t>1939</a:t>
            </a: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05121B3C-A037-D1F2-D895-EACD3792BF18}"/>
              </a:ext>
            </a:extLst>
          </p:cNvPr>
          <p:cNvCxnSpPr>
            <a:cxnSpLocks/>
          </p:cNvCxnSpPr>
          <p:nvPr/>
        </p:nvCxnSpPr>
        <p:spPr>
          <a:xfrm>
            <a:off x="7814855" y="3645607"/>
            <a:ext cx="1092275" cy="972774"/>
          </a:xfrm>
          <a:prstGeom prst="line">
            <a:avLst/>
          </a:prstGeom>
          <a:ln w="38100" cap="rnd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4DBC5EB1-EAE9-2BCB-0E43-6B32E018069B}"/>
              </a:ext>
            </a:extLst>
          </p:cNvPr>
          <p:cNvCxnSpPr>
            <a:cxnSpLocks/>
          </p:cNvCxnSpPr>
          <p:nvPr/>
        </p:nvCxnSpPr>
        <p:spPr>
          <a:xfrm>
            <a:off x="8037699" y="4297718"/>
            <a:ext cx="863623" cy="785020"/>
          </a:xfrm>
          <a:prstGeom prst="line">
            <a:avLst/>
          </a:prstGeom>
          <a:ln w="38100" cap="rnd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0F5D0901-0777-94DD-1541-9795A3E01CBC}"/>
              </a:ext>
            </a:extLst>
          </p:cNvPr>
          <p:cNvCxnSpPr>
            <a:cxnSpLocks/>
          </p:cNvCxnSpPr>
          <p:nvPr/>
        </p:nvCxnSpPr>
        <p:spPr>
          <a:xfrm>
            <a:off x="7442458" y="4295686"/>
            <a:ext cx="595239" cy="0"/>
          </a:xfrm>
          <a:prstGeom prst="line">
            <a:avLst/>
          </a:prstGeom>
          <a:ln w="38100" cap="rnd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8BA1C28B-AF2D-1FDF-3FC1-21CA08BE9128}"/>
              </a:ext>
            </a:extLst>
          </p:cNvPr>
          <p:cNvCxnSpPr>
            <a:cxnSpLocks/>
          </p:cNvCxnSpPr>
          <p:nvPr/>
        </p:nvCxnSpPr>
        <p:spPr>
          <a:xfrm>
            <a:off x="9253128" y="5094649"/>
            <a:ext cx="722722" cy="654085"/>
          </a:xfrm>
          <a:prstGeom prst="line">
            <a:avLst/>
          </a:prstGeom>
          <a:ln w="22225" cap="rnd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6C0399E0-32A4-7C56-0F53-261AE867B8A5}"/>
              </a:ext>
            </a:extLst>
          </p:cNvPr>
          <p:cNvCxnSpPr>
            <a:cxnSpLocks/>
          </p:cNvCxnSpPr>
          <p:nvPr/>
        </p:nvCxnSpPr>
        <p:spPr>
          <a:xfrm>
            <a:off x="9975850" y="5748734"/>
            <a:ext cx="692952" cy="0"/>
          </a:xfrm>
          <a:prstGeom prst="line">
            <a:avLst/>
          </a:prstGeom>
          <a:ln w="22225" cap="rnd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24" name="Straight Connector 1023">
            <a:extLst>
              <a:ext uri="{FF2B5EF4-FFF2-40B4-BE49-F238E27FC236}">
                <a16:creationId xmlns:a16="http://schemas.microsoft.com/office/drawing/2014/main" id="{7D9F08B9-81EB-EEF0-23BD-68D2D8EFA7CB}"/>
              </a:ext>
            </a:extLst>
          </p:cNvPr>
          <p:cNvCxnSpPr>
            <a:cxnSpLocks/>
          </p:cNvCxnSpPr>
          <p:nvPr/>
        </p:nvCxnSpPr>
        <p:spPr>
          <a:xfrm>
            <a:off x="10048875" y="6410759"/>
            <a:ext cx="619927" cy="0"/>
          </a:xfrm>
          <a:prstGeom prst="line">
            <a:avLst/>
          </a:prstGeom>
          <a:ln w="22225" cap="rnd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28" name="Straight Connector 1027">
            <a:extLst>
              <a:ext uri="{FF2B5EF4-FFF2-40B4-BE49-F238E27FC236}">
                <a16:creationId xmlns:a16="http://schemas.microsoft.com/office/drawing/2014/main" id="{DBF25013-AD85-2531-97E6-CF694A3AF7CC}"/>
              </a:ext>
            </a:extLst>
          </p:cNvPr>
          <p:cNvCxnSpPr>
            <a:cxnSpLocks/>
          </p:cNvCxnSpPr>
          <p:nvPr/>
        </p:nvCxnSpPr>
        <p:spPr>
          <a:xfrm>
            <a:off x="8691234" y="5094649"/>
            <a:ext cx="1357641" cy="1316110"/>
          </a:xfrm>
          <a:prstGeom prst="line">
            <a:avLst/>
          </a:prstGeom>
          <a:ln w="22225" cap="rnd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30" name="Straight Connector 1029">
            <a:extLst>
              <a:ext uri="{FF2B5EF4-FFF2-40B4-BE49-F238E27FC236}">
                <a16:creationId xmlns:a16="http://schemas.microsoft.com/office/drawing/2014/main" id="{15A645A1-5D63-6042-CEDD-03DA88F86B4D}"/>
              </a:ext>
            </a:extLst>
          </p:cNvPr>
          <p:cNvCxnSpPr>
            <a:cxnSpLocks/>
          </p:cNvCxnSpPr>
          <p:nvPr/>
        </p:nvCxnSpPr>
        <p:spPr>
          <a:xfrm flipH="1">
            <a:off x="3173862" y="5382653"/>
            <a:ext cx="2034195" cy="0"/>
          </a:xfrm>
          <a:prstGeom prst="line">
            <a:avLst/>
          </a:prstGeom>
          <a:ln w="22225" cap="rnd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31" name="Straight Connector 1030">
            <a:extLst>
              <a:ext uri="{FF2B5EF4-FFF2-40B4-BE49-F238E27FC236}">
                <a16:creationId xmlns:a16="http://schemas.microsoft.com/office/drawing/2014/main" id="{DE1FF8E2-0A66-DA8E-3F9C-7F39F6F15B72}"/>
              </a:ext>
            </a:extLst>
          </p:cNvPr>
          <p:cNvCxnSpPr>
            <a:cxnSpLocks/>
          </p:cNvCxnSpPr>
          <p:nvPr/>
        </p:nvCxnSpPr>
        <p:spPr>
          <a:xfrm flipH="1">
            <a:off x="3170888" y="5748734"/>
            <a:ext cx="4458268" cy="3073"/>
          </a:xfrm>
          <a:prstGeom prst="line">
            <a:avLst/>
          </a:prstGeom>
          <a:ln w="22225" cap="rnd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33" name="Straight Connector 1032">
            <a:extLst>
              <a:ext uri="{FF2B5EF4-FFF2-40B4-BE49-F238E27FC236}">
                <a16:creationId xmlns:a16="http://schemas.microsoft.com/office/drawing/2014/main" id="{F084AFB2-465A-F54E-7F37-A5AC52B84739}"/>
              </a:ext>
            </a:extLst>
          </p:cNvPr>
          <p:cNvCxnSpPr>
            <a:cxnSpLocks/>
          </p:cNvCxnSpPr>
          <p:nvPr/>
        </p:nvCxnSpPr>
        <p:spPr>
          <a:xfrm flipH="1">
            <a:off x="3170888" y="6120961"/>
            <a:ext cx="4508601" cy="8494"/>
          </a:xfrm>
          <a:prstGeom prst="line">
            <a:avLst/>
          </a:prstGeom>
          <a:ln w="22225" cap="rnd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35" name="Straight Connector 1034">
            <a:extLst>
              <a:ext uri="{FF2B5EF4-FFF2-40B4-BE49-F238E27FC236}">
                <a16:creationId xmlns:a16="http://schemas.microsoft.com/office/drawing/2014/main" id="{DE5FE024-5844-85AB-4AF1-B3FCBA411120}"/>
              </a:ext>
            </a:extLst>
          </p:cNvPr>
          <p:cNvCxnSpPr>
            <a:cxnSpLocks/>
          </p:cNvCxnSpPr>
          <p:nvPr/>
        </p:nvCxnSpPr>
        <p:spPr>
          <a:xfrm flipH="1">
            <a:off x="3173862" y="6498609"/>
            <a:ext cx="4411199" cy="0"/>
          </a:xfrm>
          <a:prstGeom prst="line">
            <a:avLst/>
          </a:prstGeom>
          <a:ln w="22225" cap="rnd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36" name="Straight Connector 1035">
            <a:extLst>
              <a:ext uri="{FF2B5EF4-FFF2-40B4-BE49-F238E27FC236}">
                <a16:creationId xmlns:a16="http://schemas.microsoft.com/office/drawing/2014/main" id="{D1A89976-7D1D-7728-9DF8-E52EE1A12E45}"/>
              </a:ext>
            </a:extLst>
          </p:cNvPr>
          <p:cNvCxnSpPr>
            <a:cxnSpLocks/>
          </p:cNvCxnSpPr>
          <p:nvPr/>
        </p:nvCxnSpPr>
        <p:spPr>
          <a:xfrm flipH="1">
            <a:off x="3173862" y="6867763"/>
            <a:ext cx="4310713" cy="1"/>
          </a:xfrm>
          <a:prstGeom prst="line">
            <a:avLst/>
          </a:prstGeom>
          <a:ln w="22225" cap="rnd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41" name="Straight Connector 1040">
            <a:extLst>
              <a:ext uri="{FF2B5EF4-FFF2-40B4-BE49-F238E27FC236}">
                <a16:creationId xmlns:a16="http://schemas.microsoft.com/office/drawing/2014/main" id="{5CD48101-8C71-F746-8ADA-6E8DD6B63151}"/>
              </a:ext>
            </a:extLst>
          </p:cNvPr>
          <p:cNvCxnSpPr>
            <a:cxnSpLocks/>
          </p:cNvCxnSpPr>
          <p:nvPr/>
        </p:nvCxnSpPr>
        <p:spPr>
          <a:xfrm flipV="1">
            <a:off x="7484575" y="5086708"/>
            <a:ext cx="1139591" cy="1781056"/>
          </a:xfrm>
          <a:prstGeom prst="line">
            <a:avLst/>
          </a:prstGeom>
          <a:ln w="22225" cap="rnd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43" name="Straight Connector 1042">
            <a:extLst>
              <a:ext uri="{FF2B5EF4-FFF2-40B4-BE49-F238E27FC236}">
                <a16:creationId xmlns:a16="http://schemas.microsoft.com/office/drawing/2014/main" id="{D5B5C5DC-3180-08DC-7D52-D82794DF90E9}"/>
              </a:ext>
            </a:extLst>
          </p:cNvPr>
          <p:cNvCxnSpPr>
            <a:cxnSpLocks/>
          </p:cNvCxnSpPr>
          <p:nvPr/>
        </p:nvCxnSpPr>
        <p:spPr>
          <a:xfrm flipV="1">
            <a:off x="7585061" y="5094649"/>
            <a:ext cx="907400" cy="1403960"/>
          </a:xfrm>
          <a:prstGeom prst="line">
            <a:avLst/>
          </a:prstGeom>
          <a:ln w="22225" cap="rnd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44" name="Straight Connector 1043">
            <a:extLst>
              <a:ext uri="{FF2B5EF4-FFF2-40B4-BE49-F238E27FC236}">
                <a16:creationId xmlns:a16="http://schemas.microsoft.com/office/drawing/2014/main" id="{8428C33B-4C67-7A4C-51DD-0FEA3C77E2C9}"/>
              </a:ext>
            </a:extLst>
          </p:cNvPr>
          <p:cNvCxnSpPr>
            <a:cxnSpLocks/>
          </p:cNvCxnSpPr>
          <p:nvPr/>
        </p:nvCxnSpPr>
        <p:spPr>
          <a:xfrm flipV="1">
            <a:off x="7679489" y="5094649"/>
            <a:ext cx="686747" cy="1026312"/>
          </a:xfrm>
          <a:prstGeom prst="line">
            <a:avLst/>
          </a:prstGeom>
          <a:ln w="22225" cap="rnd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45" name="Straight Connector 1044">
            <a:extLst>
              <a:ext uri="{FF2B5EF4-FFF2-40B4-BE49-F238E27FC236}">
                <a16:creationId xmlns:a16="http://schemas.microsoft.com/office/drawing/2014/main" id="{1BA542BA-BD54-9FF5-D70F-6E3E7D5AC79B}"/>
              </a:ext>
            </a:extLst>
          </p:cNvPr>
          <p:cNvCxnSpPr>
            <a:cxnSpLocks/>
          </p:cNvCxnSpPr>
          <p:nvPr/>
        </p:nvCxnSpPr>
        <p:spPr>
          <a:xfrm flipV="1">
            <a:off x="7629156" y="5094649"/>
            <a:ext cx="464654" cy="654085"/>
          </a:xfrm>
          <a:prstGeom prst="line">
            <a:avLst/>
          </a:prstGeom>
          <a:ln w="22225" cap="rnd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53" name="Straight Connector 1052">
            <a:extLst>
              <a:ext uri="{FF2B5EF4-FFF2-40B4-BE49-F238E27FC236}">
                <a16:creationId xmlns:a16="http://schemas.microsoft.com/office/drawing/2014/main" id="{7DDE6088-3933-5D80-B2C2-025CD0E8310D}"/>
              </a:ext>
            </a:extLst>
          </p:cNvPr>
          <p:cNvCxnSpPr>
            <a:cxnSpLocks/>
          </p:cNvCxnSpPr>
          <p:nvPr/>
        </p:nvCxnSpPr>
        <p:spPr>
          <a:xfrm flipV="1">
            <a:off x="5208057" y="5094649"/>
            <a:ext cx="276150" cy="288004"/>
          </a:xfrm>
          <a:prstGeom prst="line">
            <a:avLst/>
          </a:prstGeom>
          <a:ln w="22225" cap="rnd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1059" name="Picture 4" descr="Luxoft – Wikipedia, wolna encyklopedia">
            <a:extLst>
              <a:ext uri="{FF2B5EF4-FFF2-40B4-BE49-F238E27FC236}">
                <a16:creationId xmlns:a16="http://schemas.microsoft.com/office/drawing/2014/main" id="{07C20C23-D0B4-0855-B5F4-E02603C97F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2400" y="2141075"/>
            <a:ext cx="629830" cy="2803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1" name="Picture 6">
            <a:extLst>
              <a:ext uri="{FF2B5EF4-FFF2-40B4-BE49-F238E27FC236}">
                <a16:creationId xmlns:a16="http://schemas.microsoft.com/office/drawing/2014/main" id="{123BBFEA-3603-E2CB-3512-633B5B5380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3220" y="2892582"/>
            <a:ext cx="283531" cy="1707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2" name="Picture 8" descr="EDS Logo PNG vector in SVG, PDF, AI, CDR format">
            <a:extLst>
              <a:ext uri="{FF2B5EF4-FFF2-40B4-BE49-F238E27FC236}">
                <a16:creationId xmlns:a16="http://schemas.microsoft.com/office/drawing/2014/main" id="{7F1DB3A6-FB7A-3F63-57CF-191D5829BF6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539" t="23282" r="17052" b="22767"/>
          <a:stretch>
            <a:fillRect/>
          </a:stretch>
        </p:blipFill>
        <p:spPr bwMode="auto">
          <a:xfrm>
            <a:off x="1266825" y="3386140"/>
            <a:ext cx="345301" cy="2101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3" name="Picture 10" descr="Compaq brand resources: accessing high-guality vector logo SVG, brand  colors, and more.">
            <a:extLst>
              <a:ext uri="{FF2B5EF4-FFF2-40B4-BE49-F238E27FC236}">
                <a16:creationId xmlns:a16="http://schemas.microsoft.com/office/drawing/2014/main" id="{B9BA5193-6B82-44F3-1AB3-A122BE11BC8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371" b="37523"/>
          <a:stretch>
            <a:fillRect/>
          </a:stretch>
        </p:blipFill>
        <p:spPr bwMode="auto">
          <a:xfrm>
            <a:off x="1238150" y="3781817"/>
            <a:ext cx="584501" cy="108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4" name="Picture 12" descr="Tandem Logo PNG Transparent – Brands Logos">
            <a:extLst>
              <a:ext uri="{FF2B5EF4-FFF2-40B4-BE49-F238E27FC236}">
                <a16:creationId xmlns:a16="http://schemas.microsoft.com/office/drawing/2014/main" id="{16425D64-2B6D-33D3-D7A8-9C7147DC0D6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138" b="38262"/>
          <a:stretch>
            <a:fillRect/>
          </a:stretch>
        </p:blipFill>
        <p:spPr bwMode="auto">
          <a:xfrm>
            <a:off x="1239697" y="4053268"/>
            <a:ext cx="547204" cy="140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5" name="Picture 14" descr="Digital Vector Logo - Download Free SVG Icon | Worldvectorlogo">
            <a:extLst>
              <a:ext uri="{FF2B5EF4-FFF2-40B4-BE49-F238E27FC236}">
                <a16:creationId xmlns:a16="http://schemas.microsoft.com/office/drawing/2014/main" id="{36DA8131-672E-2503-7DCF-BE6E32CB4C6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567" b="34698"/>
          <a:stretch>
            <a:fillRect/>
          </a:stretch>
        </p:blipFill>
        <p:spPr bwMode="auto">
          <a:xfrm>
            <a:off x="1253220" y="4344301"/>
            <a:ext cx="451770" cy="1433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6" name="Picture 16" descr="HP logo and symbol, meaning, history, PNG">
            <a:extLst>
              <a:ext uri="{FF2B5EF4-FFF2-40B4-BE49-F238E27FC236}">
                <a16:creationId xmlns:a16="http://schemas.microsoft.com/office/drawing/2014/main" id="{F68FF01A-6095-CB06-9144-B784C8D2A8A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175" t="3392" r="42237" b="73313"/>
          <a:stretch>
            <a:fillRect/>
          </a:stretch>
        </p:blipFill>
        <p:spPr bwMode="auto">
          <a:xfrm>
            <a:off x="1282700" y="4738659"/>
            <a:ext cx="209673" cy="3133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7" name="Picture 18" descr="HP logo and symbol, meaning, history, PNG">
            <a:extLst>
              <a:ext uri="{FF2B5EF4-FFF2-40B4-BE49-F238E27FC236}">
                <a16:creationId xmlns:a16="http://schemas.microsoft.com/office/drawing/2014/main" id="{E26E1860-6B47-C31D-D801-422BF98224E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503" t="10151" r="579" b="80342"/>
          <a:stretch>
            <a:fillRect/>
          </a:stretch>
        </p:blipFill>
        <p:spPr bwMode="auto">
          <a:xfrm>
            <a:off x="2624376" y="4704927"/>
            <a:ext cx="1281748" cy="381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8" name="Picture 20" descr="HP logo and symbol, meaning, history, PNG">
            <a:extLst>
              <a:ext uri="{FF2B5EF4-FFF2-40B4-BE49-F238E27FC236}">
                <a16:creationId xmlns:a16="http://schemas.microsoft.com/office/drawing/2014/main" id="{AA699889-3C4F-FF0B-EDD0-6C146D45E0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844" r="68676" b="47899"/>
          <a:stretch>
            <a:fillRect/>
          </a:stretch>
        </p:blipFill>
        <p:spPr bwMode="auto">
          <a:xfrm>
            <a:off x="4635635" y="4816787"/>
            <a:ext cx="843483" cy="1954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9" name="Picture 22">
            <a:extLst>
              <a:ext uri="{FF2B5EF4-FFF2-40B4-BE49-F238E27FC236}">
                <a16:creationId xmlns:a16="http://schemas.microsoft.com/office/drawing/2014/main" id="{FD540E09-9CB7-5F0C-89AC-7B8D671D40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0827" y="5318765"/>
            <a:ext cx="408794" cy="1369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70" name="TextBox 1069">
            <a:extLst>
              <a:ext uri="{FF2B5EF4-FFF2-40B4-BE49-F238E27FC236}">
                <a16:creationId xmlns:a16="http://schemas.microsoft.com/office/drawing/2014/main" id="{234E60A0-00CC-A5F5-CF47-34543A6ACBA9}"/>
              </a:ext>
            </a:extLst>
          </p:cNvPr>
          <p:cNvSpPr txBox="1"/>
          <p:nvPr/>
        </p:nvSpPr>
        <p:spPr>
          <a:xfrm>
            <a:off x="1918897" y="5260211"/>
            <a:ext cx="540000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Aft>
                <a:spcPts val="400"/>
              </a:spcAft>
            </a:pPr>
            <a:r>
              <a:rPr lang="en-US" sz="1200" dirty="0"/>
              <a:t>1980</a:t>
            </a:r>
          </a:p>
        </p:txBody>
      </p:sp>
      <p:pic>
        <p:nvPicPr>
          <p:cNvPr id="1071" name="Picture 24" descr="3Com Logo - LogoDix">
            <a:extLst>
              <a:ext uri="{FF2B5EF4-FFF2-40B4-BE49-F238E27FC236}">
                <a16:creationId xmlns:a16="http://schemas.microsoft.com/office/drawing/2014/main" id="{F5FB6F12-D50F-9D5D-01CB-5095466DEC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8939" y="5643203"/>
            <a:ext cx="272570" cy="1910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72" name="TextBox 1071">
            <a:extLst>
              <a:ext uri="{FF2B5EF4-FFF2-40B4-BE49-F238E27FC236}">
                <a16:creationId xmlns:a16="http://schemas.microsoft.com/office/drawing/2014/main" id="{E564BE76-0E0C-AF3D-B102-CE34E648B084}"/>
              </a:ext>
            </a:extLst>
          </p:cNvPr>
          <p:cNvSpPr txBox="1"/>
          <p:nvPr/>
        </p:nvSpPr>
        <p:spPr>
          <a:xfrm>
            <a:off x="1918897" y="5628178"/>
            <a:ext cx="540000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Aft>
                <a:spcPts val="400"/>
              </a:spcAft>
            </a:pPr>
            <a:r>
              <a:rPr lang="en-US" sz="1200" dirty="0"/>
              <a:t>1979</a:t>
            </a:r>
          </a:p>
        </p:txBody>
      </p:sp>
      <p:sp>
        <p:nvSpPr>
          <p:cNvPr id="1073" name="TextBox 1072">
            <a:extLst>
              <a:ext uri="{FF2B5EF4-FFF2-40B4-BE49-F238E27FC236}">
                <a16:creationId xmlns:a16="http://schemas.microsoft.com/office/drawing/2014/main" id="{845D55B1-17B9-0A80-5238-7050308F1830}"/>
              </a:ext>
            </a:extLst>
          </p:cNvPr>
          <p:cNvSpPr txBox="1"/>
          <p:nvPr/>
        </p:nvSpPr>
        <p:spPr>
          <a:xfrm>
            <a:off x="1918897" y="5996145"/>
            <a:ext cx="540000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Aft>
                <a:spcPts val="400"/>
              </a:spcAft>
            </a:pPr>
            <a:r>
              <a:rPr lang="en-US" sz="1200" dirty="0"/>
              <a:t>1992</a:t>
            </a:r>
          </a:p>
        </p:txBody>
      </p:sp>
      <p:pic>
        <p:nvPicPr>
          <p:cNvPr id="1074" name="Picture 26" descr="Palm, Inc. - Wikipedia">
            <a:extLst>
              <a:ext uri="{FF2B5EF4-FFF2-40B4-BE49-F238E27FC236}">
                <a16:creationId xmlns:a16="http://schemas.microsoft.com/office/drawing/2014/main" id="{6FF18438-3270-8C35-7B4D-410F630699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5958" y="5990949"/>
            <a:ext cx="258532" cy="258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5" name="Picture 28">
            <a:extLst>
              <a:ext uri="{FF2B5EF4-FFF2-40B4-BE49-F238E27FC236}">
                <a16:creationId xmlns:a16="http://schemas.microsoft.com/office/drawing/2014/main" id="{127DE81E-8E49-31F8-B99E-F3C84CE1658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079" t="39556" r="19477" b="38786"/>
          <a:stretch>
            <a:fillRect/>
          </a:stretch>
        </p:blipFill>
        <p:spPr bwMode="auto">
          <a:xfrm>
            <a:off x="2583535" y="6800278"/>
            <a:ext cx="463378" cy="1349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78" name="TextBox 1077">
            <a:extLst>
              <a:ext uri="{FF2B5EF4-FFF2-40B4-BE49-F238E27FC236}">
                <a16:creationId xmlns:a16="http://schemas.microsoft.com/office/drawing/2014/main" id="{8E9898BB-3971-78BC-9FDC-3AD3892CCFA5}"/>
              </a:ext>
            </a:extLst>
          </p:cNvPr>
          <p:cNvSpPr txBox="1"/>
          <p:nvPr/>
        </p:nvSpPr>
        <p:spPr>
          <a:xfrm>
            <a:off x="1918897" y="6364112"/>
            <a:ext cx="540000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Aft>
                <a:spcPts val="400"/>
              </a:spcAft>
            </a:pPr>
            <a:r>
              <a:rPr lang="en-US" sz="1200" dirty="0"/>
              <a:t>1996</a:t>
            </a:r>
          </a:p>
        </p:txBody>
      </p:sp>
      <p:sp>
        <p:nvSpPr>
          <p:cNvPr id="1079" name="TextBox 1078">
            <a:extLst>
              <a:ext uri="{FF2B5EF4-FFF2-40B4-BE49-F238E27FC236}">
                <a16:creationId xmlns:a16="http://schemas.microsoft.com/office/drawing/2014/main" id="{0D9A3F13-1F2E-ED89-0684-75DE3259659A}"/>
              </a:ext>
            </a:extLst>
          </p:cNvPr>
          <p:cNvSpPr txBox="1"/>
          <p:nvPr/>
        </p:nvSpPr>
        <p:spPr>
          <a:xfrm>
            <a:off x="1918897" y="6732079"/>
            <a:ext cx="540000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Aft>
                <a:spcPts val="400"/>
              </a:spcAft>
            </a:pPr>
            <a:r>
              <a:rPr lang="en-US" sz="1200" dirty="0"/>
              <a:t>2005</a:t>
            </a:r>
          </a:p>
        </p:txBody>
      </p:sp>
      <p:pic>
        <p:nvPicPr>
          <p:cNvPr id="1080" name="Picture 16" descr="HP logo and symbol, meaning, history, PNG">
            <a:extLst>
              <a:ext uri="{FF2B5EF4-FFF2-40B4-BE49-F238E27FC236}">
                <a16:creationId xmlns:a16="http://schemas.microsoft.com/office/drawing/2014/main" id="{0B53764C-D56D-4754-8251-47028D8D0C7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02" t="67830" r="36367" b="6113"/>
          <a:stretch>
            <a:fillRect/>
          </a:stretch>
        </p:blipFill>
        <p:spPr bwMode="auto">
          <a:xfrm>
            <a:off x="7725345" y="4724758"/>
            <a:ext cx="679316" cy="2973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1" name="Picture 16" descr="HP logo and symbol, meaning, history, PNG">
            <a:extLst>
              <a:ext uri="{FF2B5EF4-FFF2-40B4-BE49-F238E27FC236}">
                <a16:creationId xmlns:a16="http://schemas.microsoft.com/office/drawing/2014/main" id="{3AF545A7-24C4-7C77-2283-015958AC367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611" t="67830" r="36367" b="6113"/>
          <a:stretch>
            <a:fillRect/>
          </a:stretch>
        </p:blipFill>
        <p:spPr bwMode="auto">
          <a:xfrm>
            <a:off x="11076159" y="6262079"/>
            <a:ext cx="308353" cy="2973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2" name="Picture 30" descr="Hewlett Packard Enterprise Company (HPE) Stock Price, News, Quote &amp; History  - Yahoo Finance">
            <a:extLst>
              <a:ext uri="{FF2B5EF4-FFF2-40B4-BE49-F238E27FC236}">
                <a16:creationId xmlns:a16="http://schemas.microsoft.com/office/drawing/2014/main" id="{DE6574A2-D8E6-B2AD-9B46-9A95EDA86F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2674" y="4693701"/>
            <a:ext cx="691267" cy="2896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5" name="Picture 30" descr="Hewlett Packard Enterprise Company (HPE) Stock Price, News, Quote &amp; History  - Yahoo Finance">
            <a:extLst>
              <a:ext uri="{FF2B5EF4-FFF2-40B4-BE49-F238E27FC236}">
                <a16:creationId xmlns:a16="http://schemas.microsoft.com/office/drawing/2014/main" id="{A3681931-344B-D5CA-B6EE-D71F1EBF8F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84702" y="4931947"/>
            <a:ext cx="691267" cy="2896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86" name="Straight Connector 1085">
            <a:extLst>
              <a:ext uri="{FF2B5EF4-FFF2-40B4-BE49-F238E27FC236}">
                <a16:creationId xmlns:a16="http://schemas.microsoft.com/office/drawing/2014/main" id="{7EACFBF4-51F7-E4EA-F34F-E34257581FF6}"/>
              </a:ext>
            </a:extLst>
          </p:cNvPr>
          <p:cNvCxnSpPr>
            <a:cxnSpLocks/>
          </p:cNvCxnSpPr>
          <p:nvPr/>
        </p:nvCxnSpPr>
        <p:spPr>
          <a:xfrm>
            <a:off x="11762597" y="5101002"/>
            <a:ext cx="442604" cy="0"/>
          </a:xfrm>
          <a:prstGeom prst="line">
            <a:avLst/>
          </a:prstGeom>
          <a:ln w="38100" cap="sq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88" name="Straight Connector 1087">
            <a:extLst>
              <a:ext uri="{FF2B5EF4-FFF2-40B4-BE49-F238E27FC236}">
                <a16:creationId xmlns:a16="http://schemas.microsoft.com/office/drawing/2014/main" id="{6641F4A2-B760-8523-36FD-D2F607ED1F39}"/>
              </a:ext>
            </a:extLst>
          </p:cNvPr>
          <p:cNvCxnSpPr>
            <a:cxnSpLocks/>
          </p:cNvCxnSpPr>
          <p:nvPr/>
        </p:nvCxnSpPr>
        <p:spPr>
          <a:xfrm>
            <a:off x="11762597" y="5774102"/>
            <a:ext cx="442604" cy="0"/>
          </a:xfrm>
          <a:prstGeom prst="line">
            <a:avLst/>
          </a:prstGeom>
          <a:ln w="38100" cap="sq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90" name="Straight Connector 1089">
            <a:extLst>
              <a:ext uri="{FF2B5EF4-FFF2-40B4-BE49-F238E27FC236}">
                <a16:creationId xmlns:a16="http://schemas.microsoft.com/office/drawing/2014/main" id="{40826328-97F4-D3B7-3A5A-9039A249BC88}"/>
              </a:ext>
            </a:extLst>
          </p:cNvPr>
          <p:cNvCxnSpPr>
            <a:cxnSpLocks/>
          </p:cNvCxnSpPr>
          <p:nvPr/>
        </p:nvCxnSpPr>
        <p:spPr>
          <a:xfrm>
            <a:off x="11762597" y="6415452"/>
            <a:ext cx="442604" cy="0"/>
          </a:xfrm>
          <a:prstGeom prst="line">
            <a:avLst/>
          </a:prstGeom>
          <a:ln w="38100" cap="sq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1091" name="Picture 32">
            <a:extLst>
              <a:ext uri="{FF2B5EF4-FFF2-40B4-BE49-F238E27FC236}">
                <a16:creationId xmlns:a16="http://schemas.microsoft.com/office/drawing/2014/main" id="{ABB32727-4E5D-3A2D-05DB-26EE0A5C15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84702" y="5670549"/>
            <a:ext cx="691266" cy="16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16" name="Group 1115">
            <a:extLst>
              <a:ext uri="{FF2B5EF4-FFF2-40B4-BE49-F238E27FC236}">
                <a16:creationId xmlns:a16="http://schemas.microsoft.com/office/drawing/2014/main" id="{BAE1819C-D2F6-78E0-65A0-420241871129}"/>
              </a:ext>
            </a:extLst>
          </p:cNvPr>
          <p:cNvGrpSpPr/>
          <p:nvPr/>
        </p:nvGrpSpPr>
        <p:grpSpPr>
          <a:xfrm>
            <a:off x="11248904" y="2745390"/>
            <a:ext cx="2239961" cy="1459289"/>
            <a:chOff x="11483589" y="2852362"/>
            <a:chExt cx="2239961" cy="1459289"/>
          </a:xfrm>
        </p:grpSpPr>
        <p:grpSp>
          <p:nvGrpSpPr>
            <p:cNvPr id="1100" name="Group 1099">
              <a:extLst>
                <a:ext uri="{FF2B5EF4-FFF2-40B4-BE49-F238E27FC236}">
                  <a16:creationId xmlns:a16="http://schemas.microsoft.com/office/drawing/2014/main" id="{EECCC971-8ED0-0C01-D23D-96C173737B1A}"/>
                </a:ext>
              </a:extLst>
            </p:cNvPr>
            <p:cNvGrpSpPr/>
            <p:nvPr/>
          </p:nvGrpSpPr>
          <p:grpSpPr>
            <a:xfrm>
              <a:off x="11483589" y="3148381"/>
              <a:ext cx="2239961" cy="1163270"/>
              <a:chOff x="11483589" y="3148381"/>
              <a:chExt cx="2239961" cy="1163270"/>
            </a:xfrm>
          </p:grpSpPr>
          <p:sp>
            <p:nvSpPr>
              <p:cNvPr id="1099" name="Rectangle: Rounded Corners 1098">
                <a:extLst>
                  <a:ext uri="{FF2B5EF4-FFF2-40B4-BE49-F238E27FC236}">
                    <a16:creationId xmlns:a16="http://schemas.microsoft.com/office/drawing/2014/main" id="{E8A59E27-5E4F-837D-59AC-C060830024B0}"/>
                  </a:ext>
                </a:extLst>
              </p:cNvPr>
              <p:cNvSpPr/>
              <p:nvPr/>
            </p:nvSpPr>
            <p:spPr>
              <a:xfrm>
                <a:off x="11483589" y="3148381"/>
                <a:ext cx="2239961" cy="1163270"/>
              </a:xfrm>
              <a:prstGeom prst="roundRect">
                <a:avLst>
                  <a:gd name="adj" fmla="val 6894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/>
              </a:p>
            </p:txBody>
          </p:sp>
          <p:sp>
            <p:nvSpPr>
              <p:cNvPr id="1096" name="Rectangle: Rounded Corners 1095">
                <a:extLst>
                  <a:ext uri="{FF2B5EF4-FFF2-40B4-BE49-F238E27FC236}">
                    <a16:creationId xmlns:a16="http://schemas.microsoft.com/office/drawing/2014/main" id="{56FBEDFC-61CD-F847-9CB5-03B9A989C2F9}"/>
                  </a:ext>
                </a:extLst>
              </p:cNvPr>
              <p:cNvSpPr/>
              <p:nvPr/>
            </p:nvSpPr>
            <p:spPr>
              <a:xfrm>
                <a:off x="11568922" y="3232559"/>
                <a:ext cx="2072392" cy="293144"/>
              </a:xfrm>
              <a:prstGeom prst="roundRect">
                <a:avLst/>
              </a:prstGeom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 dirty="0"/>
                  <a:t>IT Service</a:t>
                </a:r>
              </a:p>
            </p:txBody>
          </p:sp>
          <p:sp>
            <p:nvSpPr>
              <p:cNvPr id="1097" name="Rectangle: Rounded Corners 1096">
                <a:extLst>
                  <a:ext uri="{FF2B5EF4-FFF2-40B4-BE49-F238E27FC236}">
                    <a16:creationId xmlns:a16="http://schemas.microsoft.com/office/drawing/2014/main" id="{A56C995F-D4F0-196B-CD75-D75002A6135A}"/>
                  </a:ext>
                </a:extLst>
              </p:cNvPr>
              <p:cNvSpPr/>
              <p:nvPr/>
            </p:nvSpPr>
            <p:spPr>
              <a:xfrm>
                <a:off x="11568922" y="3579692"/>
                <a:ext cx="2072392" cy="293144"/>
              </a:xfrm>
              <a:prstGeom prst="roundRect">
                <a:avLst/>
              </a:prstGeom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 dirty="0"/>
                  <a:t>IT Outsourcing</a:t>
                </a:r>
              </a:p>
            </p:txBody>
          </p:sp>
          <p:sp>
            <p:nvSpPr>
              <p:cNvPr id="1098" name="Rectangle: Rounded Corners 1097">
                <a:extLst>
                  <a:ext uri="{FF2B5EF4-FFF2-40B4-BE49-F238E27FC236}">
                    <a16:creationId xmlns:a16="http://schemas.microsoft.com/office/drawing/2014/main" id="{9C96EA57-1F6B-230B-BA36-DCE05D09EB2F}"/>
                  </a:ext>
                </a:extLst>
              </p:cNvPr>
              <p:cNvSpPr/>
              <p:nvPr/>
            </p:nvSpPr>
            <p:spPr>
              <a:xfrm>
                <a:off x="11568922" y="3926826"/>
                <a:ext cx="2072392" cy="293144"/>
              </a:xfrm>
              <a:prstGeom prst="roundRect">
                <a:avLst/>
              </a:prstGeom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 dirty="0"/>
                  <a:t>Application / Solution Dev.</a:t>
                </a:r>
              </a:p>
            </p:txBody>
          </p:sp>
        </p:grpSp>
        <p:pic>
          <p:nvPicPr>
            <p:cNvPr id="1102" name="Graphic 1101">
              <a:extLst>
                <a:ext uri="{FF2B5EF4-FFF2-40B4-BE49-F238E27FC236}">
                  <a16:creationId xmlns:a16="http://schemas.microsoft.com/office/drawing/2014/main" id="{8BCEB3AB-4792-6B4F-6844-44A5EDC1F3B2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11809935" y="2852362"/>
              <a:ext cx="1587268" cy="180000"/>
            </a:xfrm>
            <a:prstGeom prst="rect">
              <a:avLst/>
            </a:prstGeom>
          </p:spPr>
        </p:pic>
      </p:grpSp>
      <p:sp>
        <p:nvSpPr>
          <p:cNvPr id="1103" name="TextBox 1102">
            <a:extLst>
              <a:ext uri="{FF2B5EF4-FFF2-40B4-BE49-F238E27FC236}">
                <a16:creationId xmlns:a16="http://schemas.microsoft.com/office/drawing/2014/main" id="{330CB2F5-E774-730B-A26B-D5A490DD58E6}"/>
              </a:ext>
            </a:extLst>
          </p:cNvPr>
          <p:cNvSpPr txBox="1"/>
          <p:nvPr/>
        </p:nvSpPr>
        <p:spPr>
          <a:xfrm>
            <a:off x="11664603" y="4445345"/>
            <a:ext cx="593303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Aft>
                <a:spcPts val="400"/>
              </a:spcAft>
            </a:pPr>
            <a:r>
              <a:rPr lang="en-US" sz="1200" dirty="0"/>
              <a:t>2020</a:t>
            </a:r>
          </a:p>
        </p:txBody>
      </p:sp>
      <p:sp>
        <p:nvSpPr>
          <p:cNvPr id="1105" name="TextBox 1104">
            <a:extLst>
              <a:ext uri="{FF2B5EF4-FFF2-40B4-BE49-F238E27FC236}">
                <a16:creationId xmlns:a16="http://schemas.microsoft.com/office/drawing/2014/main" id="{25280E66-6FFF-DB1C-CAD0-46FC52EB26F1}"/>
              </a:ext>
            </a:extLst>
          </p:cNvPr>
          <p:cNvSpPr txBox="1"/>
          <p:nvPr/>
        </p:nvSpPr>
        <p:spPr>
          <a:xfrm>
            <a:off x="10955556" y="4445345"/>
            <a:ext cx="593303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Aft>
                <a:spcPts val="400"/>
              </a:spcAft>
            </a:pPr>
            <a:r>
              <a:rPr lang="en-US" sz="1200" dirty="0"/>
              <a:t>2019</a:t>
            </a:r>
          </a:p>
        </p:txBody>
      </p:sp>
      <p:sp>
        <p:nvSpPr>
          <p:cNvPr id="1106" name="TextBox 1105">
            <a:extLst>
              <a:ext uri="{FF2B5EF4-FFF2-40B4-BE49-F238E27FC236}">
                <a16:creationId xmlns:a16="http://schemas.microsoft.com/office/drawing/2014/main" id="{D6A35ABB-03B5-9FC2-AA72-C439A8BDEFB0}"/>
              </a:ext>
            </a:extLst>
          </p:cNvPr>
          <p:cNvSpPr txBox="1"/>
          <p:nvPr/>
        </p:nvSpPr>
        <p:spPr>
          <a:xfrm>
            <a:off x="10250771" y="4445345"/>
            <a:ext cx="593303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Aft>
                <a:spcPts val="400"/>
              </a:spcAft>
            </a:pPr>
            <a:r>
              <a:rPr lang="en-US" sz="1200" dirty="0"/>
              <a:t>2017</a:t>
            </a:r>
          </a:p>
        </p:txBody>
      </p:sp>
      <p:sp>
        <p:nvSpPr>
          <p:cNvPr id="1108" name="TextBox 1107">
            <a:extLst>
              <a:ext uri="{FF2B5EF4-FFF2-40B4-BE49-F238E27FC236}">
                <a16:creationId xmlns:a16="http://schemas.microsoft.com/office/drawing/2014/main" id="{DD86F323-6A5F-09C7-76FF-828C4D125EB9}"/>
              </a:ext>
            </a:extLst>
          </p:cNvPr>
          <p:cNvSpPr txBox="1"/>
          <p:nvPr/>
        </p:nvSpPr>
        <p:spPr>
          <a:xfrm>
            <a:off x="5542230" y="3379928"/>
            <a:ext cx="540000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Aft>
                <a:spcPts val="400"/>
              </a:spcAft>
            </a:pPr>
            <a:r>
              <a:rPr lang="en-US" sz="1200" dirty="0"/>
              <a:t>2008</a:t>
            </a:r>
          </a:p>
        </p:txBody>
      </p:sp>
      <p:sp>
        <p:nvSpPr>
          <p:cNvPr id="1109" name="TextBox 1108">
            <a:extLst>
              <a:ext uri="{FF2B5EF4-FFF2-40B4-BE49-F238E27FC236}">
                <a16:creationId xmlns:a16="http://schemas.microsoft.com/office/drawing/2014/main" id="{01DBBF45-A36F-2CE7-A0C5-1B3CF80ED8B3}"/>
              </a:ext>
            </a:extLst>
          </p:cNvPr>
          <p:cNvSpPr txBox="1"/>
          <p:nvPr/>
        </p:nvSpPr>
        <p:spPr>
          <a:xfrm>
            <a:off x="6259638" y="3508771"/>
            <a:ext cx="540000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Aft>
                <a:spcPts val="400"/>
              </a:spcAft>
            </a:pPr>
            <a:r>
              <a:rPr lang="en-US" sz="1200" dirty="0"/>
              <a:t>1999</a:t>
            </a:r>
          </a:p>
        </p:txBody>
      </p:sp>
      <p:sp>
        <p:nvSpPr>
          <p:cNvPr id="1110" name="TextBox 1109">
            <a:extLst>
              <a:ext uri="{FF2B5EF4-FFF2-40B4-BE49-F238E27FC236}">
                <a16:creationId xmlns:a16="http://schemas.microsoft.com/office/drawing/2014/main" id="{AAA4B6D8-BA09-C9DD-4F8C-0598729A466E}"/>
              </a:ext>
            </a:extLst>
          </p:cNvPr>
          <p:cNvSpPr txBox="1"/>
          <p:nvPr/>
        </p:nvSpPr>
        <p:spPr>
          <a:xfrm>
            <a:off x="7395563" y="3390513"/>
            <a:ext cx="540000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Aft>
                <a:spcPts val="400"/>
              </a:spcAft>
            </a:pPr>
            <a:r>
              <a:rPr lang="en-US" sz="1200" dirty="0"/>
              <a:t>2016</a:t>
            </a:r>
          </a:p>
        </p:txBody>
      </p:sp>
      <p:sp>
        <p:nvSpPr>
          <p:cNvPr id="1111" name="TextBox 1110">
            <a:extLst>
              <a:ext uri="{FF2B5EF4-FFF2-40B4-BE49-F238E27FC236}">
                <a16:creationId xmlns:a16="http://schemas.microsoft.com/office/drawing/2014/main" id="{BEC4B56C-4E04-AE22-A735-88E63621A5B4}"/>
              </a:ext>
            </a:extLst>
          </p:cNvPr>
          <p:cNvSpPr txBox="1"/>
          <p:nvPr/>
        </p:nvSpPr>
        <p:spPr>
          <a:xfrm>
            <a:off x="5542230" y="3974288"/>
            <a:ext cx="540000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Aft>
                <a:spcPts val="400"/>
              </a:spcAft>
            </a:pPr>
            <a:r>
              <a:rPr lang="en-US" sz="1200" dirty="0"/>
              <a:t>1997</a:t>
            </a:r>
          </a:p>
        </p:txBody>
      </p:sp>
      <p:sp>
        <p:nvSpPr>
          <p:cNvPr id="1112" name="TextBox 1111">
            <a:extLst>
              <a:ext uri="{FF2B5EF4-FFF2-40B4-BE49-F238E27FC236}">
                <a16:creationId xmlns:a16="http://schemas.microsoft.com/office/drawing/2014/main" id="{769C9939-C8BF-3225-85AD-43C964B65FBE}"/>
              </a:ext>
            </a:extLst>
          </p:cNvPr>
          <p:cNvSpPr txBox="1"/>
          <p:nvPr/>
        </p:nvSpPr>
        <p:spPr>
          <a:xfrm>
            <a:off x="5860117" y="4266388"/>
            <a:ext cx="540000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Aft>
                <a:spcPts val="400"/>
              </a:spcAft>
            </a:pPr>
            <a:r>
              <a:rPr lang="en-US" sz="1200" dirty="0"/>
              <a:t>1998</a:t>
            </a:r>
          </a:p>
        </p:txBody>
      </p:sp>
      <p:sp>
        <p:nvSpPr>
          <p:cNvPr id="1113" name="TextBox 1112">
            <a:extLst>
              <a:ext uri="{FF2B5EF4-FFF2-40B4-BE49-F238E27FC236}">
                <a16:creationId xmlns:a16="http://schemas.microsoft.com/office/drawing/2014/main" id="{D2953592-5749-6AE0-C3D1-831D67BAA93D}"/>
              </a:ext>
            </a:extLst>
          </p:cNvPr>
          <p:cNvSpPr txBox="1"/>
          <p:nvPr/>
        </p:nvSpPr>
        <p:spPr>
          <a:xfrm>
            <a:off x="6190368" y="4555452"/>
            <a:ext cx="540000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Aft>
                <a:spcPts val="400"/>
              </a:spcAft>
            </a:pPr>
            <a:r>
              <a:rPr lang="en-US" sz="1200" dirty="0"/>
              <a:t>2002</a:t>
            </a:r>
          </a:p>
        </p:txBody>
      </p:sp>
      <p:sp>
        <p:nvSpPr>
          <p:cNvPr id="1114" name="TextBox 1113">
            <a:extLst>
              <a:ext uri="{FF2B5EF4-FFF2-40B4-BE49-F238E27FC236}">
                <a16:creationId xmlns:a16="http://schemas.microsoft.com/office/drawing/2014/main" id="{14D06F2C-0D25-4576-9C2E-B59FF3E3F7D0}"/>
              </a:ext>
            </a:extLst>
          </p:cNvPr>
          <p:cNvSpPr txBox="1"/>
          <p:nvPr/>
        </p:nvSpPr>
        <p:spPr>
          <a:xfrm>
            <a:off x="6866220" y="4167573"/>
            <a:ext cx="540000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Aft>
                <a:spcPts val="400"/>
              </a:spcAft>
            </a:pPr>
            <a:r>
              <a:rPr lang="en-US" sz="1200" dirty="0"/>
              <a:t>2002</a:t>
            </a:r>
          </a:p>
        </p:txBody>
      </p:sp>
      <p:sp>
        <p:nvSpPr>
          <p:cNvPr id="1115" name="TextBox 1114">
            <a:extLst>
              <a:ext uri="{FF2B5EF4-FFF2-40B4-BE49-F238E27FC236}">
                <a16:creationId xmlns:a16="http://schemas.microsoft.com/office/drawing/2014/main" id="{8265060C-E97C-2A91-D62D-48E1A93AC765}"/>
              </a:ext>
            </a:extLst>
          </p:cNvPr>
          <p:cNvSpPr txBox="1"/>
          <p:nvPr/>
        </p:nvSpPr>
        <p:spPr>
          <a:xfrm>
            <a:off x="8831393" y="5101002"/>
            <a:ext cx="540000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Aft>
                <a:spcPts val="400"/>
              </a:spcAft>
            </a:pPr>
            <a:r>
              <a:rPr lang="en-US" sz="1200" dirty="0"/>
              <a:t>2015</a:t>
            </a:r>
          </a:p>
        </p:txBody>
      </p:sp>
      <p:sp>
        <p:nvSpPr>
          <p:cNvPr id="1118" name="TextBox 1117">
            <a:extLst>
              <a:ext uri="{FF2B5EF4-FFF2-40B4-BE49-F238E27FC236}">
                <a16:creationId xmlns:a16="http://schemas.microsoft.com/office/drawing/2014/main" id="{7F2112B2-F81A-8113-DAB3-17A901991B01}"/>
              </a:ext>
            </a:extLst>
          </p:cNvPr>
          <p:cNvSpPr txBox="1"/>
          <p:nvPr/>
        </p:nvSpPr>
        <p:spPr>
          <a:xfrm>
            <a:off x="4749989" y="5137333"/>
            <a:ext cx="540000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Aft>
                <a:spcPts val="400"/>
              </a:spcAft>
            </a:pPr>
            <a:r>
              <a:rPr lang="en-US" sz="1200" dirty="0"/>
              <a:t>1989</a:t>
            </a:r>
          </a:p>
        </p:txBody>
      </p:sp>
      <p:sp>
        <p:nvSpPr>
          <p:cNvPr id="1119" name="TextBox 1118">
            <a:extLst>
              <a:ext uri="{FF2B5EF4-FFF2-40B4-BE49-F238E27FC236}">
                <a16:creationId xmlns:a16="http://schemas.microsoft.com/office/drawing/2014/main" id="{CD5CF000-DBB0-4776-F8E3-6A3DEB4A61FB}"/>
              </a:ext>
            </a:extLst>
          </p:cNvPr>
          <p:cNvSpPr txBox="1"/>
          <p:nvPr/>
        </p:nvSpPr>
        <p:spPr>
          <a:xfrm>
            <a:off x="7045061" y="5476242"/>
            <a:ext cx="540000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Aft>
                <a:spcPts val="400"/>
              </a:spcAft>
            </a:pPr>
            <a:r>
              <a:rPr lang="en-US" sz="1200" dirty="0"/>
              <a:t>2009</a:t>
            </a:r>
          </a:p>
        </p:txBody>
      </p:sp>
      <p:sp>
        <p:nvSpPr>
          <p:cNvPr id="1120" name="TextBox 1119">
            <a:extLst>
              <a:ext uri="{FF2B5EF4-FFF2-40B4-BE49-F238E27FC236}">
                <a16:creationId xmlns:a16="http://schemas.microsoft.com/office/drawing/2014/main" id="{DF816716-8223-BA5A-B21C-6ECB7CBE5AC0}"/>
              </a:ext>
            </a:extLst>
          </p:cNvPr>
          <p:cNvSpPr txBox="1"/>
          <p:nvPr/>
        </p:nvSpPr>
        <p:spPr>
          <a:xfrm>
            <a:off x="7045061" y="5841879"/>
            <a:ext cx="540000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Aft>
                <a:spcPts val="400"/>
              </a:spcAft>
            </a:pPr>
            <a:r>
              <a:rPr lang="en-US" sz="1200" dirty="0"/>
              <a:t>2010</a:t>
            </a:r>
          </a:p>
        </p:txBody>
      </p:sp>
      <p:sp>
        <p:nvSpPr>
          <p:cNvPr id="1121" name="TextBox 1120">
            <a:extLst>
              <a:ext uri="{FF2B5EF4-FFF2-40B4-BE49-F238E27FC236}">
                <a16:creationId xmlns:a16="http://schemas.microsoft.com/office/drawing/2014/main" id="{47C4D139-162B-64F9-E4A8-61D1E1A64AD5}"/>
              </a:ext>
            </a:extLst>
          </p:cNvPr>
          <p:cNvSpPr txBox="1"/>
          <p:nvPr/>
        </p:nvSpPr>
        <p:spPr>
          <a:xfrm>
            <a:off x="7045061" y="6234846"/>
            <a:ext cx="540000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Aft>
                <a:spcPts val="400"/>
              </a:spcAft>
            </a:pPr>
            <a:r>
              <a:rPr lang="en-US" sz="1200" dirty="0"/>
              <a:t>2011</a:t>
            </a:r>
          </a:p>
        </p:txBody>
      </p:sp>
      <p:sp>
        <p:nvSpPr>
          <p:cNvPr id="1122" name="TextBox 1121">
            <a:extLst>
              <a:ext uri="{FF2B5EF4-FFF2-40B4-BE49-F238E27FC236}">
                <a16:creationId xmlns:a16="http://schemas.microsoft.com/office/drawing/2014/main" id="{50032A42-E19B-54FE-5CB3-DE074E4A59DC}"/>
              </a:ext>
            </a:extLst>
          </p:cNvPr>
          <p:cNvSpPr txBox="1"/>
          <p:nvPr/>
        </p:nvSpPr>
        <p:spPr>
          <a:xfrm>
            <a:off x="7045061" y="6602813"/>
            <a:ext cx="540000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Aft>
                <a:spcPts val="400"/>
              </a:spcAft>
            </a:pPr>
            <a:r>
              <a:rPr lang="en-US" sz="1200" dirty="0"/>
              <a:t>2011</a:t>
            </a:r>
          </a:p>
        </p:txBody>
      </p:sp>
      <p:sp>
        <p:nvSpPr>
          <p:cNvPr id="1137" name="TextBox 1136">
            <a:extLst>
              <a:ext uri="{FF2B5EF4-FFF2-40B4-BE49-F238E27FC236}">
                <a16:creationId xmlns:a16="http://schemas.microsoft.com/office/drawing/2014/main" id="{4C567685-BD94-FCA0-DF6A-78ED473541E7}"/>
              </a:ext>
            </a:extLst>
          </p:cNvPr>
          <p:cNvSpPr txBox="1"/>
          <p:nvPr/>
        </p:nvSpPr>
        <p:spPr>
          <a:xfrm>
            <a:off x="10030761" y="6129455"/>
            <a:ext cx="540000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Aft>
                <a:spcPts val="400"/>
              </a:spcAft>
            </a:pPr>
            <a:r>
              <a:rPr lang="en-US" sz="1200" dirty="0"/>
              <a:t>2016</a:t>
            </a:r>
          </a:p>
        </p:txBody>
      </p:sp>
      <p:sp>
        <p:nvSpPr>
          <p:cNvPr id="1138" name="TextBox 1137">
            <a:extLst>
              <a:ext uri="{FF2B5EF4-FFF2-40B4-BE49-F238E27FC236}">
                <a16:creationId xmlns:a16="http://schemas.microsoft.com/office/drawing/2014/main" id="{3AF1E197-2211-CB1B-61C9-DC3260CCFF68}"/>
              </a:ext>
            </a:extLst>
          </p:cNvPr>
          <p:cNvSpPr txBox="1"/>
          <p:nvPr/>
        </p:nvSpPr>
        <p:spPr>
          <a:xfrm>
            <a:off x="10030761" y="5494455"/>
            <a:ext cx="540000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Aft>
                <a:spcPts val="400"/>
              </a:spcAft>
            </a:pPr>
            <a:r>
              <a:rPr lang="en-US" sz="1200" dirty="0"/>
              <a:t>2017</a:t>
            </a:r>
          </a:p>
        </p:txBody>
      </p:sp>
      <p:sp>
        <p:nvSpPr>
          <p:cNvPr id="1139" name="Rectangle: Rounded Corners 1138">
            <a:extLst>
              <a:ext uri="{FF2B5EF4-FFF2-40B4-BE49-F238E27FC236}">
                <a16:creationId xmlns:a16="http://schemas.microsoft.com/office/drawing/2014/main" id="{DCEE708F-295B-5058-B687-AA0565D8C6D8}"/>
              </a:ext>
            </a:extLst>
          </p:cNvPr>
          <p:cNvSpPr/>
          <p:nvPr/>
        </p:nvSpPr>
        <p:spPr>
          <a:xfrm>
            <a:off x="12307578" y="4834708"/>
            <a:ext cx="1387452" cy="252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1200" dirty="0">
                <a:solidFill>
                  <a:schemeClr val="tx1"/>
                </a:solidFill>
              </a:rPr>
              <a:t>Server / Storage</a:t>
            </a:r>
          </a:p>
        </p:txBody>
      </p:sp>
      <p:sp>
        <p:nvSpPr>
          <p:cNvPr id="1140" name="Rectangle: Rounded Corners 1139">
            <a:extLst>
              <a:ext uri="{FF2B5EF4-FFF2-40B4-BE49-F238E27FC236}">
                <a16:creationId xmlns:a16="http://schemas.microsoft.com/office/drawing/2014/main" id="{C83C96D8-64DE-EF2B-6883-7B7FFB2C6C87}"/>
              </a:ext>
            </a:extLst>
          </p:cNvPr>
          <p:cNvSpPr/>
          <p:nvPr/>
        </p:nvSpPr>
        <p:spPr>
          <a:xfrm>
            <a:off x="12307578" y="5628178"/>
            <a:ext cx="1387452" cy="288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1200" dirty="0">
                <a:solidFill>
                  <a:schemeClr val="tx1"/>
                </a:solidFill>
              </a:rPr>
              <a:t>Software</a:t>
            </a:r>
          </a:p>
        </p:txBody>
      </p:sp>
      <p:sp>
        <p:nvSpPr>
          <p:cNvPr id="1142" name="Rectangle: Rounded Corners 1141">
            <a:extLst>
              <a:ext uri="{FF2B5EF4-FFF2-40B4-BE49-F238E27FC236}">
                <a16:creationId xmlns:a16="http://schemas.microsoft.com/office/drawing/2014/main" id="{F3C9AFB1-F3C1-12F3-4D8E-11E2AAC57727}"/>
              </a:ext>
            </a:extLst>
          </p:cNvPr>
          <p:cNvSpPr/>
          <p:nvPr/>
        </p:nvSpPr>
        <p:spPr>
          <a:xfrm>
            <a:off x="12307578" y="5117230"/>
            <a:ext cx="1387452" cy="252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1200" dirty="0">
                <a:solidFill>
                  <a:schemeClr val="tx1"/>
                </a:solidFill>
              </a:rPr>
              <a:t>Network devices</a:t>
            </a:r>
          </a:p>
        </p:txBody>
      </p:sp>
      <p:sp>
        <p:nvSpPr>
          <p:cNvPr id="1143" name="Rectangle: Rounded Corners 1142">
            <a:extLst>
              <a:ext uri="{FF2B5EF4-FFF2-40B4-BE49-F238E27FC236}">
                <a16:creationId xmlns:a16="http://schemas.microsoft.com/office/drawing/2014/main" id="{0F7022CE-6063-55AD-75BA-557AA029A5AE}"/>
              </a:ext>
            </a:extLst>
          </p:cNvPr>
          <p:cNvSpPr/>
          <p:nvPr/>
        </p:nvSpPr>
        <p:spPr>
          <a:xfrm>
            <a:off x="12307578" y="6147041"/>
            <a:ext cx="1387452" cy="252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1200" dirty="0">
                <a:solidFill>
                  <a:schemeClr val="tx1"/>
                </a:solidFill>
              </a:rPr>
              <a:t>PC / mobile</a:t>
            </a:r>
          </a:p>
        </p:txBody>
      </p:sp>
      <p:sp>
        <p:nvSpPr>
          <p:cNvPr id="1144" name="Rectangle: Rounded Corners 1143">
            <a:extLst>
              <a:ext uri="{FF2B5EF4-FFF2-40B4-BE49-F238E27FC236}">
                <a16:creationId xmlns:a16="http://schemas.microsoft.com/office/drawing/2014/main" id="{B1354B8A-85B0-EB89-3819-69E33D9A24EB}"/>
              </a:ext>
            </a:extLst>
          </p:cNvPr>
          <p:cNvSpPr/>
          <p:nvPr/>
        </p:nvSpPr>
        <p:spPr>
          <a:xfrm>
            <a:off x="12307578" y="6429563"/>
            <a:ext cx="1387452" cy="252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1200" dirty="0">
                <a:solidFill>
                  <a:schemeClr val="tx1"/>
                </a:solidFill>
              </a:rPr>
              <a:t>Printing</a:t>
            </a:r>
          </a:p>
        </p:txBody>
      </p:sp>
      <p:sp>
        <p:nvSpPr>
          <p:cNvPr id="1145" name="TextBox 1144">
            <a:extLst>
              <a:ext uri="{FF2B5EF4-FFF2-40B4-BE49-F238E27FC236}">
                <a16:creationId xmlns:a16="http://schemas.microsoft.com/office/drawing/2014/main" id="{BC002722-F1AE-9B41-8909-B5C68AC41639}"/>
              </a:ext>
            </a:extLst>
          </p:cNvPr>
          <p:cNvSpPr txBox="1"/>
          <p:nvPr/>
        </p:nvSpPr>
        <p:spPr>
          <a:xfrm>
            <a:off x="9232870" y="4324894"/>
            <a:ext cx="1012464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900" i="1" dirty="0"/>
              <a:t>HPE ES spin-off &amp; CSC Merger</a:t>
            </a:r>
          </a:p>
        </p:txBody>
      </p:sp>
    </p:spTree>
    <p:extLst>
      <p:ext uri="{BB962C8B-B14F-4D97-AF65-F5344CB8AC3E}">
        <p14:creationId xmlns:p14="http://schemas.microsoft.com/office/powerpoint/2010/main" val="718297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5F86E30A-F3C0-87E7-B245-EF8A30039721}"/>
              </a:ext>
            </a:extLst>
          </p:cNvPr>
          <p:cNvSpPr/>
          <p:nvPr/>
        </p:nvSpPr>
        <p:spPr>
          <a:xfrm>
            <a:off x="583200" y="2220498"/>
            <a:ext cx="13464000" cy="4068000"/>
          </a:xfrm>
          <a:prstGeom prst="roundRect">
            <a:avLst>
              <a:gd name="adj" fmla="val 200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8685E52-857A-10AD-42DE-E3AA558257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639764"/>
            <a:ext cx="13258800" cy="598422"/>
          </a:xfrm>
        </p:spPr>
        <p:txBody>
          <a:bodyPr/>
          <a:lstStyle/>
          <a:p>
            <a:r>
              <a:rPr lang="en-US" dirty="0"/>
              <a:t>Serving customers around the world </a:t>
            </a:r>
            <a:r>
              <a:rPr lang="en-US" dirty="0">
                <a:solidFill>
                  <a:srgbClr val="5F249F"/>
                </a:solidFill>
              </a:rPr>
              <a:t>in diverse industries </a:t>
            </a:r>
            <a:endParaRPr lang="en-US" dirty="0"/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3052538-1151-103E-6BCD-74E2ADA6B9CB}"/>
              </a:ext>
            </a:extLst>
          </p:cNvPr>
          <p:cNvGrpSpPr/>
          <p:nvPr/>
        </p:nvGrpSpPr>
        <p:grpSpPr>
          <a:xfrm>
            <a:off x="6530796" y="2317723"/>
            <a:ext cx="7384929" cy="3876978"/>
            <a:chOff x="6412909" y="1777431"/>
            <a:chExt cx="7384929" cy="3876978"/>
          </a:xfrm>
        </p:grpSpPr>
        <p:pic>
          <p:nvPicPr>
            <p:cNvPr id="3" name="Picture Placeholder 680" descr="A highway with cars on it&#10;&#10;Description automatically generated">
              <a:extLst>
                <a:ext uri="{FF2B5EF4-FFF2-40B4-BE49-F238E27FC236}">
                  <a16:creationId xmlns:a16="http://schemas.microsoft.com/office/drawing/2014/main" id="{13718B46-40FB-0C3C-B56F-ADCE0308468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22460" r="22460"/>
            <a:stretch>
              <a:fillRect/>
            </a:stretch>
          </p:blipFill>
          <p:spPr>
            <a:xfrm>
              <a:off x="6418330" y="1777577"/>
              <a:ext cx="1796937" cy="1910023"/>
            </a:xfrm>
            <a:prstGeom prst="rect">
              <a:avLst/>
            </a:prstGeom>
          </p:spPr>
        </p:pic>
        <p:pic>
          <p:nvPicPr>
            <p:cNvPr id="4" name="Picture Placeholder 682" descr="A group of robots in a factory&#10;&#10;Description automatically generated">
              <a:extLst>
                <a:ext uri="{FF2B5EF4-FFF2-40B4-BE49-F238E27FC236}">
                  <a16:creationId xmlns:a16="http://schemas.microsoft.com/office/drawing/2014/main" id="{B12473EA-4C61-E00A-81A4-8EA0CB54136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28821" r="12929"/>
            <a:stretch/>
          </p:blipFill>
          <p:spPr>
            <a:xfrm>
              <a:off x="8279367" y="1777577"/>
              <a:ext cx="1796937" cy="1910023"/>
            </a:xfrm>
            <a:prstGeom prst="rect">
              <a:avLst/>
            </a:prstGeom>
          </p:spPr>
        </p:pic>
        <p:pic>
          <p:nvPicPr>
            <p:cNvPr id="5" name="Picture Placeholder 684" descr="A person and a child looking at a tablet&#10;&#10;Description automatically generated">
              <a:extLst>
                <a:ext uri="{FF2B5EF4-FFF2-40B4-BE49-F238E27FC236}">
                  <a16:creationId xmlns:a16="http://schemas.microsoft.com/office/drawing/2014/main" id="{AC07AF3D-DB41-CEB4-570A-532C90B18C3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1704" t="311" r="15530" b="-311"/>
            <a:stretch/>
          </p:blipFill>
          <p:spPr>
            <a:xfrm>
              <a:off x="10140404" y="1777577"/>
              <a:ext cx="1796937" cy="1910023"/>
            </a:xfrm>
            <a:prstGeom prst="rect">
              <a:avLst/>
            </a:prstGeom>
          </p:spPr>
        </p:pic>
        <p:pic>
          <p:nvPicPr>
            <p:cNvPr id="6" name="Picture Placeholder 698" descr="A group of flags on poles&#10;&#10;Description automatically generated">
              <a:extLst>
                <a:ext uri="{FF2B5EF4-FFF2-40B4-BE49-F238E27FC236}">
                  <a16:creationId xmlns:a16="http://schemas.microsoft.com/office/drawing/2014/main" id="{4519E6E7-5609-39C5-80DA-DA13D1F5000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20059" t="-3" r="17211" b="3"/>
            <a:stretch/>
          </p:blipFill>
          <p:spPr>
            <a:xfrm>
              <a:off x="11996021" y="3744386"/>
              <a:ext cx="1796937" cy="1910023"/>
            </a:xfrm>
            <a:prstGeom prst="rect">
              <a:avLst/>
            </a:prstGeom>
          </p:spPr>
        </p:pic>
        <p:pic>
          <p:nvPicPr>
            <p:cNvPr id="7" name="Picture Placeholder 694" descr="A shopping cart in a store&#10;&#10;Description automatically generated">
              <a:extLst>
                <a:ext uri="{FF2B5EF4-FFF2-40B4-BE49-F238E27FC236}">
                  <a16:creationId xmlns:a16="http://schemas.microsoft.com/office/drawing/2014/main" id="{EEF2D8BB-0F4F-16B0-6446-74DF6CC06DF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rcRect l="19969" r="19969"/>
            <a:stretch>
              <a:fillRect/>
            </a:stretch>
          </p:blipFill>
          <p:spPr>
            <a:xfrm>
              <a:off x="10134735" y="3744632"/>
              <a:ext cx="1796905" cy="190965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</p:pic>
        <p:pic>
          <p:nvPicPr>
            <p:cNvPr id="8" name="Picture Placeholder 696" descr="A person holding a phone&#10;&#10;Description automatically generated">
              <a:extLst>
                <a:ext uri="{FF2B5EF4-FFF2-40B4-BE49-F238E27FC236}">
                  <a16:creationId xmlns:a16="http://schemas.microsoft.com/office/drawing/2014/main" id="{80A0A457-3A98-FEB5-F311-B2AC2384145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23529" r="23529"/>
            <a:stretch/>
          </p:blipFill>
          <p:spPr>
            <a:xfrm>
              <a:off x="12000933" y="1777431"/>
              <a:ext cx="1796905" cy="1909652"/>
            </a:xfrm>
            <a:prstGeom prst="rect">
              <a:avLst/>
            </a:prstGeom>
          </p:spPr>
        </p:pic>
        <p:pic>
          <p:nvPicPr>
            <p:cNvPr id="9" name="Picture Placeholder 688" descr="A plane flying in the sky&#10;&#10;Description automatically generated">
              <a:extLst>
                <a:ext uri="{FF2B5EF4-FFF2-40B4-BE49-F238E27FC236}">
                  <a16:creationId xmlns:a16="http://schemas.microsoft.com/office/drawing/2014/main" id="{0A7519EC-E81C-DADD-17D1-0CA90090117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42354" t="2365" r="2135" b="2359"/>
            <a:stretch/>
          </p:blipFill>
          <p:spPr>
            <a:xfrm>
              <a:off x="8274409" y="3744632"/>
              <a:ext cx="1796905" cy="1909652"/>
            </a:xfrm>
            <a:prstGeom prst="rect">
              <a:avLst/>
            </a:prstGeom>
          </p:spPr>
        </p:pic>
        <p:pic>
          <p:nvPicPr>
            <p:cNvPr id="10" name="Picture Placeholder 686" descr="A group of people in military uniforms standing next to a plane&#10;&#10;Description automatically generated">
              <a:extLst>
                <a:ext uri="{FF2B5EF4-FFF2-40B4-BE49-F238E27FC236}">
                  <a16:creationId xmlns:a16="http://schemas.microsoft.com/office/drawing/2014/main" id="{23A1607E-CF4B-C944-EBE8-E0DCB46277A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17094" r="29964"/>
            <a:stretch/>
          </p:blipFill>
          <p:spPr>
            <a:xfrm>
              <a:off x="6412909" y="3744632"/>
              <a:ext cx="1796905" cy="190965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</p:pic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7CB6371B-B43F-2EE7-3A75-83D01C4163DA}"/>
              </a:ext>
            </a:extLst>
          </p:cNvPr>
          <p:cNvGrpSpPr/>
          <p:nvPr/>
        </p:nvGrpSpPr>
        <p:grpSpPr>
          <a:xfrm>
            <a:off x="714675" y="2317723"/>
            <a:ext cx="5688000" cy="3876853"/>
            <a:chOff x="685800" y="2127223"/>
            <a:chExt cx="5688000" cy="3876853"/>
          </a:xfrm>
          <a:solidFill>
            <a:schemeClr val="accent1"/>
          </a:solidFill>
        </p:grpSpPr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9E0BBB89-4868-293C-0E3A-EF09600F4E6B}"/>
                </a:ext>
              </a:extLst>
            </p:cNvPr>
            <p:cNvSpPr/>
            <p:nvPr/>
          </p:nvSpPr>
          <p:spPr>
            <a:xfrm>
              <a:off x="685800" y="2127223"/>
              <a:ext cx="1817973" cy="468000"/>
            </a:xfrm>
            <a:prstGeom prst="roundRect">
              <a:avLst>
                <a:gd name="adj" fmla="val 9620"/>
              </a:avLst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Insurance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DDA7CA73-D7E4-61F9-C663-FCBF207B580B}"/>
                </a:ext>
              </a:extLst>
            </p:cNvPr>
            <p:cNvSpPr/>
            <p:nvPr/>
          </p:nvSpPr>
          <p:spPr>
            <a:xfrm>
              <a:off x="685800" y="3831649"/>
              <a:ext cx="1817973" cy="468000"/>
            </a:xfrm>
            <a:prstGeom prst="roundRect">
              <a:avLst>
                <a:gd name="adj" fmla="val 9620"/>
              </a:avLst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Banking</a:t>
              </a:r>
            </a:p>
          </p:txBody>
        </p: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70B2DBBA-38DF-2814-9D8E-546C49CBC8FA}"/>
                </a:ext>
              </a:extLst>
            </p:cNvPr>
            <p:cNvSpPr/>
            <p:nvPr/>
          </p:nvSpPr>
          <p:spPr>
            <a:xfrm>
              <a:off x="685800" y="4399791"/>
              <a:ext cx="1817973" cy="468000"/>
            </a:xfrm>
            <a:prstGeom prst="roundRect">
              <a:avLst>
                <a:gd name="adj" fmla="val 9620"/>
              </a:avLst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Defense</a:t>
              </a:r>
            </a:p>
          </p:txBody>
        </p: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D8DFA668-6704-A087-B234-9803514FFD3A}"/>
                </a:ext>
              </a:extLst>
            </p:cNvPr>
            <p:cNvSpPr/>
            <p:nvPr/>
          </p:nvSpPr>
          <p:spPr>
            <a:xfrm>
              <a:off x="685800" y="2695365"/>
              <a:ext cx="1817973" cy="468000"/>
            </a:xfrm>
            <a:prstGeom prst="roundRect">
              <a:avLst>
                <a:gd name="adj" fmla="val 9620"/>
              </a:avLst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Consumer</a:t>
              </a:r>
            </a:p>
          </p:txBody>
        </p: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02365080-77F1-9E19-573D-C8C5AEAC3482}"/>
                </a:ext>
              </a:extLst>
            </p:cNvPr>
            <p:cNvSpPr/>
            <p:nvPr/>
          </p:nvSpPr>
          <p:spPr>
            <a:xfrm>
              <a:off x="685800" y="3263507"/>
              <a:ext cx="1817973" cy="468000"/>
            </a:xfrm>
            <a:prstGeom prst="roundRect">
              <a:avLst>
                <a:gd name="adj" fmla="val 9620"/>
              </a:avLst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Energy</a:t>
              </a:r>
            </a:p>
          </p:txBody>
        </p:sp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ADBAD732-4A5E-BC94-7B93-34FFF71292C7}"/>
                </a:ext>
              </a:extLst>
            </p:cNvPr>
            <p:cNvSpPr/>
            <p:nvPr/>
          </p:nvSpPr>
          <p:spPr>
            <a:xfrm>
              <a:off x="685800" y="4967933"/>
              <a:ext cx="1817973" cy="468000"/>
            </a:xfrm>
            <a:prstGeom prst="roundRect">
              <a:avLst>
                <a:gd name="adj" fmla="val 9620"/>
              </a:avLst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Manufacturing</a:t>
              </a:r>
            </a:p>
          </p:txBody>
        </p:sp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42841691-A8C3-5992-8C0B-3A6126472D2D}"/>
                </a:ext>
              </a:extLst>
            </p:cNvPr>
            <p:cNvSpPr/>
            <p:nvPr/>
          </p:nvSpPr>
          <p:spPr>
            <a:xfrm>
              <a:off x="685800" y="5536076"/>
              <a:ext cx="1817973" cy="468000"/>
            </a:xfrm>
            <a:prstGeom prst="roundRect">
              <a:avLst>
                <a:gd name="adj" fmla="val 9620"/>
              </a:avLst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Technology</a:t>
              </a: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D0343DAB-FB85-53DD-92C7-7215C1F326BA}"/>
                </a:ext>
              </a:extLst>
            </p:cNvPr>
            <p:cNvSpPr/>
            <p:nvPr/>
          </p:nvSpPr>
          <p:spPr>
            <a:xfrm>
              <a:off x="2620814" y="2127223"/>
              <a:ext cx="1817973" cy="468000"/>
            </a:xfrm>
            <a:prstGeom prst="roundRect">
              <a:avLst>
                <a:gd name="adj" fmla="val 9620"/>
              </a:avLst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Healthcare</a:t>
              </a:r>
            </a:p>
          </p:txBody>
        </p:sp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0D5F41BD-FDB5-25B2-ED01-E54097F1ED3A}"/>
                </a:ext>
              </a:extLst>
            </p:cNvPr>
            <p:cNvSpPr/>
            <p:nvPr/>
          </p:nvSpPr>
          <p:spPr>
            <a:xfrm>
              <a:off x="2620814" y="3241368"/>
              <a:ext cx="1817973" cy="468000"/>
            </a:xfrm>
            <a:prstGeom prst="roundRect">
              <a:avLst>
                <a:gd name="adj" fmla="val 9620"/>
              </a:avLst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Transportation</a:t>
              </a:r>
            </a:p>
          </p:txBody>
        </p:sp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A599DA15-3131-1321-93F9-B132037DCB68}"/>
                </a:ext>
              </a:extLst>
            </p:cNvPr>
            <p:cNvSpPr/>
            <p:nvPr/>
          </p:nvSpPr>
          <p:spPr>
            <a:xfrm>
              <a:off x="2620814" y="3818186"/>
              <a:ext cx="1817973" cy="468000"/>
            </a:xfrm>
            <a:prstGeom prst="roundRect">
              <a:avLst>
                <a:gd name="adj" fmla="val 9620"/>
              </a:avLst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Capital Markets</a:t>
              </a:r>
            </a:p>
          </p:txBody>
        </p: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67F07DC5-5DAD-DA41-64FB-DDE75B9468AB}"/>
                </a:ext>
              </a:extLst>
            </p:cNvPr>
            <p:cNvSpPr/>
            <p:nvPr/>
          </p:nvSpPr>
          <p:spPr>
            <a:xfrm>
              <a:off x="2620814" y="2664550"/>
              <a:ext cx="1817973" cy="468000"/>
            </a:xfrm>
            <a:prstGeom prst="roundRect">
              <a:avLst>
                <a:gd name="adj" fmla="val 9620"/>
              </a:avLst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Retail</a:t>
              </a:r>
            </a:p>
          </p:txBody>
        </p:sp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E9E8367F-C91E-60DF-CD8B-CF1D3D511C88}"/>
                </a:ext>
              </a:extLst>
            </p:cNvPr>
            <p:cNvSpPr/>
            <p:nvPr/>
          </p:nvSpPr>
          <p:spPr>
            <a:xfrm>
              <a:off x="2620814" y="4395004"/>
              <a:ext cx="1817973" cy="468000"/>
            </a:xfrm>
            <a:prstGeom prst="roundRect">
              <a:avLst>
                <a:gd name="adj" fmla="val 9620"/>
              </a:avLst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Utilities</a:t>
              </a:r>
            </a:p>
          </p:txBody>
        </p: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572E98EB-E0EC-5CAB-9A75-AE86D03775A9}"/>
                </a:ext>
              </a:extLst>
            </p:cNvPr>
            <p:cNvSpPr/>
            <p:nvPr/>
          </p:nvSpPr>
          <p:spPr>
            <a:xfrm>
              <a:off x="2620814" y="4971822"/>
              <a:ext cx="1817973" cy="468000"/>
            </a:xfrm>
            <a:prstGeom prst="roundRect">
              <a:avLst>
                <a:gd name="adj" fmla="val 9620"/>
              </a:avLst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Automotive</a:t>
              </a:r>
            </a:p>
          </p:txBody>
        </p:sp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id="{B592762B-849C-65ED-C0DE-15D283318D6D}"/>
                </a:ext>
              </a:extLst>
            </p:cNvPr>
            <p:cNvSpPr/>
            <p:nvPr/>
          </p:nvSpPr>
          <p:spPr>
            <a:xfrm>
              <a:off x="2620814" y="5536076"/>
              <a:ext cx="1817973" cy="468000"/>
            </a:xfrm>
            <a:prstGeom prst="roundRect">
              <a:avLst>
                <a:gd name="adj" fmla="val 9620"/>
              </a:avLst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Media</a:t>
              </a:r>
            </a:p>
          </p:txBody>
        </p: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136E4A14-C343-5BB9-7BB4-DAE1047B8B28}"/>
                </a:ext>
              </a:extLst>
            </p:cNvPr>
            <p:cNvSpPr/>
            <p:nvPr/>
          </p:nvSpPr>
          <p:spPr>
            <a:xfrm>
              <a:off x="4555827" y="2127223"/>
              <a:ext cx="1817973" cy="468000"/>
            </a:xfrm>
            <a:prstGeom prst="roundRect">
              <a:avLst>
                <a:gd name="adj" fmla="val 9620"/>
              </a:avLst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Life Sciences</a:t>
              </a:r>
              <a:endParaRPr lang="en-US" sz="1200" b="1" strike="sngStrike" dirty="0">
                <a:solidFill>
                  <a:schemeClr val="bg1"/>
                </a:solidFill>
                <a:cs typeface="Arial"/>
              </a:endParaRPr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C14AFC31-B3D4-DD82-9AE2-1774E5CED3ED}"/>
                </a:ext>
              </a:extLst>
            </p:cNvPr>
            <p:cNvSpPr/>
            <p:nvPr/>
          </p:nvSpPr>
          <p:spPr>
            <a:xfrm>
              <a:off x="4555827" y="2664550"/>
              <a:ext cx="1817973" cy="468000"/>
            </a:xfrm>
            <a:prstGeom prst="roundRect">
              <a:avLst>
                <a:gd name="adj" fmla="val 9620"/>
              </a:avLst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Travel</a:t>
              </a:r>
            </a:p>
          </p:txBody>
        </p:sp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55F9E924-7F81-1194-E0D3-9DF5628E4361}"/>
                </a:ext>
              </a:extLst>
            </p:cNvPr>
            <p:cNvSpPr/>
            <p:nvPr/>
          </p:nvSpPr>
          <p:spPr>
            <a:xfrm>
              <a:off x="4555827" y="3241368"/>
              <a:ext cx="1817973" cy="468000"/>
            </a:xfrm>
            <a:prstGeom prst="roundRect">
              <a:avLst>
                <a:gd name="adj" fmla="val 9620"/>
              </a:avLst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Hospitality</a:t>
              </a:r>
            </a:p>
          </p:txBody>
        </p:sp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4C89468D-9211-BD74-7832-9134B53B52F8}"/>
                </a:ext>
              </a:extLst>
            </p:cNvPr>
            <p:cNvSpPr/>
            <p:nvPr/>
          </p:nvSpPr>
          <p:spPr>
            <a:xfrm>
              <a:off x="4555827" y="3818186"/>
              <a:ext cx="1817973" cy="468000"/>
            </a:xfrm>
            <a:prstGeom prst="roundRect">
              <a:avLst>
                <a:gd name="adj" fmla="val 9620"/>
              </a:avLst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Aerospace</a:t>
              </a:r>
            </a:p>
          </p:txBody>
        </p:sp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EF775C9C-510D-D908-0558-CCC1C0840C51}"/>
                </a:ext>
              </a:extLst>
            </p:cNvPr>
            <p:cNvSpPr/>
            <p:nvPr/>
          </p:nvSpPr>
          <p:spPr>
            <a:xfrm>
              <a:off x="4555827" y="4395004"/>
              <a:ext cx="1817973" cy="468000"/>
            </a:xfrm>
            <a:prstGeom prst="roundRect">
              <a:avLst>
                <a:gd name="adj" fmla="val 9620"/>
              </a:avLst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Oil &amp; Gas</a:t>
              </a:r>
            </a:p>
          </p:txBody>
        </p: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E9DEF4EE-409C-EDA6-971A-8C422A781ADE}"/>
                </a:ext>
              </a:extLst>
            </p:cNvPr>
            <p:cNvSpPr/>
            <p:nvPr/>
          </p:nvSpPr>
          <p:spPr>
            <a:xfrm>
              <a:off x="4555827" y="4971822"/>
              <a:ext cx="1817973" cy="468000"/>
            </a:xfrm>
            <a:prstGeom prst="roundRect">
              <a:avLst>
                <a:gd name="adj" fmla="val 9620"/>
              </a:avLst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Public Sector</a:t>
              </a:r>
            </a:p>
          </p:txBody>
        </p:sp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946CE281-9393-7EB9-B871-F088EAD88B37}"/>
                </a:ext>
              </a:extLst>
            </p:cNvPr>
            <p:cNvSpPr/>
            <p:nvPr/>
          </p:nvSpPr>
          <p:spPr>
            <a:xfrm>
              <a:off x="4555827" y="5536076"/>
              <a:ext cx="1817973" cy="468000"/>
            </a:xfrm>
            <a:prstGeom prst="roundRect">
              <a:avLst>
                <a:gd name="adj" fmla="val 9620"/>
              </a:avLst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Teleco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31527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98" name="Group 597">
            <a:extLst>
              <a:ext uri="{FF2B5EF4-FFF2-40B4-BE49-F238E27FC236}">
                <a16:creationId xmlns:a16="http://schemas.microsoft.com/office/drawing/2014/main" id="{0E14E0FD-D9B2-FFF1-529E-819F12A9C603}"/>
              </a:ext>
            </a:extLst>
          </p:cNvPr>
          <p:cNvGrpSpPr/>
          <p:nvPr/>
        </p:nvGrpSpPr>
        <p:grpSpPr>
          <a:xfrm>
            <a:off x="488480" y="3685592"/>
            <a:ext cx="1620000" cy="714385"/>
            <a:chOff x="10719720" y="4092622"/>
            <a:chExt cx="1620000" cy="714385"/>
          </a:xfrm>
        </p:grpSpPr>
        <p:sp>
          <p:nvSpPr>
            <p:cNvPr id="580" name="Rectangle: Rounded Corners 579">
              <a:extLst>
                <a:ext uri="{FF2B5EF4-FFF2-40B4-BE49-F238E27FC236}">
                  <a16:creationId xmlns:a16="http://schemas.microsoft.com/office/drawing/2014/main" id="{8F2678A3-F8DD-5411-356A-9D1916231BC7}"/>
                </a:ext>
              </a:extLst>
            </p:cNvPr>
            <p:cNvSpPr/>
            <p:nvPr/>
          </p:nvSpPr>
          <p:spPr>
            <a:xfrm>
              <a:off x="10719720" y="4092622"/>
              <a:ext cx="1620000" cy="714385"/>
            </a:xfrm>
            <a:prstGeom prst="roundRect">
              <a:avLst>
                <a:gd name="adj" fmla="val 10346"/>
              </a:avLst>
            </a:prstGeom>
            <a:solidFill>
              <a:schemeClr val="bg1">
                <a:lumMod val="95000"/>
                <a:alpha val="71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05" name="Rectangle 94">
              <a:extLst>
                <a:ext uri="{FF2B5EF4-FFF2-40B4-BE49-F238E27FC236}">
                  <a16:creationId xmlns:a16="http://schemas.microsoft.com/office/drawing/2014/main" id="{9C529BEA-405F-A16B-2050-8545D40AB940}"/>
                </a:ext>
              </a:extLst>
            </p:cNvPr>
            <p:cNvSpPr/>
            <p:nvPr/>
          </p:nvSpPr>
          <p:spPr>
            <a:xfrm>
              <a:off x="11109573" y="4172815"/>
              <a:ext cx="840295" cy="553998"/>
            </a:xfrm>
            <a:prstGeom prst="rect">
              <a:avLst/>
            </a:prstGeom>
          </p:spPr>
          <p:txBody>
            <a:bodyPr wrap="none" lIns="91440" tIns="45720" rIns="91440" bIns="45720" anchor="t">
              <a:spAutoFit/>
            </a:bodyPr>
            <a:lstStyle>
              <a:defPPr>
                <a:defRPr lang="uk-UA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97236">
                <a:defRPr/>
              </a:pPr>
              <a:r>
                <a:rPr lang="en-US" sz="1800" b="1" dirty="0">
                  <a:latin typeface="Arial"/>
                  <a:cs typeface="Arial"/>
                </a:rPr>
                <a:t>62</a:t>
              </a:r>
              <a:endParaRPr lang="en-US" sz="1800" b="1" dirty="0">
                <a:latin typeface="Arial"/>
                <a:cs typeface="Arial" pitchFamily="34" charset="0"/>
              </a:endParaRPr>
            </a:p>
            <a:p>
              <a:pPr algn="ctr" defTabSz="1097236">
                <a:defRPr/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cs typeface="Arial"/>
                </a:rPr>
                <a:t>Countries</a:t>
              </a:r>
              <a:endParaRPr lang="en-US" sz="1400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599" name="Group 598">
            <a:extLst>
              <a:ext uri="{FF2B5EF4-FFF2-40B4-BE49-F238E27FC236}">
                <a16:creationId xmlns:a16="http://schemas.microsoft.com/office/drawing/2014/main" id="{DE9C4FEF-BD75-5749-29C4-652AA5D2F854}"/>
              </a:ext>
            </a:extLst>
          </p:cNvPr>
          <p:cNvGrpSpPr/>
          <p:nvPr/>
        </p:nvGrpSpPr>
        <p:grpSpPr>
          <a:xfrm>
            <a:off x="488480" y="4485634"/>
            <a:ext cx="1620000" cy="714385"/>
            <a:chOff x="12490603" y="4092622"/>
            <a:chExt cx="1620000" cy="714385"/>
          </a:xfrm>
        </p:grpSpPr>
        <p:sp>
          <p:nvSpPr>
            <p:cNvPr id="581" name="Rectangle: Rounded Corners 580">
              <a:extLst>
                <a:ext uri="{FF2B5EF4-FFF2-40B4-BE49-F238E27FC236}">
                  <a16:creationId xmlns:a16="http://schemas.microsoft.com/office/drawing/2014/main" id="{7273787C-4307-2BBA-53FA-00C33425B914}"/>
                </a:ext>
              </a:extLst>
            </p:cNvPr>
            <p:cNvSpPr/>
            <p:nvPr/>
          </p:nvSpPr>
          <p:spPr>
            <a:xfrm>
              <a:off x="12490603" y="4092622"/>
              <a:ext cx="1620000" cy="714385"/>
            </a:xfrm>
            <a:prstGeom prst="roundRect">
              <a:avLst>
                <a:gd name="adj" fmla="val 6791"/>
              </a:avLst>
            </a:prstGeom>
            <a:solidFill>
              <a:schemeClr val="bg1">
                <a:lumMod val="95000"/>
                <a:alpha val="71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6" name="Rectangle 94">
              <a:extLst>
                <a:ext uri="{FF2B5EF4-FFF2-40B4-BE49-F238E27FC236}">
                  <a16:creationId xmlns:a16="http://schemas.microsoft.com/office/drawing/2014/main" id="{F9429AC5-4F04-1151-1E46-AC6AEC62EA7E}"/>
                </a:ext>
              </a:extLst>
            </p:cNvPr>
            <p:cNvSpPr/>
            <p:nvPr/>
          </p:nvSpPr>
          <p:spPr>
            <a:xfrm>
              <a:off x="13015910" y="4172815"/>
              <a:ext cx="569387" cy="553998"/>
            </a:xfrm>
            <a:prstGeom prst="rect">
              <a:avLst/>
            </a:prstGeom>
          </p:spPr>
          <p:txBody>
            <a:bodyPr wrap="none" lIns="91440" tIns="45720" rIns="91440" bIns="45720" anchor="t">
              <a:spAutoFit/>
            </a:bodyPr>
            <a:lstStyle>
              <a:defPPr>
                <a:defRPr lang="uk-UA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97236">
                <a:defRPr/>
              </a:pPr>
              <a:r>
                <a:rPr lang="en-US" sz="1800" b="1" dirty="0">
                  <a:latin typeface="Arial"/>
                  <a:cs typeface="Arial"/>
                </a:rPr>
                <a:t>172</a:t>
              </a:r>
              <a:endParaRPr lang="pl-PL" sz="2000" b="1" dirty="0">
                <a:latin typeface="Arial"/>
                <a:cs typeface="Arial" pitchFamily="34" charset="0"/>
              </a:endParaRPr>
            </a:p>
            <a:p>
              <a:pPr algn="ctr" defTabSz="1097236">
                <a:defRPr/>
              </a:pPr>
              <a:r>
                <a:rPr lang="pl-PL" sz="120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Cities</a:t>
              </a:r>
              <a:endParaRPr lang="en-US" sz="14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grpSp>
        <p:nvGrpSpPr>
          <p:cNvPr id="638" name="Group 637">
            <a:extLst>
              <a:ext uri="{FF2B5EF4-FFF2-40B4-BE49-F238E27FC236}">
                <a16:creationId xmlns:a16="http://schemas.microsoft.com/office/drawing/2014/main" id="{EFF2BF1B-8294-6438-BE3F-898EA9997322}"/>
              </a:ext>
            </a:extLst>
          </p:cNvPr>
          <p:cNvGrpSpPr/>
          <p:nvPr/>
        </p:nvGrpSpPr>
        <p:grpSpPr>
          <a:xfrm>
            <a:off x="10689114" y="5291961"/>
            <a:ext cx="3693636" cy="690341"/>
            <a:chOff x="11081773" y="5367456"/>
            <a:chExt cx="3349860" cy="690341"/>
          </a:xfrm>
        </p:grpSpPr>
        <p:sp>
          <p:nvSpPr>
            <p:cNvPr id="603" name="Rectangle: Rounded Corners 602">
              <a:extLst>
                <a:ext uri="{FF2B5EF4-FFF2-40B4-BE49-F238E27FC236}">
                  <a16:creationId xmlns:a16="http://schemas.microsoft.com/office/drawing/2014/main" id="{8FDF52A8-E6B7-FD48-D114-92DCADAC446F}"/>
                </a:ext>
              </a:extLst>
            </p:cNvPr>
            <p:cNvSpPr/>
            <p:nvPr/>
          </p:nvSpPr>
          <p:spPr>
            <a:xfrm>
              <a:off x="11081773" y="5367456"/>
              <a:ext cx="3349860" cy="690341"/>
            </a:xfrm>
            <a:prstGeom prst="roundRect">
              <a:avLst>
                <a:gd name="adj" fmla="val 7533"/>
              </a:avLst>
            </a:prstGeom>
            <a:solidFill>
              <a:schemeClr val="bg1">
                <a:lumMod val="95000"/>
                <a:alpha val="71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602" name="Group 601">
              <a:extLst>
                <a:ext uri="{FF2B5EF4-FFF2-40B4-BE49-F238E27FC236}">
                  <a16:creationId xmlns:a16="http://schemas.microsoft.com/office/drawing/2014/main" id="{6310C6BC-498D-9BA3-FF2E-74D47EB657CE}"/>
                </a:ext>
              </a:extLst>
            </p:cNvPr>
            <p:cNvGrpSpPr/>
            <p:nvPr/>
          </p:nvGrpSpPr>
          <p:grpSpPr>
            <a:xfrm>
              <a:off x="11222479" y="5519446"/>
              <a:ext cx="1412569" cy="386360"/>
              <a:chOff x="11688489" y="6524293"/>
              <a:chExt cx="1412569" cy="386360"/>
            </a:xfrm>
          </p:grpSpPr>
          <p:sp>
            <p:nvSpPr>
              <p:cNvPr id="197" name="Oval 196">
                <a:extLst>
                  <a:ext uri="{FF2B5EF4-FFF2-40B4-BE49-F238E27FC236}">
                    <a16:creationId xmlns:a16="http://schemas.microsoft.com/office/drawing/2014/main" id="{F483A650-CA81-E13C-54FB-879D368F987B}"/>
                  </a:ext>
                </a:extLst>
              </p:cNvPr>
              <p:cNvSpPr/>
              <p:nvPr>
                <p:custDataLst>
                  <p:tags r:id="rId541"/>
                </p:custDataLst>
              </p:nvPr>
            </p:nvSpPr>
            <p:spPr>
              <a:xfrm>
                <a:off x="11688489" y="6524293"/>
                <a:ext cx="303831" cy="303831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1pPr>
                <a:lvl2pPr marL="5486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2pPr>
                <a:lvl3pPr marL="10972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3pPr>
                <a:lvl4pPr marL="16459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4pPr>
                <a:lvl5pPr marL="219456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5pPr>
                <a:lvl6pPr marL="274320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6pPr>
                <a:lvl7pPr marL="32918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7pPr>
                <a:lvl8pPr marL="38404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8pPr>
                <a:lvl9pPr marL="43891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9pPr>
              </a:lstStyle>
              <a:p>
                <a:pPr marL="0" marR="0" lvl="0" indent="0" algn="ctr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cap="none" spc="0" normalizeH="0" baseline="0" noProof="0">
                    <a:solidFill>
                      <a:srgbClr val="FFFFFF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  <a:sym typeface="Wingdings" charset="2"/>
                </a:endParaRPr>
              </a:p>
            </p:txBody>
          </p:sp>
          <p:sp>
            <p:nvSpPr>
              <p:cNvPr id="198" name="Oval 197">
                <a:extLst>
                  <a:ext uri="{FF2B5EF4-FFF2-40B4-BE49-F238E27FC236}">
                    <a16:creationId xmlns:a16="http://schemas.microsoft.com/office/drawing/2014/main" id="{1FDF78ED-B5A6-C53E-5D93-7097EEED8410}"/>
                  </a:ext>
                </a:extLst>
              </p:cNvPr>
              <p:cNvSpPr/>
              <p:nvPr>
                <p:custDataLst>
                  <p:tags r:id="rId542"/>
                </p:custDataLst>
              </p:nvPr>
            </p:nvSpPr>
            <p:spPr>
              <a:xfrm>
                <a:off x="11886517" y="6738649"/>
                <a:ext cx="172004" cy="172004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1pPr>
                <a:lvl2pPr marL="5486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2pPr>
                <a:lvl3pPr marL="10972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3pPr>
                <a:lvl4pPr marL="16459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4pPr>
                <a:lvl5pPr marL="219456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5pPr>
                <a:lvl6pPr marL="274320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6pPr>
                <a:lvl7pPr marL="32918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7pPr>
                <a:lvl8pPr marL="38404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8pPr>
                <a:lvl9pPr marL="43891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9pPr>
              </a:lstStyle>
              <a:p>
                <a:pPr marL="0" marR="0" lvl="0" indent="0" algn="ctr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cap="none" spc="0" normalizeH="0" baseline="0" noProof="0">
                    <a:solidFill>
                      <a:srgbClr val="FFFFFF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  <a:sym typeface="Wingdings" charset="2"/>
                </a:endParaRPr>
              </a:p>
            </p:txBody>
          </p:sp>
          <p:sp>
            <p:nvSpPr>
              <p:cNvPr id="199" name="pole tekstowe 287">
                <a:extLst>
                  <a:ext uri="{FF2B5EF4-FFF2-40B4-BE49-F238E27FC236}">
                    <a16:creationId xmlns:a16="http://schemas.microsoft.com/office/drawing/2014/main" id="{912481DD-CA58-598A-7336-5FC170F481A7}"/>
                  </a:ext>
                </a:extLst>
              </p:cNvPr>
              <p:cNvSpPr txBox="1"/>
              <p:nvPr>
                <p:custDataLst>
                  <p:tags r:id="rId543"/>
                </p:custDataLst>
              </p:nvPr>
            </p:nvSpPr>
            <p:spPr>
              <a:xfrm>
                <a:off x="12103990" y="6552144"/>
                <a:ext cx="921727" cy="153888"/>
              </a:xfrm>
              <a:prstGeom prst="rect">
                <a:avLst/>
              </a:prstGeom>
              <a:noFill/>
            </p:spPr>
            <p:txBody>
              <a:bodyPr wrap="none" lIns="0" tIns="0" rIns="0" bIns="0">
                <a:spAutoFit/>
              </a:bodyPr>
              <a:lstStyle>
                <a:defPPr>
                  <a:defRPr lang="en-US"/>
                </a:defPPr>
                <a:lvl1pPr marL="0" algn="l" defTabSz="1097280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</a:lstStyle>
              <a:p>
                <a:pPr marL="0" marR="0" lvl="0" indent="0" algn="l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120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rPr>
                  <a:t>DXC Headcount</a:t>
                </a:r>
                <a:endParaRPr kumimoji="0" lang="pl-PL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00" name="pole tekstowe 287">
                <a:extLst>
                  <a:ext uri="{FF2B5EF4-FFF2-40B4-BE49-F238E27FC236}">
                    <a16:creationId xmlns:a16="http://schemas.microsoft.com/office/drawing/2014/main" id="{92C932EB-3421-370C-C546-C4FD4A8CE0D8}"/>
                  </a:ext>
                </a:extLst>
              </p:cNvPr>
              <p:cNvSpPr txBox="1"/>
              <p:nvPr>
                <p:custDataLst>
                  <p:tags r:id="rId544"/>
                </p:custDataLst>
              </p:nvPr>
            </p:nvSpPr>
            <p:spPr>
              <a:xfrm>
                <a:off x="12103990" y="6749104"/>
                <a:ext cx="997068" cy="153888"/>
              </a:xfrm>
              <a:prstGeom prst="rect">
                <a:avLst/>
              </a:prstGeom>
              <a:noFill/>
            </p:spPr>
            <p:txBody>
              <a:bodyPr wrap="none" lIns="0" tIns="0" rIns="0" bIns="0">
                <a:spAutoFit/>
              </a:bodyPr>
              <a:lstStyle>
                <a:defPPr>
                  <a:defRPr lang="en-US"/>
                </a:defPPr>
              </a:lstStyle>
              <a:p>
                <a:pPr marL="0" marR="0" lvl="0" indent="0" algn="l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rPr>
                  <a:t>Luxoft Headcount</a:t>
                </a:r>
                <a:endParaRPr kumimoji="0" lang="pl-PL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379" name="TextBox 378">
              <a:extLst>
                <a:ext uri="{FF2B5EF4-FFF2-40B4-BE49-F238E27FC236}">
                  <a16:creationId xmlns:a16="http://schemas.microsoft.com/office/drawing/2014/main" id="{26638608-005F-FCEF-2933-99728549BBC4}"/>
                </a:ext>
              </a:extLst>
            </p:cNvPr>
            <p:cNvSpPr txBox="1"/>
            <p:nvPr>
              <p:custDataLst>
                <p:tags r:id="rId540"/>
              </p:custDataLst>
            </p:nvPr>
          </p:nvSpPr>
          <p:spPr>
            <a:xfrm>
              <a:off x="12800390" y="5461620"/>
              <a:ext cx="1579457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40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Headcount is provided for locations with 1,000+ employees</a:t>
              </a:r>
            </a:p>
          </p:txBody>
        </p:sp>
      </p:grpSp>
      <p:sp>
        <p:nvSpPr>
          <p:cNvPr id="401" name="Rectangle 84">
            <a:extLst>
              <a:ext uri="{FF2B5EF4-FFF2-40B4-BE49-F238E27FC236}">
                <a16:creationId xmlns:a16="http://schemas.microsoft.com/office/drawing/2014/main" id="{09C6EC75-3116-C776-C245-F8C6B4826BDA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0661650" y="6064688"/>
            <a:ext cx="3689399" cy="954107"/>
          </a:xfrm>
          <a:prstGeom prst="rect">
            <a:avLst/>
          </a:prstGeom>
          <a:solidFill>
            <a:srgbClr val="FFFFFF"/>
          </a:solidFill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</a:lstStyle>
          <a:p>
            <a:pPr marL="0" lvl="1" defTabSz="1097110">
              <a:spcBef>
                <a:spcPct val="0"/>
              </a:spcBef>
              <a:defRPr kumimoji="0" sz="2160" b="0" i="0" normalizeH="0" noProof="0">
                <a:solidFill>
                  <a:srgbClr val="000000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lang="en-US" sz="800" b="1" dirty="0">
                <a:solidFill>
                  <a:schemeClr val="tx2">
                    <a:lumMod val="50000"/>
                  </a:schemeClr>
                </a:solidFill>
                <a:latin typeface="+mj-lt"/>
                <a:cs typeface="Calibri"/>
              </a:rPr>
              <a:t>1. 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j-lt"/>
                <a:cs typeface="Calibri"/>
              </a:rPr>
              <a:t>HC and # of countries and cities are as of January 2025 </a:t>
            </a:r>
            <a:r>
              <a:rPr lang="en-US" sz="800" b="1" dirty="0">
                <a:solidFill>
                  <a:schemeClr val="tx2">
                    <a:lumMod val="50000"/>
                  </a:schemeClr>
                </a:solidFill>
                <a:latin typeface="+mj-lt"/>
                <a:cs typeface="Calibri"/>
              </a:rPr>
              <a:t>2. 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j-lt"/>
                <a:cs typeface="Calibri"/>
              </a:rPr>
              <a:t>HC numbers include onsite, offsite, virtual employees and are rounded </a:t>
            </a:r>
            <a:r>
              <a:rPr lang="en-US" sz="800" b="1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 </a:t>
            </a:r>
            <a:r>
              <a:rPr lang="en-US" sz="800" b="1" dirty="0">
                <a:solidFill>
                  <a:schemeClr val="tx2">
                    <a:lumMod val="50000"/>
                  </a:schemeClr>
                </a:solidFill>
                <a:latin typeface="+mj-lt"/>
              </a:rPr>
              <a:t>3. 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j-lt"/>
                <a:cs typeface="Calibri"/>
              </a:rPr>
              <a:t>Total countries and cities count includes unified locations of DXC and Luxoft presence </a:t>
            </a:r>
            <a:r>
              <a:rPr lang="en-US" sz="800" b="1" dirty="0">
                <a:solidFill>
                  <a:schemeClr val="tx2">
                    <a:lumMod val="50000"/>
                  </a:schemeClr>
                </a:solidFill>
                <a:latin typeface="+mj-lt"/>
                <a:cs typeface="Calibri"/>
              </a:rPr>
              <a:t>4. 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j-lt"/>
                <a:cs typeface="Calibri"/>
              </a:rPr>
              <a:t>Countries and cities count includes locations with registered LE only</a:t>
            </a:r>
            <a:r>
              <a:rPr lang="en-US" sz="800" dirty="0">
                <a:solidFill>
                  <a:schemeClr val="tx2">
                    <a:lumMod val="50000"/>
                  </a:schemeClr>
                </a:solidFill>
                <a:latin typeface="+mj-lt"/>
                <a:cs typeface="Calibri"/>
              </a:rPr>
              <a:t> </a:t>
            </a:r>
            <a:r>
              <a:rPr lang="en-US" sz="800" b="1" dirty="0">
                <a:solidFill>
                  <a:schemeClr val="tx2">
                    <a:lumMod val="50000"/>
                  </a:schemeClr>
                </a:solidFill>
                <a:latin typeface="+mj-lt"/>
                <a:cs typeface="Calibri"/>
              </a:rPr>
              <a:t>5. 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j-lt"/>
                <a:cs typeface="Calibri"/>
              </a:rPr>
              <a:t>City count is only for delivery centers-offices, excludes other DXC building type properties </a:t>
            </a:r>
            <a:r>
              <a:rPr lang="en-US" sz="800" b="1" dirty="0">
                <a:solidFill>
                  <a:schemeClr val="tx2">
                    <a:lumMod val="50000"/>
                  </a:schemeClr>
                </a:solidFill>
                <a:latin typeface="+mj-lt"/>
                <a:cs typeface="Calibri"/>
              </a:rPr>
              <a:t>6. 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j-lt"/>
                <a:cs typeface="Calibri"/>
              </a:rPr>
              <a:t>Other global locations include contractors and hired through PEO in locations with no LE presence</a:t>
            </a:r>
          </a:p>
        </p:txBody>
      </p:sp>
      <p:cxnSp>
        <p:nvCxnSpPr>
          <p:cNvPr id="414" name="Łącznik prosty 108">
            <a:extLst>
              <a:ext uri="{FF2B5EF4-FFF2-40B4-BE49-F238E27FC236}">
                <a16:creationId xmlns:a16="http://schemas.microsoft.com/office/drawing/2014/main" id="{725DC35A-25E1-C4FC-1A95-342E60CA1EBE}"/>
              </a:ext>
            </a:extLst>
          </p:cNvPr>
          <p:cNvCxnSpPr/>
          <p:nvPr/>
        </p:nvCxnSpPr>
        <p:spPr>
          <a:xfrm>
            <a:off x="7604267" y="-466677"/>
            <a:ext cx="132661" cy="0"/>
          </a:xfrm>
          <a:prstGeom prst="line">
            <a:avLst/>
          </a:prstGeom>
          <a:ln w="6350" cap="sq">
            <a:solidFill>
              <a:schemeClr val="tx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577" name="Group 576">
            <a:extLst>
              <a:ext uri="{FF2B5EF4-FFF2-40B4-BE49-F238E27FC236}">
                <a16:creationId xmlns:a16="http://schemas.microsoft.com/office/drawing/2014/main" id="{BA6D024F-C1AB-FFBB-D488-26DD13ED8D88}"/>
              </a:ext>
            </a:extLst>
          </p:cNvPr>
          <p:cNvGrpSpPr/>
          <p:nvPr/>
        </p:nvGrpSpPr>
        <p:grpSpPr>
          <a:xfrm>
            <a:off x="239495" y="1383429"/>
            <a:ext cx="11707905" cy="6602987"/>
            <a:chOff x="923586" y="1102903"/>
            <a:chExt cx="12491294" cy="7044800"/>
          </a:xfrm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7D9C0BDF-2805-6190-DFF9-1DCAD366D40D}"/>
                </a:ext>
              </a:extLst>
            </p:cNvPr>
            <p:cNvSpPr/>
            <p:nvPr>
              <p:custDataLst>
                <p:tags r:id="rId149"/>
              </p:custDataLst>
            </p:nvPr>
          </p:nvSpPr>
          <p:spPr>
            <a:xfrm>
              <a:off x="3609193" y="5080925"/>
              <a:ext cx="79226" cy="50740"/>
            </a:xfrm>
            <a:custGeom>
              <a:avLst/>
              <a:gdLst>
                <a:gd name="connsiteX0" fmla="*/ 91078 w 92511"/>
                <a:gd name="connsiteY0" fmla="*/ 22838 h 59248"/>
                <a:gd name="connsiteX1" fmla="*/ 47333 w 92511"/>
                <a:gd name="connsiteY1" fmla="*/ 9891 h 59248"/>
                <a:gd name="connsiteX2" fmla="*/ 29934 w 92511"/>
                <a:gd name="connsiteY2" fmla="*/ -4 h 59248"/>
                <a:gd name="connsiteX3" fmla="*/ 28449 w 92511"/>
                <a:gd name="connsiteY3" fmla="*/ 986 h 59248"/>
                <a:gd name="connsiteX4" fmla="*/ 1 w 92511"/>
                <a:gd name="connsiteY4" fmla="*/ 28486 h 59248"/>
                <a:gd name="connsiteX5" fmla="*/ 77802 w 92511"/>
                <a:gd name="connsiteY5" fmla="*/ 59244 h 59248"/>
                <a:gd name="connsiteX6" fmla="*/ 90708 w 92511"/>
                <a:gd name="connsiteY6" fmla="*/ 53059 h 59248"/>
                <a:gd name="connsiteX7" fmla="*/ 91078 w 92511"/>
                <a:gd name="connsiteY7" fmla="*/ 22838 h 59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511" h="59248">
                  <a:moveTo>
                    <a:pt x="91078" y="22838"/>
                  </a:moveTo>
                  <a:cubicBezTo>
                    <a:pt x="84234" y="11911"/>
                    <a:pt x="66340" y="24775"/>
                    <a:pt x="47333" y="9891"/>
                  </a:cubicBezTo>
                  <a:cubicBezTo>
                    <a:pt x="41981" y="5851"/>
                    <a:pt x="36135" y="2552"/>
                    <a:pt x="29934" y="-4"/>
                  </a:cubicBezTo>
                  <a:cubicBezTo>
                    <a:pt x="29480" y="367"/>
                    <a:pt x="28981" y="697"/>
                    <a:pt x="28449" y="986"/>
                  </a:cubicBezTo>
                  <a:cubicBezTo>
                    <a:pt x="24326" y="2346"/>
                    <a:pt x="11957" y="15251"/>
                    <a:pt x="1" y="28486"/>
                  </a:cubicBezTo>
                  <a:cubicBezTo>
                    <a:pt x="13524" y="40855"/>
                    <a:pt x="63990" y="59244"/>
                    <a:pt x="77802" y="59244"/>
                  </a:cubicBezTo>
                  <a:cubicBezTo>
                    <a:pt x="82791" y="59121"/>
                    <a:pt x="87491" y="56894"/>
                    <a:pt x="90708" y="53059"/>
                  </a:cubicBezTo>
                  <a:cubicBezTo>
                    <a:pt x="92645" y="38629"/>
                    <a:pt x="93387" y="26507"/>
                    <a:pt x="91078" y="2283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C82E3FFC-25E1-D30D-0221-FAED6329CA99}"/>
                </a:ext>
              </a:extLst>
            </p:cNvPr>
            <p:cNvSpPr/>
            <p:nvPr>
              <p:custDataLst>
                <p:tags r:id="rId150"/>
              </p:custDataLst>
            </p:nvPr>
          </p:nvSpPr>
          <p:spPr>
            <a:xfrm>
              <a:off x="3634832" y="5014718"/>
              <a:ext cx="208115" cy="126797"/>
            </a:xfrm>
            <a:custGeom>
              <a:avLst/>
              <a:gdLst>
                <a:gd name="connsiteX0" fmla="*/ 205040 w 243012"/>
                <a:gd name="connsiteY0" fmla="*/ 16323 h 148058"/>
                <a:gd name="connsiteX1" fmla="*/ 183435 w 243012"/>
                <a:gd name="connsiteY1" fmla="*/ 16323 h 148058"/>
                <a:gd name="connsiteX2" fmla="*/ 172179 w 243012"/>
                <a:gd name="connsiteY2" fmla="*/ 12200 h 148058"/>
                <a:gd name="connsiteX3" fmla="*/ 167396 w 243012"/>
                <a:gd name="connsiteY3" fmla="*/ 10468 h 148058"/>
                <a:gd name="connsiteX4" fmla="*/ 149791 w 243012"/>
                <a:gd name="connsiteY4" fmla="*/ -4 h 148058"/>
                <a:gd name="connsiteX5" fmla="*/ 115363 w 243012"/>
                <a:gd name="connsiteY5" fmla="*/ 10221 h 148058"/>
                <a:gd name="connsiteX6" fmla="*/ 40736 w 243012"/>
                <a:gd name="connsiteY6" fmla="*/ 15375 h 148058"/>
                <a:gd name="connsiteX7" fmla="*/ 39870 w 243012"/>
                <a:gd name="connsiteY7" fmla="*/ 15829 h 148058"/>
                <a:gd name="connsiteX8" fmla="*/ 18266 w 243012"/>
                <a:gd name="connsiteY8" fmla="*/ 41721 h 148058"/>
                <a:gd name="connsiteX9" fmla="*/ 1 w 243012"/>
                <a:gd name="connsiteY9" fmla="*/ 77509 h 148058"/>
                <a:gd name="connsiteX10" fmla="*/ 17400 w 243012"/>
                <a:gd name="connsiteY10" fmla="*/ 87405 h 148058"/>
                <a:gd name="connsiteX11" fmla="*/ 61145 w 243012"/>
                <a:gd name="connsiteY11" fmla="*/ 100351 h 148058"/>
                <a:gd name="connsiteX12" fmla="*/ 60774 w 243012"/>
                <a:gd name="connsiteY12" fmla="*/ 130573 h 148058"/>
                <a:gd name="connsiteX13" fmla="*/ 72731 w 243012"/>
                <a:gd name="connsiteY13" fmla="*/ 130573 h 148058"/>
                <a:gd name="connsiteX14" fmla="*/ 76318 w 243012"/>
                <a:gd name="connsiteY14" fmla="*/ 148055 h 148058"/>
                <a:gd name="connsiteX15" fmla="*/ 91161 w 243012"/>
                <a:gd name="connsiteY15" fmla="*/ 143931 h 148058"/>
                <a:gd name="connsiteX16" fmla="*/ 103159 w 243012"/>
                <a:gd name="connsiteY16" fmla="*/ 131026 h 148058"/>
                <a:gd name="connsiteX17" fmla="*/ 116023 w 243012"/>
                <a:gd name="connsiteY17" fmla="*/ 102165 h 148058"/>
                <a:gd name="connsiteX18" fmla="*/ 159769 w 243012"/>
                <a:gd name="connsiteY18" fmla="*/ 80313 h 148058"/>
                <a:gd name="connsiteX19" fmla="*/ 198360 w 243012"/>
                <a:gd name="connsiteY19" fmla="*/ 70418 h 148058"/>
                <a:gd name="connsiteX20" fmla="*/ 233365 w 243012"/>
                <a:gd name="connsiteY20" fmla="*/ 50462 h 148058"/>
                <a:gd name="connsiteX21" fmla="*/ 243013 w 243012"/>
                <a:gd name="connsiteY21" fmla="*/ 39247 h 148058"/>
                <a:gd name="connsiteX22" fmla="*/ 205040 w 243012"/>
                <a:gd name="connsiteY22" fmla="*/ 16323 h 148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43012" h="148058">
                  <a:moveTo>
                    <a:pt x="205040" y="16323"/>
                  </a:moveTo>
                  <a:cubicBezTo>
                    <a:pt x="197956" y="18179"/>
                    <a:pt x="190518" y="18179"/>
                    <a:pt x="183435" y="16323"/>
                  </a:cubicBezTo>
                  <a:cubicBezTo>
                    <a:pt x="179588" y="15210"/>
                    <a:pt x="175828" y="13850"/>
                    <a:pt x="172179" y="12200"/>
                  </a:cubicBezTo>
                  <a:cubicBezTo>
                    <a:pt x="170616" y="11541"/>
                    <a:pt x="169020" y="10963"/>
                    <a:pt x="167396" y="10468"/>
                  </a:cubicBezTo>
                  <a:cubicBezTo>
                    <a:pt x="160750" y="8489"/>
                    <a:pt x="154701" y="4902"/>
                    <a:pt x="149791" y="-4"/>
                  </a:cubicBezTo>
                  <a:cubicBezTo>
                    <a:pt x="137929" y="1934"/>
                    <a:pt x="126359" y="5356"/>
                    <a:pt x="115363" y="10221"/>
                  </a:cubicBezTo>
                  <a:cubicBezTo>
                    <a:pt x="92274" y="20488"/>
                    <a:pt x="65639" y="-1117"/>
                    <a:pt x="40736" y="15375"/>
                  </a:cubicBezTo>
                  <a:lnTo>
                    <a:pt x="39870" y="15829"/>
                  </a:lnTo>
                  <a:cubicBezTo>
                    <a:pt x="33599" y="25188"/>
                    <a:pt x="26359" y="33888"/>
                    <a:pt x="18266" y="41721"/>
                  </a:cubicBezTo>
                  <a:cubicBezTo>
                    <a:pt x="1526" y="57430"/>
                    <a:pt x="6144" y="73015"/>
                    <a:pt x="1" y="77509"/>
                  </a:cubicBezTo>
                  <a:cubicBezTo>
                    <a:pt x="6201" y="80066"/>
                    <a:pt x="12048" y="83364"/>
                    <a:pt x="17400" y="87405"/>
                  </a:cubicBezTo>
                  <a:cubicBezTo>
                    <a:pt x="36283" y="102289"/>
                    <a:pt x="54507" y="89425"/>
                    <a:pt x="61145" y="100351"/>
                  </a:cubicBezTo>
                  <a:cubicBezTo>
                    <a:pt x="63454" y="104021"/>
                    <a:pt x="62712" y="116142"/>
                    <a:pt x="60774" y="130573"/>
                  </a:cubicBezTo>
                  <a:cubicBezTo>
                    <a:pt x="64237" y="127315"/>
                    <a:pt x="66917" y="125007"/>
                    <a:pt x="72731" y="130573"/>
                  </a:cubicBezTo>
                  <a:cubicBezTo>
                    <a:pt x="78544" y="136139"/>
                    <a:pt x="76854" y="141870"/>
                    <a:pt x="76318" y="148055"/>
                  </a:cubicBezTo>
                  <a:lnTo>
                    <a:pt x="91161" y="143931"/>
                  </a:lnTo>
                  <a:cubicBezTo>
                    <a:pt x="91161" y="143931"/>
                    <a:pt x="101469" y="135026"/>
                    <a:pt x="103159" y="131026"/>
                  </a:cubicBezTo>
                  <a:cubicBezTo>
                    <a:pt x="104850" y="127027"/>
                    <a:pt x="92893" y="104227"/>
                    <a:pt x="116023" y="102165"/>
                  </a:cubicBezTo>
                  <a:cubicBezTo>
                    <a:pt x="139153" y="100103"/>
                    <a:pt x="156346" y="97218"/>
                    <a:pt x="159769" y="80313"/>
                  </a:cubicBezTo>
                  <a:cubicBezTo>
                    <a:pt x="163190" y="63408"/>
                    <a:pt x="190650" y="71407"/>
                    <a:pt x="198360" y="70418"/>
                  </a:cubicBezTo>
                  <a:cubicBezTo>
                    <a:pt x="203473" y="69758"/>
                    <a:pt x="217656" y="55575"/>
                    <a:pt x="233365" y="50462"/>
                  </a:cubicBezTo>
                  <a:cubicBezTo>
                    <a:pt x="235859" y="46174"/>
                    <a:pt x="239129" y="42340"/>
                    <a:pt x="243013" y="39247"/>
                  </a:cubicBezTo>
                  <a:cubicBezTo>
                    <a:pt x="236993" y="28775"/>
                    <a:pt x="219511" y="29146"/>
                    <a:pt x="205040" y="1632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EAA23001-E7AB-B7D8-20F9-34F69101911C}"/>
                </a:ext>
              </a:extLst>
            </p:cNvPr>
            <p:cNvSpPr/>
            <p:nvPr>
              <p:custDataLst>
                <p:tags r:id="rId151"/>
              </p:custDataLst>
            </p:nvPr>
          </p:nvSpPr>
          <p:spPr>
            <a:xfrm>
              <a:off x="3522545" y="4940534"/>
              <a:ext cx="146429" cy="164790"/>
            </a:xfrm>
            <a:custGeom>
              <a:avLst/>
              <a:gdLst>
                <a:gd name="connsiteX0" fmla="*/ 149379 w 170982"/>
                <a:gd name="connsiteY0" fmla="*/ 128140 h 192422"/>
                <a:gd name="connsiteX1" fmla="*/ 170983 w 170982"/>
                <a:gd name="connsiteY1" fmla="*/ 102247 h 192422"/>
                <a:gd name="connsiteX2" fmla="*/ 154862 w 170982"/>
                <a:gd name="connsiteY2" fmla="*/ 91280 h 192422"/>
                <a:gd name="connsiteX3" fmla="*/ 134783 w 170982"/>
                <a:gd name="connsiteY3" fmla="*/ 94372 h 192422"/>
                <a:gd name="connsiteX4" fmla="*/ 136844 w 170982"/>
                <a:gd name="connsiteY4" fmla="*/ 655 h 192422"/>
                <a:gd name="connsiteX5" fmla="*/ 69639 w 170982"/>
                <a:gd name="connsiteY5" fmla="*/ -4 h 192422"/>
                <a:gd name="connsiteX6" fmla="*/ 56775 w 170982"/>
                <a:gd name="connsiteY6" fmla="*/ 34794 h 192422"/>
                <a:gd name="connsiteX7" fmla="*/ 85925 w 170982"/>
                <a:gd name="connsiteY7" fmla="*/ 79446 h 192422"/>
                <a:gd name="connsiteX8" fmla="*/ 32737 w 170982"/>
                <a:gd name="connsiteY8" fmla="*/ 86415 h 192422"/>
                <a:gd name="connsiteX9" fmla="*/ 1 w 170982"/>
                <a:gd name="connsiteY9" fmla="*/ 136510 h 192422"/>
                <a:gd name="connsiteX10" fmla="*/ 43911 w 170982"/>
                <a:gd name="connsiteY10" fmla="*/ 180008 h 192422"/>
                <a:gd name="connsiteX11" fmla="*/ 99902 w 170982"/>
                <a:gd name="connsiteY11" fmla="*/ 191305 h 192422"/>
                <a:gd name="connsiteX12" fmla="*/ 101180 w 170982"/>
                <a:gd name="connsiteY12" fmla="*/ 192418 h 192422"/>
                <a:gd name="connsiteX13" fmla="*/ 129629 w 170982"/>
                <a:gd name="connsiteY13" fmla="*/ 164918 h 192422"/>
                <a:gd name="connsiteX14" fmla="*/ 149379 w 170982"/>
                <a:gd name="connsiteY14" fmla="*/ 128140 h 192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0982" h="192422">
                  <a:moveTo>
                    <a:pt x="149379" y="128140"/>
                  </a:moveTo>
                  <a:cubicBezTo>
                    <a:pt x="157472" y="120306"/>
                    <a:pt x="164712" y="111606"/>
                    <a:pt x="170983" y="102247"/>
                  </a:cubicBezTo>
                  <a:cubicBezTo>
                    <a:pt x="157047" y="110988"/>
                    <a:pt x="152842" y="102659"/>
                    <a:pt x="154862" y="91280"/>
                  </a:cubicBezTo>
                  <a:lnTo>
                    <a:pt x="134783" y="94372"/>
                  </a:lnTo>
                  <a:lnTo>
                    <a:pt x="136844" y="655"/>
                  </a:lnTo>
                  <a:cubicBezTo>
                    <a:pt x="120682" y="1439"/>
                    <a:pt x="75411" y="-4"/>
                    <a:pt x="69639" y="-4"/>
                  </a:cubicBezTo>
                  <a:cubicBezTo>
                    <a:pt x="62753" y="-4"/>
                    <a:pt x="61063" y="31784"/>
                    <a:pt x="56775" y="34794"/>
                  </a:cubicBezTo>
                  <a:cubicBezTo>
                    <a:pt x="52487" y="37804"/>
                    <a:pt x="90213" y="66583"/>
                    <a:pt x="85925" y="79446"/>
                  </a:cubicBezTo>
                  <a:cubicBezTo>
                    <a:pt x="81637" y="92310"/>
                    <a:pt x="37026" y="85425"/>
                    <a:pt x="32737" y="86415"/>
                  </a:cubicBezTo>
                  <a:cubicBezTo>
                    <a:pt x="30759" y="86909"/>
                    <a:pt x="15668" y="110452"/>
                    <a:pt x="1" y="136510"/>
                  </a:cubicBezTo>
                  <a:cubicBezTo>
                    <a:pt x="17689" y="154733"/>
                    <a:pt x="35376" y="173617"/>
                    <a:pt x="43911" y="180008"/>
                  </a:cubicBezTo>
                  <a:cubicBezTo>
                    <a:pt x="60815" y="192377"/>
                    <a:pt x="88357" y="178936"/>
                    <a:pt x="99902" y="191305"/>
                  </a:cubicBezTo>
                  <a:cubicBezTo>
                    <a:pt x="100232" y="191635"/>
                    <a:pt x="100726" y="192047"/>
                    <a:pt x="101180" y="192418"/>
                  </a:cubicBezTo>
                  <a:cubicBezTo>
                    <a:pt x="113178" y="179183"/>
                    <a:pt x="125630" y="166278"/>
                    <a:pt x="129629" y="164918"/>
                  </a:cubicBezTo>
                  <a:cubicBezTo>
                    <a:pt x="138246" y="161907"/>
                    <a:pt x="131361" y="145044"/>
                    <a:pt x="149379" y="12814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2FBC8AD0-23F2-25A6-B22A-FA197BFB9D6D}"/>
                </a:ext>
              </a:extLst>
            </p:cNvPr>
            <p:cNvSpPr/>
            <p:nvPr>
              <p:custDataLst>
                <p:tags r:id="rId152"/>
              </p:custDataLst>
            </p:nvPr>
          </p:nvSpPr>
          <p:spPr>
            <a:xfrm>
              <a:off x="3637972" y="4915866"/>
              <a:ext cx="44490" cy="105490"/>
            </a:xfrm>
            <a:custGeom>
              <a:avLst/>
              <a:gdLst>
                <a:gd name="connsiteX0" fmla="*/ 7752 w 51950"/>
                <a:gd name="connsiteY0" fmla="*/ 28797 h 123177"/>
                <a:gd name="connsiteX1" fmla="*/ 2062 w 51950"/>
                <a:gd name="connsiteY1" fmla="*/ 29456 h 123177"/>
                <a:gd name="connsiteX2" fmla="*/ 1 w 51950"/>
                <a:gd name="connsiteY2" fmla="*/ 123173 h 123177"/>
                <a:gd name="connsiteX3" fmla="*/ 20080 w 51950"/>
                <a:gd name="connsiteY3" fmla="*/ 120081 h 123177"/>
                <a:gd name="connsiteX4" fmla="*/ 32449 w 51950"/>
                <a:gd name="connsiteY4" fmla="*/ 96621 h 123177"/>
                <a:gd name="connsiteX5" fmla="*/ 43086 w 51950"/>
                <a:gd name="connsiteY5" fmla="*/ 19479 h 123177"/>
                <a:gd name="connsiteX6" fmla="*/ 51951 w 51950"/>
                <a:gd name="connsiteY6" fmla="*/ 13459 h 123177"/>
                <a:gd name="connsiteX7" fmla="*/ 33274 w 51950"/>
                <a:gd name="connsiteY7" fmla="*/ 18 h 123177"/>
                <a:gd name="connsiteX8" fmla="*/ 7752 w 51950"/>
                <a:gd name="connsiteY8" fmla="*/ 28797 h 123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950" h="123177">
                  <a:moveTo>
                    <a:pt x="7752" y="28797"/>
                  </a:moveTo>
                  <a:cubicBezTo>
                    <a:pt x="5896" y="29292"/>
                    <a:pt x="3979" y="29498"/>
                    <a:pt x="2062" y="29456"/>
                  </a:cubicBezTo>
                  <a:lnTo>
                    <a:pt x="1" y="123173"/>
                  </a:lnTo>
                  <a:lnTo>
                    <a:pt x="20080" y="120081"/>
                  </a:lnTo>
                  <a:cubicBezTo>
                    <a:pt x="21663" y="111176"/>
                    <a:pt x="25988" y="102971"/>
                    <a:pt x="32449" y="96621"/>
                  </a:cubicBezTo>
                  <a:cubicBezTo>
                    <a:pt x="48405" y="82232"/>
                    <a:pt x="24409" y="24592"/>
                    <a:pt x="43086" y="19479"/>
                  </a:cubicBezTo>
                  <a:cubicBezTo>
                    <a:pt x="46538" y="18324"/>
                    <a:pt x="49605" y="16222"/>
                    <a:pt x="51951" y="13459"/>
                  </a:cubicBezTo>
                  <a:cubicBezTo>
                    <a:pt x="45313" y="6161"/>
                    <a:pt x="37974" y="-436"/>
                    <a:pt x="33274" y="18"/>
                  </a:cubicBezTo>
                  <a:cubicBezTo>
                    <a:pt x="23172" y="1007"/>
                    <a:pt x="11174" y="26818"/>
                    <a:pt x="7752" y="2879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9AEE8F23-FB1A-1678-3975-076BF6E65A12}"/>
                </a:ext>
              </a:extLst>
            </p:cNvPr>
            <p:cNvSpPr/>
            <p:nvPr>
              <p:custDataLst>
                <p:tags r:id="rId153"/>
              </p:custDataLst>
            </p:nvPr>
          </p:nvSpPr>
          <p:spPr>
            <a:xfrm>
              <a:off x="4144830" y="4845880"/>
              <a:ext cx="98738" cy="91086"/>
            </a:xfrm>
            <a:custGeom>
              <a:avLst/>
              <a:gdLst>
                <a:gd name="connsiteX0" fmla="*/ 52006 w 115294"/>
                <a:gd name="connsiteY0" fmla="*/ 3444 h 106359"/>
                <a:gd name="connsiteX1" fmla="*/ 78641 w 115294"/>
                <a:gd name="connsiteY1" fmla="*/ 67227 h 106359"/>
                <a:gd name="connsiteX2" fmla="*/ 303 w 115294"/>
                <a:gd name="connsiteY2" fmla="*/ 83720 h 106359"/>
                <a:gd name="connsiteX3" fmla="*/ 51841 w 115294"/>
                <a:gd name="connsiteY3" fmla="*/ 98109 h 106359"/>
                <a:gd name="connsiteX4" fmla="*/ 107420 w 115294"/>
                <a:gd name="connsiteY4" fmla="*/ 106355 h 106359"/>
                <a:gd name="connsiteX5" fmla="*/ 115295 w 115294"/>
                <a:gd name="connsiteY5" fmla="*/ 16184 h 106359"/>
                <a:gd name="connsiteX6" fmla="*/ 52006 w 115294"/>
                <a:gd name="connsiteY6" fmla="*/ 3444 h 106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93" h="106359">
                  <a:moveTo>
                    <a:pt x="52006" y="3444"/>
                  </a:moveTo>
                  <a:cubicBezTo>
                    <a:pt x="34236" y="17874"/>
                    <a:pt x="78641" y="48797"/>
                    <a:pt x="78641" y="67227"/>
                  </a:cubicBezTo>
                  <a:cubicBezTo>
                    <a:pt x="78641" y="85657"/>
                    <a:pt x="7353" y="63722"/>
                    <a:pt x="303" y="83720"/>
                  </a:cubicBezTo>
                  <a:cubicBezTo>
                    <a:pt x="-3243" y="93986"/>
                    <a:pt x="25041" y="108458"/>
                    <a:pt x="51841" y="98109"/>
                  </a:cubicBezTo>
                  <a:cubicBezTo>
                    <a:pt x="76579" y="88543"/>
                    <a:pt x="93690" y="98521"/>
                    <a:pt x="107420" y="106355"/>
                  </a:cubicBezTo>
                  <a:cubicBezTo>
                    <a:pt x="109399" y="75185"/>
                    <a:pt x="112491" y="40056"/>
                    <a:pt x="115295" y="16184"/>
                  </a:cubicBezTo>
                  <a:cubicBezTo>
                    <a:pt x="92948" y="9711"/>
                    <a:pt x="64829" y="-7235"/>
                    <a:pt x="52006" y="344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6F2DC7DD-D1D3-3EA9-A7A2-BCE9E4D3018D}"/>
                </a:ext>
              </a:extLst>
            </p:cNvPr>
            <p:cNvSpPr/>
            <p:nvPr>
              <p:custDataLst>
                <p:tags r:id="rId154"/>
              </p:custDataLst>
            </p:nvPr>
          </p:nvSpPr>
          <p:spPr>
            <a:xfrm>
              <a:off x="4236965" y="4859921"/>
              <a:ext cx="116734" cy="80627"/>
            </a:xfrm>
            <a:custGeom>
              <a:avLst/>
              <a:gdLst>
                <a:gd name="connsiteX0" fmla="*/ 52775 w 136307"/>
                <a:gd name="connsiteY0" fmla="*/ 71407 h 94147"/>
                <a:gd name="connsiteX1" fmla="*/ 136308 w 136307"/>
                <a:gd name="connsiteY1" fmla="*/ 52895 h 94147"/>
                <a:gd name="connsiteX2" fmla="*/ 29686 w 136307"/>
                <a:gd name="connsiteY2" fmla="*/ 1480 h 94147"/>
                <a:gd name="connsiteX3" fmla="*/ 7876 w 136307"/>
                <a:gd name="connsiteY3" fmla="*/ -4 h 94147"/>
                <a:gd name="connsiteX4" fmla="*/ 1 w 136307"/>
                <a:gd name="connsiteY4" fmla="*/ 90167 h 94147"/>
                <a:gd name="connsiteX5" fmla="*/ 3052 w 136307"/>
                <a:gd name="connsiteY5" fmla="*/ 91981 h 94147"/>
                <a:gd name="connsiteX6" fmla="*/ 52775 w 136307"/>
                <a:gd name="connsiteY6" fmla="*/ 71407 h 94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6307" h="94147">
                  <a:moveTo>
                    <a:pt x="52775" y="71407"/>
                  </a:moveTo>
                  <a:cubicBezTo>
                    <a:pt x="84770" y="59038"/>
                    <a:pt x="136308" y="81715"/>
                    <a:pt x="136308" y="52895"/>
                  </a:cubicBezTo>
                  <a:cubicBezTo>
                    <a:pt x="136308" y="24074"/>
                    <a:pt x="51003" y="-6766"/>
                    <a:pt x="29686" y="1480"/>
                  </a:cubicBezTo>
                  <a:cubicBezTo>
                    <a:pt x="23873" y="3665"/>
                    <a:pt x="16245" y="2511"/>
                    <a:pt x="7876" y="-4"/>
                  </a:cubicBezTo>
                  <a:cubicBezTo>
                    <a:pt x="5072" y="23868"/>
                    <a:pt x="1979" y="58997"/>
                    <a:pt x="1" y="90167"/>
                  </a:cubicBezTo>
                  <a:cubicBezTo>
                    <a:pt x="990" y="90827"/>
                    <a:pt x="2062" y="91404"/>
                    <a:pt x="3052" y="91981"/>
                  </a:cubicBezTo>
                  <a:cubicBezTo>
                    <a:pt x="17276" y="100062"/>
                    <a:pt x="20781" y="83776"/>
                    <a:pt x="52775" y="7140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B9DBB23C-B07F-8E56-82A3-9750495F2CDD}"/>
                </a:ext>
              </a:extLst>
            </p:cNvPr>
            <p:cNvSpPr/>
            <p:nvPr>
              <p:custDataLst>
                <p:tags r:id="rId155"/>
              </p:custDataLst>
            </p:nvPr>
          </p:nvSpPr>
          <p:spPr>
            <a:xfrm>
              <a:off x="3699886" y="5057865"/>
              <a:ext cx="134795" cy="172040"/>
            </a:xfrm>
            <a:custGeom>
              <a:avLst/>
              <a:gdLst>
                <a:gd name="connsiteX0" fmla="*/ 148535 w 157398"/>
                <a:gd name="connsiteY0" fmla="*/ 151971 h 200888"/>
                <a:gd name="connsiteX1" fmla="*/ 146721 w 157398"/>
                <a:gd name="connsiteY1" fmla="*/ 135726 h 200888"/>
                <a:gd name="connsiteX2" fmla="*/ 151256 w 157398"/>
                <a:gd name="connsiteY2" fmla="*/ 82374 h 200888"/>
                <a:gd name="connsiteX3" fmla="*/ 149483 w 157398"/>
                <a:gd name="connsiteY3" fmla="*/ 34217 h 200888"/>
                <a:gd name="connsiteX4" fmla="*/ 152658 w 157398"/>
                <a:gd name="connsiteY4" fmla="*/ 11087 h 200888"/>
                <a:gd name="connsiteX5" fmla="*/ 157399 w 157398"/>
                <a:gd name="connsiteY5" fmla="*/ -4 h 200888"/>
                <a:gd name="connsiteX6" fmla="*/ 122395 w 157398"/>
                <a:gd name="connsiteY6" fmla="*/ 19951 h 200888"/>
                <a:gd name="connsiteX7" fmla="*/ 83803 w 157398"/>
                <a:gd name="connsiteY7" fmla="*/ 29847 h 200888"/>
                <a:gd name="connsiteX8" fmla="*/ 40057 w 157398"/>
                <a:gd name="connsiteY8" fmla="*/ 51698 h 200888"/>
                <a:gd name="connsiteX9" fmla="*/ 27193 w 157398"/>
                <a:gd name="connsiteY9" fmla="*/ 80560 h 200888"/>
                <a:gd name="connsiteX10" fmla="*/ 15196 w 157398"/>
                <a:gd name="connsiteY10" fmla="*/ 93465 h 200888"/>
                <a:gd name="connsiteX11" fmla="*/ 352 w 157398"/>
                <a:gd name="connsiteY11" fmla="*/ 97588 h 200888"/>
                <a:gd name="connsiteX12" fmla="*/ 6537 w 157398"/>
                <a:gd name="connsiteY12" fmla="*/ 115111 h 200888"/>
                <a:gd name="connsiteX13" fmla="*/ 55395 w 157398"/>
                <a:gd name="connsiteY13" fmla="*/ 169659 h 200888"/>
                <a:gd name="connsiteX14" fmla="*/ 69084 w 157398"/>
                <a:gd name="connsiteY14" fmla="*/ 188460 h 200888"/>
                <a:gd name="connsiteX15" fmla="*/ 91183 w 157398"/>
                <a:gd name="connsiteY15" fmla="*/ 189986 h 200888"/>
                <a:gd name="connsiteX16" fmla="*/ 130806 w 157398"/>
                <a:gd name="connsiteY16" fmla="*/ 197613 h 200888"/>
                <a:gd name="connsiteX17" fmla="*/ 150638 w 157398"/>
                <a:gd name="connsiteY17" fmla="*/ 200169 h 200888"/>
                <a:gd name="connsiteX18" fmla="*/ 145113 w 157398"/>
                <a:gd name="connsiteY18" fmla="*/ 190233 h 200888"/>
                <a:gd name="connsiteX19" fmla="*/ 148535 w 157398"/>
                <a:gd name="connsiteY19" fmla="*/ 151971 h 200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7398" h="200888">
                  <a:moveTo>
                    <a:pt x="148535" y="151971"/>
                  </a:moveTo>
                  <a:cubicBezTo>
                    <a:pt x="146989" y="146694"/>
                    <a:pt x="146374" y="141210"/>
                    <a:pt x="146721" y="135726"/>
                  </a:cubicBezTo>
                  <a:cubicBezTo>
                    <a:pt x="147751" y="117915"/>
                    <a:pt x="149565" y="100144"/>
                    <a:pt x="151256" y="82374"/>
                  </a:cubicBezTo>
                  <a:cubicBezTo>
                    <a:pt x="142057" y="67820"/>
                    <a:pt x="141381" y="49431"/>
                    <a:pt x="149483" y="34217"/>
                  </a:cubicBezTo>
                  <a:cubicBezTo>
                    <a:pt x="149297" y="26383"/>
                    <a:pt x="150370" y="18591"/>
                    <a:pt x="152658" y="11087"/>
                  </a:cubicBezTo>
                  <a:cubicBezTo>
                    <a:pt x="153804" y="7211"/>
                    <a:pt x="155395" y="3500"/>
                    <a:pt x="157399" y="-4"/>
                  </a:cubicBezTo>
                  <a:cubicBezTo>
                    <a:pt x="141691" y="5108"/>
                    <a:pt x="127507" y="19291"/>
                    <a:pt x="122395" y="19951"/>
                  </a:cubicBezTo>
                  <a:cubicBezTo>
                    <a:pt x="114685" y="20941"/>
                    <a:pt x="87225" y="12983"/>
                    <a:pt x="83803" y="29847"/>
                  </a:cubicBezTo>
                  <a:cubicBezTo>
                    <a:pt x="80381" y="46710"/>
                    <a:pt x="63188" y="49761"/>
                    <a:pt x="40057" y="51698"/>
                  </a:cubicBezTo>
                  <a:cubicBezTo>
                    <a:pt x="16927" y="53637"/>
                    <a:pt x="28925" y="76437"/>
                    <a:pt x="27193" y="80560"/>
                  </a:cubicBezTo>
                  <a:cubicBezTo>
                    <a:pt x="25462" y="84683"/>
                    <a:pt x="15196" y="93465"/>
                    <a:pt x="15196" y="93465"/>
                  </a:cubicBezTo>
                  <a:lnTo>
                    <a:pt x="352" y="97588"/>
                  </a:lnTo>
                  <a:cubicBezTo>
                    <a:pt x="-348" y="104020"/>
                    <a:pt x="-719" y="110370"/>
                    <a:pt x="6537" y="115111"/>
                  </a:cubicBezTo>
                  <a:cubicBezTo>
                    <a:pt x="20762" y="124346"/>
                    <a:pt x="40305" y="160464"/>
                    <a:pt x="55395" y="169659"/>
                  </a:cubicBezTo>
                  <a:cubicBezTo>
                    <a:pt x="62173" y="173988"/>
                    <a:pt x="67064" y="180667"/>
                    <a:pt x="69084" y="188460"/>
                  </a:cubicBezTo>
                  <a:cubicBezTo>
                    <a:pt x="77783" y="187677"/>
                    <a:pt x="86648" y="187347"/>
                    <a:pt x="91183" y="189986"/>
                  </a:cubicBezTo>
                  <a:cubicBezTo>
                    <a:pt x="100007" y="195098"/>
                    <a:pt x="122024" y="189986"/>
                    <a:pt x="130806" y="197613"/>
                  </a:cubicBezTo>
                  <a:cubicBezTo>
                    <a:pt x="134929" y="201324"/>
                    <a:pt x="142350" y="201406"/>
                    <a:pt x="150638" y="200169"/>
                  </a:cubicBezTo>
                  <a:cubicBezTo>
                    <a:pt x="148081" y="196046"/>
                    <a:pt x="146102" y="192377"/>
                    <a:pt x="145113" y="190233"/>
                  </a:cubicBezTo>
                  <a:cubicBezTo>
                    <a:pt x="141031" y="181245"/>
                    <a:pt x="144288" y="166566"/>
                    <a:pt x="148535" y="15197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7E120125-4EED-E482-E904-D19A9886AD7D}"/>
                </a:ext>
              </a:extLst>
            </p:cNvPr>
            <p:cNvSpPr/>
            <p:nvPr>
              <p:custDataLst>
                <p:tags r:id="rId156"/>
              </p:custDataLst>
            </p:nvPr>
          </p:nvSpPr>
          <p:spPr>
            <a:xfrm>
              <a:off x="4166115" y="5455054"/>
              <a:ext cx="1344718" cy="1614298"/>
            </a:xfrm>
            <a:custGeom>
              <a:avLst/>
              <a:gdLst>
                <a:gd name="connsiteX0" fmla="*/ 1566038 w 1570200"/>
                <a:gd name="connsiteY0" fmla="*/ 532911 h 1884985"/>
                <a:gd name="connsiteX1" fmla="*/ 1527817 w 1570200"/>
                <a:gd name="connsiteY1" fmla="*/ 483435 h 1884985"/>
                <a:gd name="connsiteX2" fmla="*/ 1437852 w 1570200"/>
                <a:gd name="connsiteY2" fmla="*/ 423692 h 1884985"/>
                <a:gd name="connsiteX3" fmla="*/ 1320593 w 1570200"/>
                <a:gd name="connsiteY3" fmla="*/ 381513 h 1884985"/>
                <a:gd name="connsiteX4" fmla="*/ 1278290 w 1570200"/>
                <a:gd name="connsiteY4" fmla="*/ 376483 h 1884985"/>
                <a:gd name="connsiteX5" fmla="*/ 1218011 w 1570200"/>
                <a:gd name="connsiteY5" fmla="*/ 385224 h 1884985"/>
                <a:gd name="connsiteX6" fmla="*/ 1204240 w 1570200"/>
                <a:gd name="connsiteY6" fmla="*/ 378544 h 1884985"/>
                <a:gd name="connsiteX7" fmla="*/ 1189150 w 1570200"/>
                <a:gd name="connsiteY7" fmla="*/ 389759 h 1884985"/>
                <a:gd name="connsiteX8" fmla="*/ 1192242 w 1570200"/>
                <a:gd name="connsiteY8" fmla="*/ 365021 h 1884985"/>
                <a:gd name="connsiteX9" fmla="*/ 1191912 w 1570200"/>
                <a:gd name="connsiteY9" fmla="*/ 364567 h 1884985"/>
                <a:gd name="connsiteX10" fmla="*/ 1186346 w 1570200"/>
                <a:gd name="connsiteY10" fmla="*/ 347539 h 1884985"/>
                <a:gd name="connsiteX11" fmla="*/ 1181934 w 1570200"/>
                <a:gd name="connsiteY11" fmla="*/ 345354 h 1884985"/>
                <a:gd name="connsiteX12" fmla="*/ 1154681 w 1570200"/>
                <a:gd name="connsiteY12" fmla="*/ 346962 h 1884985"/>
                <a:gd name="connsiteX13" fmla="*/ 1048018 w 1570200"/>
                <a:gd name="connsiteY13" fmla="*/ 294806 h 1884985"/>
                <a:gd name="connsiteX14" fmla="*/ 1045215 w 1570200"/>
                <a:gd name="connsiteY14" fmla="*/ 290682 h 1884985"/>
                <a:gd name="connsiteX15" fmla="*/ 1044307 w 1570200"/>
                <a:gd name="connsiteY15" fmla="*/ 300124 h 1884985"/>
                <a:gd name="connsiteX16" fmla="*/ 1015899 w 1570200"/>
                <a:gd name="connsiteY16" fmla="*/ 322760 h 1884985"/>
                <a:gd name="connsiteX17" fmla="*/ 995284 w 1570200"/>
                <a:gd name="connsiteY17" fmla="*/ 323831 h 1884985"/>
                <a:gd name="connsiteX18" fmla="*/ 1028021 w 1570200"/>
                <a:gd name="connsiteY18" fmla="*/ 276293 h 1884985"/>
                <a:gd name="connsiteX19" fmla="*/ 993388 w 1570200"/>
                <a:gd name="connsiteY19" fmla="*/ 256667 h 1884985"/>
                <a:gd name="connsiteX20" fmla="*/ 979287 w 1570200"/>
                <a:gd name="connsiteY20" fmla="*/ 242896 h 1884985"/>
                <a:gd name="connsiteX21" fmla="*/ 949106 w 1570200"/>
                <a:gd name="connsiteY21" fmla="*/ 245617 h 1884985"/>
                <a:gd name="connsiteX22" fmla="*/ 923337 w 1570200"/>
                <a:gd name="connsiteY22" fmla="*/ 281611 h 1884985"/>
                <a:gd name="connsiteX23" fmla="*/ 934016 w 1570200"/>
                <a:gd name="connsiteY23" fmla="*/ 243556 h 1884985"/>
                <a:gd name="connsiteX24" fmla="*/ 970917 w 1570200"/>
                <a:gd name="connsiteY24" fmla="*/ 193379 h 1884985"/>
                <a:gd name="connsiteX25" fmla="*/ 936985 w 1570200"/>
                <a:gd name="connsiteY25" fmla="*/ 150087 h 1884985"/>
                <a:gd name="connsiteX26" fmla="*/ 895259 w 1570200"/>
                <a:gd name="connsiteY26" fmla="*/ 105063 h 1884985"/>
                <a:gd name="connsiteX27" fmla="*/ 899382 w 1570200"/>
                <a:gd name="connsiteY27" fmla="*/ 63338 h 1884985"/>
                <a:gd name="connsiteX28" fmla="*/ 899382 w 1570200"/>
                <a:gd name="connsiteY28" fmla="*/ 63090 h 1884985"/>
                <a:gd name="connsiteX29" fmla="*/ 864955 w 1570200"/>
                <a:gd name="connsiteY29" fmla="*/ 121390 h 1884985"/>
                <a:gd name="connsiteX30" fmla="*/ 822858 w 1570200"/>
                <a:gd name="connsiteY30" fmla="*/ 142294 h 1884985"/>
                <a:gd name="connsiteX31" fmla="*/ 783195 w 1570200"/>
                <a:gd name="connsiteY31" fmla="*/ 128399 h 1884985"/>
                <a:gd name="connsiteX32" fmla="*/ 738666 w 1570200"/>
                <a:gd name="connsiteY32" fmla="*/ 126956 h 1884985"/>
                <a:gd name="connsiteX33" fmla="*/ 721844 w 1570200"/>
                <a:gd name="connsiteY33" fmla="*/ 156230 h 1884985"/>
                <a:gd name="connsiteX34" fmla="*/ 673728 w 1570200"/>
                <a:gd name="connsiteY34" fmla="*/ 154828 h 1884985"/>
                <a:gd name="connsiteX35" fmla="*/ 653112 w 1570200"/>
                <a:gd name="connsiteY35" fmla="*/ 165960 h 1884985"/>
                <a:gd name="connsiteX36" fmla="*/ 626643 w 1570200"/>
                <a:gd name="connsiteY36" fmla="*/ 177134 h 1884985"/>
                <a:gd name="connsiteX37" fmla="*/ 583351 w 1570200"/>
                <a:gd name="connsiteY37" fmla="*/ 160394 h 1884985"/>
                <a:gd name="connsiteX38" fmla="*/ 575105 w 1570200"/>
                <a:gd name="connsiteY38" fmla="*/ 78222 h 1884985"/>
                <a:gd name="connsiteX39" fmla="*/ 571476 w 1570200"/>
                <a:gd name="connsiteY39" fmla="*/ 39218 h 1884985"/>
                <a:gd name="connsiteX40" fmla="*/ 554654 w 1570200"/>
                <a:gd name="connsiteY40" fmla="*/ 214 h 1884985"/>
                <a:gd name="connsiteX41" fmla="*/ 529421 w 1570200"/>
                <a:gd name="connsiteY41" fmla="*/ 26684 h 1884985"/>
                <a:gd name="connsiteX42" fmla="*/ 479945 w 1570200"/>
                <a:gd name="connsiteY42" fmla="*/ 48990 h 1884985"/>
                <a:gd name="connsiteX43" fmla="*/ 452279 w 1570200"/>
                <a:gd name="connsiteY43" fmla="*/ 67049 h 1884985"/>
                <a:gd name="connsiteX44" fmla="*/ 436653 w 1570200"/>
                <a:gd name="connsiteY44" fmla="*/ 65688 h 1884985"/>
                <a:gd name="connsiteX45" fmla="*/ 401813 w 1570200"/>
                <a:gd name="connsiteY45" fmla="*/ 51752 h 1884985"/>
                <a:gd name="connsiteX46" fmla="*/ 375343 w 1570200"/>
                <a:gd name="connsiteY46" fmla="*/ 57318 h 1884985"/>
                <a:gd name="connsiteX47" fmla="*/ 390969 w 1570200"/>
                <a:gd name="connsiteY47" fmla="*/ 92158 h 1884985"/>
                <a:gd name="connsiteX48" fmla="*/ 401813 w 1570200"/>
                <a:gd name="connsiteY48" fmla="*/ 121390 h 1884985"/>
                <a:gd name="connsiteX49" fmla="*/ 422222 w 1570200"/>
                <a:gd name="connsiteY49" fmla="*/ 126956 h 1884985"/>
                <a:gd name="connsiteX50" fmla="*/ 417439 w 1570200"/>
                <a:gd name="connsiteY50" fmla="*/ 146458 h 1884985"/>
                <a:gd name="connsiteX51" fmla="*/ 394598 w 1570200"/>
                <a:gd name="connsiteY51" fmla="*/ 171568 h 1884985"/>
                <a:gd name="connsiteX52" fmla="*/ 368128 w 1570200"/>
                <a:gd name="connsiteY52" fmla="*/ 186864 h 1884985"/>
                <a:gd name="connsiteX53" fmla="*/ 340462 w 1570200"/>
                <a:gd name="connsiteY53" fmla="*/ 203604 h 1884985"/>
                <a:gd name="connsiteX54" fmla="*/ 318816 w 1570200"/>
                <a:gd name="connsiteY54" fmla="*/ 207727 h 1884985"/>
                <a:gd name="connsiteX55" fmla="*/ 294737 w 1570200"/>
                <a:gd name="connsiteY55" fmla="*/ 196594 h 1884985"/>
                <a:gd name="connsiteX56" fmla="*/ 264144 w 1570200"/>
                <a:gd name="connsiteY56" fmla="*/ 149757 h 1884985"/>
                <a:gd name="connsiteX57" fmla="*/ 224934 w 1570200"/>
                <a:gd name="connsiteY57" fmla="*/ 163033 h 1884985"/>
                <a:gd name="connsiteX58" fmla="*/ 164408 w 1570200"/>
                <a:gd name="connsiteY58" fmla="*/ 168186 h 1884985"/>
                <a:gd name="connsiteX59" fmla="*/ 174839 w 1570200"/>
                <a:gd name="connsiteY59" fmla="*/ 193667 h 1884985"/>
                <a:gd name="connsiteX60" fmla="*/ 182838 w 1570200"/>
                <a:gd name="connsiteY60" fmla="*/ 212716 h 1884985"/>
                <a:gd name="connsiteX61" fmla="*/ 155626 w 1570200"/>
                <a:gd name="connsiteY61" fmla="*/ 237742 h 1884985"/>
                <a:gd name="connsiteX62" fmla="*/ 181271 w 1570200"/>
                <a:gd name="connsiteY62" fmla="*/ 312947 h 1884985"/>
                <a:gd name="connsiteX63" fmla="*/ 173025 w 1570200"/>
                <a:gd name="connsiteY63" fmla="*/ 376236 h 1884985"/>
                <a:gd name="connsiteX64" fmla="*/ 157646 w 1570200"/>
                <a:gd name="connsiteY64" fmla="*/ 439318 h 1884985"/>
                <a:gd name="connsiteX65" fmla="*/ 123260 w 1570200"/>
                <a:gd name="connsiteY65" fmla="*/ 442081 h 1884985"/>
                <a:gd name="connsiteX66" fmla="*/ 74732 w 1570200"/>
                <a:gd name="connsiteY66" fmla="*/ 462696 h 1884985"/>
                <a:gd name="connsiteX67" fmla="*/ 39191 w 1570200"/>
                <a:gd name="connsiteY67" fmla="*/ 490073 h 1884985"/>
                <a:gd name="connsiteX68" fmla="*/ 26203 w 1570200"/>
                <a:gd name="connsiteY68" fmla="*/ 533984 h 1884985"/>
                <a:gd name="connsiteX69" fmla="*/ 8392 w 1570200"/>
                <a:gd name="connsiteY69" fmla="*/ 558722 h 1884985"/>
                <a:gd name="connsiteX70" fmla="*/ 2496 w 1570200"/>
                <a:gd name="connsiteY70" fmla="*/ 588902 h 1884985"/>
                <a:gd name="connsiteX71" fmla="*/ 13133 w 1570200"/>
                <a:gd name="connsiteY71" fmla="*/ 628690 h 1884985"/>
                <a:gd name="connsiteX72" fmla="*/ 29626 w 1570200"/>
                <a:gd name="connsiteY72" fmla="*/ 668477 h 1884985"/>
                <a:gd name="connsiteX73" fmla="*/ 49746 w 1570200"/>
                <a:gd name="connsiteY73" fmla="*/ 686289 h 1884985"/>
                <a:gd name="connsiteX74" fmla="*/ 71062 w 1570200"/>
                <a:gd name="connsiteY74" fmla="*/ 712388 h 1884985"/>
                <a:gd name="connsiteX75" fmla="*/ 113695 w 1570200"/>
                <a:gd name="connsiteY75" fmla="*/ 705502 h 1884985"/>
                <a:gd name="connsiteX76" fmla="*/ 131465 w 1570200"/>
                <a:gd name="connsiteY76" fmla="*/ 701379 h 1884985"/>
                <a:gd name="connsiteX77" fmla="*/ 140948 w 1570200"/>
                <a:gd name="connsiteY77" fmla="*/ 761741 h 1884985"/>
                <a:gd name="connsiteX78" fmla="*/ 193063 w 1570200"/>
                <a:gd name="connsiteY78" fmla="*/ 763101 h 1884985"/>
                <a:gd name="connsiteX79" fmla="*/ 227408 w 1570200"/>
                <a:gd name="connsiteY79" fmla="*/ 753494 h 1884985"/>
                <a:gd name="connsiteX80" fmla="*/ 261753 w 1570200"/>
                <a:gd name="connsiteY80" fmla="*/ 732879 h 1884985"/>
                <a:gd name="connsiteX81" fmla="*/ 309127 w 1570200"/>
                <a:gd name="connsiteY81" fmla="*/ 708141 h 1884985"/>
                <a:gd name="connsiteX82" fmla="*/ 347018 w 1570200"/>
                <a:gd name="connsiteY82" fmla="*/ 710862 h 1884985"/>
                <a:gd name="connsiteX83" fmla="*/ 360088 w 1570200"/>
                <a:gd name="connsiteY83" fmla="*/ 801569 h 1884985"/>
                <a:gd name="connsiteX84" fmla="*/ 407462 w 1570200"/>
                <a:gd name="connsiteY84" fmla="*/ 834553 h 1884985"/>
                <a:gd name="connsiteX85" fmla="*/ 435869 w 1570200"/>
                <a:gd name="connsiteY85" fmla="*/ 841439 h 1884985"/>
                <a:gd name="connsiteX86" fmla="*/ 452362 w 1570200"/>
                <a:gd name="connsiteY86" fmla="*/ 857931 h 1884985"/>
                <a:gd name="connsiteX87" fmla="*/ 485346 w 1570200"/>
                <a:gd name="connsiteY87" fmla="*/ 875784 h 1884985"/>
                <a:gd name="connsiteX88" fmla="*/ 529215 w 1570200"/>
                <a:gd name="connsiteY88" fmla="*/ 886792 h 1884985"/>
                <a:gd name="connsiteX89" fmla="*/ 544594 w 1570200"/>
                <a:gd name="connsiteY89" fmla="*/ 918292 h 1884985"/>
                <a:gd name="connsiteX90" fmla="*/ 550531 w 1570200"/>
                <a:gd name="connsiteY90" fmla="*/ 953998 h 1884985"/>
                <a:gd name="connsiteX91" fmla="*/ 555273 w 1570200"/>
                <a:gd name="connsiteY91" fmla="*/ 992425 h 1884985"/>
                <a:gd name="connsiteX92" fmla="*/ 599101 w 1570200"/>
                <a:gd name="connsiteY92" fmla="*/ 1015720 h 1884985"/>
                <a:gd name="connsiteX93" fmla="*/ 632085 w 1570200"/>
                <a:gd name="connsiteY93" fmla="*/ 1039057 h 1884985"/>
                <a:gd name="connsiteX94" fmla="*/ 655793 w 1570200"/>
                <a:gd name="connsiteY94" fmla="*/ 1084410 h 1884985"/>
                <a:gd name="connsiteX95" fmla="*/ 651051 w 1570200"/>
                <a:gd name="connsiteY95" fmla="*/ 1144772 h 1884985"/>
                <a:gd name="connsiteX96" fmla="*/ 638682 w 1570200"/>
                <a:gd name="connsiteY96" fmla="*/ 1176313 h 1884985"/>
                <a:gd name="connsiteX97" fmla="*/ 640372 w 1570200"/>
                <a:gd name="connsiteY97" fmla="*/ 1201051 h 1884985"/>
                <a:gd name="connsiteX98" fmla="*/ 647629 w 1570200"/>
                <a:gd name="connsiteY98" fmla="*/ 1258155 h 1884985"/>
                <a:gd name="connsiteX99" fmla="*/ 668244 w 1570200"/>
                <a:gd name="connsiteY99" fmla="*/ 1295758 h 1884985"/>
                <a:gd name="connsiteX100" fmla="*/ 703125 w 1570200"/>
                <a:gd name="connsiteY100" fmla="*/ 1299881 h 1884985"/>
                <a:gd name="connsiteX101" fmla="*/ 730750 w 1570200"/>
                <a:gd name="connsiteY101" fmla="*/ 1338926 h 1884985"/>
                <a:gd name="connsiteX102" fmla="*/ 750004 w 1570200"/>
                <a:gd name="connsiteY102" fmla="*/ 1390423 h 1884985"/>
                <a:gd name="connsiteX103" fmla="*/ 783690 w 1570200"/>
                <a:gd name="connsiteY103" fmla="*/ 1382176 h 1884985"/>
                <a:gd name="connsiteX104" fmla="*/ 779896 w 1570200"/>
                <a:gd name="connsiteY104" fmla="*/ 1465215 h 1884985"/>
                <a:gd name="connsiteX105" fmla="*/ 806242 w 1570200"/>
                <a:gd name="connsiteY105" fmla="*/ 1467194 h 1884985"/>
                <a:gd name="connsiteX106" fmla="*/ 813458 w 1570200"/>
                <a:gd name="connsiteY106" fmla="*/ 1538110 h 1884985"/>
                <a:gd name="connsiteX107" fmla="*/ 764847 w 1570200"/>
                <a:gd name="connsiteY107" fmla="*/ 1569363 h 1884985"/>
                <a:gd name="connsiteX108" fmla="*/ 695539 w 1570200"/>
                <a:gd name="connsiteY108" fmla="*/ 1653803 h 1884985"/>
                <a:gd name="connsiteX109" fmla="*/ 660205 w 1570200"/>
                <a:gd name="connsiteY109" fmla="*/ 1702619 h 1884985"/>
                <a:gd name="connsiteX110" fmla="*/ 672161 w 1570200"/>
                <a:gd name="connsiteY110" fmla="*/ 1701754 h 1884985"/>
                <a:gd name="connsiteX111" fmla="*/ 706382 w 1570200"/>
                <a:gd name="connsiteY111" fmla="*/ 1716308 h 1884985"/>
                <a:gd name="connsiteX112" fmla="*/ 724359 w 1570200"/>
                <a:gd name="connsiteY112" fmla="*/ 1748674 h 1884985"/>
                <a:gd name="connsiteX113" fmla="*/ 746871 w 1570200"/>
                <a:gd name="connsiteY113" fmla="*/ 1741335 h 1884985"/>
                <a:gd name="connsiteX114" fmla="*/ 791853 w 1570200"/>
                <a:gd name="connsiteY114" fmla="*/ 1780999 h 1884985"/>
                <a:gd name="connsiteX115" fmla="*/ 818859 w 1570200"/>
                <a:gd name="connsiteY115" fmla="*/ 1817446 h 1884985"/>
                <a:gd name="connsiteX116" fmla="*/ 822116 w 1570200"/>
                <a:gd name="connsiteY116" fmla="*/ 1884982 h 1884985"/>
                <a:gd name="connsiteX117" fmla="*/ 825868 w 1570200"/>
                <a:gd name="connsiteY117" fmla="*/ 1883868 h 1884985"/>
                <a:gd name="connsiteX118" fmla="*/ 841742 w 1570200"/>
                <a:gd name="connsiteY118" fmla="*/ 1866387 h 1884985"/>
                <a:gd name="connsiteX119" fmla="*/ 871964 w 1570200"/>
                <a:gd name="connsiteY119" fmla="*/ 1808664 h 1884985"/>
                <a:gd name="connsiteX120" fmla="*/ 893280 w 1570200"/>
                <a:gd name="connsiteY120" fmla="*/ 1752055 h 1884985"/>
                <a:gd name="connsiteX121" fmla="*/ 914596 w 1570200"/>
                <a:gd name="connsiteY121" fmla="*/ 1702578 h 1884985"/>
                <a:gd name="connsiteX122" fmla="*/ 931583 w 1570200"/>
                <a:gd name="connsiteY122" fmla="*/ 1710824 h 1884985"/>
                <a:gd name="connsiteX123" fmla="*/ 934758 w 1570200"/>
                <a:gd name="connsiteY123" fmla="*/ 1707155 h 1884985"/>
                <a:gd name="connsiteX124" fmla="*/ 980977 w 1570200"/>
                <a:gd name="connsiteY124" fmla="*/ 1633188 h 1884985"/>
                <a:gd name="connsiteX125" fmla="*/ 1007818 w 1570200"/>
                <a:gd name="connsiteY125" fmla="*/ 1591957 h 1884985"/>
                <a:gd name="connsiteX126" fmla="*/ 1021961 w 1570200"/>
                <a:gd name="connsiteY126" fmla="*/ 1581897 h 1884985"/>
                <a:gd name="connsiteX127" fmla="*/ 1021218 w 1570200"/>
                <a:gd name="connsiteY127" fmla="*/ 1553035 h 1884985"/>
                <a:gd name="connsiteX128" fmla="*/ 1022084 w 1570200"/>
                <a:gd name="connsiteY128" fmla="*/ 1484139 h 1884985"/>
                <a:gd name="connsiteX129" fmla="*/ 1034453 w 1570200"/>
                <a:gd name="connsiteY129" fmla="*/ 1450165 h 1884985"/>
                <a:gd name="connsiteX130" fmla="*/ 1085084 w 1570200"/>
                <a:gd name="connsiteY130" fmla="*/ 1405884 h 1884985"/>
                <a:gd name="connsiteX131" fmla="*/ 1134973 w 1570200"/>
                <a:gd name="connsiteY131" fmla="*/ 1379455 h 1884985"/>
                <a:gd name="connsiteX132" fmla="*/ 1153692 w 1570200"/>
                <a:gd name="connsiteY132" fmla="*/ 1366055 h 1884985"/>
                <a:gd name="connsiteX133" fmla="*/ 1169607 w 1570200"/>
                <a:gd name="connsiteY133" fmla="*/ 1359417 h 1884985"/>
                <a:gd name="connsiteX134" fmla="*/ 1190799 w 1570200"/>
                <a:gd name="connsiteY134" fmla="*/ 1336988 h 1884985"/>
                <a:gd name="connsiteX135" fmla="*/ 1223783 w 1570200"/>
                <a:gd name="connsiteY135" fmla="*/ 1334514 h 1884985"/>
                <a:gd name="connsiteX136" fmla="*/ 1281506 w 1570200"/>
                <a:gd name="connsiteY136" fmla="*/ 1314600 h 1884985"/>
                <a:gd name="connsiteX137" fmla="*/ 1295483 w 1570200"/>
                <a:gd name="connsiteY137" fmla="*/ 1312002 h 1884985"/>
                <a:gd name="connsiteX138" fmla="*/ 1315233 w 1570200"/>
                <a:gd name="connsiteY138" fmla="*/ 1296830 h 1884985"/>
                <a:gd name="connsiteX139" fmla="*/ 1333003 w 1570200"/>
                <a:gd name="connsiteY139" fmla="*/ 1272091 h 1884985"/>
                <a:gd name="connsiteX140" fmla="*/ 1348959 w 1570200"/>
                <a:gd name="connsiteY140" fmla="*/ 1229871 h 1884985"/>
                <a:gd name="connsiteX141" fmla="*/ 1350320 w 1570200"/>
                <a:gd name="connsiteY141" fmla="*/ 1228387 h 1884985"/>
                <a:gd name="connsiteX142" fmla="*/ 1383304 w 1570200"/>
                <a:gd name="connsiteY142" fmla="*/ 1131413 h 1884985"/>
                <a:gd name="connsiteX143" fmla="*/ 1386273 w 1570200"/>
                <a:gd name="connsiteY143" fmla="*/ 1105396 h 1884985"/>
                <a:gd name="connsiteX144" fmla="*/ 1406888 w 1570200"/>
                <a:gd name="connsiteY144" fmla="*/ 1080658 h 1884985"/>
                <a:gd name="connsiteX145" fmla="*/ 1411300 w 1570200"/>
                <a:gd name="connsiteY145" fmla="*/ 1022935 h 1884985"/>
                <a:gd name="connsiteX146" fmla="*/ 1411300 w 1570200"/>
                <a:gd name="connsiteY146" fmla="*/ 932228 h 1884985"/>
                <a:gd name="connsiteX147" fmla="*/ 1411300 w 1570200"/>
                <a:gd name="connsiteY147" fmla="*/ 926209 h 1884985"/>
                <a:gd name="connsiteX148" fmla="*/ 1403053 w 1570200"/>
                <a:gd name="connsiteY148" fmla="*/ 870341 h 1884985"/>
                <a:gd name="connsiteX149" fmla="*/ 1419175 w 1570200"/>
                <a:gd name="connsiteY149" fmla="*/ 846799 h 1884985"/>
                <a:gd name="connsiteX150" fmla="*/ 1417567 w 1570200"/>
                <a:gd name="connsiteY150" fmla="*/ 845768 h 1884985"/>
                <a:gd name="connsiteX151" fmla="*/ 1424699 w 1570200"/>
                <a:gd name="connsiteY151" fmla="*/ 832410 h 1884985"/>
                <a:gd name="connsiteX152" fmla="*/ 1427916 w 1570200"/>
                <a:gd name="connsiteY152" fmla="*/ 834430 h 1884985"/>
                <a:gd name="connsiteX153" fmla="*/ 1459828 w 1570200"/>
                <a:gd name="connsiteY153" fmla="*/ 786974 h 1884985"/>
                <a:gd name="connsiteX154" fmla="*/ 1482134 w 1570200"/>
                <a:gd name="connsiteY154" fmla="*/ 768090 h 1884985"/>
                <a:gd name="connsiteX155" fmla="*/ 1519736 w 1570200"/>
                <a:gd name="connsiteY155" fmla="*/ 735683 h 1884985"/>
                <a:gd name="connsiteX156" fmla="*/ 1532105 w 1570200"/>
                <a:gd name="connsiteY156" fmla="*/ 725004 h 1884985"/>
                <a:gd name="connsiteX157" fmla="*/ 1532105 w 1570200"/>
                <a:gd name="connsiteY157" fmla="*/ 700843 h 1884985"/>
                <a:gd name="connsiteX158" fmla="*/ 1535733 w 1570200"/>
                <a:gd name="connsiteY158" fmla="*/ 688474 h 1884985"/>
                <a:gd name="connsiteX159" fmla="*/ 1536475 w 1570200"/>
                <a:gd name="connsiteY159" fmla="*/ 682619 h 1884985"/>
                <a:gd name="connsiteX160" fmla="*/ 1554122 w 1570200"/>
                <a:gd name="connsiteY160" fmla="*/ 657427 h 1884985"/>
                <a:gd name="connsiteX161" fmla="*/ 1567687 w 1570200"/>
                <a:gd name="connsiteY161" fmla="*/ 616197 h 1884985"/>
                <a:gd name="connsiteX162" fmla="*/ 1569336 w 1570200"/>
                <a:gd name="connsiteY162" fmla="*/ 604570 h 1884985"/>
                <a:gd name="connsiteX163" fmla="*/ 1569047 w 1570200"/>
                <a:gd name="connsiteY163" fmla="*/ 559217 h 1884985"/>
                <a:gd name="connsiteX164" fmla="*/ 1566038 w 1570200"/>
                <a:gd name="connsiteY164" fmla="*/ 532911 h 1884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</a:cxnLst>
              <a:rect l="l" t="t" r="r" b="b"/>
              <a:pathLst>
                <a:path w="1570200" h="1884985">
                  <a:moveTo>
                    <a:pt x="1566038" y="532911"/>
                  </a:moveTo>
                  <a:cubicBezTo>
                    <a:pt x="1548267" y="520996"/>
                    <a:pt x="1534867" y="503638"/>
                    <a:pt x="1527817" y="483435"/>
                  </a:cubicBezTo>
                  <a:cubicBezTo>
                    <a:pt x="1508975" y="482775"/>
                    <a:pt x="1477722" y="473539"/>
                    <a:pt x="1437852" y="423692"/>
                  </a:cubicBezTo>
                  <a:cubicBezTo>
                    <a:pt x="1393488" y="368154"/>
                    <a:pt x="1349907" y="372277"/>
                    <a:pt x="1320593" y="381513"/>
                  </a:cubicBezTo>
                  <a:cubicBezTo>
                    <a:pt x="1306244" y="386049"/>
                    <a:pt x="1291731" y="382173"/>
                    <a:pt x="1278290" y="376483"/>
                  </a:cubicBezTo>
                  <a:cubicBezTo>
                    <a:pt x="1260066" y="387821"/>
                    <a:pt x="1238626" y="388852"/>
                    <a:pt x="1218011" y="385224"/>
                  </a:cubicBezTo>
                  <a:cubicBezTo>
                    <a:pt x="1212940" y="384193"/>
                    <a:pt x="1208198" y="381884"/>
                    <a:pt x="1204240" y="378544"/>
                  </a:cubicBezTo>
                  <a:cubicBezTo>
                    <a:pt x="1199746" y="382956"/>
                    <a:pt x="1194675" y="386749"/>
                    <a:pt x="1189150" y="389759"/>
                  </a:cubicBezTo>
                  <a:cubicBezTo>
                    <a:pt x="1179214" y="393882"/>
                    <a:pt x="1186552" y="380317"/>
                    <a:pt x="1192242" y="365021"/>
                  </a:cubicBezTo>
                  <a:cubicBezTo>
                    <a:pt x="1192160" y="364856"/>
                    <a:pt x="1192036" y="364691"/>
                    <a:pt x="1191912" y="364567"/>
                  </a:cubicBezTo>
                  <a:cubicBezTo>
                    <a:pt x="1188779" y="359372"/>
                    <a:pt x="1186882" y="353559"/>
                    <a:pt x="1186346" y="347539"/>
                  </a:cubicBezTo>
                  <a:cubicBezTo>
                    <a:pt x="1184821" y="346880"/>
                    <a:pt x="1183377" y="346137"/>
                    <a:pt x="1181934" y="345354"/>
                  </a:cubicBezTo>
                  <a:cubicBezTo>
                    <a:pt x="1173276" y="348982"/>
                    <a:pt x="1163670" y="349518"/>
                    <a:pt x="1154681" y="346962"/>
                  </a:cubicBezTo>
                  <a:cubicBezTo>
                    <a:pt x="1118234" y="337438"/>
                    <a:pt x="1073540" y="325398"/>
                    <a:pt x="1048018" y="294806"/>
                  </a:cubicBezTo>
                  <a:cubicBezTo>
                    <a:pt x="1046987" y="293568"/>
                    <a:pt x="1046163" y="292167"/>
                    <a:pt x="1045215" y="290682"/>
                  </a:cubicBezTo>
                  <a:cubicBezTo>
                    <a:pt x="1044637" y="293775"/>
                    <a:pt x="1044307" y="296950"/>
                    <a:pt x="1044307" y="300124"/>
                  </a:cubicBezTo>
                  <a:cubicBezTo>
                    <a:pt x="1044307" y="329975"/>
                    <a:pt x="1028310" y="290888"/>
                    <a:pt x="1015899" y="322760"/>
                  </a:cubicBezTo>
                  <a:cubicBezTo>
                    <a:pt x="1003489" y="354631"/>
                    <a:pt x="980359" y="334098"/>
                    <a:pt x="995284" y="323831"/>
                  </a:cubicBezTo>
                  <a:cubicBezTo>
                    <a:pt x="1008890" y="314555"/>
                    <a:pt x="1021713" y="294475"/>
                    <a:pt x="1028021" y="276293"/>
                  </a:cubicBezTo>
                  <a:cubicBezTo>
                    <a:pt x="1016271" y="270191"/>
                    <a:pt x="1004602" y="263924"/>
                    <a:pt x="993388" y="256667"/>
                  </a:cubicBezTo>
                  <a:cubicBezTo>
                    <a:pt x="987739" y="253163"/>
                    <a:pt x="982915" y="248463"/>
                    <a:pt x="979287" y="242896"/>
                  </a:cubicBezTo>
                  <a:cubicBezTo>
                    <a:pt x="967371" y="241701"/>
                    <a:pt x="956156" y="242361"/>
                    <a:pt x="949106" y="245617"/>
                  </a:cubicBezTo>
                  <a:cubicBezTo>
                    <a:pt x="926883" y="255925"/>
                    <a:pt x="941108" y="292950"/>
                    <a:pt x="923337" y="281611"/>
                  </a:cubicBezTo>
                  <a:cubicBezTo>
                    <a:pt x="905567" y="270273"/>
                    <a:pt x="919791" y="242525"/>
                    <a:pt x="934016" y="243556"/>
                  </a:cubicBezTo>
                  <a:cubicBezTo>
                    <a:pt x="946838" y="244504"/>
                    <a:pt x="961104" y="216921"/>
                    <a:pt x="970917" y="193379"/>
                  </a:cubicBezTo>
                  <a:cubicBezTo>
                    <a:pt x="953147" y="185421"/>
                    <a:pt x="940448" y="169217"/>
                    <a:pt x="936985" y="150087"/>
                  </a:cubicBezTo>
                  <a:cubicBezTo>
                    <a:pt x="913359" y="149468"/>
                    <a:pt x="896496" y="128358"/>
                    <a:pt x="895259" y="105063"/>
                  </a:cubicBezTo>
                  <a:cubicBezTo>
                    <a:pt x="894929" y="91044"/>
                    <a:pt x="896290" y="77026"/>
                    <a:pt x="899382" y="63338"/>
                  </a:cubicBezTo>
                  <a:lnTo>
                    <a:pt x="899382" y="63090"/>
                  </a:lnTo>
                  <a:cubicBezTo>
                    <a:pt x="884869" y="81562"/>
                    <a:pt x="870026" y="103908"/>
                    <a:pt x="864955" y="121390"/>
                  </a:cubicBezTo>
                  <a:cubicBezTo>
                    <a:pt x="856709" y="150664"/>
                    <a:pt x="845700" y="133759"/>
                    <a:pt x="822858" y="142294"/>
                  </a:cubicBezTo>
                  <a:cubicBezTo>
                    <a:pt x="800017" y="150829"/>
                    <a:pt x="789173" y="139490"/>
                    <a:pt x="783195" y="128399"/>
                  </a:cubicBezTo>
                  <a:cubicBezTo>
                    <a:pt x="777217" y="117308"/>
                    <a:pt x="754333" y="128399"/>
                    <a:pt x="738666" y="126956"/>
                  </a:cubicBezTo>
                  <a:cubicBezTo>
                    <a:pt x="722998" y="125513"/>
                    <a:pt x="732687" y="149262"/>
                    <a:pt x="721844" y="156230"/>
                  </a:cubicBezTo>
                  <a:cubicBezTo>
                    <a:pt x="711000" y="163198"/>
                    <a:pt x="683376" y="142294"/>
                    <a:pt x="673728" y="154828"/>
                  </a:cubicBezTo>
                  <a:cubicBezTo>
                    <a:pt x="664080" y="167362"/>
                    <a:pt x="658102" y="154828"/>
                    <a:pt x="653112" y="165960"/>
                  </a:cubicBezTo>
                  <a:cubicBezTo>
                    <a:pt x="648124" y="177092"/>
                    <a:pt x="631467" y="170083"/>
                    <a:pt x="626643" y="177134"/>
                  </a:cubicBezTo>
                  <a:cubicBezTo>
                    <a:pt x="621819" y="184184"/>
                    <a:pt x="604997" y="188266"/>
                    <a:pt x="583351" y="160394"/>
                  </a:cubicBezTo>
                  <a:cubicBezTo>
                    <a:pt x="561705" y="132523"/>
                    <a:pt x="565292" y="86592"/>
                    <a:pt x="575105" y="78222"/>
                  </a:cubicBezTo>
                  <a:cubicBezTo>
                    <a:pt x="584918" y="69852"/>
                    <a:pt x="584711" y="46186"/>
                    <a:pt x="571476" y="39218"/>
                  </a:cubicBezTo>
                  <a:cubicBezTo>
                    <a:pt x="558241" y="32250"/>
                    <a:pt x="571476" y="3017"/>
                    <a:pt x="554654" y="214"/>
                  </a:cubicBezTo>
                  <a:cubicBezTo>
                    <a:pt x="537832" y="-2590"/>
                    <a:pt x="540223" y="22519"/>
                    <a:pt x="529421" y="26684"/>
                  </a:cubicBezTo>
                  <a:cubicBezTo>
                    <a:pt x="518619" y="30848"/>
                    <a:pt x="492314" y="51752"/>
                    <a:pt x="479945" y="48990"/>
                  </a:cubicBezTo>
                  <a:cubicBezTo>
                    <a:pt x="467575" y="46227"/>
                    <a:pt x="452279" y="51752"/>
                    <a:pt x="452279" y="67049"/>
                  </a:cubicBezTo>
                  <a:cubicBezTo>
                    <a:pt x="452279" y="82345"/>
                    <a:pt x="439086" y="78222"/>
                    <a:pt x="436653" y="65688"/>
                  </a:cubicBezTo>
                  <a:cubicBezTo>
                    <a:pt x="434220" y="53154"/>
                    <a:pt x="409028" y="60122"/>
                    <a:pt x="401813" y="51752"/>
                  </a:cubicBezTo>
                  <a:cubicBezTo>
                    <a:pt x="394598" y="43382"/>
                    <a:pt x="360912" y="47629"/>
                    <a:pt x="375343" y="57318"/>
                  </a:cubicBezTo>
                  <a:cubicBezTo>
                    <a:pt x="389774" y="67007"/>
                    <a:pt x="390969" y="76861"/>
                    <a:pt x="390969" y="92158"/>
                  </a:cubicBezTo>
                  <a:cubicBezTo>
                    <a:pt x="390969" y="107454"/>
                    <a:pt x="401813" y="103290"/>
                    <a:pt x="401813" y="121390"/>
                  </a:cubicBezTo>
                  <a:cubicBezTo>
                    <a:pt x="401813" y="139490"/>
                    <a:pt x="413811" y="126956"/>
                    <a:pt x="422222" y="126956"/>
                  </a:cubicBezTo>
                  <a:cubicBezTo>
                    <a:pt x="430633" y="126956"/>
                    <a:pt x="430468" y="143696"/>
                    <a:pt x="417439" y="146458"/>
                  </a:cubicBezTo>
                  <a:cubicBezTo>
                    <a:pt x="404411" y="149221"/>
                    <a:pt x="398185" y="157590"/>
                    <a:pt x="394598" y="171568"/>
                  </a:cubicBezTo>
                  <a:cubicBezTo>
                    <a:pt x="391011" y="185545"/>
                    <a:pt x="378930" y="175691"/>
                    <a:pt x="368128" y="186864"/>
                  </a:cubicBezTo>
                  <a:cubicBezTo>
                    <a:pt x="357325" y="198038"/>
                    <a:pt x="347513" y="209129"/>
                    <a:pt x="340462" y="203604"/>
                  </a:cubicBezTo>
                  <a:cubicBezTo>
                    <a:pt x="333412" y="198079"/>
                    <a:pt x="327227" y="202202"/>
                    <a:pt x="318816" y="207727"/>
                  </a:cubicBezTo>
                  <a:cubicBezTo>
                    <a:pt x="310405" y="213252"/>
                    <a:pt x="306777" y="207727"/>
                    <a:pt x="294737" y="196594"/>
                  </a:cubicBezTo>
                  <a:cubicBezTo>
                    <a:pt x="285749" y="188348"/>
                    <a:pt x="280101" y="168104"/>
                    <a:pt x="264144" y="149757"/>
                  </a:cubicBezTo>
                  <a:cubicBezTo>
                    <a:pt x="254620" y="154993"/>
                    <a:pt x="235283" y="163033"/>
                    <a:pt x="224934" y="163033"/>
                  </a:cubicBezTo>
                  <a:cubicBezTo>
                    <a:pt x="210916" y="163033"/>
                    <a:pt x="166841" y="159364"/>
                    <a:pt x="164408" y="168186"/>
                  </a:cubicBezTo>
                  <a:cubicBezTo>
                    <a:pt x="161975" y="177010"/>
                    <a:pt x="167624" y="191853"/>
                    <a:pt x="174839" y="193667"/>
                  </a:cubicBezTo>
                  <a:cubicBezTo>
                    <a:pt x="182055" y="195481"/>
                    <a:pt x="197269" y="200676"/>
                    <a:pt x="182838" y="212716"/>
                  </a:cubicBezTo>
                  <a:cubicBezTo>
                    <a:pt x="168407" y="224755"/>
                    <a:pt x="155626" y="208593"/>
                    <a:pt x="155626" y="237742"/>
                  </a:cubicBezTo>
                  <a:cubicBezTo>
                    <a:pt x="155626" y="266892"/>
                    <a:pt x="187992" y="285941"/>
                    <a:pt x="181271" y="312947"/>
                  </a:cubicBezTo>
                  <a:cubicBezTo>
                    <a:pt x="176818" y="333768"/>
                    <a:pt x="174060" y="354961"/>
                    <a:pt x="173025" y="376236"/>
                  </a:cubicBezTo>
                  <a:cubicBezTo>
                    <a:pt x="173025" y="389924"/>
                    <a:pt x="168325" y="436597"/>
                    <a:pt x="157646" y="439318"/>
                  </a:cubicBezTo>
                  <a:cubicBezTo>
                    <a:pt x="146968" y="442039"/>
                    <a:pt x="137526" y="428392"/>
                    <a:pt x="123260" y="442081"/>
                  </a:cubicBezTo>
                  <a:cubicBezTo>
                    <a:pt x="108994" y="455769"/>
                    <a:pt x="91306" y="447564"/>
                    <a:pt x="74732" y="462696"/>
                  </a:cubicBezTo>
                  <a:cubicBezTo>
                    <a:pt x="58157" y="477828"/>
                    <a:pt x="40387" y="472261"/>
                    <a:pt x="39191" y="490073"/>
                  </a:cubicBezTo>
                  <a:cubicBezTo>
                    <a:pt x="37995" y="507884"/>
                    <a:pt x="22699" y="517533"/>
                    <a:pt x="26203" y="533984"/>
                  </a:cubicBezTo>
                  <a:cubicBezTo>
                    <a:pt x="29708" y="550434"/>
                    <a:pt x="19071" y="546353"/>
                    <a:pt x="8392" y="558722"/>
                  </a:cubicBezTo>
                  <a:cubicBezTo>
                    <a:pt x="-2287" y="571091"/>
                    <a:pt x="9588" y="579337"/>
                    <a:pt x="2496" y="588902"/>
                  </a:cubicBezTo>
                  <a:cubicBezTo>
                    <a:pt x="-4596" y="598468"/>
                    <a:pt x="4846" y="613641"/>
                    <a:pt x="13133" y="628690"/>
                  </a:cubicBezTo>
                  <a:cubicBezTo>
                    <a:pt x="21421" y="643739"/>
                    <a:pt x="30904" y="654747"/>
                    <a:pt x="29626" y="668477"/>
                  </a:cubicBezTo>
                  <a:cubicBezTo>
                    <a:pt x="28347" y="682207"/>
                    <a:pt x="37872" y="687690"/>
                    <a:pt x="49746" y="686289"/>
                  </a:cubicBezTo>
                  <a:cubicBezTo>
                    <a:pt x="61620" y="684887"/>
                    <a:pt x="52096" y="712388"/>
                    <a:pt x="71062" y="712388"/>
                  </a:cubicBezTo>
                  <a:cubicBezTo>
                    <a:pt x="90028" y="712388"/>
                    <a:pt x="108953" y="717871"/>
                    <a:pt x="113695" y="705502"/>
                  </a:cubicBezTo>
                  <a:cubicBezTo>
                    <a:pt x="118436" y="693133"/>
                    <a:pt x="131465" y="683567"/>
                    <a:pt x="131465" y="701379"/>
                  </a:cubicBezTo>
                  <a:cubicBezTo>
                    <a:pt x="131465" y="719190"/>
                    <a:pt x="127919" y="767348"/>
                    <a:pt x="140948" y="761741"/>
                  </a:cubicBezTo>
                  <a:cubicBezTo>
                    <a:pt x="153977" y="756133"/>
                    <a:pt x="180034" y="757617"/>
                    <a:pt x="193063" y="763101"/>
                  </a:cubicBezTo>
                  <a:cubicBezTo>
                    <a:pt x="206092" y="768584"/>
                    <a:pt x="219121" y="763101"/>
                    <a:pt x="227408" y="753494"/>
                  </a:cubicBezTo>
                  <a:cubicBezTo>
                    <a:pt x="235695" y="743887"/>
                    <a:pt x="245179" y="743929"/>
                    <a:pt x="261753" y="732879"/>
                  </a:cubicBezTo>
                  <a:cubicBezTo>
                    <a:pt x="278328" y="721829"/>
                    <a:pt x="293748" y="708141"/>
                    <a:pt x="309127" y="708141"/>
                  </a:cubicBezTo>
                  <a:cubicBezTo>
                    <a:pt x="324506" y="708141"/>
                    <a:pt x="350605" y="697173"/>
                    <a:pt x="347018" y="710862"/>
                  </a:cubicBezTo>
                  <a:cubicBezTo>
                    <a:pt x="343431" y="724551"/>
                    <a:pt x="341122" y="775388"/>
                    <a:pt x="360088" y="801569"/>
                  </a:cubicBezTo>
                  <a:cubicBezTo>
                    <a:pt x="379054" y="827751"/>
                    <a:pt x="389691" y="837275"/>
                    <a:pt x="407462" y="834553"/>
                  </a:cubicBezTo>
                  <a:cubicBezTo>
                    <a:pt x="425232" y="831832"/>
                    <a:pt x="422882" y="842799"/>
                    <a:pt x="435869" y="841439"/>
                  </a:cubicBezTo>
                  <a:cubicBezTo>
                    <a:pt x="448857" y="840078"/>
                    <a:pt x="440611" y="857931"/>
                    <a:pt x="452362" y="857931"/>
                  </a:cubicBezTo>
                  <a:cubicBezTo>
                    <a:pt x="464112" y="857931"/>
                    <a:pt x="485346" y="860694"/>
                    <a:pt x="485346" y="875784"/>
                  </a:cubicBezTo>
                  <a:cubicBezTo>
                    <a:pt x="485346" y="890874"/>
                    <a:pt x="520928" y="878546"/>
                    <a:pt x="529215" y="886792"/>
                  </a:cubicBezTo>
                  <a:cubicBezTo>
                    <a:pt x="537503" y="895038"/>
                    <a:pt x="546985" y="901842"/>
                    <a:pt x="544594" y="918292"/>
                  </a:cubicBezTo>
                  <a:cubicBezTo>
                    <a:pt x="542203" y="934743"/>
                    <a:pt x="562405" y="947154"/>
                    <a:pt x="550531" y="953998"/>
                  </a:cubicBezTo>
                  <a:cubicBezTo>
                    <a:pt x="538657" y="960842"/>
                    <a:pt x="554077" y="974613"/>
                    <a:pt x="555273" y="992425"/>
                  </a:cubicBezTo>
                  <a:cubicBezTo>
                    <a:pt x="556469" y="1010237"/>
                    <a:pt x="573043" y="1017163"/>
                    <a:pt x="599101" y="1015720"/>
                  </a:cubicBezTo>
                  <a:cubicBezTo>
                    <a:pt x="625159" y="1014277"/>
                    <a:pt x="632085" y="1017080"/>
                    <a:pt x="632085" y="1039057"/>
                  </a:cubicBezTo>
                  <a:cubicBezTo>
                    <a:pt x="632085" y="1061032"/>
                    <a:pt x="649856" y="1063795"/>
                    <a:pt x="655793" y="1084410"/>
                  </a:cubicBezTo>
                  <a:cubicBezTo>
                    <a:pt x="661730" y="1105025"/>
                    <a:pt x="648660" y="1128279"/>
                    <a:pt x="651051" y="1144772"/>
                  </a:cubicBezTo>
                  <a:cubicBezTo>
                    <a:pt x="652412" y="1156687"/>
                    <a:pt x="647794" y="1168520"/>
                    <a:pt x="638682" y="1176313"/>
                  </a:cubicBezTo>
                  <a:cubicBezTo>
                    <a:pt x="647835" y="1189795"/>
                    <a:pt x="648577" y="1195856"/>
                    <a:pt x="640372" y="1201051"/>
                  </a:cubicBezTo>
                  <a:cubicBezTo>
                    <a:pt x="629570" y="1207978"/>
                    <a:pt x="653649" y="1227521"/>
                    <a:pt x="647629" y="1258155"/>
                  </a:cubicBezTo>
                  <a:cubicBezTo>
                    <a:pt x="641610" y="1288789"/>
                    <a:pt x="640414" y="1294355"/>
                    <a:pt x="668244" y="1295758"/>
                  </a:cubicBezTo>
                  <a:cubicBezTo>
                    <a:pt x="696075" y="1297159"/>
                    <a:pt x="693519" y="1306931"/>
                    <a:pt x="703125" y="1299881"/>
                  </a:cubicBezTo>
                  <a:cubicBezTo>
                    <a:pt x="712732" y="1292830"/>
                    <a:pt x="727163" y="1323588"/>
                    <a:pt x="730750" y="1338926"/>
                  </a:cubicBezTo>
                  <a:cubicBezTo>
                    <a:pt x="734337" y="1354263"/>
                    <a:pt x="745180" y="1390423"/>
                    <a:pt x="750004" y="1390423"/>
                  </a:cubicBezTo>
                  <a:cubicBezTo>
                    <a:pt x="754828" y="1390423"/>
                    <a:pt x="769259" y="1373683"/>
                    <a:pt x="783690" y="1382176"/>
                  </a:cubicBezTo>
                  <a:cubicBezTo>
                    <a:pt x="797089" y="1389969"/>
                    <a:pt x="780391" y="1442290"/>
                    <a:pt x="779896" y="1465215"/>
                  </a:cubicBezTo>
                  <a:cubicBezTo>
                    <a:pt x="789915" y="1464844"/>
                    <a:pt x="802202" y="1464844"/>
                    <a:pt x="806242" y="1467194"/>
                  </a:cubicBezTo>
                  <a:cubicBezTo>
                    <a:pt x="813458" y="1471317"/>
                    <a:pt x="817045" y="1527679"/>
                    <a:pt x="813458" y="1538110"/>
                  </a:cubicBezTo>
                  <a:cubicBezTo>
                    <a:pt x="809871" y="1548541"/>
                    <a:pt x="780144" y="1557859"/>
                    <a:pt x="764847" y="1569363"/>
                  </a:cubicBezTo>
                  <a:cubicBezTo>
                    <a:pt x="749551" y="1580866"/>
                    <a:pt x="712650" y="1621478"/>
                    <a:pt x="695539" y="1653803"/>
                  </a:cubicBezTo>
                  <a:cubicBezTo>
                    <a:pt x="685396" y="1672934"/>
                    <a:pt x="670801" y="1688766"/>
                    <a:pt x="660205" y="1702619"/>
                  </a:cubicBezTo>
                  <a:cubicBezTo>
                    <a:pt x="664204" y="1703568"/>
                    <a:pt x="668368" y="1703238"/>
                    <a:pt x="672161" y="1701754"/>
                  </a:cubicBezTo>
                  <a:cubicBezTo>
                    <a:pt x="680407" y="1697631"/>
                    <a:pt x="692776" y="1697631"/>
                    <a:pt x="706382" y="1716308"/>
                  </a:cubicBezTo>
                  <a:cubicBezTo>
                    <a:pt x="719989" y="1734985"/>
                    <a:pt x="718958" y="1749705"/>
                    <a:pt x="724359" y="1748674"/>
                  </a:cubicBezTo>
                  <a:cubicBezTo>
                    <a:pt x="729760" y="1747643"/>
                    <a:pt x="736068" y="1723647"/>
                    <a:pt x="746871" y="1741335"/>
                  </a:cubicBezTo>
                  <a:cubicBezTo>
                    <a:pt x="757673" y="1759023"/>
                    <a:pt x="785545" y="1772629"/>
                    <a:pt x="791853" y="1780999"/>
                  </a:cubicBezTo>
                  <a:cubicBezTo>
                    <a:pt x="798161" y="1789369"/>
                    <a:pt x="818859" y="1795594"/>
                    <a:pt x="818859" y="1817446"/>
                  </a:cubicBezTo>
                  <a:cubicBezTo>
                    <a:pt x="818859" y="1832537"/>
                    <a:pt x="813128" y="1860491"/>
                    <a:pt x="822116" y="1884982"/>
                  </a:cubicBezTo>
                  <a:cubicBezTo>
                    <a:pt x="823353" y="1884528"/>
                    <a:pt x="824590" y="1884157"/>
                    <a:pt x="825868" y="1883868"/>
                  </a:cubicBezTo>
                  <a:cubicBezTo>
                    <a:pt x="830362" y="1877395"/>
                    <a:pt x="835722" y="1871499"/>
                    <a:pt x="841742" y="1866387"/>
                  </a:cubicBezTo>
                  <a:cubicBezTo>
                    <a:pt x="866480" y="1845772"/>
                    <a:pt x="860419" y="1833402"/>
                    <a:pt x="871964" y="1808664"/>
                  </a:cubicBezTo>
                  <a:cubicBezTo>
                    <a:pt x="883508" y="1783926"/>
                    <a:pt x="873737" y="1773659"/>
                    <a:pt x="893280" y="1752055"/>
                  </a:cubicBezTo>
                  <a:cubicBezTo>
                    <a:pt x="912823" y="1730450"/>
                    <a:pt x="889734" y="1716019"/>
                    <a:pt x="914596" y="1702578"/>
                  </a:cubicBezTo>
                  <a:cubicBezTo>
                    <a:pt x="928615" y="1695033"/>
                    <a:pt x="933562" y="1699939"/>
                    <a:pt x="931583" y="1710824"/>
                  </a:cubicBezTo>
                  <a:cubicBezTo>
                    <a:pt x="932655" y="1709588"/>
                    <a:pt x="933686" y="1708351"/>
                    <a:pt x="934758" y="1707155"/>
                  </a:cubicBezTo>
                  <a:cubicBezTo>
                    <a:pt x="942592" y="1677510"/>
                    <a:pt x="954466" y="1645309"/>
                    <a:pt x="980977" y="1633188"/>
                  </a:cubicBezTo>
                  <a:cubicBezTo>
                    <a:pt x="987574" y="1618056"/>
                    <a:pt x="996645" y="1604120"/>
                    <a:pt x="1007818" y="1591957"/>
                  </a:cubicBezTo>
                  <a:cubicBezTo>
                    <a:pt x="1011818" y="1587669"/>
                    <a:pt x="1016600" y="1584247"/>
                    <a:pt x="1021961" y="1581897"/>
                  </a:cubicBezTo>
                  <a:cubicBezTo>
                    <a:pt x="1021961" y="1572249"/>
                    <a:pt x="1021961" y="1562148"/>
                    <a:pt x="1021218" y="1553035"/>
                  </a:cubicBezTo>
                  <a:cubicBezTo>
                    <a:pt x="1019446" y="1526277"/>
                    <a:pt x="1012354" y="1501621"/>
                    <a:pt x="1022084" y="1484139"/>
                  </a:cubicBezTo>
                  <a:cubicBezTo>
                    <a:pt x="1031815" y="1466658"/>
                    <a:pt x="1022084" y="1450165"/>
                    <a:pt x="1034453" y="1450165"/>
                  </a:cubicBezTo>
                  <a:cubicBezTo>
                    <a:pt x="1046822" y="1450165"/>
                    <a:pt x="1065541" y="1428561"/>
                    <a:pt x="1085084" y="1405884"/>
                  </a:cubicBezTo>
                  <a:cubicBezTo>
                    <a:pt x="1103803" y="1384238"/>
                    <a:pt x="1116048" y="1381434"/>
                    <a:pt x="1134973" y="1379455"/>
                  </a:cubicBezTo>
                  <a:cubicBezTo>
                    <a:pt x="1139962" y="1373477"/>
                    <a:pt x="1146394" y="1368859"/>
                    <a:pt x="1153692" y="1366055"/>
                  </a:cubicBezTo>
                  <a:cubicBezTo>
                    <a:pt x="1159052" y="1363994"/>
                    <a:pt x="1164329" y="1361932"/>
                    <a:pt x="1169607" y="1359417"/>
                  </a:cubicBezTo>
                  <a:cubicBezTo>
                    <a:pt x="1177853" y="1353191"/>
                    <a:pt x="1184326" y="1343749"/>
                    <a:pt x="1190799" y="1336988"/>
                  </a:cubicBezTo>
                  <a:cubicBezTo>
                    <a:pt x="1195706" y="1331834"/>
                    <a:pt x="1209106" y="1332865"/>
                    <a:pt x="1223783" y="1334514"/>
                  </a:cubicBezTo>
                  <a:cubicBezTo>
                    <a:pt x="1242255" y="1325856"/>
                    <a:pt x="1261633" y="1319176"/>
                    <a:pt x="1281506" y="1314600"/>
                  </a:cubicBezTo>
                  <a:cubicBezTo>
                    <a:pt x="1286083" y="1313651"/>
                    <a:pt x="1290824" y="1312868"/>
                    <a:pt x="1295483" y="1312002"/>
                  </a:cubicBezTo>
                  <a:cubicBezTo>
                    <a:pt x="1298287" y="1303344"/>
                    <a:pt x="1306162" y="1297324"/>
                    <a:pt x="1315233" y="1296830"/>
                  </a:cubicBezTo>
                  <a:cubicBezTo>
                    <a:pt x="1327602" y="1296830"/>
                    <a:pt x="1333003" y="1292707"/>
                    <a:pt x="1333003" y="1272091"/>
                  </a:cubicBezTo>
                  <a:cubicBezTo>
                    <a:pt x="1333003" y="1251476"/>
                    <a:pt x="1338322" y="1239107"/>
                    <a:pt x="1348959" y="1229871"/>
                  </a:cubicBezTo>
                  <a:cubicBezTo>
                    <a:pt x="1349454" y="1229417"/>
                    <a:pt x="1349907" y="1228923"/>
                    <a:pt x="1350320" y="1228387"/>
                  </a:cubicBezTo>
                  <a:cubicBezTo>
                    <a:pt x="1354938" y="1192063"/>
                    <a:pt x="1353989" y="1150049"/>
                    <a:pt x="1383304" y="1131413"/>
                  </a:cubicBezTo>
                  <a:cubicBezTo>
                    <a:pt x="1384912" y="1122837"/>
                    <a:pt x="1385901" y="1114137"/>
                    <a:pt x="1386273" y="1105396"/>
                  </a:cubicBezTo>
                  <a:cubicBezTo>
                    <a:pt x="1386273" y="1089976"/>
                    <a:pt x="1400497" y="1091996"/>
                    <a:pt x="1406888" y="1080658"/>
                  </a:cubicBezTo>
                  <a:cubicBezTo>
                    <a:pt x="1413279" y="1069320"/>
                    <a:pt x="1401569" y="1054930"/>
                    <a:pt x="1411300" y="1022935"/>
                  </a:cubicBezTo>
                  <a:cubicBezTo>
                    <a:pt x="1421030" y="990941"/>
                    <a:pt x="1411300" y="961090"/>
                    <a:pt x="1411300" y="932228"/>
                  </a:cubicBezTo>
                  <a:cubicBezTo>
                    <a:pt x="1411300" y="930208"/>
                    <a:pt x="1411300" y="928105"/>
                    <a:pt x="1411300" y="926209"/>
                  </a:cubicBezTo>
                  <a:cubicBezTo>
                    <a:pt x="1397075" y="912273"/>
                    <a:pt x="1391550" y="887741"/>
                    <a:pt x="1403053" y="870341"/>
                  </a:cubicBezTo>
                  <a:cubicBezTo>
                    <a:pt x="1408249" y="862384"/>
                    <a:pt x="1413691" y="854550"/>
                    <a:pt x="1419175" y="846799"/>
                  </a:cubicBezTo>
                  <a:lnTo>
                    <a:pt x="1417567" y="845768"/>
                  </a:lnTo>
                  <a:cubicBezTo>
                    <a:pt x="1410475" y="841645"/>
                    <a:pt x="1418474" y="830348"/>
                    <a:pt x="1424699" y="832410"/>
                  </a:cubicBezTo>
                  <a:cubicBezTo>
                    <a:pt x="1425895" y="832863"/>
                    <a:pt x="1426967" y="833564"/>
                    <a:pt x="1427916" y="834430"/>
                  </a:cubicBezTo>
                  <a:cubicBezTo>
                    <a:pt x="1438924" y="818886"/>
                    <a:pt x="1449932" y="803301"/>
                    <a:pt x="1459828" y="786974"/>
                  </a:cubicBezTo>
                  <a:cubicBezTo>
                    <a:pt x="1465023" y="778439"/>
                    <a:pt x="1472857" y="771842"/>
                    <a:pt x="1482134" y="768090"/>
                  </a:cubicBezTo>
                  <a:cubicBezTo>
                    <a:pt x="1491947" y="740960"/>
                    <a:pt x="1507573" y="741744"/>
                    <a:pt x="1519736" y="735683"/>
                  </a:cubicBezTo>
                  <a:cubicBezTo>
                    <a:pt x="1524436" y="732879"/>
                    <a:pt x="1528642" y="729251"/>
                    <a:pt x="1532105" y="725004"/>
                  </a:cubicBezTo>
                  <a:cubicBezTo>
                    <a:pt x="1529837" y="717129"/>
                    <a:pt x="1529837" y="708718"/>
                    <a:pt x="1532105" y="700843"/>
                  </a:cubicBezTo>
                  <a:cubicBezTo>
                    <a:pt x="1533548" y="696803"/>
                    <a:pt x="1534744" y="692680"/>
                    <a:pt x="1535733" y="688474"/>
                  </a:cubicBezTo>
                  <a:cubicBezTo>
                    <a:pt x="1535733" y="686536"/>
                    <a:pt x="1536228" y="684598"/>
                    <a:pt x="1536475" y="682619"/>
                  </a:cubicBezTo>
                  <a:cubicBezTo>
                    <a:pt x="1537836" y="672394"/>
                    <a:pt x="1546000" y="663406"/>
                    <a:pt x="1554122" y="657427"/>
                  </a:cubicBezTo>
                  <a:cubicBezTo>
                    <a:pt x="1550040" y="642213"/>
                    <a:pt x="1555359" y="626010"/>
                    <a:pt x="1567687" y="616197"/>
                  </a:cubicBezTo>
                  <a:cubicBezTo>
                    <a:pt x="1567687" y="612651"/>
                    <a:pt x="1569006" y="607951"/>
                    <a:pt x="1569336" y="604570"/>
                  </a:cubicBezTo>
                  <a:cubicBezTo>
                    <a:pt x="1570573" y="589480"/>
                    <a:pt x="1570490" y="574307"/>
                    <a:pt x="1569047" y="559217"/>
                  </a:cubicBezTo>
                  <a:cubicBezTo>
                    <a:pt x="1568470" y="550393"/>
                    <a:pt x="1567481" y="541611"/>
                    <a:pt x="1566038" y="532911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0FD6F9D2-87EE-5BE0-27C7-2A646A45B761}"/>
                </a:ext>
              </a:extLst>
            </p:cNvPr>
            <p:cNvSpPr/>
            <p:nvPr>
              <p:custDataLst>
                <p:tags r:id="rId157"/>
              </p:custDataLst>
            </p:nvPr>
          </p:nvSpPr>
          <p:spPr>
            <a:xfrm>
              <a:off x="4700845" y="6910505"/>
              <a:ext cx="170105" cy="209779"/>
            </a:xfrm>
            <a:custGeom>
              <a:avLst/>
              <a:gdLst>
                <a:gd name="connsiteX0" fmla="*/ 90647 w 198628"/>
                <a:gd name="connsiteY0" fmla="*/ 244360 h 244955"/>
                <a:gd name="connsiteX1" fmla="*/ 126888 w 198628"/>
                <a:gd name="connsiteY1" fmla="*/ 224404 h 244955"/>
                <a:gd name="connsiteX2" fmla="*/ 155131 w 198628"/>
                <a:gd name="connsiteY2" fmla="*/ 224404 h 244955"/>
                <a:gd name="connsiteX3" fmla="*/ 160120 w 198628"/>
                <a:gd name="connsiteY3" fmla="*/ 218838 h 244955"/>
                <a:gd name="connsiteX4" fmla="*/ 190012 w 198628"/>
                <a:gd name="connsiteY4" fmla="*/ 189977 h 244955"/>
                <a:gd name="connsiteX5" fmla="*/ 198629 w 198628"/>
                <a:gd name="connsiteY5" fmla="*/ 185483 h 244955"/>
                <a:gd name="connsiteX6" fmla="*/ 195372 w 198628"/>
                <a:gd name="connsiteY6" fmla="*/ 117947 h 244955"/>
                <a:gd name="connsiteX7" fmla="*/ 168366 w 198628"/>
                <a:gd name="connsiteY7" fmla="*/ 81500 h 244955"/>
                <a:gd name="connsiteX8" fmla="*/ 123384 w 198628"/>
                <a:gd name="connsiteY8" fmla="*/ 41836 h 244955"/>
                <a:gd name="connsiteX9" fmla="*/ 100872 w 198628"/>
                <a:gd name="connsiteY9" fmla="*/ 49175 h 244955"/>
                <a:gd name="connsiteX10" fmla="*/ 82895 w 198628"/>
                <a:gd name="connsiteY10" fmla="*/ 16809 h 244955"/>
                <a:gd name="connsiteX11" fmla="*/ 48674 w 198628"/>
                <a:gd name="connsiteY11" fmla="*/ 2255 h 244955"/>
                <a:gd name="connsiteX12" fmla="*/ 36717 w 198628"/>
                <a:gd name="connsiteY12" fmla="*/ 3120 h 244955"/>
                <a:gd name="connsiteX13" fmla="*/ 24348 w 198628"/>
                <a:gd name="connsiteY13" fmla="*/ 29343 h 244955"/>
                <a:gd name="connsiteX14" fmla="*/ 10866 w 198628"/>
                <a:gd name="connsiteY14" fmla="*/ 108588 h 244955"/>
                <a:gd name="connsiteX15" fmla="*/ 63 w 198628"/>
                <a:gd name="connsiteY15" fmla="*/ 169032 h 244955"/>
                <a:gd name="connsiteX16" fmla="*/ 11731 w 198628"/>
                <a:gd name="connsiteY16" fmla="*/ 197192 h 244955"/>
                <a:gd name="connsiteX17" fmla="*/ 8763 w 198628"/>
                <a:gd name="connsiteY17" fmla="*/ 216653 h 244955"/>
                <a:gd name="connsiteX18" fmla="*/ 24595 w 198628"/>
                <a:gd name="connsiteY18" fmla="*/ 225559 h 244955"/>
                <a:gd name="connsiteX19" fmla="*/ 76133 w 198628"/>
                <a:gd name="connsiteY19" fmla="*/ 241020 h 244955"/>
                <a:gd name="connsiteX20" fmla="*/ 90647 w 198628"/>
                <a:gd name="connsiteY20" fmla="*/ 244360 h 244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8628" h="244955">
                  <a:moveTo>
                    <a:pt x="90647" y="244360"/>
                  </a:moveTo>
                  <a:cubicBezTo>
                    <a:pt x="98769" y="232238"/>
                    <a:pt x="112293" y="224817"/>
                    <a:pt x="126888" y="224404"/>
                  </a:cubicBezTo>
                  <a:lnTo>
                    <a:pt x="155131" y="224404"/>
                  </a:lnTo>
                  <a:cubicBezTo>
                    <a:pt x="156863" y="222590"/>
                    <a:pt x="158594" y="220776"/>
                    <a:pt x="160120" y="218838"/>
                  </a:cubicBezTo>
                  <a:cubicBezTo>
                    <a:pt x="168779" y="207954"/>
                    <a:pt x="178839" y="198264"/>
                    <a:pt x="190012" y="189977"/>
                  </a:cubicBezTo>
                  <a:cubicBezTo>
                    <a:pt x="192651" y="188080"/>
                    <a:pt x="195578" y="186555"/>
                    <a:pt x="198629" y="185483"/>
                  </a:cubicBezTo>
                  <a:cubicBezTo>
                    <a:pt x="189641" y="160992"/>
                    <a:pt x="195372" y="133038"/>
                    <a:pt x="195372" y="117947"/>
                  </a:cubicBezTo>
                  <a:cubicBezTo>
                    <a:pt x="195372" y="96095"/>
                    <a:pt x="174757" y="89828"/>
                    <a:pt x="168366" y="81500"/>
                  </a:cubicBezTo>
                  <a:cubicBezTo>
                    <a:pt x="161975" y="73171"/>
                    <a:pt x="134186" y="59606"/>
                    <a:pt x="123384" y="41836"/>
                  </a:cubicBezTo>
                  <a:cubicBezTo>
                    <a:pt x="112581" y="24066"/>
                    <a:pt x="106273" y="48103"/>
                    <a:pt x="100872" y="49175"/>
                  </a:cubicBezTo>
                  <a:cubicBezTo>
                    <a:pt x="95471" y="50247"/>
                    <a:pt x="96378" y="35610"/>
                    <a:pt x="82895" y="16809"/>
                  </a:cubicBezTo>
                  <a:cubicBezTo>
                    <a:pt x="69413" y="-1992"/>
                    <a:pt x="56755" y="-1910"/>
                    <a:pt x="48674" y="2255"/>
                  </a:cubicBezTo>
                  <a:cubicBezTo>
                    <a:pt x="44881" y="3739"/>
                    <a:pt x="40717" y="4069"/>
                    <a:pt x="36717" y="3120"/>
                  </a:cubicBezTo>
                  <a:cubicBezTo>
                    <a:pt x="29543" y="12645"/>
                    <a:pt x="24348" y="21303"/>
                    <a:pt x="24348" y="29343"/>
                  </a:cubicBezTo>
                  <a:cubicBezTo>
                    <a:pt x="24348" y="49175"/>
                    <a:pt x="11731" y="71027"/>
                    <a:pt x="10866" y="108588"/>
                  </a:cubicBezTo>
                  <a:cubicBezTo>
                    <a:pt x="10000" y="146149"/>
                    <a:pt x="970" y="139841"/>
                    <a:pt x="63" y="169032"/>
                  </a:cubicBezTo>
                  <a:cubicBezTo>
                    <a:pt x="-844" y="198223"/>
                    <a:pt x="8309" y="192987"/>
                    <a:pt x="11731" y="197192"/>
                  </a:cubicBezTo>
                  <a:cubicBezTo>
                    <a:pt x="13752" y="199460"/>
                    <a:pt x="11319" y="208778"/>
                    <a:pt x="8763" y="216653"/>
                  </a:cubicBezTo>
                  <a:cubicBezTo>
                    <a:pt x="12556" y="220529"/>
                    <a:pt x="16308" y="226590"/>
                    <a:pt x="24595" y="225559"/>
                  </a:cubicBezTo>
                  <a:cubicBezTo>
                    <a:pt x="40593" y="223497"/>
                    <a:pt x="56590" y="230713"/>
                    <a:pt x="76133" y="241020"/>
                  </a:cubicBezTo>
                  <a:cubicBezTo>
                    <a:pt x="84462" y="245432"/>
                    <a:pt x="87966" y="245432"/>
                    <a:pt x="90647" y="24436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ED1FFBBC-9602-3483-C3CC-E0A8E226A3A0}"/>
                </a:ext>
              </a:extLst>
            </p:cNvPr>
            <p:cNvSpPr/>
            <p:nvPr>
              <p:custDataLst>
                <p:tags r:id="rId158"/>
              </p:custDataLst>
            </p:nvPr>
          </p:nvSpPr>
          <p:spPr>
            <a:xfrm>
              <a:off x="4112676" y="6372725"/>
              <a:ext cx="288233" cy="1774978"/>
            </a:xfrm>
            <a:custGeom>
              <a:avLst/>
              <a:gdLst>
                <a:gd name="connsiteX0" fmla="*/ 268535 w 336564"/>
                <a:gd name="connsiteY0" fmla="*/ 2046104 h 2072608"/>
                <a:gd name="connsiteX1" fmla="*/ 268287 w 336564"/>
                <a:gd name="connsiteY1" fmla="*/ 1893263 h 2072608"/>
                <a:gd name="connsiteX2" fmla="*/ 265442 w 336564"/>
                <a:gd name="connsiteY2" fmla="*/ 1892685 h 2072608"/>
                <a:gd name="connsiteX3" fmla="*/ 232458 w 336564"/>
                <a:gd name="connsiteY3" fmla="*/ 1875204 h 2072608"/>
                <a:gd name="connsiteX4" fmla="*/ 237158 w 336564"/>
                <a:gd name="connsiteY4" fmla="*/ 1868319 h 2072608"/>
                <a:gd name="connsiteX5" fmla="*/ 215553 w 336564"/>
                <a:gd name="connsiteY5" fmla="*/ 1853888 h 2072608"/>
                <a:gd name="connsiteX6" fmla="*/ 144596 w 336564"/>
                <a:gd name="connsiteY6" fmla="*/ 1855290 h 2072608"/>
                <a:gd name="connsiteX7" fmla="*/ 125341 w 336564"/>
                <a:gd name="connsiteY7" fmla="*/ 1835788 h 2072608"/>
                <a:gd name="connsiteX8" fmla="*/ 122950 w 336564"/>
                <a:gd name="connsiteY8" fmla="*/ 1782847 h 2072608"/>
                <a:gd name="connsiteX9" fmla="*/ 85842 w 336564"/>
                <a:gd name="connsiteY9" fmla="*/ 1768953 h 2072608"/>
                <a:gd name="connsiteX10" fmla="*/ 78627 w 336564"/>
                <a:gd name="connsiteY10" fmla="*/ 1738278 h 2072608"/>
                <a:gd name="connsiteX11" fmla="*/ 77431 w 336564"/>
                <a:gd name="connsiteY11" fmla="*/ 1695109 h 2072608"/>
                <a:gd name="connsiteX12" fmla="*/ 99077 w 336564"/>
                <a:gd name="connsiteY12" fmla="*/ 1664475 h 2072608"/>
                <a:gd name="connsiteX13" fmla="*/ 115900 w 336564"/>
                <a:gd name="connsiteY13" fmla="*/ 1632439 h 2072608"/>
                <a:gd name="connsiteX14" fmla="*/ 114745 w 336564"/>
                <a:gd name="connsiteY14" fmla="*/ 1596238 h 2072608"/>
                <a:gd name="connsiteX15" fmla="*/ 131567 w 336564"/>
                <a:gd name="connsiteY15" fmla="*/ 1565604 h 2072608"/>
                <a:gd name="connsiteX16" fmla="*/ 143606 w 336564"/>
                <a:gd name="connsiteY16" fmla="*/ 1533568 h 2072608"/>
                <a:gd name="connsiteX17" fmla="*/ 144802 w 336564"/>
                <a:gd name="connsiteY17" fmla="*/ 1497326 h 2072608"/>
                <a:gd name="connsiteX18" fmla="*/ 150822 w 336564"/>
                <a:gd name="connsiteY18" fmla="*/ 1461126 h 2072608"/>
                <a:gd name="connsiteX19" fmla="*/ 144802 w 336564"/>
                <a:gd name="connsiteY19" fmla="*/ 1430492 h 2072608"/>
                <a:gd name="connsiteX20" fmla="*/ 160428 w 336564"/>
                <a:gd name="connsiteY20" fmla="*/ 1420720 h 2072608"/>
                <a:gd name="connsiteX21" fmla="*/ 154409 w 336564"/>
                <a:gd name="connsiteY21" fmla="*/ 1399858 h 2072608"/>
                <a:gd name="connsiteX22" fmla="*/ 142369 w 336564"/>
                <a:gd name="connsiteY22" fmla="*/ 1376191 h 2072608"/>
                <a:gd name="connsiteX23" fmla="*/ 136391 w 336564"/>
                <a:gd name="connsiteY23" fmla="*/ 1346918 h 2072608"/>
                <a:gd name="connsiteX24" fmla="*/ 132763 w 336564"/>
                <a:gd name="connsiteY24" fmla="*/ 1321850 h 2072608"/>
                <a:gd name="connsiteX25" fmla="*/ 138782 w 336564"/>
                <a:gd name="connsiteY25" fmla="*/ 1273074 h 2072608"/>
                <a:gd name="connsiteX26" fmla="*/ 141174 w 336564"/>
                <a:gd name="connsiteY26" fmla="*/ 1222938 h 2072608"/>
                <a:gd name="connsiteX27" fmla="*/ 132927 w 336564"/>
                <a:gd name="connsiteY27" fmla="*/ 1190902 h 2072608"/>
                <a:gd name="connsiteX28" fmla="*/ 143730 w 336564"/>
                <a:gd name="connsiteY28" fmla="*/ 1158907 h 2072608"/>
                <a:gd name="connsiteX29" fmla="*/ 154573 w 336564"/>
                <a:gd name="connsiteY29" fmla="*/ 1129633 h 2072608"/>
                <a:gd name="connsiteX30" fmla="*/ 156965 w 336564"/>
                <a:gd name="connsiteY30" fmla="*/ 1094793 h 2072608"/>
                <a:gd name="connsiteX31" fmla="*/ 179848 w 336564"/>
                <a:gd name="connsiteY31" fmla="*/ 1076694 h 2072608"/>
                <a:gd name="connsiteX32" fmla="*/ 170200 w 336564"/>
                <a:gd name="connsiteY32" fmla="*/ 1050265 h 2072608"/>
                <a:gd name="connsiteX33" fmla="*/ 169004 w 336564"/>
                <a:gd name="connsiteY33" fmla="*/ 988955 h 2072608"/>
                <a:gd name="connsiteX34" fmla="*/ 199061 w 336564"/>
                <a:gd name="connsiteY34" fmla="*/ 942983 h 2072608"/>
                <a:gd name="connsiteX35" fmla="*/ 199061 w 336564"/>
                <a:gd name="connsiteY35" fmla="*/ 884518 h 2072608"/>
                <a:gd name="connsiteX36" fmla="*/ 211101 w 336564"/>
                <a:gd name="connsiteY36" fmla="*/ 851080 h 2072608"/>
                <a:gd name="connsiteX37" fmla="*/ 221903 w 336564"/>
                <a:gd name="connsiteY37" fmla="*/ 812076 h 2072608"/>
                <a:gd name="connsiteX38" fmla="*/ 212296 w 336564"/>
                <a:gd name="connsiteY38" fmla="*/ 771670 h 2072608"/>
                <a:gd name="connsiteX39" fmla="*/ 199061 w 336564"/>
                <a:gd name="connsiteY39" fmla="*/ 725699 h 2072608"/>
                <a:gd name="connsiteX40" fmla="*/ 199061 w 336564"/>
                <a:gd name="connsiteY40" fmla="*/ 675604 h 2072608"/>
                <a:gd name="connsiteX41" fmla="*/ 215924 w 336564"/>
                <a:gd name="connsiteY41" fmla="*/ 639321 h 2072608"/>
                <a:gd name="connsiteX42" fmla="*/ 215924 w 336564"/>
                <a:gd name="connsiteY42" fmla="*/ 591988 h 2072608"/>
                <a:gd name="connsiteX43" fmla="*/ 226727 w 336564"/>
                <a:gd name="connsiteY43" fmla="*/ 566920 h 2072608"/>
                <a:gd name="connsiteX44" fmla="*/ 244786 w 336564"/>
                <a:gd name="connsiteY44" fmla="*/ 525112 h 2072608"/>
                <a:gd name="connsiteX45" fmla="*/ 256825 w 336564"/>
                <a:gd name="connsiteY45" fmla="*/ 486108 h 2072608"/>
                <a:gd name="connsiteX46" fmla="*/ 280862 w 336564"/>
                <a:gd name="connsiteY46" fmla="*/ 463844 h 2072608"/>
                <a:gd name="connsiteX47" fmla="*/ 279667 w 336564"/>
                <a:gd name="connsiteY47" fmla="*/ 433210 h 2072608"/>
                <a:gd name="connsiteX48" fmla="*/ 276039 w 336564"/>
                <a:gd name="connsiteY48" fmla="*/ 383073 h 2072608"/>
                <a:gd name="connsiteX49" fmla="*/ 278430 w 336564"/>
                <a:gd name="connsiteY49" fmla="*/ 349635 h 2072608"/>
                <a:gd name="connsiteX50" fmla="*/ 324154 w 336564"/>
                <a:gd name="connsiteY50" fmla="*/ 307869 h 2072608"/>
                <a:gd name="connsiteX51" fmla="*/ 332400 w 336564"/>
                <a:gd name="connsiteY51" fmla="*/ 253610 h 2072608"/>
                <a:gd name="connsiteX52" fmla="*/ 307250 w 336564"/>
                <a:gd name="connsiteY52" fmla="*/ 262557 h 2072608"/>
                <a:gd name="connsiteX53" fmla="*/ 297767 w 336564"/>
                <a:gd name="connsiteY53" fmla="*/ 211802 h 2072608"/>
                <a:gd name="connsiteX54" fmla="*/ 283584 w 336564"/>
                <a:gd name="connsiteY54" fmla="*/ 169293 h 2072608"/>
                <a:gd name="connsiteX55" fmla="*/ 269359 w 336564"/>
                <a:gd name="connsiteY55" fmla="*/ 130867 h 2072608"/>
                <a:gd name="connsiteX56" fmla="*/ 277605 w 336564"/>
                <a:gd name="connsiteY56" fmla="*/ 97882 h 2072608"/>
                <a:gd name="connsiteX57" fmla="*/ 261113 w 336564"/>
                <a:gd name="connsiteY57" fmla="*/ 71783 h 2072608"/>
                <a:gd name="connsiteX58" fmla="*/ 251630 w 336564"/>
                <a:gd name="connsiteY58" fmla="*/ 22307 h 2072608"/>
                <a:gd name="connsiteX59" fmla="*/ 233860 w 336564"/>
                <a:gd name="connsiteY59" fmla="*/ 1691 h 2072608"/>
                <a:gd name="connsiteX60" fmla="*/ 217368 w 336564"/>
                <a:gd name="connsiteY60" fmla="*/ 38799 h 2072608"/>
                <a:gd name="connsiteX61" fmla="*/ 208668 w 336564"/>
                <a:gd name="connsiteY61" fmla="*/ 46097 h 2072608"/>
                <a:gd name="connsiteX62" fmla="*/ 209080 w 336564"/>
                <a:gd name="connsiteY62" fmla="*/ 87863 h 2072608"/>
                <a:gd name="connsiteX63" fmla="*/ 211760 w 336564"/>
                <a:gd name="connsiteY63" fmla="*/ 207184 h 2072608"/>
                <a:gd name="connsiteX64" fmla="*/ 195763 w 336564"/>
                <a:gd name="connsiteY64" fmla="*/ 277276 h 2072608"/>
                <a:gd name="connsiteX65" fmla="*/ 201082 w 336564"/>
                <a:gd name="connsiteY65" fmla="*/ 304035 h 2072608"/>
                <a:gd name="connsiteX66" fmla="*/ 196629 w 336564"/>
                <a:gd name="connsiteY66" fmla="*/ 365880 h 2072608"/>
                <a:gd name="connsiteX67" fmla="*/ 178858 w 336564"/>
                <a:gd name="connsiteY67" fmla="*/ 471884 h 2072608"/>
                <a:gd name="connsiteX68" fmla="*/ 168221 w 336564"/>
                <a:gd name="connsiteY68" fmla="*/ 520247 h 2072608"/>
                <a:gd name="connsiteX69" fmla="*/ 162943 w 336564"/>
                <a:gd name="connsiteY69" fmla="*/ 545274 h 2072608"/>
                <a:gd name="connsiteX70" fmla="*/ 170406 w 336564"/>
                <a:gd name="connsiteY70" fmla="*/ 584979 h 2072608"/>
                <a:gd name="connsiteX71" fmla="*/ 163727 w 336564"/>
                <a:gd name="connsiteY71" fmla="*/ 605594 h 2072608"/>
                <a:gd name="connsiteX72" fmla="*/ 165541 w 336564"/>
                <a:gd name="connsiteY72" fmla="*/ 615696 h 2072608"/>
                <a:gd name="connsiteX73" fmla="*/ 150450 w 336564"/>
                <a:gd name="connsiteY73" fmla="*/ 666120 h 2072608"/>
                <a:gd name="connsiteX74" fmla="*/ 150450 w 336564"/>
                <a:gd name="connsiteY74" fmla="*/ 768001 h 2072608"/>
                <a:gd name="connsiteX75" fmla="*/ 141545 w 336564"/>
                <a:gd name="connsiteY75" fmla="*/ 799872 h 2072608"/>
                <a:gd name="connsiteX76" fmla="*/ 131897 w 336564"/>
                <a:gd name="connsiteY76" fmla="*/ 836114 h 2072608"/>
                <a:gd name="connsiteX77" fmla="*/ 78627 w 336564"/>
                <a:gd name="connsiteY77" fmla="*/ 1034020 h 2072608"/>
                <a:gd name="connsiteX78" fmla="*/ 74875 w 336564"/>
                <a:gd name="connsiteY78" fmla="*/ 1039833 h 2072608"/>
                <a:gd name="connsiteX79" fmla="*/ 77596 w 336564"/>
                <a:gd name="connsiteY79" fmla="*/ 1085723 h 2072608"/>
                <a:gd name="connsiteX80" fmla="*/ 79369 w 336564"/>
                <a:gd name="connsiteY80" fmla="*/ 1133055 h 2072608"/>
                <a:gd name="connsiteX81" fmla="*/ 67000 w 336564"/>
                <a:gd name="connsiteY81" fmla="*/ 1172142 h 2072608"/>
                <a:gd name="connsiteX82" fmla="*/ 61681 w 336564"/>
                <a:gd name="connsiteY82" fmla="*/ 1226649 h 2072608"/>
                <a:gd name="connsiteX83" fmla="*/ 58136 w 336564"/>
                <a:gd name="connsiteY83" fmla="*/ 1254438 h 2072608"/>
                <a:gd name="connsiteX84" fmla="*/ 41231 w 336564"/>
                <a:gd name="connsiteY84" fmla="*/ 1304863 h 2072608"/>
                <a:gd name="connsiteX85" fmla="*/ 59908 w 336564"/>
                <a:gd name="connsiteY85" fmla="*/ 1335745 h 2072608"/>
                <a:gd name="connsiteX86" fmla="*/ 77679 w 336564"/>
                <a:gd name="connsiteY86" fmla="*/ 1252377 h 2072608"/>
                <a:gd name="connsiteX87" fmla="*/ 92769 w 336564"/>
                <a:gd name="connsiteY87" fmla="*/ 1234895 h 2072608"/>
                <a:gd name="connsiteX88" fmla="*/ 103448 w 336564"/>
                <a:gd name="connsiteY88" fmla="*/ 1252377 h 2072608"/>
                <a:gd name="connsiteX89" fmla="*/ 106128 w 336564"/>
                <a:gd name="connsiteY89" fmla="*/ 1272992 h 2072608"/>
                <a:gd name="connsiteX90" fmla="*/ 102541 w 336564"/>
                <a:gd name="connsiteY90" fmla="*/ 1312078 h 2072608"/>
                <a:gd name="connsiteX91" fmla="*/ 92769 w 336564"/>
                <a:gd name="connsiteY91" fmla="*/ 1349186 h 2072608"/>
                <a:gd name="connsiteX92" fmla="*/ 85678 w 336564"/>
                <a:gd name="connsiteY92" fmla="*/ 1379036 h 2072608"/>
                <a:gd name="connsiteX93" fmla="*/ 87450 w 336564"/>
                <a:gd name="connsiteY93" fmla="*/ 1401672 h 2072608"/>
                <a:gd name="connsiteX94" fmla="*/ 86543 w 336564"/>
                <a:gd name="connsiteY94" fmla="*/ 1421215 h 2072608"/>
                <a:gd name="connsiteX95" fmla="*/ 88357 w 336564"/>
                <a:gd name="connsiteY95" fmla="*/ 1449004 h 2072608"/>
                <a:gd name="connsiteX96" fmla="*/ 67742 w 336564"/>
                <a:gd name="connsiteY96" fmla="*/ 1462363 h 2072608"/>
                <a:gd name="connsiteX97" fmla="*/ 71288 w 336564"/>
                <a:gd name="connsiteY97" fmla="*/ 1493245 h 2072608"/>
                <a:gd name="connsiteX98" fmla="*/ 45519 w 336564"/>
                <a:gd name="connsiteY98" fmla="*/ 1480876 h 2072608"/>
                <a:gd name="connsiteX99" fmla="*/ 63289 w 336564"/>
                <a:gd name="connsiteY99" fmla="*/ 1450035 h 2072608"/>
                <a:gd name="connsiteX100" fmla="*/ 41973 w 336564"/>
                <a:gd name="connsiteY100" fmla="*/ 1416061 h 2072608"/>
                <a:gd name="connsiteX101" fmla="*/ 55291 w 336564"/>
                <a:gd name="connsiteY101" fmla="*/ 1453169 h 2072608"/>
                <a:gd name="connsiteX102" fmla="*/ 33974 w 336564"/>
                <a:gd name="connsiteY102" fmla="*/ 1464466 h 2072608"/>
                <a:gd name="connsiteX103" fmla="*/ 10885 w 336564"/>
                <a:gd name="connsiteY103" fmla="*/ 1484009 h 2072608"/>
                <a:gd name="connsiteX104" fmla="*/ 12658 w 336564"/>
                <a:gd name="connsiteY104" fmla="*/ 1506686 h 2072608"/>
                <a:gd name="connsiteX105" fmla="*/ 660 w 336564"/>
                <a:gd name="connsiteY105" fmla="*/ 1514520 h 2072608"/>
                <a:gd name="connsiteX106" fmla="*/ 1773 w 336564"/>
                <a:gd name="connsiteY106" fmla="*/ 1528827 h 2072608"/>
                <a:gd name="connsiteX107" fmla="*/ 16204 w 336564"/>
                <a:gd name="connsiteY107" fmla="*/ 1536495 h 2072608"/>
                <a:gd name="connsiteX108" fmla="*/ 39335 w 336564"/>
                <a:gd name="connsiteY108" fmla="*/ 1539588 h 2072608"/>
                <a:gd name="connsiteX109" fmla="*/ 42839 w 336564"/>
                <a:gd name="connsiteY109" fmla="*/ 1563213 h 2072608"/>
                <a:gd name="connsiteX110" fmla="*/ 30470 w 336564"/>
                <a:gd name="connsiteY110" fmla="*/ 1592074 h 2072608"/>
                <a:gd name="connsiteX111" fmla="*/ 67577 w 336564"/>
                <a:gd name="connsiteY111" fmla="*/ 1596198 h 2072608"/>
                <a:gd name="connsiteX112" fmla="*/ 68443 w 336564"/>
                <a:gd name="connsiteY112" fmla="*/ 1614710 h 2072608"/>
                <a:gd name="connsiteX113" fmla="*/ 41808 w 336564"/>
                <a:gd name="connsiteY113" fmla="*/ 1607536 h 2072608"/>
                <a:gd name="connsiteX114" fmla="*/ 17812 w 336564"/>
                <a:gd name="connsiteY114" fmla="*/ 1609597 h 2072608"/>
                <a:gd name="connsiteX115" fmla="*/ 1526 w 336564"/>
                <a:gd name="connsiteY115" fmla="*/ 1614957 h 2072608"/>
                <a:gd name="connsiteX116" fmla="*/ 11834 w 336564"/>
                <a:gd name="connsiteY116" fmla="*/ 1654167 h 2072608"/>
                <a:gd name="connsiteX117" fmla="*/ 25811 w 336564"/>
                <a:gd name="connsiteY117" fmla="*/ 1641468 h 2072608"/>
                <a:gd name="connsiteX118" fmla="*/ 42674 w 336564"/>
                <a:gd name="connsiteY118" fmla="*/ 1643530 h 2072608"/>
                <a:gd name="connsiteX119" fmla="*/ 22059 w 336564"/>
                <a:gd name="connsiteY119" fmla="*/ 1663073 h 2072608"/>
                <a:gd name="connsiteX120" fmla="*/ 5031 w 336564"/>
                <a:gd name="connsiteY120" fmla="*/ 1686863 h 2072608"/>
                <a:gd name="connsiteX121" fmla="*/ 908 w 336564"/>
                <a:gd name="connsiteY121" fmla="*/ 1697006 h 2072608"/>
                <a:gd name="connsiteX122" fmla="*/ 1 w 336564"/>
                <a:gd name="connsiteY122" fmla="*/ 1708715 h 2072608"/>
                <a:gd name="connsiteX123" fmla="*/ 9690 w 336564"/>
                <a:gd name="connsiteY123" fmla="*/ 1710447 h 2072608"/>
                <a:gd name="connsiteX124" fmla="*/ 19461 w 336564"/>
                <a:gd name="connsiteY124" fmla="*/ 1724836 h 2072608"/>
                <a:gd name="connsiteX125" fmla="*/ 31831 w 336564"/>
                <a:gd name="connsiteY125" fmla="*/ 1706283 h 2072608"/>
                <a:gd name="connsiteX126" fmla="*/ 48735 w 336564"/>
                <a:gd name="connsiteY126" fmla="*/ 1684678 h 2072608"/>
                <a:gd name="connsiteX127" fmla="*/ 43375 w 336564"/>
                <a:gd name="connsiteY127" fmla="*/ 1717662 h 2072608"/>
                <a:gd name="connsiteX128" fmla="*/ 37149 w 336564"/>
                <a:gd name="connsiteY128" fmla="*/ 1752626 h 2072608"/>
                <a:gd name="connsiteX129" fmla="*/ 26512 w 336564"/>
                <a:gd name="connsiteY129" fmla="*/ 1770149 h 2072608"/>
                <a:gd name="connsiteX130" fmla="*/ 15256 w 336564"/>
                <a:gd name="connsiteY130" fmla="*/ 1777900 h 2072608"/>
                <a:gd name="connsiteX131" fmla="*/ 18760 w 336564"/>
                <a:gd name="connsiteY131" fmla="*/ 1792001 h 2072608"/>
                <a:gd name="connsiteX132" fmla="*/ 32944 w 336564"/>
                <a:gd name="connsiteY132" fmla="*/ 1802845 h 2072608"/>
                <a:gd name="connsiteX133" fmla="*/ 33603 w 336564"/>
                <a:gd name="connsiteY133" fmla="*/ 1802845 h 2072608"/>
                <a:gd name="connsiteX134" fmla="*/ 54219 w 336564"/>
                <a:gd name="connsiteY134" fmla="*/ 1803875 h 2072608"/>
                <a:gd name="connsiteX135" fmla="*/ 62465 w 336564"/>
                <a:gd name="connsiteY135" fmla="*/ 1819295 h 2072608"/>
                <a:gd name="connsiteX136" fmla="*/ 51621 w 336564"/>
                <a:gd name="connsiteY136" fmla="*/ 1826057 h 2072608"/>
                <a:gd name="connsiteX137" fmla="*/ 53064 w 336564"/>
                <a:gd name="connsiteY137" fmla="*/ 1828531 h 2072608"/>
                <a:gd name="connsiteX138" fmla="*/ 56857 w 336564"/>
                <a:gd name="connsiteY138" fmla="*/ 1838138 h 2072608"/>
                <a:gd name="connsiteX139" fmla="*/ 67783 w 336564"/>
                <a:gd name="connsiteY139" fmla="*/ 1843992 h 2072608"/>
                <a:gd name="connsiteX140" fmla="*/ 81101 w 336564"/>
                <a:gd name="connsiteY140" fmla="*/ 1838839 h 2072608"/>
                <a:gd name="connsiteX141" fmla="*/ 106870 w 336564"/>
                <a:gd name="connsiteY141" fmla="*/ 1849146 h 2072608"/>
                <a:gd name="connsiteX142" fmla="*/ 71329 w 336564"/>
                <a:gd name="connsiteY142" fmla="*/ 1865638 h 2072608"/>
                <a:gd name="connsiteX143" fmla="*/ 60527 w 336564"/>
                <a:gd name="connsiteY143" fmla="*/ 1868689 h 2072608"/>
                <a:gd name="connsiteX144" fmla="*/ 60527 w 336564"/>
                <a:gd name="connsiteY144" fmla="*/ 1894417 h 2072608"/>
                <a:gd name="connsiteX145" fmla="*/ 89100 w 336564"/>
                <a:gd name="connsiteY145" fmla="*/ 1882048 h 2072608"/>
                <a:gd name="connsiteX146" fmla="*/ 150409 w 336564"/>
                <a:gd name="connsiteY146" fmla="*/ 1886171 h 2072608"/>
                <a:gd name="connsiteX147" fmla="*/ 125671 w 336564"/>
                <a:gd name="connsiteY147" fmla="*/ 1895407 h 2072608"/>
                <a:gd name="connsiteX148" fmla="*/ 100933 w 336564"/>
                <a:gd name="connsiteY148" fmla="*/ 1900561 h 2072608"/>
                <a:gd name="connsiteX149" fmla="*/ 78751 w 336564"/>
                <a:gd name="connsiteY149" fmla="*/ 1917053 h 2072608"/>
                <a:gd name="connsiteX150" fmla="*/ 79617 w 336564"/>
                <a:gd name="connsiteY150" fmla="*/ 1935565 h 2072608"/>
                <a:gd name="connsiteX151" fmla="*/ 116023 w 336564"/>
                <a:gd name="connsiteY151" fmla="*/ 1918084 h 2072608"/>
                <a:gd name="connsiteX152" fmla="*/ 161377 w 336564"/>
                <a:gd name="connsiteY152" fmla="*/ 1907817 h 2072608"/>
                <a:gd name="connsiteX153" fmla="*/ 131155 w 336564"/>
                <a:gd name="connsiteY153" fmla="*/ 1927319 h 2072608"/>
                <a:gd name="connsiteX154" fmla="*/ 110539 w 336564"/>
                <a:gd name="connsiteY154" fmla="*/ 1949996 h 2072608"/>
                <a:gd name="connsiteX155" fmla="*/ 79782 w 336564"/>
                <a:gd name="connsiteY155" fmla="*/ 1947481 h 2072608"/>
                <a:gd name="connsiteX156" fmla="*/ 80482 w 336564"/>
                <a:gd name="connsiteY156" fmla="*/ 1948594 h 2072608"/>
                <a:gd name="connsiteX157" fmla="*/ 110828 w 336564"/>
                <a:gd name="connsiteY157" fmla="*/ 1987145 h 2072608"/>
                <a:gd name="connsiteX158" fmla="*/ 132763 w 336564"/>
                <a:gd name="connsiteY158" fmla="*/ 1996298 h 2072608"/>
                <a:gd name="connsiteX159" fmla="*/ 125671 w 336564"/>
                <a:gd name="connsiteY159" fmla="*/ 1980836 h 2072608"/>
                <a:gd name="connsiteX160" fmla="*/ 141627 w 336564"/>
                <a:gd name="connsiteY160" fmla="*/ 1967436 h 2072608"/>
                <a:gd name="connsiteX161" fmla="*/ 172715 w 336564"/>
                <a:gd name="connsiteY161" fmla="*/ 1934452 h 2072608"/>
                <a:gd name="connsiteX162" fmla="*/ 208256 w 336564"/>
                <a:gd name="connsiteY162" fmla="*/ 1890170 h 2072608"/>
                <a:gd name="connsiteX163" fmla="*/ 202937 w 336564"/>
                <a:gd name="connsiteY163" fmla="*/ 1912806 h 2072608"/>
                <a:gd name="connsiteX164" fmla="*/ 196711 w 336564"/>
                <a:gd name="connsiteY164" fmla="*/ 1939564 h 2072608"/>
                <a:gd name="connsiteX165" fmla="*/ 233118 w 336564"/>
                <a:gd name="connsiteY165" fmla="*/ 1941626 h 2072608"/>
                <a:gd name="connsiteX166" fmla="*/ 210936 w 336564"/>
                <a:gd name="connsiteY166" fmla="*/ 1962241 h 2072608"/>
                <a:gd name="connsiteX167" fmla="*/ 212709 w 336564"/>
                <a:gd name="connsiteY167" fmla="*/ 1995226 h 2072608"/>
                <a:gd name="connsiteX168" fmla="*/ 195845 w 336564"/>
                <a:gd name="connsiteY168" fmla="*/ 1957129 h 2072608"/>
                <a:gd name="connsiteX169" fmla="*/ 187846 w 336564"/>
                <a:gd name="connsiteY169" fmla="*/ 1985990 h 2072608"/>
                <a:gd name="connsiteX170" fmla="*/ 168303 w 336564"/>
                <a:gd name="connsiteY170" fmla="*/ 1977744 h 2072608"/>
                <a:gd name="connsiteX171" fmla="*/ 157625 w 336564"/>
                <a:gd name="connsiteY171" fmla="*/ 1995267 h 2072608"/>
                <a:gd name="connsiteX172" fmla="*/ 137010 w 336564"/>
                <a:gd name="connsiteY172" fmla="*/ 2013779 h 2072608"/>
                <a:gd name="connsiteX173" fmla="*/ 166283 w 336564"/>
                <a:gd name="connsiteY173" fmla="*/ 2020995 h 2072608"/>
                <a:gd name="connsiteX174" fmla="*/ 181167 w 336564"/>
                <a:gd name="connsiteY174" fmla="*/ 2052619 h 2072608"/>
                <a:gd name="connsiteX175" fmla="*/ 192464 w 336564"/>
                <a:gd name="connsiteY175" fmla="*/ 2056989 h 2072608"/>
                <a:gd name="connsiteX176" fmla="*/ 192877 w 336564"/>
                <a:gd name="connsiteY176" fmla="*/ 2057278 h 2072608"/>
                <a:gd name="connsiteX177" fmla="*/ 201123 w 336564"/>
                <a:gd name="connsiteY177" fmla="*/ 2026107 h 2072608"/>
                <a:gd name="connsiteX178" fmla="*/ 229531 w 336564"/>
                <a:gd name="connsiteY178" fmla="*/ 2069358 h 2072608"/>
                <a:gd name="connsiteX179" fmla="*/ 243755 w 336564"/>
                <a:gd name="connsiteY179" fmla="*/ 2052866 h 2072608"/>
                <a:gd name="connsiteX180" fmla="*/ 267916 w 336564"/>
                <a:gd name="connsiteY180" fmla="*/ 2069812 h 2072608"/>
                <a:gd name="connsiteX181" fmla="*/ 275420 w 336564"/>
                <a:gd name="connsiteY181" fmla="*/ 2068863 h 2072608"/>
                <a:gd name="connsiteX182" fmla="*/ 288119 w 336564"/>
                <a:gd name="connsiteY182" fmla="*/ 2069812 h 2072608"/>
                <a:gd name="connsiteX183" fmla="*/ 280162 w 336564"/>
                <a:gd name="connsiteY183" fmla="*/ 2056989 h 2072608"/>
                <a:gd name="connsiteX184" fmla="*/ 303292 w 336564"/>
                <a:gd name="connsiteY184" fmla="*/ 2056989 h 2072608"/>
                <a:gd name="connsiteX185" fmla="*/ 329927 w 336564"/>
                <a:gd name="connsiteY185" fmla="*/ 2052866 h 2072608"/>
                <a:gd name="connsiteX186" fmla="*/ 336565 w 336564"/>
                <a:gd name="connsiteY186" fmla="*/ 2049897 h 2072608"/>
                <a:gd name="connsiteX187" fmla="*/ 268535 w 336564"/>
                <a:gd name="connsiteY187" fmla="*/ 2046104 h 2072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</a:cxnLst>
              <a:rect l="l" t="t" r="r" b="b"/>
              <a:pathLst>
                <a:path w="336564" h="2072608">
                  <a:moveTo>
                    <a:pt x="268535" y="2046104"/>
                  </a:moveTo>
                  <a:cubicBezTo>
                    <a:pt x="262144" y="2044908"/>
                    <a:pt x="267050" y="1921547"/>
                    <a:pt x="268287" y="1893263"/>
                  </a:cubicBezTo>
                  <a:cubicBezTo>
                    <a:pt x="267364" y="1892974"/>
                    <a:pt x="266411" y="1892768"/>
                    <a:pt x="265442" y="1892685"/>
                  </a:cubicBezTo>
                  <a:cubicBezTo>
                    <a:pt x="253898" y="1892685"/>
                    <a:pt x="228335" y="1895778"/>
                    <a:pt x="232458" y="1875204"/>
                  </a:cubicBezTo>
                  <a:cubicBezTo>
                    <a:pt x="232845" y="1872277"/>
                    <a:pt x="234590" y="1869720"/>
                    <a:pt x="237158" y="1868319"/>
                  </a:cubicBezTo>
                  <a:cubicBezTo>
                    <a:pt x="231266" y="1861804"/>
                    <a:pt x="223841" y="1856815"/>
                    <a:pt x="215553" y="1853888"/>
                  </a:cubicBezTo>
                  <a:cubicBezTo>
                    <a:pt x="197495" y="1848321"/>
                    <a:pt x="154203" y="1853888"/>
                    <a:pt x="144596" y="1855290"/>
                  </a:cubicBezTo>
                  <a:cubicBezTo>
                    <a:pt x="134989" y="1856691"/>
                    <a:pt x="131361" y="1835788"/>
                    <a:pt x="125341" y="1835788"/>
                  </a:cubicBezTo>
                  <a:cubicBezTo>
                    <a:pt x="119321" y="1835788"/>
                    <a:pt x="118126" y="1799546"/>
                    <a:pt x="122950" y="1782847"/>
                  </a:cubicBezTo>
                  <a:cubicBezTo>
                    <a:pt x="127774" y="1766149"/>
                    <a:pt x="95284" y="1774601"/>
                    <a:pt x="85842" y="1768953"/>
                  </a:cubicBezTo>
                  <a:cubicBezTo>
                    <a:pt x="76401" y="1763304"/>
                    <a:pt x="89471" y="1752213"/>
                    <a:pt x="78627" y="1738278"/>
                  </a:cubicBezTo>
                  <a:cubicBezTo>
                    <a:pt x="67783" y="1724342"/>
                    <a:pt x="76236" y="1704840"/>
                    <a:pt x="77431" y="1695109"/>
                  </a:cubicBezTo>
                  <a:cubicBezTo>
                    <a:pt x="78627" y="1685379"/>
                    <a:pt x="85678" y="1664475"/>
                    <a:pt x="99077" y="1664475"/>
                  </a:cubicBezTo>
                  <a:cubicBezTo>
                    <a:pt x="112477" y="1664475"/>
                    <a:pt x="102706" y="1642169"/>
                    <a:pt x="115900" y="1632439"/>
                  </a:cubicBezTo>
                  <a:cubicBezTo>
                    <a:pt x="129093" y="1622708"/>
                    <a:pt x="103901" y="1605969"/>
                    <a:pt x="114745" y="1596238"/>
                  </a:cubicBezTo>
                  <a:cubicBezTo>
                    <a:pt x="125589" y="1586508"/>
                    <a:pt x="114745" y="1568367"/>
                    <a:pt x="131567" y="1565604"/>
                  </a:cubicBezTo>
                  <a:cubicBezTo>
                    <a:pt x="148389" y="1562842"/>
                    <a:pt x="131567" y="1537691"/>
                    <a:pt x="143606" y="1533568"/>
                  </a:cubicBezTo>
                  <a:cubicBezTo>
                    <a:pt x="155645" y="1529445"/>
                    <a:pt x="141174" y="1514066"/>
                    <a:pt x="144802" y="1497326"/>
                  </a:cubicBezTo>
                  <a:cubicBezTo>
                    <a:pt x="148430" y="1480587"/>
                    <a:pt x="135154" y="1468094"/>
                    <a:pt x="150822" y="1461126"/>
                  </a:cubicBezTo>
                  <a:cubicBezTo>
                    <a:pt x="166489" y="1454158"/>
                    <a:pt x="155645" y="1440222"/>
                    <a:pt x="144802" y="1430492"/>
                  </a:cubicBezTo>
                  <a:cubicBezTo>
                    <a:pt x="133958" y="1420762"/>
                    <a:pt x="147193" y="1420720"/>
                    <a:pt x="160428" y="1420720"/>
                  </a:cubicBezTo>
                  <a:cubicBezTo>
                    <a:pt x="173663" y="1420720"/>
                    <a:pt x="166448" y="1395694"/>
                    <a:pt x="154409" y="1399858"/>
                  </a:cubicBezTo>
                  <a:cubicBezTo>
                    <a:pt x="140143" y="1404806"/>
                    <a:pt x="131567" y="1388684"/>
                    <a:pt x="142369" y="1376191"/>
                  </a:cubicBezTo>
                  <a:cubicBezTo>
                    <a:pt x="153172" y="1363699"/>
                    <a:pt x="132763" y="1355246"/>
                    <a:pt x="136391" y="1346918"/>
                  </a:cubicBezTo>
                  <a:cubicBezTo>
                    <a:pt x="140019" y="1338589"/>
                    <a:pt x="139978" y="1327416"/>
                    <a:pt x="132763" y="1321850"/>
                  </a:cubicBezTo>
                  <a:cubicBezTo>
                    <a:pt x="125547" y="1316284"/>
                    <a:pt x="130371" y="1274476"/>
                    <a:pt x="138782" y="1273074"/>
                  </a:cubicBezTo>
                  <a:cubicBezTo>
                    <a:pt x="147193" y="1271672"/>
                    <a:pt x="141174" y="1234111"/>
                    <a:pt x="141174" y="1222938"/>
                  </a:cubicBezTo>
                  <a:cubicBezTo>
                    <a:pt x="141174" y="1211764"/>
                    <a:pt x="131567" y="1200673"/>
                    <a:pt x="132927" y="1190902"/>
                  </a:cubicBezTo>
                  <a:cubicBezTo>
                    <a:pt x="134288" y="1181130"/>
                    <a:pt x="143730" y="1178533"/>
                    <a:pt x="143730" y="1158907"/>
                  </a:cubicBezTo>
                  <a:cubicBezTo>
                    <a:pt x="143730" y="1139281"/>
                    <a:pt x="147358" y="1131035"/>
                    <a:pt x="154573" y="1129633"/>
                  </a:cubicBezTo>
                  <a:cubicBezTo>
                    <a:pt x="161789" y="1128232"/>
                    <a:pt x="155811" y="1105926"/>
                    <a:pt x="156965" y="1094793"/>
                  </a:cubicBezTo>
                  <a:cubicBezTo>
                    <a:pt x="158119" y="1083661"/>
                    <a:pt x="177580" y="1094793"/>
                    <a:pt x="179848" y="1076694"/>
                  </a:cubicBezTo>
                  <a:cubicBezTo>
                    <a:pt x="182116" y="1058593"/>
                    <a:pt x="167809" y="1061397"/>
                    <a:pt x="170200" y="1050265"/>
                  </a:cubicBezTo>
                  <a:cubicBezTo>
                    <a:pt x="173086" y="1036947"/>
                    <a:pt x="169004" y="1019589"/>
                    <a:pt x="169004" y="988955"/>
                  </a:cubicBezTo>
                  <a:cubicBezTo>
                    <a:pt x="169004" y="958321"/>
                    <a:pt x="190650" y="951394"/>
                    <a:pt x="199061" y="942983"/>
                  </a:cubicBezTo>
                  <a:cubicBezTo>
                    <a:pt x="207472" y="934572"/>
                    <a:pt x="188259" y="890085"/>
                    <a:pt x="199061" y="884518"/>
                  </a:cubicBezTo>
                  <a:cubicBezTo>
                    <a:pt x="209864" y="878952"/>
                    <a:pt x="202690" y="858048"/>
                    <a:pt x="211101" y="851080"/>
                  </a:cubicBezTo>
                  <a:cubicBezTo>
                    <a:pt x="219511" y="844113"/>
                    <a:pt x="217120" y="828775"/>
                    <a:pt x="221903" y="812076"/>
                  </a:cubicBezTo>
                  <a:cubicBezTo>
                    <a:pt x="226686" y="795378"/>
                    <a:pt x="212296" y="786967"/>
                    <a:pt x="212296" y="771670"/>
                  </a:cubicBezTo>
                  <a:cubicBezTo>
                    <a:pt x="212836" y="755343"/>
                    <a:pt x="208206" y="739263"/>
                    <a:pt x="199061" y="725699"/>
                  </a:cubicBezTo>
                  <a:cubicBezTo>
                    <a:pt x="188259" y="709207"/>
                    <a:pt x="191846" y="675604"/>
                    <a:pt x="199061" y="675604"/>
                  </a:cubicBezTo>
                  <a:cubicBezTo>
                    <a:pt x="206277" y="675604"/>
                    <a:pt x="202690" y="643567"/>
                    <a:pt x="215924" y="639321"/>
                  </a:cubicBezTo>
                  <a:cubicBezTo>
                    <a:pt x="229159" y="635074"/>
                    <a:pt x="221903" y="611490"/>
                    <a:pt x="215924" y="591988"/>
                  </a:cubicBezTo>
                  <a:cubicBezTo>
                    <a:pt x="209946" y="572486"/>
                    <a:pt x="226727" y="582258"/>
                    <a:pt x="226727" y="566920"/>
                  </a:cubicBezTo>
                  <a:cubicBezTo>
                    <a:pt x="226727" y="551582"/>
                    <a:pt x="233942" y="530720"/>
                    <a:pt x="244786" y="525112"/>
                  </a:cubicBezTo>
                  <a:cubicBezTo>
                    <a:pt x="255629" y="519505"/>
                    <a:pt x="256825" y="495921"/>
                    <a:pt x="256825" y="486108"/>
                  </a:cubicBezTo>
                  <a:cubicBezTo>
                    <a:pt x="256825" y="476295"/>
                    <a:pt x="272451" y="472213"/>
                    <a:pt x="280862" y="463844"/>
                  </a:cubicBezTo>
                  <a:cubicBezTo>
                    <a:pt x="289274" y="455474"/>
                    <a:pt x="266432" y="441579"/>
                    <a:pt x="279667" y="433210"/>
                  </a:cubicBezTo>
                  <a:cubicBezTo>
                    <a:pt x="292902" y="424840"/>
                    <a:pt x="268823" y="390041"/>
                    <a:pt x="276039" y="383073"/>
                  </a:cubicBezTo>
                  <a:cubicBezTo>
                    <a:pt x="283254" y="376105"/>
                    <a:pt x="277234" y="360768"/>
                    <a:pt x="278430" y="349635"/>
                  </a:cubicBezTo>
                  <a:cubicBezTo>
                    <a:pt x="279626" y="338503"/>
                    <a:pt x="319330" y="317640"/>
                    <a:pt x="324154" y="307869"/>
                  </a:cubicBezTo>
                  <a:cubicBezTo>
                    <a:pt x="327659" y="300736"/>
                    <a:pt x="331122" y="275792"/>
                    <a:pt x="332400" y="253610"/>
                  </a:cubicBezTo>
                  <a:cubicBezTo>
                    <a:pt x="320031" y="262928"/>
                    <a:pt x="309229" y="267917"/>
                    <a:pt x="307250" y="262557"/>
                  </a:cubicBezTo>
                  <a:cubicBezTo>
                    <a:pt x="303704" y="252950"/>
                    <a:pt x="308446" y="224130"/>
                    <a:pt x="297767" y="211802"/>
                  </a:cubicBezTo>
                  <a:cubicBezTo>
                    <a:pt x="287088" y="199474"/>
                    <a:pt x="294221" y="174695"/>
                    <a:pt x="283584" y="169293"/>
                  </a:cubicBezTo>
                  <a:cubicBezTo>
                    <a:pt x="272946" y="163892"/>
                    <a:pt x="259876" y="139113"/>
                    <a:pt x="269359" y="130867"/>
                  </a:cubicBezTo>
                  <a:cubicBezTo>
                    <a:pt x="278842" y="122621"/>
                    <a:pt x="269359" y="106128"/>
                    <a:pt x="277605" y="97882"/>
                  </a:cubicBezTo>
                  <a:cubicBezTo>
                    <a:pt x="285851" y="89636"/>
                    <a:pt x="272864" y="88234"/>
                    <a:pt x="261113" y="71783"/>
                  </a:cubicBezTo>
                  <a:cubicBezTo>
                    <a:pt x="249363" y="55332"/>
                    <a:pt x="265855" y="34676"/>
                    <a:pt x="251630" y="22307"/>
                  </a:cubicBezTo>
                  <a:cubicBezTo>
                    <a:pt x="237406" y="9938"/>
                    <a:pt x="237406" y="-5111"/>
                    <a:pt x="233860" y="1691"/>
                  </a:cubicBezTo>
                  <a:cubicBezTo>
                    <a:pt x="230314" y="8495"/>
                    <a:pt x="229118" y="31914"/>
                    <a:pt x="217368" y="38799"/>
                  </a:cubicBezTo>
                  <a:cubicBezTo>
                    <a:pt x="214234" y="40943"/>
                    <a:pt x="211319" y="43375"/>
                    <a:pt x="208668" y="46097"/>
                  </a:cubicBezTo>
                  <a:cubicBezTo>
                    <a:pt x="208668" y="57476"/>
                    <a:pt x="205205" y="76649"/>
                    <a:pt x="209080" y="87863"/>
                  </a:cubicBezTo>
                  <a:cubicBezTo>
                    <a:pt x="214399" y="103283"/>
                    <a:pt x="217079" y="178570"/>
                    <a:pt x="211760" y="207184"/>
                  </a:cubicBezTo>
                  <a:cubicBezTo>
                    <a:pt x="207666" y="230809"/>
                    <a:pt x="202323" y="254228"/>
                    <a:pt x="195763" y="277276"/>
                  </a:cubicBezTo>
                  <a:cubicBezTo>
                    <a:pt x="190403" y="294799"/>
                    <a:pt x="208132" y="295830"/>
                    <a:pt x="201082" y="304035"/>
                  </a:cubicBezTo>
                  <a:cubicBezTo>
                    <a:pt x="194031" y="312240"/>
                    <a:pt x="196629" y="332896"/>
                    <a:pt x="196629" y="365880"/>
                  </a:cubicBezTo>
                  <a:cubicBezTo>
                    <a:pt x="196629" y="398865"/>
                    <a:pt x="179765" y="454402"/>
                    <a:pt x="178858" y="471884"/>
                  </a:cubicBezTo>
                  <a:cubicBezTo>
                    <a:pt x="177951" y="489365"/>
                    <a:pt x="166489" y="500745"/>
                    <a:pt x="168221" y="520247"/>
                  </a:cubicBezTo>
                  <a:cubicBezTo>
                    <a:pt x="169161" y="528947"/>
                    <a:pt x="167310" y="537687"/>
                    <a:pt x="162943" y="545274"/>
                  </a:cubicBezTo>
                  <a:cubicBezTo>
                    <a:pt x="172336" y="556241"/>
                    <a:pt x="175181" y="571373"/>
                    <a:pt x="170406" y="584979"/>
                  </a:cubicBezTo>
                  <a:cubicBezTo>
                    <a:pt x="168303" y="592071"/>
                    <a:pt x="166036" y="598956"/>
                    <a:pt x="163727" y="605594"/>
                  </a:cubicBezTo>
                  <a:cubicBezTo>
                    <a:pt x="164951" y="608810"/>
                    <a:pt x="165566" y="612232"/>
                    <a:pt x="165541" y="615696"/>
                  </a:cubicBezTo>
                  <a:cubicBezTo>
                    <a:pt x="164634" y="632188"/>
                    <a:pt x="145998" y="639362"/>
                    <a:pt x="150450" y="666120"/>
                  </a:cubicBezTo>
                  <a:cubicBezTo>
                    <a:pt x="156017" y="699558"/>
                    <a:pt x="150450" y="756827"/>
                    <a:pt x="150450" y="768001"/>
                  </a:cubicBezTo>
                  <a:cubicBezTo>
                    <a:pt x="150450" y="779175"/>
                    <a:pt x="138906" y="778268"/>
                    <a:pt x="141545" y="799872"/>
                  </a:cubicBezTo>
                  <a:cubicBezTo>
                    <a:pt x="143441" y="815210"/>
                    <a:pt x="136844" y="822301"/>
                    <a:pt x="131897" y="836114"/>
                  </a:cubicBezTo>
                  <a:cubicBezTo>
                    <a:pt x="122372" y="904474"/>
                    <a:pt x="112106" y="973246"/>
                    <a:pt x="78627" y="1034020"/>
                  </a:cubicBezTo>
                  <a:cubicBezTo>
                    <a:pt x="77501" y="1036040"/>
                    <a:pt x="76248" y="1037978"/>
                    <a:pt x="74875" y="1039833"/>
                  </a:cubicBezTo>
                  <a:cubicBezTo>
                    <a:pt x="75659" y="1055212"/>
                    <a:pt x="69185" y="1069519"/>
                    <a:pt x="77596" y="1085723"/>
                  </a:cubicBezTo>
                  <a:cubicBezTo>
                    <a:pt x="88275" y="1106338"/>
                    <a:pt x="84688" y="1113512"/>
                    <a:pt x="79369" y="1133055"/>
                  </a:cubicBezTo>
                  <a:cubicBezTo>
                    <a:pt x="74051" y="1152599"/>
                    <a:pt x="67000" y="1153671"/>
                    <a:pt x="67000" y="1172142"/>
                  </a:cubicBezTo>
                  <a:cubicBezTo>
                    <a:pt x="67000" y="1190613"/>
                    <a:pt x="54631" y="1206116"/>
                    <a:pt x="61681" y="1226649"/>
                  </a:cubicBezTo>
                  <a:cubicBezTo>
                    <a:pt x="68732" y="1247182"/>
                    <a:pt x="67000" y="1254438"/>
                    <a:pt x="58136" y="1254438"/>
                  </a:cubicBezTo>
                  <a:cubicBezTo>
                    <a:pt x="49271" y="1254438"/>
                    <a:pt x="44777" y="1270930"/>
                    <a:pt x="41231" y="1304863"/>
                  </a:cubicBezTo>
                  <a:cubicBezTo>
                    <a:pt x="37685" y="1338796"/>
                    <a:pt x="38592" y="1337847"/>
                    <a:pt x="59908" y="1335745"/>
                  </a:cubicBezTo>
                  <a:cubicBezTo>
                    <a:pt x="81225" y="1333642"/>
                    <a:pt x="64361" y="1252377"/>
                    <a:pt x="77679" y="1252377"/>
                  </a:cubicBezTo>
                  <a:cubicBezTo>
                    <a:pt x="90996" y="1252377"/>
                    <a:pt x="79452" y="1239018"/>
                    <a:pt x="92769" y="1234895"/>
                  </a:cubicBezTo>
                  <a:cubicBezTo>
                    <a:pt x="106087" y="1230772"/>
                    <a:pt x="94542" y="1249284"/>
                    <a:pt x="103448" y="1252377"/>
                  </a:cubicBezTo>
                  <a:cubicBezTo>
                    <a:pt x="112354" y="1255469"/>
                    <a:pt x="118538" y="1263715"/>
                    <a:pt x="106128" y="1272992"/>
                  </a:cubicBezTo>
                  <a:cubicBezTo>
                    <a:pt x="93718" y="1282269"/>
                    <a:pt x="108766" y="1300781"/>
                    <a:pt x="102541" y="1312078"/>
                  </a:cubicBezTo>
                  <a:cubicBezTo>
                    <a:pt x="96315" y="1323375"/>
                    <a:pt x="87450" y="1335786"/>
                    <a:pt x="92769" y="1349186"/>
                  </a:cubicBezTo>
                  <a:cubicBezTo>
                    <a:pt x="98088" y="1362586"/>
                    <a:pt x="86543" y="1361555"/>
                    <a:pt x="85678" y="1379036"/>
                  </a:cubicBezTo>
                  <a:cubicBezTo>
                    <a:pt x="84812" y="1396518"/>
                    <a:pt x="93676" y="1397549"/>
                    <a:pt x="87450" y="1401672"/>
                  </a:cubicBezTo>
                  <a:cubicBezTo>
                    <a:pt x="81225" y="1405795"/>
                    <a:pt x="95449" y="1419154"/>
                    <a:pt x="86543" y="1421215"/>
                  </a:cubicBezTo>
                  <a:cubicBezTo>
                    <a:pt x="77638" y="1423277"/>
                    <a:pt x="82997" y="1436635"/>
                    <a:pt x="88357" y="1449004"/>
                  </a:cubicBezTo>
                  <a:cubicBezTo>
                    <a:pt x="93718" y="1461374"/>
                    <a:pt x="76772" y="1454117"/>
                    <a:pt x="67742" y="1462363"/>
                  </a:cubicBezTo>
                  <a:cubicBezTo>
                    <a:pt x="58713" y="1470609"/>
                    <a:pt x="76607" y="1481906"/>
                    <a:pt x="71288" y="1493245"/>
                  </a:cubicBezTo>
                  <a:cubicBezTo>
                    <a:pt x="65969" y="1504583"/>
                    <a:pt x="51745" y="1487060"/>
                    <a:pt x="45519" y="1480876"/>
                  </a:cubicBezTo>
                  <a:cubicBezTo>
                    <a:pt x="39293" y="1474691"/>
                    <a:pt x="55291" y="1462363"/>
                    <a:pt x="63289" y="1450035"/>
                  </a:cubicBezTo>
                  <a:cubicBezTo>
                    <a:pt x="71288" y="1437707"/>
                    <a:pt x="55291" y="1409918"/>
                    <a:pt x="41973" y="1416061"/>
                  </a:cubicBezTo>
                  <a:cubicBezTo>
                    <a:pt x="28656" y="1422205"/>
                    <a:pt x="55291" y="1439728"/>
                    <a:pt x="55291" y="1453169"/>
                  </a:cubicBezTo>
                  <a:cubicBezTo>
                    <a:pt x="55291" y="1466610"/>
                    <a:pt x="33109" y="1450076"/>
                    <a:pt x="33974" y="1464466"/>
                  </a:cubicBezTo>
                  <a:cubicBezTo>
                    <a:pt x="34840" y="1478855"/>
                    <a:pt x="18884" y="1473701"/>
                    <a:pt x="10885" y="1484009"/>
                  </a:cubicBezTo>
                  <a:cubicBezTo>
                    <a:pt x="2887" y="1494317"/>
                    <a:pt x="21564" y="1503594"/>
                    <a:pt x="12658" y="1506686"/>
                  </a:cubicBezTo>
                  <a:cubicBezTo>
                    <a:pt x="8210" y="1508542"/>
                    <a:pt x="4144" y="1511180"/>
                    <a:pt x="660" y="1514520"/>
                  </a:cubicBezTo>
                  <a:cubicBezTo>
                    <a:pt x="1073" y="1519344"/>
                    <a:pt x="1485" y="1524126"/>
                    <a:pt x="1773" y="1528827"/>
                  </a:cubicBezTo>
                  <a:cubicBezTo>
                    <a:pt x="6309" y="1526106"/>
                    <a:pt x="13318" y="1527755"/>
                    <a:pt x="16204" y="1536495"/>
                  </a:cubicBezTo>
                  <a:cubicBezTo>
                    <a:pt x="20657" y="1549854"/>
                    <a:pt x="26883" y="1536495"/>
                    <a:pt x="39335" y="1539588"/>
                  </a:cubicBezTo>
                  <a:cubicBezTo>
                    <a:pt x="51786" y="1542680"/>
                    <a:pt x="49972" y="1564326"/>
                    <a:pt x="42839" y="1563213"/>
                  </a:cubicBezTo>
                  <a:cubicBezTo>
                    <a:pt x="35706" y="1562100"/>
                    <a:pt x="28656" y="1576613"/>
                    <a:pt x="30470" y="1592074"/>
                  </a:cubicBezTo>
                  <a:cubicBezTo>
                    <a:pt x="32284" y="1607536"/>
                    <a:pt x="57105" y="1592074"/>
                    <a:pt x="67577" y="1596198"/>
                  </a:cubicBezTo>
                  <a:cubicBezTo>
                    <a:pt x="78050" y="1600321"/>
                    <a:pt x="74710" y="1621925"/>
                    <a:pt x="68443" y="1614710"/>
                  </a:cubicBezTo>
                  <a:cubicBezTo>
                    <a:pt x="62176" y="1607495"/>
                    <a:pt x="47828" y="1595167"/>
                    <a:pt x="41808" y="1607536"/>
                  </a:cubicBezTo>
                  <a:cubicBezTo>
                    <a:pt x="35789" y="1619905"/>
                    <a:pt x="25811" y="1613720"/>
                    <a:pt x="17812" y="1609597"/>
                  </a:cubicBezTo>
                  <a:cubicBezTo>
                    <a:pt x="14514" y="1607866"/>
                    <a:pt x="7670" y="1610628"/>
                    <a:pt x="1526" y="1614957"/>
                  </a:cubicBezTo>
                  <a:cubicBezTo>
                    <a:pt x="8733" y="1626749"/>
                    <a:pt x="12316" y="1640355"/>
                    <a:pt x="11834" y="1654167"/>
                  </a:cubicBezTo>
                  <a:cubicBezTo>
                    <a:pt x="17899" y="1651817"/>
                    <a:pt x="22879" y="1647282"/>
                    <a:pt x="25811" y="1641468"/>
                  </a:cubicBezTo>
                  <a:cubicBezTo>
                    <a:pt x="29357" y="1633222"/>
                    <a:pt x="41808" y="1624976"/>
                    <a:pt x="42674" y="1643530"/>
                  </a:cubicBezTo>
                  <a:cubicBezTo>
                    <a:pt x="43540" y="1662084"/>
                    <a:pt x="25811" y="1652807"/>
                    <a:pt x="22059" y="1663073"/>
                  </a:cubicBezTo>
                  <a:cubicBezTo>
                    <a:pt x="18435" y="1672268"/>
                    <a:pt x="12584" y="1680472"/>
                    <a:pt x="5031" y="1686863"/>
                  </a:cubicBezTo>
                  <a:cubicBezTo>
                    <a:pt x="3753" y="1690285"/>
                    <a:pt x="2309" y="1693666"/>
                    <a:pt x="908" y="1697006"/>
                  </a:cubicBezTo>
                  <a:cubicBezTo>
                    <a:pt x="702" y="1700634"/>
                    <a:pt x="372" y="1704592"/>
                    <a:pt x="1" y="1708715"/>
                  </a:cubicBezTo>
                  <a:cubicBezTo>
                    <a:pt x="2429" y="1711478"/>
                    <a:pt x="6453" y="1712220"/>
                    <a:pt x="9690" y="1710447"/>
                  </a:cubicBezTo>
                  <a:cubicBezTo>
                    <a:pt x="18595" y="1705252"/>
                    <a:pt x="7051" y="1722816"/>
                    <a:pt x="19461" y="1724836"/>
                  </a:cubicBezTo>
                  <a:cubicBezTo>
                    <a:pt x="30965" y="1726733"/>
                    <a:pt x="34593" y="1716590"/>
                    <a:pt x="31831" y="1706283"/>
                  </a:cubicBezTo>
                  <a:cubicBezTo>
                    <a:pt x="29068" y="1695975"/>
                    <a:pt x="38056" y="1673298"/>
                    <a:pt x="48735" y="1684678"/>
                  </a:cubicBezTo>
                  <a:cubicBezTo>
                    <a:pt x="59414" y="1696058"/>
                    <a:pt x="43375" y="1707355"/>
                    <a:pt x="43375" y="1717662"/>
                  </a:cubicBezTo>
                  <a:cubicBezTo>
                    <a:pt x="43375" y="1727970"/>
                    <a:pt x="37149" y="1741329"/>
                    <a:pt x="37149" y="1752626"/>
                  </a:cubicBezTo>
                  <a:cubicBezTo>
                    <a:pt x="37149" y="1763923"/>
                    <a:pt x="25605" y="1757779"/>
                    <a:pt x="26512" y="1770149"/>
                  </a:cubicBezTo>
                  <a:cubicBezTo>
                    <a:pt x="26965" y="1776581"/>
                    <a:pt x="20204" y="1777405"/>
                    <a:pt x="15256" y="1777900"/>
                  </a:cubicBezTo>
                  <a:cubicBezTo>
                    <a:pt x="16781" y="1782518"/>
                    <a:pt x="17952" y="1787218"/>
                    <a:pt x="18760" y="1792001"/>
                  </a:cubicBezTo>
                  <a:cubicBezTo>
                    <a:pt x="23815" y="1795175"/>
                    <a:pt x="28565" y="1798804"/>
                    <a:pt x="32944" y="1802845"/>
                  </a:cubicBezTo>
                  <a:lnTo>
                    <a:pt x="33603" y="1802845"/>
                  </a:lnTo>
                  <a:cubicBezTo>
                    <a:pt x="43375" y="1806968"/>
                    <a:pt x="41602" y="1810060"/>
                    <a:pt x="54219" y="1803875"/>
                  </a:cubicBezTo>
                  <a:cubicBezTo>
                    <a:pt x="66835" y="1797691"/>
                    <a:pt x="73803" y="1815172"/>
                    <a:pt x="62465" y="1819295"/>
                  </a:cubicBezTo>
                  <a:cubicBezTo>
                    <a:pt x="58482" y="1820904"/>
                    <a:pt x="54812" y="1823171"/>
                    <a:pt x="51621" y="1826057"/>
                  </a:cubicBezTo>
                  <a:cubicBezTo>
                    <a:pt x="52075" y="1826923"/>
                    <a:pt x="52652" y="1827665"/>
                    <a:pt x="53064" y="1828531"/>
                  </a:cubicBezTo>
                  <a:cubicBezTo>
                    <a:pt x="54573" y="1831623"/>
                    <a:pt x="55843" y="1834839"/>
                    <a:pt x="56857" y="1838138"/>
                  </a:cubicBezTo>
                  <a:cubicBezTo>
                    <a:pt x="61599" y="1837107"/>
                    <a:pt x="66052" y="1837519"/>
                    <a:pt x="67783" y="1843992"/>
                  </a:cubicBezTo>
                  <a:cubicBezTo>
                    <a:pt x="71329" y="1857392"/>
                    <a:pt x="80153" y="1853269"/>
                    <a:pt x="81101" y="1838839"/>
                  </a:cubicBezTo>
                  <a:cubicBezTo>
                    <a:pt x="82049" y="1824408"/>
                    <a:pt x="103324" y="1836818"/>
                    <a:pt x="106870" y="1849146"/>
                  </a:cubicBezTo>
                  <a:cubicBezTo>
                    <a:pt x="110416" y="1861474"/>
                    <a:pt x="84647" y="1868689"/>
                    <a:pt x="71329" y="1865638"/>
                  </a:cubicBezTo>
                  <a:cubicBezTo>
                    <a:pt x="67441" y="1864649"/>
                    <a:pt x="63322" y="1865803"/>
                    <a:pt x="60527" y="1868689"/>
                  </a:cubicBezTo>
                  <a:cubicBezTo>
                    <a:pt x="60527" y="1876936"/>
                    <a:pt x="60115" y="1885470"/>
                    <a:pt x="60527" y="1894417"/>
                  </a:cubicBezTo>
                  <a:cubicBezTo>
                    <a:pt x="69268" y="1905961"/>
                    <a:pt x="79617" y="1893098"/>
                    <a:pt x="89100" y="1882048"/>
                  </a:cubicBezTo>
                  <a:cubicBezTo>
                    <a:pt x="98583" y="1870998"/>
                    <a:pt x="146822" y="1873802"/>
                    <a:pt x="150409" y="1886171"/>
                  </a:cubicBezTo>
                  <a:cubicBezTo>
                    <a:pt x="153996" y="1898540"/>
                    <a:pt x="128186" y="1888191"/>
                    <a:pt x="125671" y="1895407"/>
                  </a:cubicBezTo>
                  <a:cubicBezTo>
                    <a:pt x="123156" y="1902622"/>
                    <a:pt x="103448" y="1908765"/>
                    <a:pt x="100933" y="1900561"/>
                  </a:cubicBezTo>
                  <a:cubicBezTo>
                    <a:pt x="98418" y="1892356"/>
                    <a:pt x="79617" y="1903653"/>
                    <a:pt x="78751" y="1917053"/>
                  </a:cubicBezTo>
                  <a:cubicBezTo>
                    <a:pt x="77885" y="1930453"/>
                    <a:pt x="63619" y="1930411"/>
                    <a:pt x="79617" y="1935565"/>
                  </a:cubicBezTo>
                  <a:cubicBezTo>
                    <a:pt x="95614" y="1940719"/>
                    <a:pt x="91161" y="1916022"/>
                    <a:pt x="116023" y="1918084"/>
                  </a:cubicBezTo>
                  <a:cubicBezTo>
                    <a:pt x="140885" y="1920145"/>
                    <a:pt x="154244" y="1891325"/>
                    <a:pt x="161377" y="1907817"/>
                  </a:cubicBezTo>
                  <a:cubicBezTo>
                    <a:pt x="168509" y="1924309"/>
                    <a:pt x="140761" y="1937668"/>
                    <a:pt x="131155" y="1927319"/>
                  </a:cubicBezTo>
                  <a:cubicBezTo>
                    <a:pt x="121548" y="1916970"/>
                    <a:pt x="109839" y="1934576"/>
                    <a:pt x="110539" y="1949996"/>
                  </a:cubicBezTo>
                  <a:cubicBezTo>
                    <a:pt x="111240" y="1961788"/>
                    <a:pt x="94047" y="1953129"/>
                    <a:pt x="79782" y="1947481"/>
                  </a:cubicBezTo>
                  <a:lnTo>
                    <a:pt x="80482" y="1948594"/>
                  </a:lnTo>
                  <a:cubicBezTo>
                    <a:pt x="98723" y="1952181"/>
                    <a:pt x="111607" y="1968550"/>
                    <a:pt x="110828" y="1987145"/>
                  </a:cubicBezTo>
                  <a:cubicBezTo>
                    <a:pt x="122166" y="1997370"/>
                    <a:pt x="123197" y="2006523"/>
                    <a:pt x="132763" y="1996298"/>
                  </a:cubicBezTo>
                  <a:cubicBezTo>
                    <a:pt x="143400" y="1984959"/>
                    <a:pt x="132763" y="1985990"/>
                    <a:pt x="125671" y="1980836"/>
                  </a:cubicBezTo>
                  <a:cubicBezTo>
                    <a:pt x="118579" y="1975682"/>
                    <a:pt x="124764" y="1958201"/>
                    <a:pt x="141627" y="1967436"/>
                  </a:cubicBezTo>
                  <a:cubicBezTo>
                    <a:pt x="158490" y="1976672"/>
                    <a:pt x="178075" y="1959190"/>
                    <a:pt x="172715" y="1934452"/>
                  </a:cubicBezTo>
                  <a:cubicBezTo>
                    <a:pt x="167355" y="1909714"/>
                    <a:pt x="187846" y="1898416"/>
                    <a:pt x="208256" y="1890170"/>
                  </a:cubicBezTo>
                  <a:cubicBezTo>
                    <a:pt x="228665" y="1881924"/>
                    <a:pt x="218027" y="1905591"/>
                    <a:pt x="202937" y="1912806"/>
                  </a:cubicBezTo>
                  <a:cubicBezTo>
                    <a:pt x="187846" y="1920021"/>
                    <a:pt x="185167" y="1925175"/>
                    <a:pt x="196711" y="1939564"/>
                  </a:cubicBezTo>
                  <a:cubicBezTo>
                    <a:pt x="208256" y="1953954"/>
                    <a:pt x="223346" y="1930288"/>
                    <a:pt x="233118" y="1941626"/>
                  </a:cubicBezTo>
                  <a:cubicBezTo>
                    <a:pt x="242889" y="1952964"/>
                    <a:pt x="215388" y="1950903"/>
                    <a:pt x="210936" y="1962241"/>
                  </a:cubicBezTo>
                  <a:cubicBezTo>
                    <a:pt x="206483" y="1973580"/>
                    <a:pt x="227799" y="1986979"/>
                    <a:pt x="212709" y="1995226"/>
                  </a:cubicBezTo>
                  <a:cubicBezTo>
                    <a:pt x="197618" y="2003472"/>
                    <a:pt x="204710" y="1961252"/>
                    <a:pt x="195845" y="1957129"/>
                  </a:cubicBezTo>
                  <a:cubicBezTo>
                    <a:pt x="186981" y="1953006"/>
                    <a:pt x="178941" y="1962282"/>
                    <a:pt x="187846" y="1985990"/>
                  </a:cubicBezTo>
                  <a:cubicBezTo>
                    <a:pt x="196752" y="2009697"/>
                    <a:pt x="177168" y="1989082"/>
                    <a:pt x="168303" y="1977744"/>
                  </a:cubicBezTo>
                  <a:cubicBezTo>
                    <a:pt x="159439" y="1966405"/>
                    <a:pt x="146987" y="1982898"/>
                    <a:pt x="157625" y="1995267"/>
                  </a:cubicBezTo>
                  <a:cubicBezTo>
                    <a:pt x="168262" y="2007636"/>
                    <a:pt x="137010" y="1994236"/>
                    <a:pt x="137010" y="2013779"/>
                  </a:cubicBezTo>
                  <a:cubicBezTo>
                    <a:pt x="137010" y="2033322"/>
                    <a:pt x="150327" y="2016872"/>
                    <a:pt x="166283" y="2020995"/>
                  </a:cubicBezTo>
                  <a:cubicBezTo>
                    <a:pt x="178652" y="2024128"/>
                    <a:pt x="177291" y="2040496"/>
                    <a:pt x="181167" y="2052619"/>
                  </a:cubicBezTo>
                  <a:cubicBezTo>
                    <a:pt x="185101" y="2053608"/>
                    <a:pt x="188898" y="2055051"/>
                    <a:pt x="192464" y="2056989"/>
                  </a:cubicBezTo>
                  <a:lnTo>
                    <a:pt x="192877" y="2057278"/>
                  </a:lnTo>
                  <a:cubicBezTo>
                    <a:pt x="194155" y="2047094"/>
                    <a:pt x="192877" y="2028127"/>
                    <a:pt x="201123" y="2026107"/>
                  </a:cubicBezTo>
                  <a:cubicBezTo>
                    <a:pt x="213492" y="2023015"/>
                    <a:pt x="201988" y="2059091"/>
                    <a:pt x="229531" y="2069358"/>
                  </a:cubicBezTo>
                  <a:cubicBezTo>
                    <a:pt x="257073" y="2079625"/>
                    <a:pt x="231345" y="2063173"/>
                    <a:pt x="243755" y="2052866"/>
                  </a:cubicBezTo>
                  <a:cubicBezTo>
                    <a:pt x="251012" y="2046887"/>
                    <a:pt x="259464" y="2058391"/>
                    <a:pt x="267916" y="2069812"/>
                  </a:cubicBezTo>
                  <a:cubicBezTo>
                    <a:pt x="270386" y="2069276"/>
                    <a:pt x="272897" y="2068946"/>
                    <a:pt x="275420" y="2068863"/>
                  </a:cubicBezTo>
                  <a:cubicBezTo>
                    <a:pt x="279675" y="2068781"/>
                    <a:pt x="283926" y="2069069"/>
                    <a:pt x="288119" y="2069812"/>
                  </a:cubicBezTo>
                  <a:cubicBezTo>
                    <a:pt x="285938" y="2065276"/>
                    <a:pt x="283266" y="2060947"/>
                    <a:pt x="280162" y="2056989"/>
                  </a:cubicBezTo>
                  <a:cubicBezTo>
                    <a:pt x="270390" y="2044620"/>
                    <a:pt x="289933" y="2051876"/>
                    <a:pt x="303292" y="2056989"/>
                  </a:cubicBezTo>
                  <a:cubicBezTo>
                    <a:pt x="316650" y="2062102"/>
                    <a:pt x="327247" y="2064204"/>
                    <a:pt x="329927" y="2052866"/>
                  </a:cubicBezTo>
                  <a:cubicBezTo>
                    <a:pt x="330916" y="2048743"/>
                    <a:pt x="333390" y="2048743"/>
                    <a:pt x="336565" y="2049897"/>
                  </a:cubicBezTo>
                  <a:cubicBezTo>
                    <a:pt x="322134" y="2039713"/>
                    <a:pt x="275008" y="2047341"/>
                    <a:pt x="268535" y="2046104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D12B849-ADBB-3FCE-5E2F-383845251B84}"/>
                </a:ext>
              </a:extLst>
            </p:cNvPr>
            <p:cNvSpPr/>
            <p:nvPr>
              <p:custDataLst>
                <p:tags r:id="rId159"/>
              </p:custDataLst>
            </p:nvPr>
          </p:nvSpPr>
          <p:spPr>
            <a:xfrm>
              <a:off x="4546171" y="6448233"/>
              <a:ext cx="296350" cy="348496"/>
            </a:xfrm>
            <a:custGeom>
              <a:avLst/>
              <a:gdLst>
                <a:gd name="connsiteX0" fmla="*/ 340812 w 346041"/>
                <a:gd name="connsiteY0" fmla="*/ 222461 h 406931"/>
                <a:gd name="connsiteX1" fmla="*/ 307127 w 346041"/>
                <a:gd name="connsiteY1" fmla="*/ 230707 h 406931"/>
                <a:gd name="connsiteX2" fmla="*/ 287872 w 346041"/>
                <a:gd name="connsiteY2" fmla="*/ 179210 h 406931"/>
                <a:gd name="connsiteX3" fmla="*/ 260248 w 346041"/>
                <a:gd name="connsiteY3" fmla="*/ 140165 h 406931"/>
                <a:gd name="connsiteX4" fmla="*/ 225366 w 346041"/>
                <a:gd name="connsiteY4" fmla="*/ 136042 h 406931"/>
                <a:gd name="connsiteX5" fmla="*/ 204751 w 346041"/>
                <a:gd name="connsiteY5" fmla="*/ 98440 h 406931"/>
                <a:gd name="connsiteX6" fmla="*/ 197495 w 346041"/>
                <a:gd name="connsiteY6" fmla="*/ 41335 h 406931"/>
                <a:gd name="connsiteX7" fmla="*/ 195804 w 346041"/>
                <a:gd name="connsiteY7" fmla="*/ 16597 h 406931"/>
                <a:gd name="connsiteX8" fmla="*/ 189043 w 346041"/>
                <a:gd name="connsiteY8" fmla="*/ 19360 h 406931"/>
                <a:gd name="connsiteX9" fmla="*/ 151152 w 346041"/>
                <a:gd name="connsiteY9" fmla="*/ 105 h 406931"/>
                <a:gd name="connsiteX10" fmla="*/ 104974 w 346041"/>
                <a:gd name="connsiteY10" fmla="*/ 5630 h 406931"/>
                <a:gd name="connsiteX11" fmla="*/ 56363 w 346041"/>
                <a:gd name="connsiteY11" fmla="*/ 15237 h 406931"/>
                <a:gd name="connsiteX12" fmla="*/ 25605 w 346041"/>
                <a:gd name="connsiteY12" fmla="*/ 59106 h 406931"/>
                <a:gd name="connsiteX13" fmla="*/ 13731 w 346041"/>
                <a:gd name="connsiteY13" fmla="*/ 130476 h 406931"/>
                <a:gd name="connsiteX14" fmla="*/ 1 w 346041"/>
                <a:gd name="connsiteY14" fmla="*/ 130063 h 406931"/>
                <a:gd name="connsiteX15" fmla="*/ 55621 w 346041"/>
                <a:gd name="connsiteY15" fmla="*/ 196032 h 406931"/>
                <a:gd name="connsiteX16" fmla="*/ 100108 w 346041"/>
                <a:gd name="connsiteY16" fmla="*/ 228068 h 406931"/>
                <a:gd name="connsiteX17" fmla="*/ 144596 w 346041"/>
                <a:gd name="connsiteY17" fmla="*/ 254538 h 406931"/>
                <a:gd name="connsiteX18" fmla="*/ 219182 w 346041"/>
                <a:gd name="connsiteY18" fmla="*/ 297707 h 406931"/>
                <a:gd name="connsiteX19" fmla="*/ 187929 w 346041"/>
                <a:gd name="connsiteY19" fmla="*/ 360377 h 406931"/>
                <a:gd name="connsiteX20" fmla="*/ 174653 w 346041"/>
                <a:gd name="connsiteY20" fmla="*/ 391052 h 406931"/>
                <a:gd name="connsiteX21" fmla="*/ 211966 w 346041"/>
                <a:gd name="connsiteY21" fmla="*/ 400741 h 406931"/>
                <a:gd name="connsiteX22" fmla="*/ 250435 w 346041"/>
                <a:gd name="connsiteY22" fmla="*/ 404865 h 406931"/>
                <a:gd name="connsiteX23" fmla="*/ 285316 w 346041"/>
                <a:gd name="connsiteY23" fmla="*/ 396618 h 406931"/>
                <a:gd name="connsiteX24" fmla="*/ 316609 w 346041"/>
                <a:gd name="connsiteY24" fmla="*/ 378518 h 406931"/>
                <a:gd name="connsiteX25" fmla="*/ 337225 w 346041"/>
                <a:gd name="connsiteY25" fmla="*/ 310282 h 406931"/>
                <a:gd name="connsiteX26" fmla="*/ 340812 w 346041"/>
                <a:gd name="connsiteY26" fmla="*/ 222461 h 406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46041" h="406931">
                  <a:moveTo>
                    <a:pt x="340812" y="222461"/>
                  </a:moveTo>
                  <a:cubicBezTo>
                    <a:pt x="326381" y="214215"/>
                    <a:pt x="311950" y="230707"/>
                    <a:pt x="307127" y="230707"/>
                  </a:cubicBezTo>
                  <a:cubicBezTo>
                    <a:pt x="302303" y="230707"/>
                    <a:pt x="291500" y="194507"/>
                    <a:pt x="287872" y="179210"/>
                  </a:cubicBezTo>
                  <a:cubicBezTo>
                    <a:pt x="284244" y="163914"/>
                    <a:pt x="269854" y="133238"/>
                    <a:pt x="260248" y="140165"/>
                  </a:cubicBezTo>
                  <a:cubicBezTo>
                    <a:pt x="250641" y="147092"/>
                    <a:pt x="253032" y="137403"/>
                    <a:pt x="225366" y="136042"/>
                  </a:cubicBezTo>
                  <a:cubicBezTo>
                    <a:pt x="197701" y="134681"/>
                    <a:pt x="198897" y="129074"/>
                    <a:pt x="204751" y="98440"/>
                  </a:cubicBezTo>
                  <a:cubicBezTo>
                    <a:pt x="210606" y="67806"/>
                    <a:pt x="186692" y="48262"/>
                    <a:pt x="197495" y="41335"/>
                  </a:cubicBezTo>
                  <a:cubicBezTo>
                    <a:pt x="205741" y="36100"/>
                    <a:pt x="204957" y="30038"/>
                    <a:pt x="195804" y="16597"/>
                  </a:cubicBezTo>
                  <a:cubicBezTo>
                    <a:pt x="193907" y="18205"/>
                    <a:pt x="191516" y="19195"/>
                    <a:pt x="189043" y="19360"/>
                  </a:cubicBezTo>
                  <a:cubicBezTo>
                    <a:pt x="179601" y="19360"/>
                    <a:pt x="167726" y="105"/>
                    <a:pt x="151152" y="105"/>
                  </a:cubicBezTo>
                  <a:cubicBezTo>
                    <a:pt x="134577" y="105"/>
                    <a:pt x="116807" y="-1256"/>
                    <a:pt x="104974" y="5630"/>
                  </a:cubicBezTo>
                  <a:cubicBezTo>
                    <a:pt x="93140" y="12515"/>
                    <a:pt x="70588" y="4228"/>
                    <a:pt x="56363" y="15237"/>
                  </a:cubicBezTo>
                  <a:cubicBezTo>
                    <a:pt x="42138" y="26245"/>
                    <a:pt x="24409" y="49499"/>
                    <a:pt x="25605" y="59106"/>
                  </a:cubicBezTo>
                  <a:cubicBezTo>
                    <a:pt x="26800" y="68712"/>
                    <a:pt x="20822" y="127713"/>
                    <a:pt x="13731" y="130476"/>
                  </a:cubicBezTo>
                  <a:cubicBezTo>
                    <a:pt x="9154" y="131094"/>
                    <a:pt x="4536" y="130970"/>
                    <a:pt x="1" y="130063"/>
                  </a:cubicBezTo>
                  <a:cubicBezTo>
                    <a:pt x="9484" y="149112"/>
                    <a:pt x="37562" y="183210"/>
                    <a:pt x="55621" y="196032"/>
                  </a:cubicBezTo>
                  <a:cubicBezTo>
                    <a:pt x="77267" y="211370"/>
                    <a:pt x="76236" y="225264"/>
                    <a:pt x="100108" y="228068"/>
                  </a:cubicBezTo>
                  <a:cubicBezTo>
                    <a:pt x="123981" y="230872"/>
                    <a:pt x="136185" y="242004"/>
                    <a:pt x="144596" y="254538"/>
                  </a:cubicBezTo>
                  <a:cubicBezTo>
                    <a:pt x="153007" y="267072"/>
                    <a:pt x="214358" y="287935"/>
                    <a:pt x="219182" y="297707"/>
                  </a:cubicBezTo>
                  <a:cubicBezTo>
                    <a:pt x="224006" y="307478"/>
                    <a:pt x="187929" y="335309"/>
                    <a:pt x="187929" y="360377"/>
                  </a:cubicBezTo>
                  <a:cubicBezTo>
                    <a:pt x="187929" y="385445"/>
                    <a:pt x="174653" y="382641"/>
                    <a:pt x="174653" y="391052"/>
                  </a:cubicBezTo>
                  <a:cubicBezTo>
                    <a:pt x="174653" y="399463"/>
                    <a:pt x="202319" y="393815"/>
                    <a:pt x="211966" y="400741"/>
                  </a:cubicBezTo>
                  <a:cubicBezTo>
                    <a:pt x="221614" y="407668"/>
                    <a:pt x="238395" y="396618"/>
                    <a:pt x="250435" y="404865"/>
                  </a:cubicBezTo>
                  <a:cubicBezTo>
                    <a:pt x="262474" y="413111"/>
                    <a:pt x="275709" y="393774"/>
                    <a:pt x="285316" y="396618"/>
                  </a:cubicBezTo>
                  <a:cubicBezTo>
                    <a:pt x="294922" y="399463"/>
                    <a:pt x="304570" y="377158"/>
                    <a:pt x="316609" y="378518"/>
                  </a:cubicBezTo>
                  <a:cubicBezTo>
                    <a:pt x="328649" y="379879"/>
                    <a:pt x="339451" y="329784"/>
                    <a:pt x="337225" y="310282"/>
                  </a:cubicBezTo>
                  <a:cubicBezTo>
                    <a:pt x="334998" y="290780"/>
                    <a:pt x="355242" y="230831"/>
                    <a:pt x="340812" y="22246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3587221C-E803-FB63-D8EA-A283126D969B}"/>
                </a:ext>
              </a:extLst>
            </p:cNvPr>
            <p:cNvSpPr/>
            <p:nvPr>
              <p:custDataLst>
                <p:tags r:id="rId160"/>
              </p:custDataLst>
            </p:nvPr>
          </p:nvSpPr>
          <p:spPr>
            <a:xfrm>
              <a:off x="3751880" y="5218683"/>
              <a:ext cx="110942" cy="106763"/>
            </a:xfrm>
            <a:custGeom>
              <a:avLst/>
              <a:gdLst>
                <a:gd name="connsiteX0" fmla="*/ 123444 w 129545"/>
                <a:gd name="connsiteY0" fmla="*/ 98974 h 124665"/>
                <a:gd name="connsiteX1" fmla="*/ 129546 w 129545"/>
                <a:gd name="connsiteY1" fmla="*/ 69494 h 124665"/>
                <a:gd name="connsiteX2" fmla="*/ 89923 w 129545"/>
                <a:gd name="connsiteY2" fmla="*/ 12267 h 124665"/>
                <a:gd name="connsiteX3" fmla="*/ 70092 w 129545"/>
                <a:gd name="connsiteY3" fmla="*/ 9710 h 124665"/>
                <a:gd name="connsiteX4" fmla="*/ 30469 w 129545"/>
                <a:gd name="connsiteY4" fmla="*/ 2083 h 124665"/>
                <a:gd name="connsiteX5" fmla="*/ 8370 w 129545"/>
                <a:gd name="connsiteY5" fmla="*/ 557 h 124665"/>
                <a:gd name="connsiteX6" fmla="*/ 5360 w 129545"/>
                <a:gd name="connsiteY6" fmla="*/ 18781 h 124665"/>
                <a:gd name="connsiteX7" fmla="*/ 15997 w 129545"/>
                <a:gd name="connsiteY7" fmla="*/ 58940 h 124665"/>
                <a:gd name="connsiteX8" fmla="*/ 39086 w 129545"/>
                <a:gd name="connsiteY8" fmla="*/ 53745 h 124665"/>
                <a:gd name="connsiteX9" fmla="*/ 56857 w 129545"/>
                <a:gd name="connsiteY9" fmla="*/ 71268 h 124665"/>
                <a:gd name="connsiteX10" fmla="*/ 85306 w 129545"/>
                <a:gd name="connsiteY10" fmla="*/ 100129 h 124665"/>
                <a:gd name="connsiteX11" fmla="*/ 108395 w 129545"/>
                <a:gd name="connsiteY11" fmla="*/ 123836 h 124665"/>
                <a:gd name="connsiteX12" fmla="*/ 118084 w 129545"/>
                <a:gd name="connsiteY12" fmla="*/ 124661 h 124665"/>
                <a:gd name="connsiteX13" fmla="*/ 123444 w 129545"/>
                <a:gd name="connsiteY13" fmla="*/ 98974 h 124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9545" h="124665">
                  <a:moveTo>
                    <a:pt x="123444" y="98974"/>
                  </a:moveTo>
                  <a:cubicBezTo>
                    <a:pt x="122017" y="88749"/>
                    <a:pt x="124174" y="78318"/>
                    <a:pt x="129546" y="69494"/>
                  </a:cubicBezTo>
                  <a:cubicBezTo>
                    <a:pt x="115222" y="51230"/>
                    <a:pt x="101992" y="32099"/>
                    <a:pt x="89923" y="12267"/>
                  </a:cubicBezTo>
                  <a:cubicBezTo>
                    <a:pt x="81677" y="13504"/>
                    <a:pt x="74380" y="13421"/>
                    <a:pt x="70092" y="9710"/>
                  </a:cubicBezTo>
                  <a:cubicBezTo>
                    <a:pt x="61309" y="2083"/>
                    <a:pt x="39293" y="7195"/>
                    <a:pt x="30469" y="2083"/>
                  </a:cubicBezTo>
                  <a:cubicBezTo>
                    <a:pt x="25934" y="-556"/>
                    <a:pt x="17069" y="-226"/>
                    <a:pt x="8370" y="557"/>
                  </a:cubicBezTo>
                  <a:cubicBezTo>
                    <a:pt x="10472" y="8185"/>
                    <a:pt x="9483" y="15524"/>
                    <a:pt x="5360" y="18781"/>
                  </a:cubicBezTo>
                  <a:cubicBezTo>
                    <a:pt x="-2680" y="24966"/>
                    <a:pt x="-3546" y="49663"/>
                    <a:pt x="15997" y="58940"/>
                  </a:cubicBezTo>
                  <a:cubicBezTo>
                    <a:pt x="35540" y="68217"/>
                    <a:pt x="29315" y="53745"/>
                    <a:pt x="39086" y="53745"/>
                  </a:cubicBezTo>
                  <a:cubicBezTo>
                    <a:pt x="48858" y="53745"/>
                    <a:pt x="47992" y="71268"/>
                    <a:pt x="56857" y="71268"/>
                  </a:cubicBezTo>
                  <a:cubicBezTo>
                    <a:pt x="65721" y="71268"/>
                    <a:pt x="86172" y="83637"/>
                    <a:pt x="85306" y="100129"/>
                  </a:cubicBezTo>
                  <a:cubicBezTo>
                    <a:pt x="84440" y="116621"/>
                    <a:pt x="92397" y="123836"/>
                    <a:pt x="108395" y="123836"/>
                  </a:cubicBezTo>
                  <a:cubicBezTo>
                    <a:pt x="111640" y="123878"/>
                    <a:pt x="114880" y="124125"/>
                    <a:pt x="118084" y="124661"/>
                  </a:cubicBezTo>
                  <a:cubicBezTo>
                    <a:pt x="120805" y="113570"/>
                    <a:pt x="124846" y="104664"/>
                    <a:pt x="123444" y="98974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41CCA184-4BE2-33AA-B415-3A4420679C8C}"/>
                </a:ext>
              </a:extLst>
            </p:cNvPr>
            <p:cNvSpPr/>
            <p:nvPr>
              <p:custDataLst>
                <p:tags r:id="rId161"/>
              </p:custDataLst>
            </p:nvPr>
          </p:nvSpPr>
          <p:spPr>
            <a:xfrm>
              <a:off x="3853009" y="5274759"/>
              <a:ext cx="200312" cy="98317"/>
            </a:xfrm>
            <a:custGeom>
              <a:avLst/>
              <a:gdLst>
                <a:gd name="connsiteX0" fmla="*/ 210935 w 233900"/>
                <a:gd name="connsiteY0" fmla="*/ 37245 h 114803"/>
                <a:gd name="connsiteX1" fmla="*/ 164222 w 233900"/>
                <a:gd name="connsiteY1" fmla="*/ 10486 h 114803"/>
                <a:gd name="connsiteX2" fmla="*/ 160511 w 233900"/>
                <a:gd name="connsiteY2" fmla="*/ 5745 h 114803"/>
                <a:gd name="connsiteX3" fmla="*/ 152883 w 233900"/>
                <a:gd name="connsiteY3" fmla="*/ 2694 h 114803"/>
                <a:gd name="connsiteX4" fmla="*/ 96026 w 233900"/>
                <a:gd name="connsiteY4" fmla="*/ 27432 h 114803"/>
                <a:gd name="connsiteX5" fmla="*/ 32078 w 233900"/>
                <a:gd name="connsiteY5" fmla="*/ 25370 h 114803"/>
                <a:gd name="connsiteX6" fmla="*/ 11462 w 233900"/>
                <a:gd name="connsiteY6" fmla="*/ 4054 h 114803"/>
                <a:gd name="connsiteX7" fmla="*/ 5360 w 233900"/>
                <a:gd name="connsiteY7" fmla="*/ 33534 h 114803"/>
                <a:gd name="connsiteX8" fmla="*/ 1 w 233900"/>
                <a:gd name="connsiteY8" fmla="*/ 59138 h 114803"/>
                <a:gd name="connsiteX9" fmla="*/ 44406 w 233900"/>
                <a:gd name="connsiteY9" fmla="*/ 78351 h 114803"/>
                <a:gd name="connsiteX10" fmla="*/ 68608 w 233900"/>
                <a:gd name="connsiteY10" fmla="*/ 83217 h 114803"/>
                <a:gd name="connsiteX11" fmla="*/ 104149 w 233900"/>
                <a:gd name="connsiteY11" fmla="*/ 109686 h 114803"/>
                <a:gd name="connsiteX12" fmla="*/ 112024 w 233900"/>
                <a:gd name="connsiteY12" fmla="*/ 99420 h 114803"/>
                <a:gd name="connsiteX13" fmla="*/ 100479 w 233900"/>
                <a:gd name="connsiteY13" fmla="*/ 73734 h 114803"/>
                <a:gd name="connsiteX14" fmla="*/ 121795 w 233900"/>
                <a:gd name="connsiteY14" fmla="*/ 51098 h 114803"/>
                <a:gd name="connsiteX15" fmla="*/ 166200 w 233900"/>
                <a:gd name="connsiteY15" fmla="*/ 34606 h 114803"/>
                <a:gd name="connsiteX16" fmla="*/ 177745 w 233900"/>
                <a:gd name="connsiteY16" fmla="*/ 66518 h 114803"/>
                <a:gd name="connsiteX17" fmla="*/ 201329 w 233900"/>
                <a:gd name="connsiteY17" fmla="*/ 114799 h 114803"/>
                <a:gd name="connsiteX18" fmla="*/ 228335 w 233900"/>
                <a:gd name="connsiteY18" fmla="*/ 84453 h 114803"/>
                <a:gd name="connsiteX19" fmla="*/ 233901 w 233900"/>
                <a:gd name="connsiteY19" fmla="*/ 69899 h 114803"/>
                <a:gd name="connsiteX20" fmla="*/ 210935 w 233900"/>
                <a:gd name="connsiteY20" fmla="*/ 37245 h 114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33900" h="114803">
                  <a:moveTo>
                    <a:pt x="210935" y="37245"/>
                  </a:moveTo>
                  <a:cubicBezTo>
                    <a:pt x="192835" y="34400"/>
                    <a:pt x="177333" y="24174"/>
                    <a:pt x="164222" y="10486"/>
                  </a:cubicBezTo>
                  <a:cubicBezTo>
                    <a:pt x="162865" y="9002"/>
                    <a:pt x="161628" y="7435"/>
                    <a:pt x="160511" y="5745"/>
                  </a:cubicBezTo>
                  <a:cubicBezTo>
                    <a:pt x="157888" y="4920"/>
                    <a:pt x="155340" y="3931"/>
                    <a:pt x="152883" y="2694"/>
                  </a:cubicBezTo>
                  <a:cubicBezTo>
                    <a:pt x="136886" y="-5553"/>
                    <a:pt x="116477" y="5786"/>
                    <a:pt x="96026" y="27432"/>
                  </a:cubicBezTo>
                  <a:cubicBezTo>
                    <a:pt x="75576" y="49078"/>
                    <a:pt x="49848" y="36667"/>
                    <a:pt x="32078" y="25370"/>
                  </a:cubicBezTo>
                  <a:cubicBezTo>
                    <a:pt x="24265" y="19227"/>
                    <a:pt x="17330" y="12053"/>
                    <a:pt x="11462" y="4054"/>
                  </a:cubicBezTo>
                  <a:cubicBezTo>
                    <a:pt x="6090" y="12877"/>
                    <a:pt x="3934" y="23309"/>
                    <a:pt x="5360" y="33534"/>
                  </a:cubicBezTo>
                  <a:cubicBezTo>
                    <a:pt x="6762" y="39224"/>
                    <a:pt x="2722" y="48130"/>
                    <a:pt x="1" y="59138"/>
                  </a:cubicBezTo>
                  <a:cubicBezTo>
                    <a:pt x="16282" y="61364"/>
                    <a:pt x="31641" y="68002"/>
                    <a:pt x="44406" y="78351"/>
                  </a:cubicBezTo>
                  <a:cubicBezTo>
                    <a:pt x="52775" y="77568"/>
                    <a:pt x="61186" y="79258"/>
                    <a:pt x="68608" y="83217"/>
                  </a:cubicBezTo>
                  <a:cubicBezTo>
                    <a:pt x="81839" y="90020"/>
                    <a:pt x="93849" y="98967"/>
                    <a:pt x="104149" y="109686"/>
                  </a:cubicBezTo>
                  <a:cubicBezTo>
                    <a:pt x="107451" y="106842"/>
                    <a:pt x="110131" y="103337"/>
                    <a:pt x="112024" y="99420"/>
                  </a:cubicBezTo>
                  <a:cubicBezTo>
                    <a:pt x="116477" y="89154"/>
                    <a:pt x="102252" y="85031"/>
                    <a:pt x="100479" y="73734"/>
                  </a:cubicBezTo>
                  <a:cubicBezTo>
                    <a:pt x="98706" y="62436"/>
                    <a:pt x="118249" y="66518"/>
                    <a:pt x="121795" y="51098"/>
                  </a:cubicBezTo>
                  <a:cubicBezTo>
                    <a:pt x="125341" y="35678"/>
                    <a:pt x="153749" y="28463"/>
                    <a:pt x="166200" y="34606"/>
                  </a:cubicBezTo>
                  <a:cubicBezTo>
                    <a:pt x="178652" y="40749"/>
                    <a:pt x="189289" y="51098"/>
                    <a:pt x="177745" y="66518"/>
                  </a:cubicBezTo>
                  <a:cubicBezTo>
                    <a:pt x="169169" y="78022"/>
                    <a:pt x="186692" y="98678"/>
                    <a:pt x="201329" y="114799"/>
                  </a:cubicBezTo>
                  <a:cubicBezTo>
                    <a:pt x="209810" y="104244"/>
                    <a:pt x="218823" y="94102"/>
                    <a:pt x="228335" y="84453"/>
                  </a:cubicBezTo>
                  <a:cubicBezTo>
                    <a:pt x="231609" y="80289"/>
                    <a:pt x="233546" y="75218"/>
                    <a:pt x="233901" y="69899"/>
                  </a:cubicBezTo>
                  <a:cubicBezTo>
                    <a:pt x="227345" y="66312"/>
                    <a:pt x="220047" y="52706"/>
                    <a:pt x="210935" y="37245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25690742-DE34-62A4-BDB8-3F485602F4B3}"/>
                </a:ext>
              </a:extLst>
            </p:cNvPr>
            <p:cNvSpPr/>
            <p:nvPr>
              <p:custDataLst>
                <p:tags r:id="rId162"/>
              </p:custDataLst>
            </p:nvPr>
          </p:nvSpPr>
          <p:spPr>
            <a:xfrm>
              <a:off x="3989231" y="5191551"/>
              <a:ext cx="409024" cy="640050"/>
            </a:xfrm>
            <a:custGeom>
              <a:avLst/>
              <a:gdLst>
                <a:gd name="connsiteX0" fmla="*/ 469492 w 477608"/>
                <a:gd name="connsiteY0" fmla="*/ 430236 h 747374"/>
                <a:gd name="connsiteX1" fmla="*/ 471100 w 477608"/>
                <a:gd name="connsiteY1" fmla="*/ 395437 h 747374"/>
                <a:gd name="connsiteX2" fmla="*/ 455473 w 477608"/>
                <a:gd name="connsiteY2" fmla="*/ 359732 h 747374"/>
                <a:gd name="connsiteX3" fmla="*/ 465080 w 477608"/>
                <a:gd name="connsiteY3" fmla="*/ 274838 h 747374"/>
                <a:gd name="connsiteX4" fmla="*/ 418201 w 477608"/>
                <a:gd name="connsiteY4" fmla="*/ 260448 h 747374"/>
                <a:gd name="connsiteX5" fmla="*/ 362127 w 477608"/>
                <a:gd name="connsiteY5" fmla="*/ 232164 h 747374"/>
                <a:gd name="connsiteX6" fmla="*/ 293644 w 477608"/>
                <a:gd name="connsiteY6" fmla="*/ 225197 h 747374"/>
                <a:gd name="connsiteX7" fmla="*/ 267586 w 477608"/>
                <a:gd name="connsiteY7" fmla="*/ 163928 h 747374"/>
                <a:gd name="connsiteX8" fmla="*/ 249981 w 477608"/>
                <a:gd name="connsiteY8" fmla="*/ 133335 h 747374"/>
                <a:gd name="connsiteX9" fmla="*/ 231138 w 477608"/>
                <a:gd name="connsiteY9" fmla="*/ 123110 h 747374"/>
                <a:gd name="connsiteX10" fmla="*/ 237158 w 477608"/>
                <a:gd name="connsiteY10" fmla="*/ 101794 h 747374"/>
                <a:gd name="connsiteX11" fmla="*/ 243136 w 477608"/>
                <a:gd name="connsiteY11" fmla="*/ 67449 h 747374"/>
                <a:gd name="connsiteX12" fmla="*/ 278388 w 477608"/>
                <a:gd name="connsiteY12" fmla="*/ 14962 h 747374"/>
                <a:gd name="connsiteX13" fmla="*/ 290551 w 477608"/>
                <a:gd name="connsiteY13" fmla="*/ 6015 h 747374"/>
                <a:gd name="connsiteX14" fmla="*/ 294345 w 477608"/>
                <a:gd name="connsiteY14" fmla="*/ -4 h 747374"/>
                <a:gd name="connsiteX15" fmla="*/ 286098 w 477608"/>
                <a:gd name="connsiteY15" fmla="*/ 325 h 747374"/>
                <a:gd name="connsiteX16" fmla="*/ 266061 w 477608"/>
                <a:gd name="connsiteY16" fmla="*/ 12695 h 747374"/>
                <a:gd name="connsiteX17" fmla="*/ 237199 w 477608"/>
                <a:gd name="connsiteY17" fmla="*/ 17725 h 747374"/>
                <a:gd name="connsiteX18" fmla="*/ 209369 w 477608"/>
                <a:gd name="connsiteY18" fmla="*/ 44277 h 747374"/>
                <a:gd name="connsiteX19" fmla="*/ 186816 w 477608"/>
                <a:gd name="connsiteY19" fmla="*/ 51369 h 747374"/>
                <a:gd name="connsiteX20" fmla="*/ 177209 w 477608"/>
                <a:gd name="connsiteY20" fmla="*/ 60811 h 747374"/>
                <a:gd name="connsiteX21" fmla="*/ 141874 w 477608"/>
                <a:gd name="connsiteY21" fmla="*/ 92929 h 747374"/>
                <a:gd name="connsiteX22" fmla="*/ 106334 w 477608"/>
                <a:gd name="connsiteY22" fmla="*/ 129253 h 747374"/>
                <a:gd name="connsiteX23" fmla="*/ 83740 w 477608"/>
                <a:gd name="connsiteY23" fmla="*/ 164711 h 747374"/>
                <a:gd name="connsiteX24" fmla="*/ 75671 w 477608"/>
                <a:gd name="connsiteY24" fmla="*/ 167433 h 747374"/>
                <a:gd name="connsiteX25" fmla="*/ 75040 w 477608"/>
                <a:gd name="connsiteY25" fmla="*/ 167062 h 747374"/>
                <a:gd name="connsiteX26" fmla="*/ 69474 w 477608"/>
                <a:gd name="connsiteY26" fmla="*/ 181616 h 747374"/>
                <a:gd name="connsiteX27" fmla="*/ 42468 w 477608"/>
                <a:gd name="connsiteY27" fmla="*/ 211962 h 747374"/>
                <a:gd name="connsiteX28" fmla="*/ 55332 w 477608"/>
                <a:gd name="connsiteY28" fmla="*/ 226433 h 747374"/>
                <a:gd name="connsiteX29" fmla="*/ 63289 w 477608"/>
                <a:gd name="connsiteY29" fmla="*/ 262469 h 747374"/>
                <a:gd name="connsiteX30" fmla="*/ 63289 w 477608"/>
                <a:gd name="connsiteY30" fmla="*/ 288197 h 747374"/>
                <a:gd name="connsiteX31" fmla="*/ 70422 w 477608"/>
                <a:gd name="connsiteY31" fmla="*/ 360226 h 747374"/>
                <a:gd name="connsiteX32" fmla="*/ 61558 w 477608"/>
                <a:gd name="connsiteY32" fmla="*/ 400343 h 747374"/>
                <a:gd name="connsiteX33" fmla="*/ 28573 w 477608"/>
                <a:gd name="connsiteY33" fmla="*/ 431184 h 747374"/>
                <a:gd name="connsiteX34" fmla="*/ 7958 w 477608"/>
                <a:gd name="connsiteY34" fmla="*/ 461035 h 747374"/>
                <a:gd name="connsiteX35" fmla="*/ 1 w 477608"/>
                <a:gd name="connsiteY35" fmla="*/ 480413 h 747374"/>
                <a:gd name="connsiteX36" fmla="*/ 49477 w 477608"/>
                <a:gd name="connsiteY36" fmla="*/ 512490 h 747374"/>
                <a:gd name="connsiteX37" fmla="*/ 74504 w 477608"/>
                <a:gd name="connsiteY37" fmla="*/ 533930 h 747374"/>
                <a:gd name="connsiteX38" fmla="*/ 105056 w 477608"/>
                <a:gd name="connsiteY38" fmla="*/ 533930 h 747374"/>
                <a:gd name="connsiteX39" fmla="*/ 133917 w 477608"/>
                <a:gd name="connsiteY39" fmla="*/ 559741 h 747374"/>
                <a:gd name="connsiteX40" fmla="*/ 135731 w 477608"/>
                <a:gd name="connsiteY40" fmla="*/ 562091 h 747374"/>
                <a:gd name="connsiteX41" fmla="*/ 170200 w 477608"/>
                <a:gd name="connsiteY41" fmla="*/ 560813 h 747374"/>
                <a:gd name="connsiteX42" fmla="*/ 193907 w 477608"/>
                <a:gd name="connsiteY42" fmla="*/ 599569 h 747374"/>
                <a:gd name="connsiteX43" fmla="*/ 219017 w 477608"/>
                <a:gd name="connsiteY43" fmla="*/ 628430 h 747374"/>
                <a:gd name="connsiteX44" fmla="*/ 234313 w 477608"/>
                <a:gd name="connsiteY44" fmla="*/ 657498 h 747374"/>
                <a:gd name="connsiteX45" fmla="*/ 280326 w 477608"/>
                <a:gd name="connsiteY45" fmla="*/ 663930 h 747374"/>
                <a:gd name="connsiteX46" fmla="*/ 304034 w 477608"/>
                <a:gd name="connsiteY46" fmla="*/ 660714 h 747374"/>
                <a:gd name="connsiteX47" fmla="*/ 330545 w 477608"/>
                <a:gd name="connsiteY47" fmla="*/ 659065 h 747374"/>
                <a:gd name="connsiteX48" fmla="*/ 359819 w 477608"/>
                <a:gd name="connsiteY48" fmla="*/ 686566 h 747374"/>
                <a:gd name="connsiteX49" fmla="*/ 338915 w 477608"/>
                <a:gd name="connsiteY49" fmla="*/ 725322 h 747374"/>
                <a:gd name="connsiteX50" fmla="*/ 362746 w 477608"/>
                <a:gd name="connsiteY50" fmla="*/ 747339 h 747374"/>
                <a:gd name="connsiteX51" fmla="*/ 364684 w 477608"/>
                <a:gd name="connsiteY51" fmla="*/ 747339 h 747374"/>
                <a:gd name="connsiteX52" fmla="*/ 380063 w 477608"/>
                <a:gd name="connsiteY52" fmla="*/ 684256 h 747374"/>
                <a:gd name="connsiteX53" fmla="*/ 388309 w 477608"/>
                <a:gd name="connsiteY53" fmla="*/ 620968 h 747374"/>
                <a:gd name="connsiteX54" fmla="*/ 362663 w 477608"/>
                <a:gd name="connsiteY54" fmla="*/ 545763 h 747374"/>
                <a:gd name="connsiteX55" fmla="*/ 389876 w 477608"/>
                <a:gd name="connsiteY55" fmla="*/ 520736 h 747374"/>
                <a:gd name="connsiteX56" fmla="*/ 381877 w 477608"/>
                <a:gd name="connsiteY56" fmla="*/ 501688 h 747374"/>
                <a:gd name="connsiteX57" fmla="*/ 371446 w 477608"/>
                <a:gd name="connsiteY57" fmla="*/ 476208 h 747374"/>
                <a:gd name="connsiteX58" fmla="*/ 431972 w 477608"/>
                <a:gd name="connsiteY58" fmla="*/ 471054 h 747374"/>
                <a:gd name="connsiteX59" fmla="*/ 476831 w 477608"/>
                <a:gd name="connsiteY59" fmla="*/ 453902 h 747374"/>
                <a:gd name="connsiteX60" fmla="*/ 469492 w 477608"/>
                <a:gd name="connsiteY60" fmla="*/ 430236 h 74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477608" h="747374">
                  <a:moveTo>
                    <a:pt x="469492" y="430236"/>
                  </a:moveTo>
                  <a:cubicBezTo>
                    <a:pt x="458648" y="420546"/>
                    <a:pt x="462689" y="406611"/>
                    <a:pt x="471100" y="395437"/>
                  </a:cubicBezTo>
                  <a:cubicBezTo>
                    <a:pt x="479511" y="384263"/>
                    <a:pt x="465905" y="373173"/>
                    <a:pt x="455473" y="359732"/>
                  </a:cubicBezTo>
                  <a:cubicBezTo>
                    <a:pt x="445042" y="346290"/>
                    <a:pt x="453082" y="297556"/>
                    <a:pt x="465080" y="274838"/>
                  </a:cubicBezTo>
                  <a:cubicBezTo>
                    <a:pt x="477078" y="252120"/>
                    <a:pt x="440630" y="257191"/>
                    <a:pt x="418201" y="260448"/>
                  </a:cubicBezTo>
                  <a:cubicBezTo>
                    <a:pt x="395772" y="263706"/>
                    <a:pt x="376558" y="253481"/>
                    <a:pt x="362127" y="232164"/>
                  </a:cubicBezTo>
                  <a:cubicBezTo>
                    <a:pt x="347697" y="210848"/>
                    <a:pt x="328071" y="224248"/>
                    <a:pt x="293644" y="225197"/>
                  </a:cubicBezTo>
                  <a:cubicBezTo>
                    <a:pt x="259216" y="226145"/>
                    <a:pt x="265978" y="181121"/>
                    <a:pt x="267586" y="163928"/>
                  </a:cubicBezTo>
                  <a:cubicBezTo>
                    <a:pt x="269194" y="146735"/>
                    <a:pt x="249981" y="144467"/>
                    <a:pt x="249981" y="133335"/>
                  </a:cubicBezTo>
                  <a:cubicBezTo>
                    <a:pt x="249981" y="122203"/>
                    <a:pt x="239962" y="122203"/>
                    <a:pt x="231138" y="123110"/>
                  </a:cubicBezTo>
                  <a:cubicBezTo>
                    <a:pt x="222315" y="124017"/>
                    <a:pt x="231138" y="110741"/>
                    <a:pt x="237158" y="101794"/>
                  </a:cubicBezTo>
                  <a:cubicBezTo>
                    <a:pt x="243178" y="92847"/>
                    <a:pt x="242765" y="86002"/>
                    <a:pt x="243136" y="67449"/>
                  </a:cubicBezTo>
                  <a:cubicBezTo>
                    <a:pt x="243508" y="48895"/>
                    <a:pt x="266761" y="33104"/>
                    <a:pt x="278388" y="14962"/>
                  </a:cubicBezTo>
                  <a:cubicBezTo>
                    <a:pt x="281328" y="10716"/>
                    <a:pt x="285612" y="7541"/>
                    <a:pt x="290551" y="6015"/>
                  </a:cubicBezTo>
                  <a:cubicBezTo>
                    <a:pt x="291273" y="3707"/>
                    <a:pt x="292580" y="1645"/>
                    <a:pt x="294345" y="-4"/>
                  </a:cubicBezTo>
                  <a:cubicBezTo>
                    <a:pt x="291623" y="-4"/>
                    <a:pt x="288861" y="243"/>
                    <a:pt x="286098" y="325"/>
                  </a:cubicBezTo>
                  <a:cubicBezTo>
                    <a:pt x="280846" y="6427"/>
                    <a:pt x="273853" y="10716"/>
                    <a:pt x="266061" y="12695"/>
                  </a:cubicBezTo>
                  <a:cubicBezTo>
                    <a:pt x="256454" y="15127"/>
                    <a:pt x="246641" y="15663"/>
                    <a:pt x="237199" y="17725"/>
                  </a:cubicBezTo>
                  <a:cubicBezTo>
                    <a:pt x="233068" y="30754"/>
                    <a:pt x="222571" y="40773"/>
                    <a:pt x="209369" y="44277"/>
                  </a:cubicBezTo>
                  <a:cubicBezTo>
                    <a:pt x="201675" y="46050"/>
                    <a:pt x="194134" y="48400"/>
                    <a:pt x="186816" y="51369"/>
                  </a:cubicBezTo>
                  <a:cubicBezTo>
                    <a:pt x="183855" y="54750"/>
                    <a:pt x="180643" y="57924"/>
                    <a:pt x="177209" y="60811"/>
                  </a:cubicBezTo>
                  <a:cubicBezTo>
                    <a:pt x="168938" y="74829"/>
                    <a:pt x="156623" y="86044"/>
                    <a:pt x="141874" y="92929"/>
                  </a:cubicBezTo>
                  <a:cubicBezTo>
                    <a:pt x="138465" y="111112"/>
                    <a:pt x="124438" y="125460"/>
                    <a:pt x="106334" y="129253"/>
                  </a:cubicBezTo>
                  <a:cubicBezTo>
                    <a:pt x="96645" y="142241"/>
                    <a:pt x="89594" y="156589"/>
                    <a:pt x="83740" y="164711"/>
                  </a:cubicBezTo>
                  <a:cubicBezTo>
                    <a:pt x="82259" y="167680"/>
                    <a:pt x="78647" y="168917"/>
                    <a:pt x="75671" y="167433"/>
                  </a:cubicBezTo>
                  <a:cubicBezTo>
                    <a:pt x="75452" y="167309"/>
                    <a:pt x="75242" y="167185"/>
                    <a:pt x="75040" y="167062"/>
                  </a:cubicBezTo>
                  <a:cubicBezTo>
                    <a:pt x="74685" y="172380"/>
                    <a:pt x="72747" y="177451"/>
                    <a:pt x="69474" y="181616"/>
                  </a:cubicBezTo>
                  <a:cubicBezTo>
                    <a:pt x="59962" y="191264"/>
                    <a:pt x="50949" y="201406"/>
                    <a:pt x="42468" y="211962"/>
                  </a:cubicBezTo>
                  <a:cubicBezTo>
                    <a:pt x="47498" y="217528"/>
                    <a:pt x="52157" y="222516"/>
                    <a:pt x="55332" y="226433"/>
                  </a:cubicBezTo>
                  <a:cubicBezTo>
                    <a:pt x="67701" y="241854"/>
                    <a:pt x="59743" y="254223"/>
                    <a:pt x="63289" y="262469"/>
                  </a:cubicBezTo>
                  <a:cubicBezTo>
                    <a:pt x="66835" y="270715"/>
                    <a:pt x="70422" y="283084"/>
                    <a:pt x="63289" y="288197"/>
                  </a:cubicBezTo>
                  <a:cubicBezTo>
                    <a:pt x="56156" y="293309"/>
                    <a:pt x="62423" y="350043"/>
                    <a:pt x="70422" y="360226"/>
                  </a:cubicBezTo>
                  <a:cubicBezTo>
                    <a:pt x="78421" y="370410"/>
                    <a:pt x="70422" y="379770"/>
                    <a:pt x="61558" y="400343"/>
                  </a:cubicBezTo>
                  <a:cubicBezTo>
                    <a:pt x="52693" y="420917"/>
                    <a:pt x="44653" y="430153"/>
                    <a:pt x="28573" y="431184"/>
                  </a:cubicBezTo>
                  <a:cubicBezTo>
                    <a:pt x="12493" y="432215"/>
                    <a:pt x="13483" y="461035"/>
                    <a:pt x="7958" y="461035"/>
                  </a:cubicBezTo>
                  <a:cubicBezTo>
                    <a:pt x="3835" y="461035"/>
                    <a:pt x="619" y="471466"/>
                    <a:pt x="1" y="480413"/>
                  </a:cubicBezTo>
                  <a:cubicBezTo>
                    <a:pt x="14885" y="494926"/>
                    <a:pt x="41684" y="512490"/>
                    <a:pt x="49477" y="512490"/>
                  </a:cubicBezTo>
                  <a:cubicBezTo>
                    <a:pt x="57269" y="512490"/>
                    <a:pt x="63372" y="526467"/>
                    <a:pt x="74504" y="533930"/>
                  </a:cubicBezTo>
                  <a:cubicBezTo>
                    <a:pt x="85636" y="541393"/>
                    <a:pt x="101345" y="539331"/>
                    <a:pt x="105056" y="533930"/>
                  </a:cubicBezTo>
                  <a:cubicBezTo>
                    <a:pt x="108766" y="528529"/>
                    <a:pt x="118909" y="540403"/>
                    <a:pt x="133917" y="559741"/>
                  </a:cubicBezTo>
                  <a:lnTo>
                    <a:pt x="135731" y="562091"/>
                  </a:lnTo>
                  <a:cubicBezTo>
                    <a:pt x="148100" y="558916"/>
                    <a:pt x="163892" y="556195"/>
                    <a:pt x="170200" y="560813"/>
                  </a:cubicBezTo>
                  <a:cubicBezTo>
                    <a:pt x="181332" y="569059"/>
                    <a:pt x="178446" y="597920"/>
                    <a:pt x="193907" y="599569"/>
                  </a:cubicBezTo>
                  <a:cubicBezTo>
                    <a:pt x="209369" y="601218"/>
                    <a:pt x="220377" y="618947"/>
                    <a:pt x="219017" y="628430"/>
                  </a:cubicBezTo>
                  <a:cubicBezTo>
                    <a:pt x="217656" y="637913"/>
                    <a:pt x="235715" y="642943"/>
                    <a:pt x="234313" y="657498"/>
                  </a:cubicBezTo>
                  <a:cubicBezTo>
                    <a:pt x="232911" y="672052"/>
                    <a:pt x="274760" y="668795"/>
                    <a:pt x="280326" y="663930"/>
                  </a:cubicBezTo>
                  <a:cubicBezTo>
                    <a:pt x="285892" y="659065"/>
                    <a:pt x="297066" y="655684"/>
                    <a:pt x="304034" y="660714"/>
                  </a:cubicBezTo>
                  <a:cubicBezTo>
                    <a:pt x="311002" y="665744"/>
                    <a:pt x="323577" y="655890"/>
                    <a:pt x="330545" y="659065"/>
                  </a:cubicBezTo>
                  <a:cubicBezTo>
                    <a:pt x="337513" y="662239"/>
                    <a:pt x="365385" y="675268"/>
                    <a:pt x="359819" y="686566"/>
                  </a:cubicBezTo>
                  <a:cubicBezTo>
                    <a:pt x="354253" y="697863"/>
                    <a:pt x="334709" y="715427"/>
                    <a:pt x="338915" y="725322"/>
                  </a:cubicBezTo>
                  <a:cubicBezTo>
                    <a:pt x="342213" y="732991"/>
                    <a:pt x="356768" y="737691"/>
                    <a:pt x="362746" y="747339"/>
                  </a:cubicBezTo>
                  <a:cubicBezTo>
                    <a:pt x="363389" y="747380"/>
                    <a:pt x="364041" y="747380"/>
                    <a:pt x="364684" y="747339"/>
                  </a:cubicBezTo>
                  <a:cubicBezTo>
                    <a:pt x="375363" y="744618"/>
                    <a:pt x="380063" y="697863"/>
                    <a:pt x="380063" y="684256"/>
                  </a:cubicBezTo>
                  <a:cubicBezTo>
                    <a:pt x="381098" y="662981"/>
                    <a:pt x="383856" y="641789"/>
                    <a:pt x="388309" y="620968"/>
                  </a:cubicBezTo>
                  <a:cubicBezTo>
                    <a:pt x="395030" y="593962"/>
                    <a:pt x="362663" y="574996"/>
                    <a:pt x="362663" y="545763"/>
                  </a:cubicBezTo>
                  <a:cubicBezTo>
                    <a:pt x="362663" y="516531"/>
                    <a:pt x="375445" y="532776"/>
                    <a:pt x="389876" y="520736"/>
                  </a:cubicBezTo>
                  <a:cubicBezTo>
                    <a:pt x="404306" y="508697"/>
                    <a:pt x="389092" y="503585"/>
                    <a:pt x="381877" y="501688"/>
                  </a:cubicBezTo>
                  <a:cubicBezTo>
                    <a:pt x="374662" y="499791"/>
                    <a:pt x="369054" y="485196"/>
                    <a:pt x="371446" y="476208"/>
                  </a:cubicBezTo>
                  <a:cubicBezTo>
                    <a:pt x="373837" y="467219"/>
                    <a:pt x="417954" y="471054"/>
                    <a:pt x="431972" y="471054"/>
                  </a:cubicBezTo>
                  <a:cubicBezTo>
                    <a:pt x="445990" y="471054"/>
                    <a:pt x="476418" y="456252"/>
                    <a:pt x="476831" y="453902"/>
                  </a:cubicBezTo>
                  <a:cubicBezTo>
                    <a:pt x="479119" y="445244"/>
                    <a:pt x="476270" y="436049"/>
                    <a:pt x="469492" y="430236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9820149E-D193-E702-31BC-0211770B1D90}"/>
                </a:ext>
              </a:extLst>
            </p:cNvPr>
            <p:cNvSpPr/>
            <p:nvPr>
              <p:custDataLst>
                <p:tags r:id="rId163"/>
              </p:custDataLst>
            </p:nvPr>
          </p:nvSpPr>
          <p:spPr>
            <a:xfrm>
              <a:off x="4313627" y="6057909"/>
              <a:ext cx="416236" cy="541655"/>
            </a:xfrm>
            <a:custGeom>
              <a:avLst/>
              <a:gdLst>
                <a:gd name="connsiteX0" fmla="*/ 484453 w 486030"/>
                <a:gd name="connsiteY0" fmla="*/ 380513 h 632480"/>
                <a:gd name="connsiteX1" fmla="*/ 460745 w 486030"/>
                <a:gd name="connsiteY1" fmla="*/ 335160 h 632480"/>
                <a:gd name="connsiteX2" fmla="*/ 427761 w 486030"/>
                <a:gd name="connsiteY2" fmla="*/ 311823 h 632480"/>
                <a:gd name="connsiteX3" fmla="*/ 383933 w 486030"/>
                <a:gd name="connsiteY3" fmla="*/ 288528 h 632480"/>
                <a:gd name="connsiteX4" fmla="*/ 379192 w 486030"/>
                <a:gd name="connsiteY4" fmla="*/ 250102 h 632480"/>
                <a:gd name="connsiteX5" fmla="*/ 373254 w 486030"/>
                <a:gd name="connsiteY5" fmla="*/ 214396 h 632480"/>
                <a:gd name="connsiteX6" fmla="*/ 357876 w 486030"/>
                <a:gd name="connsiteY6" fmla="*/ 182896 h 632480"/>
                <a:gd name="connsiteX7" fmla="*/ 314006 w 486030"/>
                <a:gd name="connsiteY7" fmla="*/ 171887 h 632480"/>
                <a:gd name="connsiteX8" fmla="*/ 281022 w 486030"/>
                <a:gd name="connsiteY8" fmla="*/ 154034 h 632480"/>
                <a:gd name="connsiteX9" fmla="*/ 264530 w 486030"/>
                <a:gd name="connsiteY9" fmla="*/ 137542 h 632480"/>
                <a:gd name="connsiteX10" fmla="*/ 236122 w 486030"/>
                <a:gd name="connsiteY10" fmla="*/ 130656 h 632480"/>
                <a:gd name="connsiteX11" fmla="*/ 188748 w 486030"/>
                <a:gd name="connsiteY11" fmla="*/ 97672 h 632480"/>
                <a:gd name="connsiteX12" fmla="*/ 175678 w 486030"/>
                <a:gd name="connsiteY12" fmla="*/ 6965 h 632480"/>
                <a:gd name="connsiteX13" fmla="*/ 137787 w 486030"/>
                <a:gd name="connsiteY13" fmla="*/ 4244 h 632480"/>
                <a:gd name="connsiteX14" fmla="*/ 90414 w 486030"/>
                <a:gd name="connsiteY14" fmla="*/ 28983 h 632480"/>
                <a:gd name="connsiteX15" fmla="*/ 56069 w 486030"/>
                <a:gd name="connsiteY15" fmla="*/ 49598 h 632480"/>
                <a:gd name="connsiteX16" fmla="*/ 21723 w 486030"/>
                <a:gd name="connsiteY16" fmla="*/ 59204 h 632480"/>
                <a:gd name="connsiteX17" fmla="*/ 8324 w 486030"/>
                <a:gd name="connsiteY17" fmla="*/ 55700 h 632480"/>
                <a:gd name="connsiteX18" fmla="*/ 35948 w 486030"/>
                <a:gd name="connsiteY18" fmla="*/ 120926 h 632480"/>
                <a:gd name="connsiteX19" fmla="*/ 25269 w 486030"/>
                <a:gd name="connsiteY19" fmla="*/ 145664 h 632480"/>
                <a:gd name="connsiteX20" fmla="*/ 28815 w 486030"/>
                <a:gd name="connsiteY20" fmla="*/ 211633 h 632480"/>
                <a:gd name="connsiteX21" fmla="*/ 19332 w 486030"/>
                <a:gd name="connsiteY21" fmla="*/ 250060 h 632480"/>
                <a:gd name="connsiteX22" fmla="*/ 9890 w 486030"/>
                <a:gd name="connsiteY22" fmla="*/ 289848 h 632480"/>
                <a:gd name="connsiteX23" fmla="*/ 25269 w 486030"/>
                <a:gd name="connsiteY23" fmla="*/ 311782 h 632480"/>
                <a:gd name="connsiteX24" fmla="*/ 3953 w 486030"/>
                <a:gd name="connsiteY24" fmla="*/ 348890 h 632480"/>
                <a:gd name="connsiteX25" fmla="*/ 572 w 486030"/>
                <a:gd name="connsiteY25" fmla="*/ 367938 h 632480"/>
                <a:gd name="connsiteX26" fmla="*/ 17064 w 486030"/>
                <a:gd name="connsiteY26" fmla="*/ 390037 h 632480"/>
                <a:gd name="connsiteX27" fmla="*/ 26548 w 486030"/>
                <a:gd name="connsiteY27" fmla="*/ 439514 h 632480"/>
                <a:gd name="connsiteX28" fmla="*/ 43040 w 486030"/>
                <a:gd name="connsiteY28" fmla="*/ 465613 h 632480"/>
                <a:gd name="connsiteX29" fmla="*/ 34794 w 486030"/>
                <a:gd name="connsiteY29" fmla="*/ 498597 h 632480"/>
                <a:gd name="connsiteX30" fmla="*/ 49018 w 486030"/>
                <a:gd name="connsiteY30" fmla="*/ 537024 h 632480"/>
                <a:gd name="connsiteX31" fmla="*/ 63201 w 486030"/>
                <a:gd name="connsiteY31" fmla="*/ 579533 h 632480"/>
                <a:gd name="connsiteX32" fmla="*/ 72685 w 486030"/>
                <a:gd name="connsiteY32" fmla="*/ 630287 h 632480"/>
                <a:gd name="connsiteX33" fmla="*/ 127191 w 486030"/>
                <a:gd name="connsiteY33" fmla="*/ 593180 h 632480"/>
                <a:gd name="connsiteX34" fmla="*/ 162732 w 486030"/>
                <a:gd name="connsiteY34" fmla="*/ 591778 h 632480"/>
                <a:gd name="connsiteX35" fmla="*/ 208910 w 486030"/>
                <a:gd name="connsiteY35" fmla="*/ 613754 h 632480"/>
                <a:gd name="connsiteX36" fmla="*/ 232576 w 486030"/>
                <a:gd name="connsiteY36" fmla="*/ 586336 h 632480"/>
                <a:gd name="connsiteX37" fmla="*/ 285887 w 486030"/>
                <a:gd name="connsiteY37" fmla="*/ 586336 h 632480"/>
                <a:gd name="connsiteX38" fmla="*/ 297762 w 486030"/>
                <a:gd name="connsiteY38" fmla="*/ 514966 h 632480"/>
                <a:gd name="connsiteX39" fmla="*/ 328520 w 486030"/>
                <a:gd name="connsiteY39" fmla="*/ 471097 h 632480"/>
                <a:gd name="connsiteX40" fmla="*/ 377130 w 486030"/>
                <a:gd name="connsiteY40" fmla="*/ 461490 h 632480"/>
                <a:gd name="connsiteX41" fmla="*/ 423308 w 486030"/>
                <a:gd name="connsiteY41" fmla="*/ 455965 h 632480"/>
                <a:gd name="connsiteX42" fmla="*/ 461199 w 486030"/>
                <a:gd name="connsiteY42" fmla="*/ 475220 h 632480"/>
                <a:gd name="connsiteX43" fmla="*/ 480165 w 486030"/>
                <a:gd name="connsiteY43" fmla="*/ 440916 h 632480"/>
                <a:gd name="connsiteX44" fmla="*/ 484453 w 486030"/>
                <a:gd name="connsiteY44" fmla="*/ 380513 h 632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486030" h="632480">
                  <a:moveTo>
                    <a:pt x="484453" y="380513"/>
                  </a:moveTo>
                  <a:cubicBezTo>
                    <a:pt x="478516" y="359898"/>
                    <a:pt x="460745" y="357177"/>
                    <a:pt x="460745" y="335160"/>
                  </a:cubicBezTo>
                  <a:cubicBezTo>
                    <a:pt x="460745" y="313143"/>
                    <a:pt x="453654" y="310422"/>
                    <a:pt x="427761" y="311823"/>
                  </a:cubicBezTo>
                  <a:cubicBezTo>
                    <a:pt x="401869" y="313225"/>
                    <a:pt x="385088" y="306340"/>
                    <a:pt x="383933" y="288528"/>
                  </a:cubicBezTo>
                  <a:cubicBezTo>
                    <a:pt x="382779" y="270717"/>
                    <a:pt x="367441" y="256945"/>
                    <a:pt x="379192" y="250102"/>
                  </a:cubicBezTo>
                  <a:cubicBezTo>
                    <a:pt x="390942" y="243257"/>
                    <a:pt x="370946" y="230888"/>
                    <a:pt x="373254" y="214396"/>
                  </a:cubicBezTo>
                  <a:cubicBezTo>
                    <a:pt x="375564" y="197904"/>
                    <a:pt x="366163" y="191100"/>
                    <a:pt x="357876" y="182896"/>
                  </a:cubicBezTo>
                  <a:cubicBezTo>
                    <a:pt x="349588" y="174691"/>
                    <a:pt x="314006" y="187019"/>
                    <a:pt x="314006" y="171887"/>
                  </a:cubicBezTo>
                  <a:cubicBezTo>
                    <a:pt x="314006" y="156756"/>
                    <a:pt x="292690" y="154034"/>
                    <a:pt x="281022" y="154034"/>
                  </a:cubicBezTo>
                  <a:cubicBezTo>
                    <a:pt x="269354" y="154034"/>
                    <a:pt x="277476" y="136223"/>
                    <a:pt x="264530" y="137542"/>
                  </a:cubicBezTo>
                  <a:cubicBezTo>
                    <a:pt x="251583" y="138861"/>
                    <a:pt x="253892" y="127894"/>
                    <a:pt x="236122" y="130656"/>
                  </a:cubicBezTo>
                  <a:cubicBezTo>
                    <a:pt x="218352" y="133419"/>
                    <a:pt x="207673" y="123813"/>
                    <a:pt x="188748" y="97672"/>
                  </a:cubicBezTo>
                  <a:cubicBezTo>
                    <a:pt x="169823" y="71532"/>
                    <a:pt x="172256" y="20860"/>
                    <a:pt x="175678" y="6965"/>
                  </a:cubicBezTo>
                  <a:cubicBezTo>
                    <a:pt x="179100" y="-6930"/>
                    <a:pt x="153207" y="4244"/>
                    <a:pt x="137787" y="4244"/>
                  </a:cubicBezTo>
                  <a:cubicBezTo>
                    <a:pt x="122367" y="4244"/>
                    <a:pt x="106988" y="17974"/>
                    <a:pt x="90414" y="28983"/>
                  </a:cubicBezTo>
                  <a:cubicBezTo>
                    <a:pt x="73839" y="39991"/>
                    <a:pt x="64356" y="39949"/>
                    <a:pt x="56069" y="49598"/>
                  </a:cubicBezTo>
                  <a:cubicBezTo>
                    <a:pt x="47781" y="59246"/>
                    <a:pt x="34752" y="64688"/>
                    <a:pt x="21723" y="59204"/>
                  </a:cubicBezTo>
                  <a:cubicBezTo>
                    <a:pt x="17415" y="57514"/>
                    <a:pt x="12917" y="56318"/>
                    <a:pt x="8324" y="55700"/>
                  </a:cubicBezTo>
                  <a:cubicBezTo>
                    <a:pt x="15333" y="75862"/>
                    <a:pt x="32196" y="109010"/>
                    <a:pt x="35948" y="120926"/>
                  </a:cubicBezTo>
                  <a:cubicBezTo>
                    <a:pt x="40690" y="136017"/>
                    <a:pt x="30011" y="140140"/>
                    <a:pt x="25269" y="145664"/>
                  </a:cubicBezTo>
                  <a:cubicBezTo>
                    <a:pt x="20528" y="151190"/>
                    <a:pt x="27620" y="200501"/>
                    <a:pt x="28815" y="211633"/>
                  </a:cubicBezTo>
                  <a:cubicBezTo>
                    <a:pt x="30011" y="222766"/>
                    <a:pt x="12323" y="243216"/>
                    <a:pt x="19332" y="250060"/>
                  </a:cubicBezTo>
                  <a:cubicBezTo>
                    <a:pt x="26341" y="256904"/>
                    <a:pt x="9890" y="277479"/>
                    <a:pt x="9890" y="289848"/>
                  </a:cubicBezTo>
                  <a:cubicBezTo>
                    <a:pt x="9890" y="302217"/>
                    <a:pt x="25269" y="302217"/>
                    <a:pt x="25269" y="311782"/>
                  </a:cubicBezTo>
                  <a:cubicBezTo>
                    <a:pt x="25269" y="321347"/>
                    <a:pt x="12241" y="343324"/>
                    <a:pt x="3953" y="348890"/>
                  </a:cubicBezTo>
                  <a:cubicBezTo>
                    <a:pt x="-417" y="351775"/>
                    <a:pt x="-500" y="359568"/>
                    <a:pt x="572" y="367938"/>
                  </a:cubicBezTo>
                  <a:cubicBezTo>
                    <a:pt x="3046" y="366990"/>
                    <a:pt x="4695" y="379483"/>
                    <a:pt x="17064" y="390037"/>
                  </a:cubicBezTo>
                  <a:cubicBezTo>
                    <a:pt x="31289" y="402407"/>
                    <a:pt x="14715" y="423022"/>
                    <a:pt x="26548" y="439514"/>
                  </a:cubicBezTo>
                  <a:cubicBezTo>
                    <a:pt x="38381" y="456006"/>
                    <a:pt x="51286" y="457367"/>
                    <a:pt x="43040" y="465613"/>
                  </a:cubicBezTo>
                  <a:cubicBezTo>
                    <a:pt x="34794" y="473859"/>
                    <a:pt x="44235" y="490351"/>
                    <a:pt x="34794" y="498597"/>
                  </a:cubicBezTo>
                  <a:cubicBezTo>
                    <a:pt x="25352" y="506843"/>
                    <a:pt x="38339" y="531581"/>
                    <a:pt x="49018" y="537024"/>
                  </a:cubicBezTo>
                  <a:cubicBezTo>
                    <a:pt x="59697" y="542466"/>
                    <a:pt x="52564" y="567163"/>
                    <a:pt x="63201" y="579533"/>
                  </a:cubicBezTo>
                  <a:cubicBezTo>
                    <a:pt x="73839" y="591902"/>
                    <a:pt x="69139" y="620763"/>
                    <a:pt x="72685" y="630287"/>
                  </a:cubicBezTo>
                  <a:cubicBezTo>
                    <a:pt x="76230" y="639811"/>
                    <a:pt x="108225" y="616558"/>
                    <a:pt x="127191" y="593180"/>
                  </a:cubicBezTo>
                  <a:cubicBezTo>
                    <a:pt x="146157" y="569802"/>
                    <a:pt x="144961" y="589057"/>
                    <a:pt x="162732" y="591778"/>
                  </a:cubicBezTo>
                  <a:cubicBezTo>
                    <a:pt x="180502" y="594499"/>
                    <a:pt x="200623" y="594582"/>
                    <a:pt x="208910" y="613754"/>
                  </a:cubicBezTo>
                  <a:cubicBezTo>
                    <a:pt x="217197" y="632926"/>
                    <a:pt x="226680" y="594582"/>
                    <a:pt x="232576" y="586336"/>
                  </a:cubicBezTo>
                  <a:cubicBezTo>
                    <a:pt x="238472" y="578090"/>
                    <a:pt x="278795" y="589057"/>
                    <a:pt x="285887" y="586336"/>
                  </a:cubicBezTo>
                  <a:cubicBezTo>
                    <a:pt x="292979" y="583615"/>
                    <a:pt x="298916" y="524490"/>
                    <a:pt x="297762" y="514966"/>
                  </a:cubicBezTo>
                  <a:cubicBezTo>
                    <a:pt x="296607" y="505441"/>
                    <a:pt x="314254" y="481982"/>
                    <a:pt x="328520" y="471097"/>
                  </a:cubicBezTo>
                  <a:cubicBezTo>
                    <a:pt x="342785" y="460212"/>
                    <a:pt x="365256" y="468334"/>
                    <a:pt x="377130" y="461490"/>
                  </a:cubicBezTo>
                  <a:cubicBezTo>
                    <a:pt x="389005" y="454646"/>
                    <a:pt x="406734" y="455965"/>
                    <a:pt x="423308" y="455965"/>
                  </a:cubicBezTo>
                  <a:cubicBezTo>
                    <a:pt x="439883" y="455965"/>
                    <a:pt x="451757" y="475220"/>
                    <a:pt x="461199" y="475220"/>
                  </a:cubicBezTo>
                  <a:cubicBezTo>
                    <a:pt x="470641" y="475220"/>
                    <a:pt x="482515" y="457367"/>
                    <a:pt x="480165" y="440916"/>
                  </a:cubicBezTo>
                  <a:cubicBezTo>
                    <a:pt x="477815" y="424465"/>
                    <a:pt x="490308" y="401087"/>
                    <a:pt x="484453" y="38051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B73FD46C-5F51-77E0-883D-7FB8195F9BB1}"/>
                </a:ext>
              </a:extLst>
            </p:cNvPr>
            <p:cNvSpPr/>
            <p:nvPr>
              <p:custDataLst>
                <p:tags r:id="rId164"/>
              </p:custDataLst>
            </p:nvPr>
          </p:nvSpPr>
          <p:spPr>
            <a:xfrm>
              <a:off x="3908920" y="5669862"/>
              <a:ext cx="436158" cy="742942"/>
            </a:xfrm>
            <a:custGeom>
              <a:avLst/>
              <a:gdLst>
                <a:gd name="connsiteX0" fmla="*/ 508103 w 509293"/>
                <a:gd name="connsiteY0" fmla="*/ 574326 h 867519"/>
                <a:gd name="connsiteX1" fmla="*/ 480479 w 509293"/>
                <a:gd name="connsiteY1" fmla="*/ 509099 h 867519"/>
                <a:gd name="connsiteX2" fmla="*/ 441763 w 509293"/>
                <a:gd name="connsiteY2" fmla="*/ 511243 h 867519"/>
                <a:gd name="connsiteX3" fmla="*/ 432281 w 509293"/>
                <a:gd name="connsiteY3" fmla="*/ 450881 h 867519"/>
                <a:gd name="connsiteX4" fmla="*/ 414510 w 509293"/>
                <a:gd name="connsiteY4" fmla="*/ 455004 h 867519"/>
                <a:gd name="connsiteX5" fmla="*/ 371878 w 509293"/>
                <a:gd name="connsiteY5" fmla="*/ 461890 h 867519"/>
                <a:gd name="connsiteX6" fmla="*/ 350562 w 509293"/>
                <a:gd name="connsiteY6" fmla="*/ 435791 h 867519"/>
                <a:gd name="connsiteX7" fmla="*/ 330441 w 509293"/>
                <a:gd name="connsiteY7" fmla="*/ 417979 h 867519"/>
                <a:gd name="connsiteX8" fmla="*/ 313949 w 509293"/>
                <a:gd name="connsiteY8" fmla="*/ 378192 h 867519"/>
                <a:gd name="connsiteX9" fmla="*/ 303312 w 509293"/>
                <a:gd name="connsiteY9" fmla="*/ 338404 h 867519"/>
                <a:gd name="connsiteX10" fmla="*/ 309208 w 509293"/>
                <a:gd name="connsiteY10" fmla="*/ 308224 h 867519"/>
                <a:gd name="connsiteX11" fmla="*/ 327019 w 509293"/>
                <a:gd name="connsiteY11" fmla="*/ 283486 h 867519"/>
                <a:gd name="connsiteX12" fmla="*/ 340007 w 509293"/>
                <a:gd name="connsiteY12" fmla="*/ 239575 h 867519"/>
                <a:gd name="connsiteX13" fmla="*/ 375547 w 509293"/>
                <a:gd name="connsiteY13" fmla="*/ 212198 h 867519"/>
                <a:gd name="connsiteX14" fmla="*/ 424076 w 509293"/>
                <a:gd name="connsiteY14" fmla="*/ 191583 h 867519"/>
                <a:gd name="connsiteX15" fmla="*/ 456524 w 509293"/>
                <a:gd name="connsiteY15" fmla="*/ 188985 h 867519"/>
                <a:gd name="connsiteX16" fmla="*/ 432693 w 509293"/>
                <a:gd name="connsiteY16" fmla="*/ 166968 h 867519"/>
                <a:gd name="connsiteX17" fmla="*/ 453597 w 509293"/>
                <a:gd name="connsiteY17" fmla="*/ 128212 h 867519"/>
                <a:gd name="connsiteX18" fmla="*/ 424323 w 509293"/>
                <a:gd name="connsiteY18" fmla="*/ 100711 h 867519"/>
                <a:gd name="connsiteX19" fmla="*/ 397812 w 509293"/>
                <a:gd name="connsiteY19" fmla="*/ 102360 h 867519"/>
                <a:gd name="connsiteX20" fmla="*/ 374104 w 509293"/>
                <a:gd name="connsiteY20" fmla="*/ 105576 h 867519"/>
                <a:gd name="connsiteX21" fmla="*/ 328091 w 509293"/>
                <a:gd name="connsiteY21" fmla="*/ 99145 h 867519"/>
                <a:gd name="connsiteX22" fmla="*/ 312795 w 509293"/>
                <a:gd name="connsiteY22" fmla="*/ 70077 h 867519"/>
                <a:gd name="connsiteX23" fmla="*/ 287685 w 509293"/>
                <a:gd name="connsiteY23" fmla="*/ 41215 h 867519"/>
                <a:gd name="connsiteX24" fmla="*/ 263978 w 509293"/>
                <a:gd name="connsiteY24" fmla="*/ 2459 h 867519"/>
                <a:gd name="connsiteX25" fmla="*/ 229509 w 509293"/>
                <a:gd name="connsiteY25" fmla="*/ 3737 h 867519"/>
                <a:gd name="connsiteX26" fmla="*/ 238827 w 509293"/>
                <a:gd name="connsiteY26" fmla="*/ 36722 h 867519"/>
                <a:gd name="connsiteX27" fmla="*/ 216563 w 509293"/>
                <a:gd name="connsiteY27" fmla="*/ 83848 h 867519"/>
                <a:gd name="connsiteX28" fmla="*/ 137854 w 509293"/>
                <a:gd name="connsiteY28" fmla="*/ 133324 h 867519"/>
                <a:gd name="connsiteX29" fmla="*/ 101736 w 509293"/>
                <a:gd name="connsiteY29" fmla="*/ 207333 h 867519"/>
                <a:gd name="connsiteX30" fmla="*/ 72875 w 509293"/>
                <a:gd name="connsiteY30" fmla="*/ 209477 h 867519"/>
                <a:gd name="connsiteX31" fmla="*/ 42281 w 509293"/>
                <a:gd name="connsiteY31" fmla="*/ 199829 h 867519"/>
                <a:gd name="connsiteX32" fmla="*/ 42281 w 509293"/>
                <a:gd name="connsiteY32" fmla="*/ 176204 h 867519"/>
                <a:gd name="connsiteX33" fmla="*/ 34530 w 509293"/>
                <a:gd name="connsiteY33" fmla="*/ 152332 h 867519"/>
                <a:gd name="connsiteX34" fmla="*/ 1546 w 509293"/>
                <a:gd name="connsiteY34" fmla="*/ 192861 h 867519"/>
                <a:gd name="connsiteX35" fmla="*/ 16636 w 509293"/>
                <a:gd name="connsiteY35" fmla="*/ 256686 h 867519"/>
                <a:gd name="connsiteX36" fmla="*/ 4267 w 509293"/>
                <a:gd name="connsiteY36" fmla="*/ 269055 h 867519"/>
                <a:gd name="connsiteX37" fmla="*/ 37251 w 509293"/>
                <a:gd name="connsiteY37" fmla="*/ 301050 h 867519"/>
                <a:gd name="connsiteX38" fmla="*/ 60712 w 509293"/>
                <a:gd name="connsiteY38" fmla="*/ 318820 h 867519"/>
                <a:gd name="connsiteX39" fmla="*/ 77946 w 509293"/>
                <a:gd name="connsiteY39" fmla="*/ 357824 h 867519"/>
                <a:gd name="connsiteX40" fmla="*/ 87800 w 509293"/>
                <a:gd name="connsiteY40" fmla="*/ 372956 h 867519"/>
                <a:gd name="connsiteX41" fmla="*/ 110724 w 509293"/>
                <a:gd name="connsiteY41" fmla="*/ 427792 h 867519"/>
                <a:gd name="connsiteX42" fmla="*/ 163087 w 509293"/>
                <a:gd name="connsiteY42" fmla="*/ 460777 h 867519"/>
                <a:gd name="connsiteX43" fmla="*/ 181105 w 509293"/>
                <a:gd name="connsiteY43" fmla="*/ 552762 h 867519"/>
                <a:gd name="connsiteX44" fmla="*/ 220191 w 509293"/>
                <a:gd name="connsiteY44" fmla="*/ 631636 h 867519"/>
                <a:gd name="connsiteX45" fmla="*/ 216810 w 509293"/>
                <a:gd name="connsiteY45" fmla="*/ 657735 h 867519"/>
                <a:gd name="connsiteX46" fmla="*/ 260308 w 509293"/>
                <a:gd name="connsiteY46" fmla="*/ 721065 h 867519"/>
                <a:gd name="connsiteX47" fmla="*/ 280552 w 509293"/>
                <a:gd name="connsiteY47" fmla="*/ 734217 h 867519"/>
                <a:gd name="connsiteX48" fmla="*/ 395998 w 509293"/>
                <a:gd name="connsiteY48" fmla="*/ 816678 h 867519"/>
                <a:gd name="connsiteX49" fmla="*/ 443990 w 509293"/>
                <a:gd name="connsiteY49" fmla="*/ 858857 h 867519"/>
                <a:gd name="connsiteX50" fmla="*/ 446258 w 509293"/>
                <a:gd name="connsiteY50" fmla="*/ 867515 h 867519"/>
                <a:gd name="connsiteX51" fmla="*/ 454957 w 509293"/>
                <a:gd name="connsiteY51" fmla="*/ 860217 h 867519"/>
                <a:gd name="connsiteX52" fmla="*/ 471449 w 509293"/>
                <a:gd name="connsiteY52" fmla="*/ 823110 h 867519"/>
                <a:gd name="connsiteX53" fmla="*/ 472810 w 509293"/>
                <a:gd name="connsiteY53" fmla="*/ 821585 h 867519"/>
                <a:gd name="connsiteX54" fmla="*/ 476191 w 509293"/>
                <a:gd name="connsiteY54" fmla="*/ 802536 h 867519"/>
                <a:gd name="connsiteX55" fmla="*/ 497507 w 509293"/>
                <a:gd name="connsiteY55" fmla="*/ 765429 h 867519"/>
                <a:gd name="connsiteX56" fmla="*/ 482128 w 509293"/>
                <a:gd name="connsiteY56" fmla="*/ 743494 h 867519"/>
                <a:gd name="connsiteX57" fmla="*/ 491570 w 509293"/>
                <a:gd name="connsiteY57" fmla="*/ 703707 h 867519"/>
                <a:gd name="connsiteX58" fmla="*/ 501053 w 509293"/>
                <a:gd name="connsiteY58" fmla="*/ 665280 h 867519"/>
                <a:gd name="connsiteX59" fmla="*/ 497507 w 509293"/>
                <a:gd name="connsiteY59" fmla="*/ 599311 h 867519"/>
                <a:gd name="connsiteX60" fmla="*/ 508103 w 509293"/>
                <a:gd name="connsiteY60" fmla="*/ 574326 h 867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509293" h="867518">
                  <a:moveTo>
                    <a:pt x="508103" y="574326"/>
                  </a:moveTo>
                  <a:cubicBezTo>
                    <a:pt x="504351" y="562410"/>
                    <a:pt x="487488" y="529260"/>
                    <a:pt x="480479" y="509099"/>
                  </a:cubicBezTo>
                  <a:cubicBezTo>
                    <a:pt x="467285" y="506914"/>
                    <a:pt x="451164" y="507285"/>
                    <a:pt x="441763" y="511243"/>
                  </a:cubicBezTo>
                  <a:cubicBezTo>
                    <a:pt x="428735" y="516726"/>
                    <a:pt x="432281" y="468693"/>
                    <a:pt x="432281" y="450881"/>
                  </a:cubicBezTo>
                  <a:cubicBezTo>
                    <a:pt x="432281" y="433070"/>
                    <a:pt x="419252" y="442635"/>
                    <a:pt x="414510" y="455004"/>
                  </a:cubicBezTo>
                  <a:cubicBezTo>
                    <a:pt x="409769" y="467373"/>
                    <a:pt x="390844" y="461890"/>
                    <a:pt x="371878" y="461890"/>
                  </a:cubicBezTo>
                  <a:cubicBezTo>
                    <a:pt x="352912" y="461890"/>
                    <a:pt x="362395" y="434430"/>
                    <a:pt x="350562" y="435791"/>
                  </a:cubicBezTo>
                  <a:cubicBezTo>
                    <a:pt x="338729" y="437152"/>
                    <a:pt x="329246" y="431668"/>
                    <a:pt x="330441" y="417979"/>
                  </a:cubicBezTo>
                  <a:cubicBezTo>
                    <a:pt x="331637" y="404291"/>
                    <a:pt x="322195" y="393241"/>
                    <a:pt x="313949" y="378192"/>
                  </a:cubicBezTo>
                  <a:cubicBezTo>
                    <a:pt x="305703" y="363143"/>
                    <a:pt x="296179" y="348053"/>
                    <a:pt x="303312" y="338404"/>
                  </a:cubicBezTo>
                  <a:cubicBezTo>
                    <a:pt x="310445" y="328757"/>
                    <a:pt x="298570" y="320593"/>
                    <a:pt x="309208" y="308224"/>
                  </a:cubicBezTo>
                  <a:cubicBezTo>
                    <a:pt x="319845" y="295855"/>
                    <a:pt x="330565" y="299978"/>
                    <a:pt x="327019" y="283486"/>
                  </a:cubicBezTo>
                  <a:cubicBezTo>
                    <a:pt x="323473" y="266994"/>
                    <a:pt x="338811" y="257428"/>
                    <a:pt x="340007" y="239575"/>
                  </a:cubicBezTo>
                  <a:cubicBezTo>
                    <a:pt x="341202" y="221723"/>
                    <a:pt x="358973" y="227206"/>
                    <a:pt x="375547" y="212198"/>
                  </a:cubicBezTo>
                  <a:cubicBezTo>
                    <a:pt x="392122" y="197190"/>
                    <a:pt x="409892" y="205272"/>
                    <a:pt x="424076" y="191583"/>
                  </a:cubicBezTo>
                  <a:cubicBezTo>
                    <a:pt x="437434" y="178678"/>
                    <a:pt x="446629" y="189810"/>
                    <a:pt x="456524" y="188985"/>
                  </a:cubicBezTo>
                  <a:cubicBezTo>
                    <a:pt x="450546" y="179379"/>
                    <a:pt x="435909" y="174637"/>
                    <a:pt x="432693" y="166968"/>
                  </a:cubicBezTo>
                  <a:cubicBezTo>
                    <a:pt x="428570" y="157238"/>
                    <a:pt x="448031" y="139509"/>
                    <a:pt x="453597" y="128212"/>
                  </a:cubicBezTo>
                  <a:cubicBezTo>
                    <a:pt x="459163" y="116915"/>
                    <a:pt x="431291" y="103968"/>
                    <a:pt x="424323" y="100711"/>
                  </a:cubicBezTo>
                  <a:cubicBezTo>
                    <a:pt x="417355" y="97454"/>
                    <a:pt x="404821" y="107184"/>
                    <a:pt x="397812" y="102360"/>
                  </a:cubicBezTo>
                  <a:cubicBezTo>
                    <a:pt x="390803" y="97536"/>
                    <a:pt x="379670" y="100711"/>
                    <a:pt x="374104" y="105576"/>
                  </a:cubicBezTo>
                  <a:cubicBezTo>
                    <a:pt x="368538" y="110442"/>
                    <a:pt x="326731" y="113822"/>
                    <a:pt x="328091" y="99145"/>
                  </a:cubicBezTo>
                  <a:cubicBezTo>
                    <a:pt x="329452" y="84466"/>
                    <a:pt x="311351" y="79766"/>
                    <a:pt x="312795" y="70077"/>
                  </a:cubicBezTo>
                  <a:cubicBezTo>
                    <a:pt x="314238" y="60388"/>
                    <a:pt x="303023" y="42617"/>
                    <a:pt x="287685" y="41215"/>
                  </a:cubicBezTo>
                  <a:cubicBezTo>
                    <a:pt x="272348" y="39814"/>
                    <a:pt x="275110" y="10540"/>
                    <a:pt x="263978" y="2459"/>
                  </a:cubicBezTo>
                  <a:cubicBezTo>
                    <a:pt x="257670" y="-2159"/>
                    <a:pt x="241920" y="562"/>
                    <a:pt x="229509" y="3737"/>
                  </a:cubicBezTo>
                  <a:cubicBezTo>
                    <a:pt x="242868" y="21219"/>
                    <a:pt x="247651" y="28475"/>
                    <a:pt x="238827" y="36722"/>
                  </a:cubicBezTo>
                  <a:cubicBezTo>
                    <a:pt x="227035" y="47606"/>
                    <a:pt x="238827" y="49585"/>
                    <a:pt x="216563" y="83848"/>
                  </a:cubicBezTo>
                  <a:cubicBezTo>
                    <a:pt x="194298" y="118110"/>
                    <a:pt x="156366" y="126769"/>
                    <a:pt x="137854" y="133324"/>
                  </a:cubicBezTo>
                  <a:cubicBezTo>
                    <a:pt x="119341" y="139880"/>
                    <a:pt x="111920" y="179420"/>
                    <a:pt x="101736" y="207333"/>
                  </a:cubicBezTo>
                  <a:cubicBezTo>
                    <a:pt x="91552" y="235246"/>
                    <a:pt x="83224" y="225557"/>
                    <a:pt x="72875" y="209477"/>
                  </a:cubicBezTo>
                  <a:cubicBezTo>
                    <a:pt x="62526" y="193397"/>
                    <a:pt x="54321" y="212652"/>
                    <a:pt x="42281" y="199829"/>
                  </a:cubicBezTo>
                  <a:cubicBezTo>
                    <a:pt x="30242" y="187006"/>
                    <a:pt x="35808" y="186965"/>
                    <a:pt x="42281" y="176204"/>
                  </a:cubicBezTo>
                  <a:cubicBezTo>
                    <a:pt x="45786" y="170432"/>
                    <a:pt x="41911" y="161237"/>
                    <a:pt x="34530" y="152332"/>
                  </a:cubicBezTo>
                  <a:cubicBezTo>
                    <a:pt x="21337" y="155506"/>
                    <a:pt x="7937" y="176699"/>
                    <a:pt x="1546" y="192861"/>
                  </a:cubicBezTo>
                  <a:cubicBezTo>
                    <a:pt x="-5546" y="210343"/>
                    <a:pt x="13915" y="244317"/>
                    <a:pt x="16636" y="256686"/>
                  </a:cubicBezTo>
                  <a:cubicBezTo>
                    <a:pt x="19357" y="269055"/>
                    <a:pt x="5957" y="257675"/>
                    <a:pt x="4267" y="269055"/>
                  </a:cubicBezTo>
                  <a:cubicBezTo>
                    <a:pt x="2824" y="278002"/>
                    <a:pt x="22079" y="290206"/>
                    <a:pt x="37251" y="301050"/>
                  </a:cubicBezTo>
                  <a:cubicBezTo>
                    <a:pt x="46871" y="304142"/>
                    <a:pt x="55150" y="310409"/>
                    <a:pt x="60712" y="318820"/>
                  </a:cubicBezTo>
                  <a:cubicBezTo>
                    <a:pt x="68529" y="330818"/>
                    <a:pt x="74351" y="343971"/>
                    <a:pt x="77946" y="357824"/>
                  </a:cubicBezTo>
                  <a:cubicBezTo>
                    <a:pt x="80807" y="363143"/>
                    <a:pt x="84106" y="368173"/>
                    <a:pt x="87800" y="372956"/>
                  </a:cubicBezTo>
                  <a:cubicBezTo>
                    <a:pt x="99138" y="386974"/>
                    <a:pt x="101489" y="399591"/>
                    <a:pt x="110724" y="427792"/>
                  </a:cubicBezTo>
                  <a:cubicBezTo>
                    <a:pt x="126969" y="439419"/>
                    <a:pt x="149110" y="442676"/>
                    <a:pt x="163087" y="460777"/>
                  </a:cubicBezTo>
                  <a:cubicBezTo>
                    <a:pt x="186382" y="490751"/>
                    <a:pt x="170797" y="520685"/>
                    <a:pt x="181105" y="552762"/>
                  </a:cubicBezTo>
                  <a:cubicBezTo>
                    <a:pt x="190711" y="582778"/>
                    <a:pt x="215573" y="597167"/>
                    <a:pt x="220191" y="631636"/>
                  </a:cubicBezTo>
                  <a:cubicBezTo>
                    <a:pt x="221481" y="640500"/>
                    <a:pt x="220311" y="649530"/>
                    <a:pt x="216810" y="657735"/>
                  </a:cubicBezTo>
                  <a:cubicBezTo>
                    <a:pt x="234820" y="676206"/>
                    <a:pt x="249535" y="697605"/>
                    <a:pt x="260308" y="721065"/>
                  </a:cubicBezTo>
                  <a:cubicBezTo>
                    <a:pt x="266823" y="725806"/>
                    <a:pt x="273580" y="730176"/>
                    <a:pt x="280552" y="734217"/>
                  </a:cubicBezTo>
                  <a:cubicBezTo>
                    <a:pt x="317660" y="755781"/>
                    <a:pt x="386308" y="796929"/>
                    <a:pt x="395998" y="816678"/>
                  </a:cubicBezTo>
                  <a:cubicBezTo>
                    <a:pt x="405687" y="836427"/>
                    <a:pt x="437764" y="854734"/>
                    <a:pt x="443990" y="858857"/>
                  </a:cubicBezTo>
                  <a:cubicBezTo>
                    <a:pt x="445722" y="859970"/>
                    <a:pt x="446216" y="863227"/>
                    <a:pt x="446258" y="867515"/>
                  </a:cubicBezTo>
                  <a:cubicBezTo>
                    <a:pt x="448909" y="864794"/>
                    <a:pt x="451824" y="862362"/>
                    <a:pt x="454957" y="860217"/>
                  </a:cubicBezTo>
                  <a:cubicBezTo>
                    <a:pt x="466790" y="853373"/>
                    <a:pt x="467986" y="830078"/>
                    <a:pt x="471449" y="823110"/>
                  </a:cubicBezTo>
                  <a:cubicBezTo>
                    <a:pt x="471709" y="822450"/>
                    <a:pt x="472192" y="821914"/>
                    <a:pt x="472810" y="821585"/>
                  </a:cubicBezTo>
                  <a:cubicBezTo>
                    <a:pt x="471738" y="813338"/>
                    <a:pt x="471821" y="805422"/>
                    <a:pt x="476191" y="802536"/>
                  </a:cubicBezTo>
                  <a:cubicBezTo>
                    <a:pt x="484437" y="797053"/>
                    <a:pt x="497507" y="775118"/>
                    <a:pt x="497507" y="765429"/>
                  </a:cubicBezTo>
                  <a:cubicBezTo>
                    <a:pt x="497507" y="755740"/>
                    <a:pt x="482128" y="755822"/>
                    <a:pt x="482128" y="743494"/>
                  </a:cubicBezTo>
                  <a:cubicBezTo>
                    <a:pt x="482128" y="731166"/>
                    <a:pt x="498620" y="710509"/>
                    <a:pt x="491570" y="703707"/>
                  </a:cubicBezTo>
                  <a:cubicBezTo>
                    <a:pt x="484519" y="696904"/>
                    <a:pt x="502249" y="676247"/>
                    <a:pt x="501053" y="665280"/>
                  </a:cubicBezTo>
                  <a:cubicBezTo>
                    <a:pt x="499857" y="654313"/>
                    <a:pt x="492807" y="604918"/>
                    <a:pt x="497507" y="599311"/>
                  </a:cubicBezTo>
                  <a:cubicBezTo>
                    <a:pt x="502207" y="593704"/>
                    <a:pt x="512845" y="589416"/>
                    <a:pt x="508103" y="574326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8A0B47D4-7F51-F818-8942-38B9A8AB9D84}"/>
                </a:ext>
              </a:extLst>
            </p:cNvPr>
            <p:cNvSpPr/>
            <p:nvPr>
              <p:custDataLst>
                <p:tags r:id="rId165"/>
              </p:custDataLst>
            </p:nvPr>
          </p:nvSpPr>
          <p:spPr>
            <a:xfrm>
              <a:off x="4184131" y="5175941"/>
              <a:ext cx="471958" cy="459266"/>
            </a:xfrm>
            <a:custGeom>
              <a:avLst/>
              <a:gdLst>
                <a:gd name="connsiteX0" fmla="*/ 493086 w 551096"/>
                <a:gd name="connsiteY0" fmla="*/ 166443 h 536276"/>
                <a:gd name="connsiteX1" fmla="*/ 488344 w 551096"/>
                <a:gd name="connsiteY1" fmla="*/ 163145 h 536276"/>
                <a:gd name="connsiteX2" fmla="*/ 478531 w 551096"/>
                <a:gd name="connsiteY2" fmla="*/ 161496 h 536276"/>
                <a:gd name="connsiteX3" fmla="*/ 478284 w 551096"/>
                <a:gd name="connsiteY3" fmla="*/ 161496 h 536276"/>
                <a:gd name="connsiteX4" fmla="*/ 452185 w 551096"/>
                <a:gd name="connsiteY4" fmla="*/ 140880 h 536276"/>
                <a:gd name="connsiteX5" fmla="*/ 451154 w 551096"/>
                <a:gd name="connsiteY5" fmla="*/ 138571 h 536276"/>
                <a:gd name="connsiteX6" fmla="*/ 441507 w 551096"/>
                <a:gd name="connsiteY6" fmla="*/ 101917 h 536276"/>
                <a:gd name="connsiteX7" fmla="*/ 444764 w 551096"/>
                <a:gd name="connsiteY7" fmla="*/ 77963 h 536276"/>
                <a:gd name="connsiteX8" fmla="*/ 448145 w 551096"/>
                <a:gd name="connsiteY8" fmla="*/ 69428 h 536276"/>
                <a:gd name="connsiteX9" fmla="*/ 415779 w 551096"/>
                <a:gd name="connsiteY9" fmla="*/ 65759 h 536276"/>
                <a:gd name="connsiteX10" fmla="*/ 338513 w 551096"/>
                <a:gd name="connsiteY10" fmla="*/ 97671 h 536276"/>
                <a:gd name="connsiteX11" fmla="*/ 306848 w 551096"/>
                <a:gd name="connsiteY11" fmla="*/ 89012 h 536276"/>
                <a:gd name="connsiteX12" fmla="*/ 280419 w 551096"/>
                <a:gd name="connsiteY12" fmla="*/ 97918 h 536276"/>
                <a:gd name="connsiteX13" fmla="*/ 268339 w 551096"/>
                <a:gd name="connsiteY13" fmla="*/ 96351 h 536276"/>
                <a:gd name="connsiteX14" fmla="*/ 236055 w 551096"/>
                <a:gd name="connsiteY14" fmla="*/ 100845 h 536276"/>
                <a:gd name="connsiteX15" fmla="*/ 210204 w 551096"/>
                <a:gd name="connsiteY15" fmla="*/ 80230 h 536276"/>
                <a:gd name="connsiteX16" fmla="*/ 199401 w 551096"/>
                <a:gd name="connsiteY16" fmla="*/ 76107 h 536276"/>
                <a:gd name="connsiteX17" fmla="*/ 166211 w 551096"/>
                <a:gd name="connsiteY17" fmla="*/ 33392 h 536276"/>
                <a:gd name="connsiteX18" fmla="*/ 164232 w 551096"/>
                <a:gd name="connsiteY18" fmla="*/ 19415 h 536276"/>
                <a:gd name="connsiteX19" fmla="*/ 145719 w 551096"/>
                <a:gd name="connsiteY19" fmla="*/ -4 h 536276"/>
                <a:gd name="connsiteX20" fmla="*/ 134175 w 551096"/>
                <a:gd name="connsiteY20" fmla="*/ 29847 h 536276"/>
                <a:gd name="connsiteX21" fmla="*/ 79998 w 551096"/>
                <a:gd name="connsiteY21" fmla="*/ 65841 h 536276"/>
                <a:gd name="connsiteX22" fmla="*/ 93315 w 551096"/>
                <a:gd name="connsiteY22" fmla="*/ 133748 h 536276"/>
                <a:gd name="connsiteX23" fmla="*/ 50683 w 551096"/>
                <a:gd name="connsiteY23" fmla="*/ 117255 h 536276"/>
                <a:gd name="connsiteX24" fmla="*/ 68453 w 551096"/>
                <a:gd name="connsiteY24" fmla="*/ 56564 h 536276"/>
                <a:gd name="connsiteX25" fmla="*/ 63135 w 551096"/>
                <a:gd name="connsiteY25" fmla="*/ 24446 h 536276"/>
                <a:gd name="connsiteX26" fmla="*/ 50972 w 551096"/>
                <a:gd name="connsiteY26" fmla="*/ 33392 h 536276"/>
                <a:gd name="connsiteX27" fmla="*/ 15719 w 551096"/>
                <a:gd name="connsiteY27" fmla="*/ 85879 h 536276"/>
                <a:gd name="connsiteX28" fmla="*/ 9741 w 551096"/>
                <a:gd name="connsiteY28" fmla="*/ 120224 h 536276"/>
                <a:gd name="connsiteX29" fmla="*/ 3722 w 551096"/>
                <a:gd name="connsiteY29" fmla="*/ 141540 h 536276"/>
                <a:gd name="connsiteX30" fmla="*/ 22564 w 551096"/>
                <a:gd name="connsiteY30" fmla="*/ 151765 h 536276"/>
                <a:gd name="connsiteX31" fmla="*/ 40169 w 551096"/>
                <a:gd name="connsiteY31" fmla="*/ 182358 h 536276"/>
                <a:gd name="connsiteX32" fmla="*/ 66227 w 551096"/>
                <a:gd name="connsiteY32" fmla="*/ 243626 h 536276"/>
                <a:gd name="connsiteX33" fmla="*/ 134711 w 551096"/>
                <a:gd name="connsiteY33" fmla="*/ 250595 h 536276"/>
                <a:gd name="connsiteX34" fmla="*/ 190784 w 551096"/>
                <a:gd name="connsiteY34" fmla="*/ 278879 h 536276"/>
                <a:gd name="connsiteX35" fmla="*/ 237663 w 551096"/>
                <a:gd name="connsiteY35" fmla="*/ 293268 h 536276"/>
                <a:gd name="connsiteX36" fmla="*/ 228056 w 551096"/>
                <a:gd name="connsiteY36" fmla="*/ 378161 h 536276"/>
                <a:gd name="connsiteX37" fmla="*/ 243683 w 551096"/>
                <a:gd name="connsiteY37" fmla="*/ 413867 h 536276"/>
                <a:gd name="connsiteX38" fmla="*/ 242075 w 551096"/>
                <a:gd name="connsiteY38" fmla="*/ 448666 h 536276"/>
                <a:gd name="connsiteX39" fmla="*/ 249290 w 551096"/>
                <a:gd name="connsiteY39" fmla="*/ 472332 h 536276"/>
                <a:gd name="connsiteX40" fmla="*/ 243642 w 551096"/>
                <a:gd name="connsiteY40" fmla="*/ 476208 h 536276"/>
                <a:gd name="connsiteX41" fmla="*/ 274235 w 551096"/>
                <a:gd name="connsiteY41" fmla="*/ 523045 h 536276"/>
                <a:gd name="connsiteX42" fmla="*/ 298313 w 551096"/>
                <a:gd name="connsiteY42" fmla="*/ 534178 h 536276"/>
                <a:gd name="connsiteX43" fmla="*/ 319959 w 551096"/>
                <a:gd name="connsiteY43" fmla="*/ 530055 h 536276"/>
                <a:gd name="connsiteX44" fmla="*/ 347625 w 551096"/>
                <a:gd name="connsiteY44" fmla="*/ 513315 h 536276"/>
                <a:gd name="connsiteX45" fmla="*/ 374095 w 551096"/>
                <a:gd name="connsiteY45" fmla="*/ 498019 h 536276"/>
                <a:gd name="connsiteX46" fmla="*/ 396936 w 551096"/>
                <a:gd name="connsiteY46" fmla="*/ 472909 h 536276"/>
                <a:gd name="connsiteX47" fmla="*/ 401719 w 551096"/>
                <a:gd name="connsiteY47" fmla="*/ 453407 h 536276"/>
                <a:gd name="connsiteX48" fmla="*/ 381310 w 551096"/>
                <a:gd name="connsiteY48" fmla="*/ 447841 h 536276"/>
                <a:gd name="connsiteX49" fmla="*/ 370467 w 551096"/>
                <a:gd name="connsiteY49" fmla="*/ 418609 h 536276"/>
                <a:gd name="connsiteX50" fmla="*/ 354840 w 551096"/>
                <a:gd name="connsiteY50" fmla="*/ 383769 h 536276"/>
                <a:gd name="connsiteX51" fmla="*/ 381310 w 551096"/>
                <a:gd name="connsiteY51" fmla="*/ 378203 h 536276"/>
                <a:gd name="connsiteX52" fmla="*/ 416150 w 551096"/>
                <a:gd name="connsiteY52" fmla="*/ 392139 h 536276"/>
                <a:gd name="connsiteX53" fmla="*/ 431776 w 551096"/>
                <a:gd name="connsiteY53" fmla="*/ 393500 h 536276"/>
                <a:gd name="connsiteX54" fmla="*/ 459442 w 551096"/>
                <a:gd name="connsiteY54" fmla="*/ 375441 h 536276"/>
                <a:gd name="connsiteX55" fmla="*/ 508918 w 551096"/>
                <a:gd name="connsiteY55" fmla="*/ 353135 h 536276"/>
                <a:gd name="connsiteX56" fmla="*/ 519679 w 551096"/>
                <a:gd name="connsiteY56" fmla="*/ 336643 h 536276"/>
                <a:gd name="connsiteX57" fmla="*/ 493416 w 551096"/>
                <a:gd name="connsiteY57" fmla="*/ 299247 h 536276"/>
                <a:gd name="connsiteX58" fmla="*/ 497539 w 551096"/>
                <a:gd name="connsiteY58" fmla="*/ 274261 h 536276"/>
                <a:gd name="connsiteX59" fmla="*/ 516257 w 551096"/>
                <a:gd name="connsiteY59" fmla="*/ 252615 h 536276"/>
                <a:gd name="connsiteX60" fmla="*/ 521988 w 551096"/>
                <a:gd name="connsiteY60" fmla="*/ 227588 h 536276"/>
                <a:gd name="connsiteX61" fmla="*/ 536378 w 551096"/>
                <a:gd name="connsiteY61" fmla="*/ 195923 h 536276"/>
                <a:gd name="connsiteX62" fmla="*/ 551097 w 551096"/>
                <a:gd name="connsiteY62" fmla="*/ 173658 h 536276"/>
                <a:gd name="connsiteX63" fmla="*/ 493086 w 551096"/>
                <a:gd name="connsiteY63" fmla="*/ 166443 h 536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551096" h="536276">
                  <a:moveTo>
                    <a:pt x="493086" y="166443"/>
                  </a:moveTo>
                  <a:cubicBezTo>
                    <a:pt x="488963" y="166691"/>
                    <a:pt x="487932" y="165412"/>
                    <a:pt x="488344" y="163145"/>
                  </a:cubicBezTo>
                  <a:cubicBezTo>
                    <a:pt x="485005" y="163227"/>
                    <a:pt x="481665" y="162691"/>
                    <a:pt x="478531" y="161496"/>
                  </a:cubicBezTo>
                  <a:lnTo>
                    <a:pt x="478284" y="161496"/>
                  </a:lnTo>
                  <a:cubicBezTo>
                    <a:pt x="467564" y="157661"/>
                    <a:pt x="458411" y="150404"/>
                    <a:pt x="452185" y="140880"/>
                  </a:cubicBezTo>
                  <a:cubicBezTo>
                    <a:pt x="451814" y="140138"/>
                    <a:pt x="451443" y="139355"/>
                    <a:pt x="451154" y="138571"/>
                  </a:cubicBezTo>
                  <a:cubicBezTo>
                    <a:pt x="444970" y="127315"/>
                    <a:pt x="441672" y="114740"/>
                    <a:pt x="441507" y="101917"/>
                  </a:cubicBezTo>
                  <a:cubicBezTo>
                    <a:pt x="429137" y="96929"/>
                    <a:pt x="432023" y="81756"/>
                    <a:pt x="444764" y="77963"/>
                  </a:cubicBezTo>
                  <a:cubicBezTo>
                    <a:pt x="445671" y="75036"/>
                    <a:pt x="446825" y="72190"/>
                    <a:pt x="448145" y="69428"/>
                  </a:cubicBezTo>
                  <a:cubicBezTo>
                    <a:pt x="437878" y="65387"/>
                    <a:pt x="426705" y="64109"/>
                    <a:pt x="415779" y="65759"/>
                  </a:cubicBezTo>
                  <a:cubicBezTo>
                    <a:pt x="391824" y="69882"/>
                    <a:pt x="358056" y="85302"/>
                    <a:pt x="338513" y="97671"/>
                  </a:cubicBezTo>
                  <a:cubicBezTo>
                    <a:pt x="329937" y="103072"/>
                    <a:pt x="318681" y="96846"/>
                    <a:pt x="306848" y="89012"/>
                  </a:cubicBezTo>
                  <a:cubicBezTo>
                    <a:pt x="299369" y="94991"/>
                    <a:pt x="290005" y="98166"/>
                    <a:pt x="280419" y="97918"/>
                  </a:cubicBezTo>
                  <a:cubicBezTo>
                    <a:pt x="276342" y="97918"/>
                    <a:pt x="272280" y="97382"/>
                    <a:pt x="268339" y="96351"/>
                  </a:cubicBezTo>
                  <a:cubicBezTo>
                    <a:pt x="258571" y="102000"/>
                    <a:pt x="246990" y="103608"/>
                    <a:pt x="236055" y="100845"/>
                  </a:cubicBezTo>
                  <a:cubicBezTo>
                    <a:pt x="225010" y="97753"/>
                    <a:pt x="215687" y="90291"/>
                    <a:pt x="210204" y="80230"/>
                  </a:cubicBezTo>
                  <a:cubicBezTo>
                    <a:pt x="206427" y="79364"/>
                    <a:pt x="202790" y="77963"/>
                    <a:pt x="199401" y="76107"/>
                  </a:cubicBezTo>
                  <a:cubicBezTo>
                    <a:pt x="182909" y="66295"/>
                    <a:pt x="173179" y="51122"/>
                    <a:pt x="166211" y="33392"/>
                  </a:cubicBezTo>
                  <a:cubicBezTo>
                    <a:pt x="164557" y="28940"/>
                    <a:pt x="163881" y="24157"/>
                    <a:pt x="164232" y="19415"/>
                  </a:cubicBezTo>
                  <a:cubicBezTo>
                    <a:pt x="158336" y="11746"/>
                    <a:pt x="156728" y="-4"/>
                    <a:pt x="145719" y="-4"/>
                  </a:cubicBezTo>
                  <a:cubicBezTo>
                    <a:pt x="128856" y="-4"/>
                    <a:pt x="145719" y="23662"/>
                    <a:pt x="134175" y="29847"/>
                  </a:cubicBezTo>
                  <a:cubicBezTo>
                    <a:pt x="122630" y="36031"/>
                    <a:pt x="82637" y="47328"/>
                    <a:pt x="79998" y="65841"/>
                  </a:cubicBezTo>
                  <a:cubicBezTo>
                    <a:pt x="77359" y="84353"/>
                    <a:pt x="101314" y="115317"/>
                    <a:pt x="93315" y="133748"/>
                  </a:cubicBezTo>
                  <a:cubicBezTo>
                    <a:pt x="85317" y="152178"/>
                    <a:pt x="58682" y="136840"/>
                    <a:pt x="50683" y="117255"/>
                  </a:cubicBezTo>
                  <a:cubicBezTo>
                    <a:pt x="42684" y="97671"/>
                    <a:pt x="73772" y="67779"/>
                    <a:pt x="68453" y="56564"/>
                  </a:cubicBezTo>
                  <a:cubicBezTo>
                    <a:pt x="64743" y="48689"/>
                    <a:pt x="60001" y="34093"/>
                    <a:pt x="63135" y="24446"/>
                  </a:cubicBezTo>
                  <a:cubicBezTo>
                    <a:pt x="58195" y="25971"/>
                    <a:pt x="53911" y="29146"/>
                    <a:pt x="50972" y="33392"/>
                  </a:cubicBezTo>
                  <a:cubicBezTo>
                    <a:pt x="39345" y="51534"/>
                    <a:pt x="16132" y="67284"/>
                    <a:pt x="15719" y="85879"/>
                  </a:cubicBezTo>
                  <a:cubicBezTo>
                    <a:pt x="15307" y="104474"/>
                    <a:pt x="15719" y="111359"/>
                    <a:pt x="9741" y="120224"/>
                  </a:cubicBezTo>
                  <a:cubicBezTo>
                    <a:pt x="3763" y="129089"/>
                    <a:pt x="-5102" y="142447"/>
                    <a:pt x="3722" y="141540"/>
                  </a:cubicBezTo>
                  <a:cubicBezTo>
                    <a:pt x="12545" y="140633"/>
                    <a:pt x="22564" y="140633"/>
                    <a:pt x="22564" y="151765"/>
                  </a:cubicBezTo>
                  <a:cubicBezTo>
                    <a:pt x="22564" y="162897"/>
                    <a:pt x="41777" y="165165"/>
                    <a:pt x="40169" y="182358"/>
                  </a:cubicBezTo>
                  <a:cubicBezTo>
                    <a:pt x="38561" y="199551"/>
                    <a:pt x="31923" y="244575"/>
                    <a:pt x="66227" y="243626"/>
                  </a:cubicBezTo>
                  <a:cubicBezTo>
                    <a:pt x="100531" y="242678"/>
                    <a:pt x="120280" y="229237"/>
                    <a:pt x="134711" y="250595"/>
                  </a:cubicBezTo>
                  <a:cubicBezTo>
                    <a:pt x="149141" y="271952"/>
                    <a:pt x="168355" y="282136"/>
                    <a:pt x="190784" y="278879"/>
                  </a:cubicBezTo>
                  <a:cubicBezTo>
                    <a:pt x="213214" y="275621"/>
                    <a:pt x="249661" y="270633"/>
                    <a:pt x="237663" y="293268"/>
                  </a:cubicBezTo>
                  <a:cubicBezTo>
                    <a:pt x="225665" y="315904"/>
                    <a:pt x="217666" y="364680"/>
                    <a:pt x="228056" y="378161"/>
                  </a:cubicBezTo>
                  <a:cubicBezTo>
                    <a:pt x="238447" y="391644"/>
                    <a:pt x="252094" y="402900"/>
                    <a:pt x="243683" y="413867"/>
                  </a:cubicBezTo>
                  <a:cubicBezTo>
                    <a:pt x="235272" y="424835"/>
                    <a:pt x="231314" y="438976"/>
                    <a:pt x="242075" y="448666"/>
                  </a:cubicBezTo>
                  <a:cubicBezTo>
                    <a:pt x="248808" y="454520"/>
                    <a:pt x="251607" y="463715"/>
                    <a:pt x="249290" y="472332"/>
                  </a:cubicBezTo>
                  <a:cubicBezTo>
                    <a:pt x="249290" y="472950"/>
                    <a:pt x="247023" y="474394"/>
                    <a:pt x="243642" y="476208"/>
                  </a:cubicBezTo>
                  <a:cubicBezTo>
                    <a:pt x="259598" y="494555"/>
                    <a:pt x="265246" y="514717"/>
                    <a:pt x="274235" y="523045"/>
                  </a:cubicBezTo>
                  <a:cubicBezTo>
                    <a:pt x="286274" y="534178"/>
                    <a:pt x="289902" y="539538"/>
                    <a:pt x="298313" y="534178"/>
                  </a:cubicBezTo>
                  <a:cubicBezTo>
                    <a:pt x="306724" y="528818"/>
                    <a:pt x="312744" y="524448"/>
                    <a:pt x="319959" y="530055"/>
                  </a:cubicBezTo>
                  <a:cubicBezTo>
                    <a:pt x="327175" y="535662"/>
                    <a:pt x="336781" y="524488"/>
                    <a:pt x="347625" y="513315"/>
                  </a:cubicBezTo>
                  <a:cubicBezTo>
                    <a:pt x="358468" y="502142"/>
                    <a:pt x="370467" y="511955"/>
                    <a:pt x="374095" y="498019"/>
                  </a:cubicBezTo>
                  <a:cubicBezTo>
                    <a:pt x="377723" y="484083"/>
                    <a:pt x="383701" y="475713"/>
                    <a:pt x="396936" y="472909"/>
                  </a:cubicBezTo>
                  <a:cubicBezTo>
                    <a:pt x="410172" y="470106"/>
                    <a:pt x="410130" y="453407"/>
                    <a:pt x="401719" y="453407"/>
                  </a:cubicBezTo>
                  <a:cubicBezTo>
                    <a:pt x="393308" y="453407"/>
                    <a:pt x="381310" y="465776"/>
                    <a:pt x="381310" y="447841"/>
                  </a:cubicBezTo>
                  <a:cubicBezTo>
                    <a:pt x="381310" y="429906"/>
                    <a:pt x="370467" y="433905"/>
                    <a:pt x="370467" y="418609"/>
                  </a:cubicBezTo>
                  <a:cubicBezTo>
                    <a:pt x="370467" y="403312"/>
                    <a:pt x="369271" y="393500"/>
                    <a:pt x="354840" y="383769"/>
                  </a:cubicBezTo>
                  <a:cubicBezTo>
                    <a:pt x="340409" y="374038"/>
                    <a:pt x="374095" y="369833"/>
                    <a:pt x="381310" y="378203"/>
                  </a:cubicBezTo>
                  <a:cubicBezTo>
                    <a:pt x="388526" y="386573"/>
                    <a:pt x="413759" y="379646"/>
                    <a:pt x="416150" y="392139"/>
                  </a:cubicBezTo>
                  <a:cubicBezTo>
                    <a:pt x="418541" y="404632"/>
                    <a:pt x="431776" y="408878"/>
                    <a:pt x="431776" y="393500"/>
                  </a:cubicBezTo>
                  <a:cubicBezTo>
                    <a:pt x="431776" y="378120"/>
                    <a:pt x="447403" y="372637"/>
                    <a:pt x="459442" y="375441"/>
                  </a:cubicBezTo>
                  <a:cubicBezTo>
                    <a:pt x="471481" y="378244"/>
                    <a:pt x="497951" y="357340"/>
                    <a:pt x="508918" y="353135"/>
                  </a:cubicBezTo>
                  <a:cubicBezTo>
                    <a:pt x="514526" y="350949"/>
                    <a:pt x="516628" y="343116"/>
                    <a:pt x="519679" y="336643"/>
                  </a:cubicBezTo>
                  <a:cubicBezTo>
                    <a:pt x="511763" y="324273"/>
                    <a:pt x="499064" y="304772"/>
                    <a:pt x="493416" y="299247"/>
                  </a:cubicBezTo>
                  <a:cubicBezTo>
                    <a:pt x="484799" y="291001"/>
                    <a:pt x="499188" y="285929"/>
                    <a:pt x="497539" y="274261"/>
                  </a:cubicBezTo>
                  <a:cubicBezTo>
                    <a:pt x="495890" y="262593"/>
                    <a:pt x="497539" y="254264"/>
                    <a:pt x="516257" y="252615"/>
                  </a:cubicBezTo>
                  <a:cubicBezTo>
                    <a:pt x="534976" y="250966"/>
                    <a:pt x="532090" y="234226"/>
                    <a:pt x="521988" y="227588"/>
                  </a:cubicBezTo>
                  <a:cubicBezTo>
                    <a:pt x="511887" y="220950"/>
                    <a:pt x="526112" y="202561"/>
                    <a:pt x="536378" y="195923"/>
                  </a:cubicBezTo>
                  <a:cubicBezTo>
                    <a:pt x="540501" y="193202"/>
                    <a:pt x="546067" y="184997"/>
                    <a:pt x="551097" y="173658"/>
                  </a:cubicBezTo>
                  <a:cubicBezTo>
                    <a:pt x="531884" y="164918"/>
                    <a:pt x="504424" y="165619"/>
                    <a:pt x="493086" y="16644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AEFAF01A-EE55-5E51-0174-33DFBC78881F}"/>
                </a:ext>
              </a:extLst>
            </p:cNvPr>
            <p:cNvSpPr/>
            <p:nvPr>
              <p:custDataLst>
                <p:tags r:id="rId166"/>
              </p:custDataLst>
            </p:nvPr>
          </p:nvSpPr>
          <p:spPr>
            <a:xfrm>
              <a:off x="4717788" y="5415101"/>
              <a:ext cx="141792" cy="175259"/>
            </a:xfrm>
            <a:custGeom>
              <a:avLst/>
              <a:gdLst>
                <a:gd name="connsiteX0" fmla="*/ 35528 w 165568"/>
                <a:gd name="connsiteY0" fmla="*/ 39612 h 204647"/>
                <a:gd name="connsiteX1" fmla="*/ 16810 w 165568"/>
                <a:gd name="connsiteY1" fmla="*/ 61258 h 204647"/>
                <a:gd name="connsiteX2" fmla="*/ 977 w 165568"/>
                <a:gd name="connsiteY2" fmla="*/ 101293 h 204647"/>
                <a:gd name="connsiteX3" fmla="*/ 33962 w 165568"/>
                <a:gd name="connsiteY3" fmla="*/ 149615 h 204647"/>
                <a:gd name="connsiteX4" fmla="*/ 57669 w 165568"/>
                <a:gd name="connsiteY4" fmla="*/ 201689 h 204647"/>
                <a:gd name="connsiteX5" fmla="*/ 77748 w 165568"/>
                <a:gd name="connsiteY5" fmla="*/ 203174 h 204647"/>
                <a:gd name="connsiteX6" fmla="*/ 94570 w 165568"/>
                <a:gd name="connsiteY6" fmla="*/ 173900 h 204647"/>
                <a:gd name="connsiteX7" fmla="*/ 139099 w 165568"/>
                <a:gd name="connsiteY7" fmla="*/ 175343 h 204647"/>
                <a:gd name="connsiteX8" fmla="*/ 142975 w 165568"/>
                <a:gd name="connsiteY8" fmla="*/ 181281 h 204647"/>
                <a:gd name="connsiteX9" fmla="*/ 154849 w 165568"/>
                <a:gd name="connsiteY9" fmla="*/ 159593 h 204647"/>
                <a:gd name="connsiteX10" fmla="*/ 150520 w 165568"/>
                <a:gd name="connsiteY10" fmla="*/ 97748 h 204647"/>
                <a:gd name="connsiteX11" fmla="*/ 157736 w 165568"/>
                <a:gd name="connsiteY11" fmla="*/ 42705 h 204647"/>
                <a:gd name="connsiteX12" fmla="*/ 165569 w 165568"/>
                <a:gd name="connsiteY12" fmla="*/ 18915 h 204647"/>
                <a:gd name="connsiteX13" fmla="*/ 125493 w 165568"/>
                <a:gd name="connsiteY13" fmla="*/ 8360 h 204647"/>
                <a:gd name="connsiteX14" fmla="*/ 73996 w 165568"/>
                <a:gd name="connsiteY14" fmla="*/ 9391 h 204647"/>
                <a:gd name="connsiteX15" fmla="*/ 43774 w 165568"/>
                <a:gd name="connsiteY15" fmla="*/ 8360 h 204647"/>
                <a:gd name="connsiteX16" fmla="*/ 39651 w 165568"/>
                <a:gd name="connsiteY16" fmla="*/ 9679 h 204647"/>
                <a:gd name="connsiteX17" fmla="*/ 35528 w 165568"/>
                <a:gd name="connsiteY17" fmla="*/ 39612 h 204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65568" h="204644">
                  <a:moveTo>
                    <a:pt x="35528" y="39612"/>
                  </a:moveTo>
                  <a:cubicBezTo>
                    <a:pt x="41259" y="52930"/>
                    <a:pt x="28313" y="59609"/>
                    <a:pt x="16810" y="61258"/>
                  </a:cubicBezTo>
                  <a:cubicBezTo>
                    <a:pt x="5306" y="62908"/>
                    <a:pt x="8151" y="92965"/>
                    <a:pt x="977" y="101293"/>
                  </a:cubicBezTo>
                  <a:cubicBezTo>
                    <a:pt x="-6197" y="109622"/>
                    <a:pt x="28313" y="131309"/>
                    <a:pt x="33962" y="149615"/>
                  </a:cubicBezTo>
                  <a:cubicBezTo>
                    <a:pt x="40847" y="167427"/>
                    <a:pt x="48763" y="184785"/>
                    <a:pt x="57669" y="201689"/>
                  </a:cubicBezTo>
                  <a:cubicBezTo>
                    <a:pt x="65626" y="204081"/>
                    <a:pt x="73172" y="206142"/>
                    <a:pt x="77748" y="203174"/>
                  </a:cubicBezTo>
                  <a:cubicBezTo>
                    <a:pt x="88592" y="196206"/>
                    <a:pt x="78944" y="172498"/>
                    <a:pt x="94570" y="173900"/>
                  </a:cubicBezTo>
                  <a:cubicBezTo>
                    <a:pt x="110197" y="175302"/>
                    <a:pt x="133079" y="164129"/>
                    <a:pt x="139099" y="175343"/>
                  </a:cubicBezTo>
                  <a:cubicBezTo>
                    <a:pt x="140254" y="177405"/>
                    <a:pt x="141573" y="179384"/>
                    <a:pt x="142975" y="181281"/>
                  </a:cubicBezTo>
                  <a:cubicBezTo>
                    <a:pt x="148005" y="172498"/>
                    <a:pt x="153406" y="162933"/>
                    <a:pt x="154849" y="159593"/>
                  </a:cubicBezTo>
                  <a:cubicBezTo>
                    <a:pt x="157736" y="152955"/>
                    <a:pt x="157736" y="117950"/>
                    <a:pt x="150520" y="97748"/>
                  </a:cubicBezTo>
                  <a:cubicBezTo>
                    <a:pt x="143305" y="77545"/>
                    <a:pt x="149118" y="51033"/>
                    <a:pt x="157736" y="42705"/>
                  </a:cubicBezTo>
                  <a:cubicBezTo>
                    <a:pt x="159591" y="40932"/>
                    <a:pt x="162353" y="31902"/>
                    <a:pt x="165569" y="18915"/>
                  </a:cubicBezTo>
                  <a:cubicBezTo>
                    <a:pt x="151262" y="12442"/>
                    <a:pt x="137533" y="6546"/>
                    <a:pt x="125493" y="8360"/>
                  </a:cubicBezTo>
                  <a:cubicBezTo>
                    <a:pt x="104177" y="11493"/>
                    <a:pt x="81995" y="22790"/>
                    <a:pt x="73996" y="9391"/>
                  </a:cubicBezTo>
                  <a:cubicBezTo>
                    <a:pt x="65998" y="-4009"/>
                    <a:pt x="54453" y="-1907"/>
                    <a:pt x="43774" y="8360"/>
                  </a:cubicBezTo>
                  <a:cubicBezTo>
                    <a:pt x="42702" y="9473"/>
                    <a:pt x="41177" y="9968"/>
                    <a:pt x="39651" y="9679"/>
                  </a:cubicBezTo>
                  <a:cubicBezTo>
                    <a:pt x="36270" y="21925"/>
                    <a:pt x="32601" y="32851"/>
                    <a:pt x="35528" y="3961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39D874DA-7639-3398-1340-7C574AFF7257}"/>
                </a:ext>
              </a:extLst>
            </p:cNvPr>
            <p:cNvSpPr/>
            <p:nvPr>
              <p:custDataLst>
                <p:tags r:id="rId167"/>
              </p:custDataLst>
            </p:nvPr>
          </p:nvSpPr>
          <p:spPr>
            <a:xfrm>
              <a:off x="4604156" y="5324384"/>
              <a:ext cx="163338" cy="286999"/>
            </a:xfrm>
            <a:custGeom>
              <a:avLst/>
              <a:gdLst>
                <a:gd name="connsiteX0" fmla="*/ 45844 w 190727"/>
                <a:gd name="connsiteY0" fmla="*/ 22178 h 335123"/>
                <a:gd name="connsiteX1" fmla="*/ 31455 w 190727"/>
                <a:gd name="connsiteY1" fmla="*/ 53843 h 335123"/>
                <a:gd name="connsiteX2" fmla="*/ 25724 w 190727"/>
                <a:gd name="connsiteY2" fmla="*/ 78870 h 335123"/>
                <a:gd name="connsiteX3" fmla="*/ 7005 w 190727"/>
                <a:gd name="connsiteY3" fmla="*/ 100516 h 335123"/>
                <a:gd name="connsiteX4" fmla="*/ 2882 w 190727"/>
                <a:gd name="connsiteY4" fmla="*/ 125501 h 335123"/>
                <a:gd name="connsiteX5" fmla="*/ 29146 w 190727"/>
                <a:gd name="connsiteY5" fmla="*/ 162897 h 335123"/>
                <a:gd name="connsiteX6" fmla="*/ 43617 w 190727"/>
                <a:gd name="connsiteY6" fmla="*/ 153085 h 335123"/>
                <a:gd name="connsiteX7" fmla="*/ 60440 w 190727"/>
                <a:gd name="connsiteY7" fmla="*/ 192088 h 335123"/>
                <a:gd name="connsiteX8" fmla="*/ 64068 w 190727"/>
                <a:gd name="connsiteY8" fmla="*/ 231092 h 335123"/>
                <a:gd name="connsiteX9" fmla="*/ 72314 w 190727"/>
                <a:gd name="connsiteY9" fmla="*/ 313265 h 335123"/>
                <a:gd name="connsiteX10" fmla="*/ 115606 w 190727"/>
                <a:gd name="connsiteY10" fmla="*/ 330005 h 335123"/>
                <a:gd name="connsiteX11" fmla="*/ 142076 w 190727"/>
                <a:gd name="connsiteY11" fmla="*/ 318831 h 335123"/>
                <a:gd name="connsiteX12" fmla="*/ 162691 w 190727"/>
                <a:gd name="connsiteY12" fmla="*/ 307699 h 335123"/>
                <a:gd name="connsiteX13" fmla="*/ 190728 w 190727"/>
                <a:gd name="connsiteY13" fmla="*/ 307699 h 335123"/>
                <a:gd name="connsiteX14" fmla="*/ 167020 w 190727"/>
                <a:gd name="connsiteY14" fmla="*/ 255625 h 335123"/>
                <a:gd name="connsiteX15" fmla="*/ 134036 w 190727"/>
                <a:gd name="connsiteY15" fmla="*/ 207303 h 335123"/>
                <a:gd name="connsiteX16" fmla="*/ 149868 w 190727"/>
                <a:gd name="connsiteY16" fmla="*/ 167268 h 335123"/>
                <a:gd name="connsiteX17" fmla="*/ 168587 w 190727"/>
                <a:gd name="connsiteY17" fmla="*/ 145622 h 335123"/>
                <a:gd name="connsiteX18" fmla="*/ 172999 w 190727"/>
                <a:gd name="connsiteY18" fmla="*/ 115895 h 335123"/>
                <a:gd name="connsiteX19" fmla="*/ 135891 w 190727"/>
                <a:gd name="connsiteY19" fmla="*/ 77550 h 335123"/>
                <a:gd name="connsiteX20" fmla="*/ 115276 w 190727"/>
                <a:gd name="connsiteY20" fmla="*/ 49802 h 335123"/>
                <a:gd name="connsiteX21" fmla="*/ 75324 w 190727"/>
                <a:gd name="connsiteY21" fmla="*/ 10674 h 335123"/>
                <a:gd name="connsiteX22" fmla="*/ 60564 w 190727"/>
                <a:gd name="connsiteY22" fmla="*/ -4 h 335123"/>
                <a:gd name="connsiteX23" fmla="*/ 45844 w 190727"/>
                <a:gd name="connsiteY23" fmla="*/ 22178 h 335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90727" h="335123">
                  <a:moveTo>
                    <a:pt x="45844" y="22178"/>
                  </a:moveTo>
                  <a:cubicBezTo>
                    <a:pt x="35784" y="28816"/>
                    <a:pt x="21395" y="47163"/>
                    <a:pt x="31455" y="53843"/>
                  </a:cubicBezTo>
                  <a:cubicBezTo>
                    <a:pt x="41515" y="60522"/>
                    <a:pt x="44442" y="77179"/>
                    <a:pt x="25724" y="78870"/>
                  </a:cubicBezTo>
                  <a:cubicBezTo>
                    <a:pt x="7005" y="80560"/>
                    <a:pt x="5562" y="88847"/>
                    <a:pt x="7005" y="100516"/>
                  </a:cubicBezTo>
                  <a:cubicBezTo>
                    <a:pt x="8448" y="112184"/>
                    <a:pt x="-5941" y="117008"/>
                    <a:pt x="2882" y="125501"/>
                  </a:cubicBezTo>
                  <a:cubicBezTo>
                    <a:pt x="8613" y="131026"/>
                    <a:pt x="21230" y="150239"/>
                    <a:pt x="29146" y="162897"/>
                  </a:cubicBezTo>
                  <a:cubicBezTo>
                    <a:pt x="31949" y="156837"/>
                    <a:pt x="35578" y="151765"/>
                    <a:pt x="43617" y="153085"/>
                  </a:cubicBezTo>
                  <a:cubicBezTo>
                    <a:pt x="60440" y="155888"/>
                    <a:pt x="47205" y="185162"/>
                    <a:pt x="60440" y="192088"/>
                  </a:cubicBezTo>
                  <a:cubicBezTo>
                    <a:pt x="73675" y="199015"/>
                    <a:pt x="73675" y="222764"/>
                    <a:pt x="64068" y="231092"/>
                  </a:cubicBezTo>
                  <a:cubicBezTo>
                    <a:pt x="54461" y="239421"/>
                    <a:pt x="50792" y="285434"/>
                    <a:pt x="72314" y="313265"/>
                  </a:cubicBezTo>
                  <a:cubicBezTo>
                    <a:pt x="93836" y="341095"/>
                    <a:pt x="110782" y="336931"/>
                    <a:pt x="115606" y="330005"/>
                  </a:cubicBezTo>
                  <a:cubicBezTo>
                    <a:pt x="120430" y="323078"/>
                    <a:pt x="137252" y="330005"/>
                    <a:pt x="142076" y="318831"/>
                  </a:cubicBezTo>
                  <a:cubicBezTo>
                    <a:pt x="146900" y="307657"/>
                    <a:pt x="152878" y="320232"/>
                    <a:pt x="162691" y="307699"/>
                  </a:cubicBezTo>
                  <a:cubicBezTo>
                    <a:pt x="168258" y="300483"/>
                    <a:pt x="179843" y="304359"/>
                    <a:pt x="190728" y="307699"/>
                  </a:cubicBezTo>
                  <a:cubicBezTo>
                    <a:pt x="181822" y="290794"/>
                    <a:pt x="173906" y="273436"/>
                    <a:pt x="167020" y="255625"/>
                  </a:cubicBezTo>
                  <a:cubicBezTo>
                    <a:pt x="161248" y="237318"/>
                    <a:pt x="126697" y="215631"/>
                    <a:pt x="134036" y="207303"/>
                  </a:cubicBezTo>
                  <a:cubicBezTo>
                    <a:pt x="141375" y="198974"/>
                    <a:pt x="138159" y="168917"/>
                    <a:pt x="149868" y="167268"/>
                  </a:cubicBezTo>
                  <a:cubicBezTo>
                    <a:pt x="161578" y="165618"/>
                    <a:pt x="174318" y="159021"/>
                    <a:pt x="168587" y="145622"/>
                  </a:cubicBezTo>
                  <a:cubicBezTo>
                    <a:pt x="165660" y="138860"/>
                    <a:pt x="169330" y="127934"/>
                    <a:pt x="172999" y="115895"/>
                  </a:cubicBezTo>
                  <a:cubicBezTo>
                    <a:pt x="161949" y="114657"/>
                    <a:pt x="145539" y="77550"/>
                    <a:pt x="135891" y="77550"/>
                  </a:cubicBezTo>
                  <a:cubicBezTo>
                    <a:pt x="125254" y="77550"/>
                    <a:pt x="112802" y="67284"/>
                    <a:pt x="115276" y="49802"/>
                  </a:cubicBezTo>
                  <a:cubicBezTo>
                    <a:pt x="117750" y="32320"/>
                    <a:pt x="90538" y="30218"/>
                    <a:pt x="75324" y="10674"/>
                  </a:cubicBezTo>
                  <a:cubicBezTo>
                    <a:pt x="71366" y="5933"/>
                    <a:pt x="66294" y="2263"/>
                    <a:pt x="60564" y="-4"/>
                  </a:cubicBezTo>
                  <a:cubicBezTo>
                    <a:pt x="55533" y="11252"/>
                    <a:pt x="50008" y="19498"/>
                    <a:pt x="45844" y="2217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653C6654-0D32-40F8-E70D-AD5F43F632C1}"/>
                </a:ext>
              </a:extLst>
            </p:cNvPr>
            <p:cNvSpPr/>
            <p:nvPr>
              <p:custDataLst>
                <p:tags r:id="rId168"/>
              </p:custDataLst>
            </p:nvPr>
          </p:nvSpPr>
          <p:spPr>
            <a:xfrm>
              <a:off x="4840409" y="5431372"/>
              <a:ext cx="96184" cy="148366"/>
            </a:xfrm>
            <a:custGeom>
              <a:avLst/>
              <a:gdLst>
                <a:gd name="connsiteX0" fmla="*/ 105674 w 112311"/>
                <a:gd name="connsiteY0" fmla="*/ 84230 h 173243"/>
                <a:gd name="connsiteX1" fmla="*/ 84317 w 112311"/>
                <a:gd name="connsiteY1" fmla="*/ 55369 h 173243"/>
                <a:gd name="connsiteX2" fmla="*/ 75741 w 112311"/>
                <a:gd name="connsiteY2" fmla="*/ 47122 h 173243"/>
                <a:gd name="connsiteX3" fmla="*/ 73844 w 112311"/>
                <a:gd name="connsiteY3" fmla="*/ 45102 h 173243"/>
                <a:gd name="connsiteX4" fmla="*/ 72854 w 112311"/>
                <a:gd name="connsiteY4" fmla="*/ 44113 h 173243"/>
                <a:gd name="connsiteX5" fmla="*/ 72113 w 112311"/>
                <a:gd name="connsiteY5" fmla="*/ 43618 h 173243"/>
                <a:gd name="connsiteX6" fmla="*/ 59743 w 112311"/>
                <a:gd name="connsiteY6" fmla="*/ 36196 h 173243"/>
                <a:gd name="connsiteX7" fmla="*/ 24574 w 112311"/>
                <a:gd name="connsiteY7" fmla="*/ 2429 h 173243"/>
                <a:gd name="connsiteX8" fmla="*/ 23337 w 112311"/>
                <a:gd name="connsiteY8" fmla="*/ 367 h 173243"/>
                <a:gd name="connsiteX9" fmla="*/ 22595 w 112311"/>
                <a:gd name="connsiteY9" fmla="*/ -4 h 173243"/>
                <a:gd name="connsiteX10" fmla="*/ 14761 w 112311"/>
                <a:gd name="connsiteY10" fmla="*/ 23786 h 173243"/>
                <a:gd name="connsiteX11" fmla="*/ 7545 w 112311"/>
                <a:gd name="connsiteY11" fmla="*/ 78828 h 173243"/>
                <a:gd name="connsiteX12" fmla="*/ 11875 w 112311"/>
                <a:gd name="connsiteY12" fmla="*/ 140674 h 173243"/>
                <a:gd name="connsiteX13" fmla="*/ 1 w 112311"/>
                <a:gd name="connsiteY13" fmla="*/ 162361 h 173243"/>
                <a:gd name="connsiteX14" fmla="*/ 35788 w 112311"/>
                <a:gd name="connsiteY14" fmla="*/ 170319 h 173243"/>
                <a:gd name="connsiteX15" fmla="*/ 77885 w 112311"/>
                <a:gd name="connsiteY15" fmla="*/ 149415 h 173243"/>
                <a:gd name="connsiteX16" fmla="*/ 112312 w 112311"/>
                <a:gd name="connsiteY16" fmla="*/ 91116 h 173243"/>
                <a:gd name="connsiteX17" fmla="*/ 105674 w 112311"/>
                <a:gd name="connsiteY17" fmla="*/ 84230 h 173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12311" h="173243">
                  <a:moveTo>
                    <a:pt x="105674" y="84230"/>
                  </a:moveTo>
                  <a:cubicBezTo>
                    <a:pt x="94295" y="78664"/>
                    <a:pt x="86296" y="67903"/>
                    <a:pt x="84317" y="55369"/>
                  </a:cubicBezTo>
                  <a:cubicBezTo>
                    <a:pt x="81183" y="52936"/>
                    <a:pt x="78297" y="50173"/>
                    <a:pt x="75741" y="47122"/>
                  </a:cubicBezTo>
                  <a:cubicBezTo>
                    <a:pt x="76029" y="47535"/>
                    <a:pt x="75411" y="47122"/>
                    <a:pt x="73844" y="45102"/>
                  </a:cubicBezTo>
                  <a:lnTo>
                    <a:pt x="72854" y="44113"/>
                  </a:lnTo>
                  <a:lnTo>
                    <a:pt x="72113" y="43618"/>
                  </a:lnTo>
                  <a:cubicBezTo>
                    <a:pt x="67989" y="40979"/>
                    <a:pt x="63866" y="38670"/>
                    <a:pt x="59743" y="36196"/>
                  </a:cubicBezTo>
                  <a:cubicBezTo>
                    <a:pt x="45725" y="27620"/>
                    <a:pt x="33727" y="16117"/>
                    <a:pt x="24574" y="2429"/>
                  </a:cubicBezTo>
                  <a:cubicBezTo>
                    <a:pt x="24120" y="1728"/>
                    <a:pt x="23749" y="1027"/>
                    <a:pt x="23337" y="367"/>
                  </a:cubicBezTo>
                  <a:lnTo>
                    <a:pt x="22595" y="-4"/>
                  </a:lnTo>
                  <a:cubicBezTo>
                    <a:pt x="19379" y="12983"/>
                    <a:pt x="16616" y="22013"/>
                    <a:pt x="14761" y="23786"/>
                  </a:cubicBezTo>
                  <a:cubicBezTo>
                    <a:pt x="6144" y="32032"/>
                    <a:pt x="371" y="58790"/>
                    <a:pt x="7545" y="78828"/>
                  </a:cubicBezTo>
                  <a:cubicBezTo>
                    <a:pt x="14720" y="98867"/>
                    <a:pt x="14761" y="133830"/>
                    <a:pt x="11875" y="140674"/>
                  </a:cubicBezTo>
                  <a:cubicBezTo>
                    <a:pt x="10432" y="144014"/>
                    <a:pt x="5030" y="153579"/>
                    <a:pt x="1" y="162361"/>
                  </a:cubicBezTo>
                  <a:cubicBezTo>
                    <a:pt x="6556" y="170938"/>
                    <a:pt x="17111" y="177163"/>
                    <a:pt x="35788" y="170319"/>
                  </a:cubicBezTo>
                  <a:cubicBezTo>
                    <a:pt x="58630" y="162073"/>
                    <a:pt x="69474" y="178565"/>
                    <a:pt x="77885" y="149415"/>
                  </a:cubicBezTo>
                  <a:cubicBezTo>
                    <a:pt x="82956" y="131933"/>
                    <a:pt x="97799" y="109587"/>
                    <a:pt x="112312" y="91116"/>
                  </a:cubicBezTo>
                  <a:cubicBezTo>
                    <a:pt x="110869" y="88188"/>
                    <a:pt x="108560" y="85755"/>
                    <a:pt x="105674" y="8423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0A0C18E-1037-E8C2-9938-632C4DC20DC3}"/>
                </a:ext>
              </a:extLst>
            </p:cNvPr>
            <p:cNvSpPr/>
            <p:nvPr>
              <p:custDataLst>
                <p:tags r:id="rId169"/>
              </p:custDataLst>
            </p:nvPr>
          </p:nvSpPr>
          <p:spPr>
            <a:xfrm>
              <a:off x="3799210" y="4718456"/>
              <a:ext cx="352490" cy="132896"/>
            </a:xfrm>
            <a:custGeom>
              <a:avLst/>
              <a:gdLst>
                <a:gd name="connsiteX0" fmla="*/ 336467 w 411596"/>
                <a:gd name="connsiteY0" fmla="*/ 94633 h 155180"/>
                <a:gd name="connsiteX1" fmla="*/ 142683 w 411596"/>
                <a:gd name="connsiteY1" fmla="*/ 3926 h 155180"/>
                <a:gd name="connsiteX2" fmla="*/ 562 w 411596"/>
                <a:gd name="connsiteY2" fmla="*/ 61649 h 155180"/>
                <a:gd name="connsiteX3" fmla="*/ 69829 w 411596"/>
                <a:gd name="connsiteY3" fmla="*/ 24541 h 155180"/>
                <a:gd name="connsiteX4" fmla="*/ 108916 w 411596"/>
                <a:gd name="connsiteY4" fmla="*/ 43054 h 155180"/>
                <a:gd name="connsiteX5" fmla="*/ 176451 w 411596"/>
                <a:gd name="connsiteY5" fmla="*/ 61525 h 155180"/>
                <a:gd name="connsiteX6" fmla="*/ 261716 w 411596"/>
                <a:gd name="connsiteY6" fmla="*/ 112980 h 155180"/>
                <a:gd name="connsiteX7" fmla="*/ 281259 w 411596"/>
                <a:gd name="connsiteY7" fmla="*/ 150088 h 155180"/>
                <a:gd name="connsiteX8" fmla="*/ 410970 w 411596"/>
                <a:gd name="connsiteY8" fmla="*/ 145965 h 155180"/>
                <a:gd name="connsiteX9" fmla="*/ 336467 w 411596"/>
                <a:gd name="connsiteY9" fmla="*/ 94633 h 155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11596" h="155180">
                  <a:moveTo>
                    <a:pt x="336467" y="94633"/>
                  </a:moveTo>
                  <a:cubicBezTo>
                    <a:pt x="309832" y="94633"/>
                    <a:pt x="222753" y="24541"/>
                    <a:pt x="142683" y="3926"/>
                  </a:cubicBezTo>
                  <a:cubicBezTo>
                    <a:pt x="62614" y="-16689"/>
                    <a:pt x="-6983" y="49939"/>
                    <a:pt x="562" y="61649"/>
                  </a:cubicBezTo>
                  <a:cubicBezTo>
                    <a:pt x="11199" y="78141"/>
                    <a:pt x="50286" y="41033"/>
                    <a:pt x="69829" y="24541"/>
                  </a:cubicBezTo>
                  <a:cubicBezTo>
                    <a:pt x="89372" y="8049"/>
                    <a:pt x="106937" y="32787"/>
                    <a:pt x="108916" y="43054"/>
                  </a:cubicBezTo>
                  <a:cubicBezTo>
                    <a:pt x="110895" y="53320"/>
                    <a:pt x="135592" y="59546"/>
                    <a:pt x="176451" y="61525"/>
                  </a:cubicBezTo>
                  <a:cubicBezTo>
                    <a:pt x="217310" y="63504"/>
                    <a:pt x="222629" y="102755"/>
                    <a:pt x="261716" y="112980"/>
                  </a:cubicBezTo>
                  <a:cubicBezTo>
                    <a:pt x="300802" y="123206"/>
                    <a:pt x="261716" y="141842"/>
                    <a:pt x="281259" y="150088"/>
                  </a:cubicBezTo>
                  <a:cubicBezTo>
                    <a:pt x="300802" y="158334"/>
                    <a:pt x="403878" y="156272"/>
                    <a:pt x="410970" y="145965"/>
                  </a:cubicBezTo>
                  <a:cubicBezTo>
                    <a:pt x="418062" y="135657"/>
                    <a:pt x="363184" y="94633"/>
                    <a:pt x="336467" y="9463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3DE8AD0C-6369-4120-6F17-8A3BECB59ED1}"/>
                </a:ext>
              </a:extLst>
            </p:cNvPr>
            <p:cNvSpPr/>
            <p:nvPr>
              <p:custDataLst>
                <p:tags r:id="rId170"/>
              </p:custDataLst>
            </p:nvPr>
          </p:nvSpPr>
          <p:spPr>
            <a:xfrm>
              <a:off x="3919058" y="5602942"/>
              <a:ext cx="198154" cy="259512"/>
            </a:xfrm>
            <a:custGeom>
              <a:avLst/>
              <a:gdLst>
                <a:gd name="connsiteX0" fmla="*/ 215732 w 231381"/>
                <a:gd name="connsiteY0" fmla="*/ 79323 h 303027"/>
                <a:gd name="connsiteX1" fmla="*/ 186871 w 231381"/>
                <a:gd name="connsiteY1" fmla="*/ 53513 h 303027"/>
                <a:gd name="connsiteX2" fmla="*/ 156319 w 231381"/>
                <a:gd name="connsiteY2" fmla="*/ 53513 h 303027"/>
                <a:gd name="connsiteX3" fmla="*/ 131292 w 231381"/>
                <a:gd name="connsiteY3" fmla="*/ 32073 h 303027"/>
                <a:gd name="connsiteX4" fmla="*/ 81816 w 231381"/>
                <a:gd name="connsiteY4" fmla="*/ -4 h 303027"/>
                <a:gd name="connsiteX5" fmla="*/ 81816 w 231381"/>
                <a:gd name="connsiteY5" fmla="*/ 6345 h 303027"/>
                <a:gd name="connsiteX6" fmla="*/ 54274 w 231381"/>
                <a:gd name="connsiteY6" fmla="*/ 22837 h 303027"/>
                <a:gd name="connsiteX7" fmla="*/ 40957 w 231381"/>
                <a:gd name="connsiteY7" fmla="*/ 56770 h 303027"/>
                <a:gd name="connsiteX8" fmla="*/ 23186 w 231381"/>
                <a:gd name="connsiteY8" fmla="*/ 84559 h 303027"/>
                <a:gd name="connsiteX9" fmla="*/ 12507 w 231381"/>
                <a:gd name="connsiteY9" fmla="*/ 109298 h 303027"/>
                <a:gd name="connsiteX10" fmla="*/ 3643 w 231381"/>
                <a:gd name="connsiteY10" fmla="*/ 141210 h 303027"/>
                <a:gd name="connsiteX11" fmla="*/ 963 w 231381"/>
                <a:gd name="connsiteY11" fmla="*/ 172050 h 303027"/>
                <a:gd name="connsiteX12" fmla="*/ 24052 w 231381"/>
                <a:gd name="connsiteY12" fmla="*/ 195758 h 303027"/>
                <a:gd name="connsiteX13" fmla="*/ 43595 w 231381"/>
                <a:gd name="connsiteY13" fmla="*/ 200870 h 303027"/>
                <a:gd name="connsiteX14" fmla="*/ 25825 w 231381"/>
                <a:gd name="connsiteY14" fmla="*/ 229732 h 303027"/>
                <a:gd name="connsiteX15" fmla="*/ 22568 w 231381"/>
                <a:gd name="connsiteY15" fmla="*/ 230350 h 303027"/>
                <a:gd name="connsiteX16" fmla="*/ 30319 w 231381"/>
                <a:gd name="connsiteY16" fmla="*/ 254222 h 303027"/>
                <a:gd name="connsiteX17" fmla="*/ 30319 w 231381"/>
                <a:gd name="connsiteY17" fmla="*/ 277848 h 303027"/>
                <a:gd name="connsiteX18" fmla="*/ 60912 w 231381"/>
                <a:gd name="connsiteY18" fmla="*/ 287496 h 303027"/>
                <a:gd name="connsiteX19" fmla="*/ 89773 w 231381"/>
                <a:gd name="connsiteY19" fmla="*/ 285352 h 303027"/>
                <a:gd name="connsiteX20" fmla="*/ 125891 w 231381"/>
                <a:gd name="connsiteY20" fmla="*/ 211343 h 303027"/>
                <a:gd name="connsiteX21" fmla="*/ 204600 w 231381"/>
                <a:gd name="connsiteY21" fmla="*/ 161867 h 303027"/>
                <a:gd name="connsiteX22" fmla="*/ 226865 w 231381"/>
                <a:gd name="connsiteY22" fmla="*/ 114740 h 303027"/>
                <a:gd name="connsiteX23" fmla="*/ 215732 w 231381"/>
                <a:gd name="connsiteY23" fmla="*/ 79323 h 303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31381" h="303027">
                  <a:moveTo>
                    <a:pt x="215732" y="79323"/>
                  </a:moveTo>
                  <a:cubicBezTo>
                    <a:pt x="200889" y="59986"/>
                    <a:pt x="190747" y="48153"/>
                    <a:pt x="186871" y="53513"/>
                  </a:cubicBezTo>
                  <a:cubicBezTo>
                    <a:pt x="182995" y="58872"/>
                    <a:pt x="167410" y="61058"/>
                    <a:pt x="156319" y="53513"/>
                  </a:cubicBezTo>
                  <a:cubicBezTo>
                    <a:pt x="145228" y="45968"/>
                    <a:pt x="139827" y="32073"/>
                    <a:pt x="131292" y="32073"/>
                  </a:cubicBezTo>
                  <a:cubicBezTo>
                    <a:pt x="122758" y="32073"/>
                    <a:pt x="96741" y="14509"/>
                    <a:pt x="81816" y="-4"/>
                  </a:cubicBezTo>
                  <a:cubicBezTo>
                    <a:pt x="81630" y="2099"/>
                    <a:pt x="81630" y="4242"/>
                    <a:pt x="81816" y="6345"/>
                  </a:cubicBezTo>
                  <a:cubicBezTo>
                    <a:pt x="82682" y="15581"/>
                    <a:pt x="69447" y="21765"/>
                    <a:pt x="54274" y="22837"/>
                  </a:cubicBezTo>
                  <a:cubicBezTo>
                    <a:pt x="39101" y="23909"/>
                    <a:pt x="40957" y="43452"/>
                    <a:pt x="40957" y="56770"/>
                  </a:cubicBezTo>
                  <a:cubicBezTo>
                    <a:pt x="40957" y="70088"/>
                    <a:pt x="28587" y="70170"/>
                    <a:pt x="23186" y="84559"/>
                  </a:cubicBezTo>
                  <a:cubicBezTo>
                    <a:pt x="17785" y="98949"/>
                    <a:pt x="24959" y="102041"/>
                    <a:pt x="12507" y="109298"/>
                  </a:cubicBezTo>
                  <a:cubicBezTo>
                    <a:pt x="56" y="116554"/>
                    <a:pt x="-3490" y="128882"/>
                    <a:pt x="3643" y="141210"/>
                  </a:cubicBezTo>
                  <a:cubicBezTo>
                    <a:pt x="10776" y="153538"/>
                    <a:pt x="2736" y="164876"/>
                    <a:pt x="963" y="172050"/>
                  </a:cubicBezTo>
                  <a:cubicBezTo>
                    <a:pt x="-810" y="179224"/>
                    <a:pt x="11600" y="182358"/>
                    <a:pt x="24052" y="195758"/>
                  </a:cubicBezTo>
                  <a:cubicBezTo>
                    <a:pt x="36504" y="209158"/>
                    <a:pt x="38276" y="190604"/>
                    <a:pt x="43595" y="200870"/>
                  </a:cubicBezTo>
                  <a:cubicBezTo>
                    <a:pt x="48914" y="211137"/>
                    <a:pt x="40049" y="229732"/>
                    <a:pt x="25825" y="229732"/>
                  </a:cubicBezTo>
                  <a:cubicBezTo>
                    <a:pt x="24720" y="229814"/>
                    <a:pt x="23627" y="230020"/>
                    <a:pt x="22568" y="230350"/>
                  </a:cubicBezTo>
                  <a:cubicBezTo>
                    <a:pt x="29948" y="239256"/>
                    <a:pt x="33823" y="248451"/>
                    <a:pt x="30319" y="254222"/>
                  </a:cubicBezTo>
                  <a:cubicBezTo>
                    <a:pt x="23846" y="264984"/>
                    <a:pt x="18321" y="264984"/>
                    <a:pt x="30319" y="277848"/>
                  </a:cubicBezTo>
                  <a:cubicBezTo>
                    <a:pt x="42317" y="290712"/>
                    <a:pt x="50728" y="271416"/>
                    <a:pt x="60912" y="287496"/>
                  </a:cubicBezTo>
                  <a:cubicBezTo>
                    <a:pt x="71096" y="303576"/>
                    <a:pt x="79424" y="313223"/>
                    <a:pt x="89773" y="285352"/>
                  </a:cubicBezTo>
                  <a:cubicBezTo>
                    <a:pt x="100122" y="257480"/>
                    <a:pt x="107379" y="217775"/>
                    <a:pt x="125891" y="211343"/>
                  </a:cubicBezTo>
                  <a:cubicBezTo>
                    <a:pt x="144404" y="204911"/>
                    <a:pt x="182377" y="196335"/>
                    <a:pt x="204600" y="161867"/>
                  </a:cubicBezTo>
                  <a:cubicBezTo>
                    <a:pt x="226823" y="127398"/>
                    <a:pt x="215073" y="125625"/>
                    <a:pt x="226865" y="114740"/>
                  </a:cubicBezTo>
                  <a:cubicBezTo>
                    <a:pt x="236100" y="106123"/>
                    <a:pt x="230575" y="98577"/>
                    <a:pt x="215732" y="7932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FB6E664E-AA22-1993-772B-D534AF9DAD44}"/>
                </a:ext>
              </a:extLst>
            </p:cNvPr>
            <p:cNvSpPr/>
            <p:nvPr>
              <p:custDataLst>
                <p:tags r:id="rId171"/>
              </p:custDataLst>
            </p:nvPr>
          </p:nvSpPr>
          <p:spPr>
            <a:xfrm>
              <a:off x="4209245" y="1102903"/>
              <a:ext cx="2100855" cy="1814662"/>
            </a:xfrm>
            <a:custGeom>
              <a:avLst/>
              <a:gdLst>
                <a:gd name="connsiteX0" fmla="*/ 2315586 w 2453129"/>
                <a:gd name="connsiteY0" fmla="*/ 193317 h 2118946"/>
                <a:gd name="connsiteX1" fmla="*/ 2233867 w 2453129"/>
                <a:gd name="connsiteY1" fmla="*/ 237186 h 2118946"/>
                <a:gd name="connsiteX2" fmla="*/ 2152107 w 2453129"/>
                <a:gd name="connsiteY2" fmla="*/ 242670 h 2118946"/>
                <a:gd name="connsiteX3" fmla="*/ 2116566 w 2453129"/>
                <a:gd name="connsiteY3" fmla="*/ 227579 h 2118946"/>
                <a:gd name="connsiteX4" fmla="*/ 2038228 w 2453129"/>
                <a:gd name="connsiteY4" fmla="*/ 287941 h 2118946"/>
                <a:gd name="connsiteX5" fmla="*/ 1970693 w 2453129"/>
                <a:gd name="connsiteY5" fmla="*/ 338695 h 2118946"/>
                <a:gd name="connsiteX6" fmla="*/ 2037032 w 2453129"/>
                <a:gd name="connsiteY6" fmla="*/ 242670 h 2118946"/>
                <a:gd name="connsiteX7" fmla="*/ 2012294 w 2453129"/>
                <a:gd name="connsiteY7" fmla="*/ 175464 h 2118946"/>
                <a:gd name="connsiteX8" fmla="*/ 1961333 w 2453129"/>
                <a:gd name="connsiteY8" fmla="*/ 212571 h 2118946"/>
                <a:gd name="connsiteX9" fmla="*/ 1833519 w 2453129"/>
                <a:gd name="connsiteY9" fmla="*/ 259244 h 2118946"/>
                <a:gd name="connsiteX10" fmla="*/ 1916433 w 2453129"/>
                <a:gd name="connsiteY10" fmla="*/ 198842 h 2118946"/>
                <a:gd name="connsiteX11" fmla="*/ 1754274 w 2453129"/>
                <a:gd name="connsiteY11" fmla="*/ 193317 h 2118946"/>
                <a:gd name="connsiteX12" fmla="*/ 1615699 w 2453129"/>
                <a:gd name="connsiteY12" fmla="*/ 218055 h 2118946"/>
                <a:gd name="connsiteX13" fmla="*/ 1769694 w 2453129"/>
                <a:gd name="connsiteY13" fmla="*/ 171382 h 2118946"/>
                <a:gd name="connsiteX14" fmla="*/ 1957994 w 2453129"/>
                <a:gd name="connsiteY14" fmla="*/ 156292 h 2118946"/>
                <a:gd name="connsiteX15" fmla="*/ 2069316 w 2453129"/>
                <a:gd name="connsiteY15" fmla="*/ 120628 h 2118946"/>
                <a:gd name="connsiteX16" fmla="*/ 1994689 w 2453129"/>
                <a:gd name="connsiteY16" fmla="*/ 86324 h 2118946"/>
                <a:gd name="connsiteX17" fmla="*/ 1940059 w 2453129"/>
                <a:gd name="connsiteY17" fmla="*/ 67152 h 2118946"/>
                <a:gd name="connsiteX18" fmla="*/ 1891489 w 2453129"/>
                <a:gd name="connsiteY18" fmla="*/ 34167 h 2118946"/>
                <a:gd name="connsiteX19" fmla="*/ 1778971 w 2453129"/>
                <a:gd name="connsiteY19" fmla="*/ 17675 h 2118946"/>
                <a:gd name="connsiteX20" fmla="*/ 1656970 w 2453129"/>
                <a:gd name="connsiteY20" fmla="*/ 1183 h 2118946"/>
                <a:gd name="connsiteX21" fmla="*/ 1489987 w 2453129"/>
                <a:gd name="connsiteY21" fmla="*/ 6667 h 2118946"/>
                <a:gd name="connsiteX22" fmla="*/ 1433130 w 2453129"/>
                <a:gd name="connsiteY22" fmla="*/ 17634 h 2118946"/>
                <a:gd name="connsiteX23" fmla="*/ 1394044 w 2453129"/>
                <a:gd name="connsiteY23" fmla="*/ 39610 h 2118946"/>
                <a:gd name="connsiteX24" fmla="*/ 1365595 w 2453129"/>
                <a:gd name="connsiteY24" fmla="*/ 57462 h 2118946"/>
                <a:gd name="connsiteX25" fmla="*/ 1303996 w 2453129"/>
                <a:gd name="connsiteY25" fmla="*/ 42331 h 2118946"/>
                <a:gd name="connsiteX26" fmla="*/ 1195024 w 2453129"/>
                <a:gd name="connsiteY26" fmla="*/ 42331 h 2118946"/>
                <a:gd name="connsiteX27" fmla="*/ 1062345 w 2453129"/>
                <a:gd name="connsiteY27" fmla="*/ 60184 h 2118946"/>
                <a:gd name="connsiteX28" fmla="*/ 1102627 w 2453129"/>
                <a:gd name="connsiteY28" fmla="*/ 102733 h 2118946"/>
                <a:gd name="connsiteX29" fmla="*/ 1031545 w 2453129"/>
                <a:gd name="connsiteY29" fmla="*/ 127472 h 2118946"/>
                <a:gd name="connsiteX30" fmla="*/ 1133426 w 2453129"/>
                <a:gd name="connsiteY30" fmla="*/ 201687 h 2118946"/>
                <a:gd name="connsiteX31" fmla="*/ 1081311 w 2453129"/>
                <a:gd name="connsiteY31" fmla="*/ 190719 h 2118946"/>
                <a:gd name="connsiteX32" fmla="*/ 992500 w 2453129"/>
                <a:gd name="connsiteY32" fmla="*/ 152293 h 2118946"/>
                <a:gd name="connsiteX33" fmla="*/ 884682 w 2453129"/>
                <a:gd name="connsiteY33" fmla="*/ 124833 h 2118946"/>
                <a:gd name="connsiteX34" fmla="*/ 933252 w 2453129"/>
                <a:gd name="connsiteY34" fmla="*/ 189359 h 2118946"/>
                <a:gd name="connsiteX35" fmla="*/ 877591 w 2453129"/>
                <a:gd name="connsiteY35" fmla="*/ 192080 h 2118946"/>
                <a:gd name="connsiteX36" fmla="*/ 804160 w 2453129"/>
                <a:gd name="connsiteY36" fmla="*/ 145489 h 2118946"/>
                <a:gd name="connsiteX37" fmla="*/ 800572 w 2453129"/>
                <a:gd name="connsiteY37" fmla="*/ 204449 h 2118946"/>
                <a:gd name="connsiteX38" fmla="*/ 767588 w 2453129"/>
                <a:gd name="connsiteY38" fmla="*/ 236032 h 2118946"/>
                <a:gd name="connsiteX39" fmla="*/ 746272 w 2453129"/>
                <a:gd name="connsiteY39" fmla="*/ 141202 h 2118946"/>
                <a:gd name="connsiteX40" fmla="*/ 624271 w 2453129"/>
                <a:gd name="connsiteY40" fmla="*/ 163136 h 2118946"/>
                <a:gd name="connsiteX41" fmla="*/ 575701 w 2453129"/>
                <a:gd name="connsiteY41" fmla="*/ 193358 h 2118946"/>
                <a:gd name="connsiteX42" fmla="*/ 549644 w 2453129"/>
                <a:gd name="connsiteY42" fmla="*/ 202924 h 2118946"/>
                <a:gd name="connsiteX43" fmla="*/ 459638 w 2453129"/>
                <a:gd name="connsiteY43" fmla="*/ 216653 h 2118946"/>
                <a:gd name="connsiteX44" fmla="*/ 471471 w 2453129"/>
                <a:gd name="connsiteY44" fmla="*/ 286745 h 2118946"/>
                <a:gd name="connsiteX45" fmla="*/ 394452 w 2453129"/>
                <a:gd name="connsiteY45" fmla="*/ 273015 h 2118946"/>
                <a:gd name="connsiteX46" fmla="*/ 213038 w 2453129"/>
                <a:gd name="connsiteY46" fmla="*/ 386894 h 2118946"/>
                <a:gd name="connsiteX47" fmla="*/ 311332 w 2453129"/>
                <a:gd name="connsiteY47" fmla="*/ 404705 h 2118946"/>
                <a:gd name="connsiteX48" fmla="*/ 278347 w 2453129"/>
                <a:gd name="connsiteY48" fmla="*/ 489805 h 2118946"/>
                <a:gd name="connsiteX49" fmla="*/ 152801 w 2453129"/>
                <a:gd name="connsiteY49" fmla="*/ 515822 h 2118946"/>
                <a:gd name="connsiteX50" fmla="*/ 1 w 2453129"/>
                <a:gd name="connsiteY50" fmla="*/ 584429 h 2118946"/>
                <a:gd name="connsiteX51" fmla="*/ 23667 w 2453129"/>
                <a:gd name="connsiteY51" fmla="*/ 618733 h 2118946"/>
                <a:gd name="connsiteX52" fmla="*/ 90006 w 2453129"/>
                <a:gd name="connsiteY52" fmla="*/ 640667 h 2118946"/>
                <a:gd name="connsiteX53" fmla="*/ 198979 w 2453129"/>
                <a:gd name="connsiteY53" fmla="*/ 650274 h 2118946"/>
                <a:gd name="connsiteX54" fmla="*/ 261731 w 2453129"/>
                <a:gd name="connsiteY54" fmla="*/ 677734 h 2118946"/>
                <a:gd name="connsiteX55" fmla="*/ 153996 w 2453129"/>
                <a:gd name="connsiteY55" fmla="*/ 685980 h 2118946"/>
                <a:gd name="connsiteX56" fmla="*/ 55662 w 2453129"/>
                <a:gd name="connsiteY56" fmla="*/ 707955 h 2118946"/>
                <a:gd name="connsiteX57" fmla="*/ 127897 w 2453129"/>
                <a:gd name="connsiteY57" fmla="*/ 729890 h 2118946"/>
                <a:gd name="connsiteX58" fmla="*/ 129093 w 2453129"/>
                <a:gd name="connsiteY58" fmla="*/ 766997 h 2118946"/>
                <a:gd name="connsiteX59" fmla="*/ 176467 w 2453129"/>
                <a:gd name="connsiteY59" fmla="*/ 797178 h 2118946"/>
                <a:gd name="connsiteX60" fmla="*/ 241611 w 2453129"/>
                <a:gd name="connsiteY60" fmla="*/ 805424 h 2118946"/>
                <a:gd name="connsiteX61" fmla="*/ 281893 w 2453129"/>
                <a:gd name="connsiteY61" fmla="*/ 799941 h 2118946"/>
                <a:gd name="connsiteX62" fmla="*/ 335204 w 2453129"/>
                <a:gd name="connsiteY62" fmla="*/ 788973 h 2118946"/>
                <a:gd name="connsiteX63" fmla="*/ 383773 w 2453129"/>
                <a:gd name="connsiteY63" fmla="*/ 778006 h 2118946"/>
                <a:gd name="connsiteX64" fmla="*/ 512908 w 2453129"/>
                <a:gd name="connsiteY64" fmla="*/ 817793 h 2118946"/>
                <a:gd name="connsiteX65" fmla="*/ 576856 w 2453129"/>
                <a:gd name="connsiteY65" fmla="*/ 865786 h 2118946"/>
                <a:gd name="connsiteX66" fmla="*/ 632517 w 2453129"/>
                <a:gd name="connsiteY66" fmla="*/ 927631 h 2118946"/>
                <a:gd name="connsiteX67" fmla="*/ 669253 w 2453129"/>
                <a:gd name="connsiteY67" fmla="*/ 1003083 h 2118946"/>
                <a:gd name="connsiteX68" fmla="*/ 697661 w 2453129"/>
                <a:gd name="connsiteY68" fmla="*/ 1053879 h 2118946"/>
                <a:gd name="connsiteX69" fmla="*/ 717781 w 2453129"/>
                <a:gd name="connsiteY69" fmla="*/ 1101871 h 2118946"/>
                <a:gd name="connsiteX70" fmla="*/ 697661 w 2453129"/>
                <a:gd name="connsiteY70" fmla="*/ 1159594 h 2118946"/>
                <a:gd name="connsiteX71" fmla="*/ 716627 w 2453129"/>
                <a:gd name="connsiteY71" fmla="*/ 1222677 h 2118946"/>
                <a:gd name="connsiteX72" fmla="*/ 777030 w 2453129"/>
                <a:gd name="connsiteY72" fmla="*/ 1192496 h 2118946"/>
                <a:gd name="connsiteX73" fmla="*/ 791254 w 2453129"/>
                <a:gd name="connsiteY73" fmla="*/ 1239169 h 2118946"/>
                <a:gd name="connsiteX74" fmla="*/ 868231 w 2453129"/>
                <a:gd name="connsiteY74" fmla="*/ 1281636 h 2118946"/>
                <a:gd name="connsiteX75" fmla="*/ 851739 w 2453129"/>
                <a:gd name="connsiteY75" fmla="*/ 1300891 h 2118946"/>
                <a:gd name="connsiteX76" fmla="*/ 745117 w 2453129"/>
                <a:gd name="connsiteY76" fmla="*/ 1291243 h 2118946"/>
                <a:gd name="connsiteX77" fmla="*/ 852935 w 2453129"/>
                <a:gd name="connsiteY77" fmla="*/ 1348966 h 2118946"/>
                <a:gd name="connsiteX78" fmla="*/ 888434 w 2453129"/>
                <a:gd name="connsiteY78" fmla="*/ 1396958 h 2118946"/>
                <a:gd name="connsiteX79" fmla="*/ 880188 w 2453129"/>
                <a:gd name="connsiteY79" fmla="*/ 1461442 h 2118946"/>
                <a:gd name="connsiteX80" fmla="*/ 829269 w 2453129"/>
                <a:gd name="connsiteY80" fmla="*/ 1464205 h 2118946"/>
                <a:gd name="connsiteX81" fmla="*/ 797274 w 2453129"/>
                <a:gd name="connsiteY81" fmla="*/ 1497189 h 2118946"/>
                <a:gd name="connsiteX82" fmla="*/ 764290 w 2453129"/>
                <a:gd name="connsiteY82" fmla="*/ 1565796 h 2118946"/>
                <a:gd name="connsiteX83" fmla="*/ 803376 w 2453129"/>
                <a:gd name="connsiteY83" fmla="*/ 1605584 h 2118946"/>
                <a:gd name="connsiteX84" fmla="*/ 772577 w 2453129"/>
                <a:gd name="connsiteY84" fmla="*/ 1646814 h 2118946"/>
                <a:gd name="connsiteX85" fmla="*/ 828238 w 2453129"/>
                <a:gd name="connsiteY85" fmla="*/ 1714020 h 2118946"/>
                <a:gd name="connsiteX86" fmla="*/ 835371 w 2453129"/>
                <a:gd name="connsiteY86" fmla="*/ 1793595 h 2118946"/>
                <a:gd name="connsiteX87" fmla="*/ 859037 w 2453129"/>
                <a:gd name="connsiteY87" fmla="*/ 1818333 h 2118946"/>
                <a:gd name="connsiteX88" fmla="*/ 879199 w 2453129"/>
                <a:gd name="connsiteY88" fmla="*/ 1865006 h 2118946"/>
                <a:gd name="connsiteX89" fmla="*/ 909998 w 2453129"/>
                <a:gd name="connsiteY89" fmla="*/ 1904752 h 2118946"/>
                <a:gd name="connsiteX90" fmla="*/ 928923 w 2453129"/>
                <a:gd name="connsiteY90" fmla="*/ 1961032 h 2118946"/>
                <a:gd name="connsiteX91" fmla="*/ 973946 w 2453129"/>
                <a:gd name="connsiteY91" fmla="*/ 2015909 h 2118946"/>
                <a:gd name="connsiteX92" fmla="*/ 1018929 w 2453129"/>
                <a:gd name="connsiteY92" fmla="*/ 2050213 h 2118946"/>
                <a:gd name="connsiteX93" fmla="*/ 1058015 w 2453129"/>
                <a:gd name="connsiteY93" fmla="*/ 2063902 h 2118946"/>
                <a:gd name="connsiteX94" fmla="*/ 1105430 w 2453129"/>
                <a:gd name="connsiteY94" fmla="*/ 2087279 h 2118946"/>
                <a:gd name="connsiteX95" fmla="*/ 1175275 w 2453129"/>
                <a:gd name="connsiteY95" fmla="*/ 2118779 h 2118946"/>
                <a:gd name="connsiteX96" fmla="*/ 1204920 w 2453129"/>
                <a:gd name="connsiteY96" fmla="*/ 2083115 h 2118946"/>
                <a:gd name="connsiteX97" fmla="*/ 1225040 w 2453129"/>
                <a:gd name="connsiteY97" fmla="*/ 2010426 h 2118946"/>
                <a:gd name="connsiteX98" fmla="*/ 1221494 w 2453129"/>
                <a:gd name="connsiteY98" fmla="*/ 1937695 h 2118946"/>
                <a:gd name="connsiteX99" fmla="*/ 1241656 w 2453129"/>
                <a:gd name="connsiteY99" fmla="*/ 1914400 h 2118946"/>
                <a:gd name="connsiteX100" fmla="*/ 1272414 w 2453129"/>
                <a:gd name="connsiteY100" fmla="*/ 1882817 h 2118946"/>
                <a:gd name="connsiteX101" fmla="*/ 1288906 w 2453129"/>
                <a:gd name="connsiteY101" fmla="*/ 1847153 h 2118946"/>
                <a:gd name="connsiteX102" fmla="*/ 1290061 w 2453129"/>
                <a:gd name="connsiteY102" fmla="*/ 1814169 h 2118946"/>
                <a:gd name="connsiteX103" fmla="*/ 1305481 w 2453129"/>
                <a:gd name="connsiteY103" fmla="*/ 1792193 h 2118946"/>
                <a:gd name="connsiteX104" fmla="*/ 1297235 w 2453129"/>
                <a:gd name="connsiteY104" fmla="*/ 1757930 h 2118946"/>
                <a:gd name="connsiteX105" fmla="*/ 1303130 w 2453129"/>
                <a:gd name="connsiteY105" fmla="*/ 1740078 h 2118946"/>
                <a:gd name="connsiteX106" fmla="*/ 1325642 w 2453129"/>
                <a:gd name="connsiteY106" fmla="*/ 1727708 h 2118946"/>
                <a:gd name="connsiteX107" fmla="*/ 1363533 w 2453129"/>
                <a:gd name="connsiteY107" fmla="*/ 1700249 h 2118946"/>
                <a:gd name="connsiteX108" fmla="*/ 1396517 w 2453129"/>
                <a:gd name="connsiteY108" fmla="*/ 1660462 h 2118946"/>
                <a:gd name="connsiteX109" fmla="*/ 1416638 w 2453129"/>
                <a:gd name="connsiteY109" fmla="*/ 1659101 h 2118946"/>
                <a:gd name="connsiteX110" fmla="*/ 1424884 w 2453129"/>
                <a:gd name="connsiteY110" fmla="*/ 1683839 h 2118946"/>
                <a:gd name="connsiteX111" fmla="*/ 1499511 w 2453129"/>
                <a:gd name="connsiteY111" fmla="*/ 1665986 h 2118946"/>
                <a:gd name="connsiteX112" fmla="*/ 1588280 w 2453129"/>
                <a:gd name="connsiteY112" fmla="*/ 1576187 h 2118946"/>
                <a:gd name="connsiteX113" fmla="*/ 1638046 w 2453129"/>
                <a:gd name="connsiteY113" fmla="*/ 1518464 h 2118946"/>
                <a:gd name="connsiteX114" fmla="*/ 1675936 w 2453129"/>
                <a:gd name="connsiteY114" fmla="*/ 1500652 h 2118946"/>
                <a:gd name="connsiteX115" fmla="*/ 1715023 w 2453129"/>
                <a:gd name="connsiteY115" fmla="*/ 1489685 h 2118946"/>
                <a:gd name="connsiteX116" fmla="*/ 1774271 w 2453129"/>
                <a:gd name="connsiteY116" fmla="*/ 1474553 h 2118946"/>
                <a:gd name="connsiteX117" fmla="*/ 1917547 w 2453129"/>
                <a:gd name="connsiteY117" fmla="*/ 1429200 h 2118946"/>
                <a:gd name="connsiteX118" fmla="*/ 2031261 w 2453129"/>
                <a:gd name="connsiteY118" fmla="*/ 1360634 h 2118946"/>
                <a:gd name="connsiteX119" fmla="*/ 2046681 w 2453129"/>
                <a:gd name="connsiteY119" fmla="*/ 1337338 h 2118946"/>
                <a:gd name="connsiteX120" fmla="*/ 1975599 w 2453129"/>
                <a:gd name="connsiteY120" fmla="*/ 1341462 h 2118946"/>
                <a:gd name="connsiteX121" fmla="*/ 1886789 w 2453129"/>
                <a:gd name="connsiteY121" fmla="*/ 1329092 h 2118946"/>
                <a:gd name="connsiteX122" fmla="*/ 1898622 w 2453129"/>
                <a:gd name="connsiteY122" fmla="*/ 1298912 h 2118946"/>
                <a:gd name="connsiteX123" fmla="*/ 1905714 w 2453129"/>
                <a:gd name="connsiteY123" fmla="*/ 1255042 h 2118946"/>
                <a:gd name="connsiteX124" fmla="*/ 1962571 w 2453129"/>
                <a:gd name="connsiteY124" fmla="*/ 1276977 h 2118946"/>
                <a:gd name="connsiteX125" fmla="*/ 2050227 w 2453129"/>
                <a:gd name="connsiteY125" fmla="*/ 1311281 h 2118946"/>
                <a:gd name="connsiteX126" fmla="*/ 2064451 w 2453129"/>
                <a:gd name="connsiteY126" fmla="*/ 1249435 h 2118946"/>
                <a:gd name="connsiteX127" fmla="*/ 1960220 w 2453129"/>
                <a:gd name="connsiteY127" fmla="*/ 1142236 h 2118946"/>
                <a:gd name="connsiteX128" fmla="*/ 2019427 w 2453129"/>
                <a:gd name="connsiteY128" fmla="*/ 1150482 h 2118946"/>
                <a:gd name="connsiteX129" fmla="*/ 2057359 w 2453129"/>
                <a:gd name="connsiteY129" fmla="*/ 1102490 h 2118946"/>
                <a:gd name="connsiteX130" fmla="*/ 1961375 w 2453129"/>
                <a:gd name="connsiteY130" fmla="*/ 1101088 h 2118946"/>
                <a:gd name="connsiteX131" fmla="*/ 1943646 w 2453129"/>
                <a:gd name="connsiteY131" fmla="*/ 1070907 h 2118946"/>
                <a:gd name="connsiteX132" fmla="*/ 1959025 w 2453129"/>
                <a:gd name="connsiteY132" fmla="*/ 1032522 h 2118946"/>
                <a:gd name="connsiteX133" fmla="*/ 2047876 w 2453129"/>
                <a:gd name="connsiteY133" fmla="*/ 1062661 h 2118946"/>
                <a:gd name="connsiteX134" fmla="*/ 2115370 w 2453129"/>
                <a:gd name="connsiteY134" fmla="*/ 1043489 h 2118946"/>
                <a:gd name="connsiteX135" fmla="*/ 2062101 w 2453129"/>
                <a:gd name="connsiteY135" fmla="*/ 985766 h 2118946"/>
                <a:gd name="connsiteX136" fmla="*/ 2150911 w 2453129"/>
                <a:gd name="connsiteY136" fmla="*/ 976160 h 2118946"/>
                <a:gd name="connsiteX137" fmla="*/ 2161590 w 2453129"/>
                <a:gd name="connsiteY137" fmla="*/ 944618 h 2118946"/>
                <a:gd name="connsiteX138" fmla="*/ 2089313 w 2453129"/>
                <a:gd name="connsiteY138" fmla="*/ 892503 h 2118946"/>
                <a:gd name="connsiteX139" fmla="*/ 2159405 w 2453129"/>
                <a:gd name="connsiteY139" fmla="*/ 878773 h 2118946"/>
                <a:gd name="connsiteX140" fmla="*/ 2140480 w 2453129"/>
                <a:gd name="connsiteY140" fmla="*/ 793715 h 2118946"/>
                <a:gd name="connsiteX141" fmla="*/ 2069399 w 2453129"/>
                <a:gd name="connsiteY141" fmla="*/ 773100 h 2118946"/>
                <a:gd name="connsiteX142" fmla="*/ 2039795 w 2453129"/>
                <a:gd name="connsiteY142" fmla="*/ 737435 h 2118946"/>
                <a:gd name="connsiteX143" fmla="*/ 2094260 w 2453129"/>
                <a:gd name="connsiteY143" fmla="*/ 729189 h 2118946"/>
                <a:gd name="connsiteX144" fmla="*/ 2203233 w 2453129"/>
                <a:gd name="connsiteY144" fmla="*/ 729189 h 2118946"/>
                <a:gd name="connsiteX145" fmla="*/ 2178494 w 2453129"/>
                <a:gd name="connsiteY145" fmla="*/ 679713 h 2118946"/>
                <a:gd name="connsiteX146" fmla="*/ 2112155 w 2453129"/>
                <a:gd name="connsiteY146" fmla="*/ 663220 h 2118946"/>
                <a:gd name="connsiteX147" fmla="*/ 2166661 w 2453129"/>
                <a:gd name="connsiteY147" fmla="*/ 649491 h 2118946"/>
                <a:gd name="connsiteX148" fmla="*/ 2086097 w 2453129"/>
                <a:gd name="connsiteY148" fmla="*/ 628875 h 2118946"/>
                <a:gd name="connsiteX149" fmla="*/ 2054102 w 2453129"/>
                <a:gd name="connsiteY149" fmla="*/ 631597 h 2118946"/>
                <a:gd name="connsiteX150" fmla="*/ 2078840 w 2453129"/>
                <a:gd name="connsiteY150" fmla="*/ 545013 h 2118946"/>
                <a:gd name="connsiteX151" fmla="*/ 2149880 w 2453129"/>
                <a:gd name="connsiteY151" fmla="*/ 481930 h 2118946"/>
                <a:gd name="connsiteX152" fmla="*/ 2216262 w 2453129"/>
                <a:gd name="connsiteY152" fmla="*/ 435298 h 2118946"/>
                <a:gd name="connsiteX153" fmla="*/ 2188967 w 2453129"/>
                <a:gd name="connsiteY153" fmla="*/ 398191 h 2118946"/>
                <a:gd name="connsiteX154" fmla="*/ 2122668 w 2453129"/>
                <a:gd name="connsiteY154" fmla="*/ 422929 h 2118946"/>
                <a:gd name="connsiteX155" fmla="*/ 2177175 w 2453129"/>
                <a:gd name="connsiteY155" fmla="*/ 384502 h 2118946"/>
                <a:gd name="connsiteX156" fmla="*/ 2277819 w 2453129"/>
                <a:gd name="connsiteY156" fmla="*/ 368010 h 2118946"/>
                <a:gd name="connsiteX157" fmla="*/ 2204387 w 2453129"/>
                <a:gd name="connsiteY157" fmla="*/ 347395 h 2118946"/>
                <a:gd name="connsiteX158" fmla="*/ 2223353 w 2453129"/>
                <a:gd name="connsiteY158" fmla="*/ 332305 h 2118946"/>
                <a:gd name="connsiteX159" fmla="*/ 2311009 w 2453129"/>
                <a:gd name="connsiteY159" fmla="*/ 311689 h 2118946"/>
                <a:gd name="connsiteX160" fmla="*/ 2363083 w 2453129"/>
                <a:gd name="connsiteY160" fmla="*/ 285591 h 2118946"/>
                <a:gd name="connsiteX161" fmla="*/ 2453131 w 2453129"/>
                <a:gd name="connsiteY161" fmla="*/ 237557 h 2118946"/>
                <a:gd name="connsiteX162" fmla="*/ 2315586 w 2453129"/>
                <a:gd name="connsiteY162" fmla="*/ 193317 h 2118946"/>
                <a:gd name="connsiteX163" fmla="*/ 839535 w 2453129"/>
                <a:gd name="connsiteY163" fmla="*/ 1388176 h 2118946"/>
                <a:gd name="connsiteX164" fmla="*/ 807540 w 2453129"/>
                <a:gd name="connsiteY164" fmla="*/ 1353913 h 2118946"/>
                <a:gd name="connsiteX165" fmla="*/ 729202 w 2453129"/>
                <a:gd name="connsiteY165" fmla="*/ 1337421 h 2118946"/>
                <a:gd name="connsiteX166" fmla="*/ 723265 w 2453129"/>
                <a:gd name="connsiteY166" fmla="*/ 1377167 h 2118946"/>
                <a:gd name="connsiteX167" fmla="*/ 767093 w 2453129"/>
                <a:gd name="connsiteY167" fmla="*/ 1407348 h 2118946"/>
                <a:gd name="connsiteX168" fmla="*/ 839700 w 2453129"/>
                <a:gd name="connsiteY168" fmla="*/ 1388176 h 2118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</a:cxnLst>
              <a:rect l="l" t="t" r="r" b="b"/>
              <a:pathLst>
                <a:path w="2453129" h="2118946">
                  <a:moveTo>
                    <a:pt x="2315586" y="193317"/>
                  </a:moveTo>
                  <a:cubicBezTo>
                    <a:pt x="2271717" y="193317"/>
                    <a:pt x="2236217" y="201563"/>
                    <a:pt x="2233867" y="237186"/>
                  </a:cubicBezTo>
                  <a:cubicBezTo>
                    <a:pt x="2231517" y="272809"/>
                    <a:pt x="2175814" y="230342"/>
                    <a:pt x="2152107" y="242670"/>
                  </a:cubicBezTo>
                  <a:cubicBezTo>
                    <a:pt x="2128399" y="254998"/>
                    <a:pt x="2140274" y="213808"/>
                    <a:pt x="2116566" y="227579"/>
                  </a:cubicBezTo>
                  <a:cubicBezTo>
                    <a:pt x="2092859" y="241350"/>
                    <a:pt x="2066843" y="274252"/>
                    <a:pt x="2038228" y="287941"/>
                  </a:cubicBezTo>
                  <a:cubicBezTo>
                    <a:pt x="2009615" y="301629"/>
                    <a:pt x="1988463" y="335974"/>
                    <a:pt x="1970693" y="338695"/>
                  </a:cubicBezTo>
                  <a:cubicBezTo>
                    <a:pt x="1952923" y="341417"/>
                    <a:pt x="2008625" y="275613"/>
                    <a:pt x="2037032" y="242670"/>
                  </a:cubicBezTo>
                  <a:cubicBezTo>
                    <a:pt x="2065440" y="209727"/>
                    <a:pt x="2050061" y="171341"/>
                    <a:pt x="2012294" y="175464"/>
                  </a:cubicBezTo>
                  <a:cubicBezTo>
                    <a:pt x="1974527" y="179587"/>
                    <a:pt x="1982691" y="207005"/>
                    <a:pt x="1961333" y="212571"/>
                  </a:cubicBezTo>
                  <a:cubicBezTo>
                    <a:pt x="1939976" y="218138"/>
                    <a:pt x="1838178" y="277056"/>
                    <a:pt x="1833519" y="259244"/>
                  </a:cubicBezTo>
                  <a:cubicBezTo>
                    <a:pt x="1828860" y="241433"/>
                    <a:pt x="1917588" y="211211"/>
                    <a:pt x="1916433" y="198842"/>
                  </a:cubicBezTo>
                  <a:cubicBezTo>
                    <a:pt x="1915279" y="186473"/>
                    <a:pt x="1803751" y="185071"/>
                    <a:pt x="1754274" y="193317"/>
                  </a:cubicBezTo>
                  <a:cubicBezTo>
                    <a:pt x="1704798" y="201563"/>
                    <a:pt x="1616853" y="234547"/>
                    <a:pt x="1615699" y="218055"/>
                  </a:cubicBezTo>
                  <a:cubicBezTo>
                    <a:pt x="1614544" y="201563"/>
                    <a:pt x="1717579" y="178226"/>
                    <a:pt x="1769694" y="171382"/>
                  </a:cubicBezTo>
                  <a:cubicBezTo>
                    <a:pt x="1822964" y="164373"/>
                    <a:pt x="1917712" y="175505"/>
                    <a:pt x="1957994" y="156292"/>
                  </a:cubicBezTo>
                  <a:cubicBezTo>
                    <a:pt x="1998276" y="137078"/>
                    <a:pt x="2058678" y="135677"/>
                    <a:pt x="2069316" y="120628"/>
                  </a:cubicBezTo>
                  <a:cubicBezTo>
                    <a:pt x="2079954" y="105578"/>
                    <a:pt x="2023138" y="84963"/>
                    <a:pt x="1994689" y="86324"/>
                  </a:cubicBezTo>
                  <a:cubicBezTo>
                    <a:pt x="1966240" y="87684"/>
                    <a:pt x="1937708" y="83644"/>
                    <a:pt x="1940059" y="67152"/>
                  </a:cubicBezTo>
                  <a:cubicBezTo>
                    <a:pt x="1942409" y="50659"/>
                    <a:pt x="1896272" y="46536"/>
                    <a:pt x="1891489" y="34167"/>
                  </a:cubicBezTo>
                  <a:cubicBezTo>
                    <a:pt x="1886706" y="21798"/>
                    <a:pt x="1797937" y="31405"/>
                    <a:pt x="1778971" y="17675"/>
                  </a:cubicBezTo>
                  <a:cubicBezTo>
                    <a:pt x="1760005" y="3945"/>
                    <a:pt x="1704344" y="-2940"/>
                    <a:pt x="1656970" y="1183"/>
                  </a:cubicBezTo>
                  <a:cubicBezTo>
                    <a:pt x="1609597" y="5306"/>
                    <a:pt x="1512457" y="3945"/>
                    <a:pt x="1489987" y="6667"/>
                  </a:cubicBezTo>
                  <a:cubicBezTo>
                    <a:pt x="1467516" y="9388"/>
                    <a:pt x="1453251" y="19036"/>
                    <a:pt x="1433130" y="17634"/>
                  </a:cubicBezTo>
                  <a:cubicBezTo>
                    <a:pt x="1413010" y="16232"/>
                    <a:pt x="1382169" y="24519"/>
                    <a:pt x="1394044" y="39610"/>
                  </a:cubicBezTo>
                  <a:cubicBezTo>
                    <a:pt x="1415483" y="66945"/>
                    <a:pt x="1362049" y="78036"/>
                    <a:pt x="1365595" y="57462"/>
                  </a:cubicBezTo>
                  <a:cubicBezTo>
                    <a:pt x="1369140" y="36888"/>
                    <a:pt x="1319417" y="27241"/>
                    <a:pt x="1303996" y="42331"/>
                  </a:cubicBezTo>
                  <a:cubicBezTo>
                    <a:pt x="1286474" y="59565"/>
                    <a:pt x="1206857" y="24519"/>
                    <a:pt x="1195024" y="42331"/>
                  </a:cubicBezTo>
                  <a:cubicBezTo>
                    <a:pt x="1183191" y="60142"/>
                    <a:pt x="1089598" y="54700"/>
                    <a:pt x="1062345" y="60184"/>
                  </a:cubicBezTo>
                  <a:cubicBezTo>
                    <a:pt x="1035091" y="65667"/>
                    <a:pt x="1105018" y="89045"/>
                    <a:pt x="1102627" y="102733"/>
                  </a:cubicBezTo>
                  <a:cubicBezTo>
                    <a:pt x="1100235" y="116422"/>
                    <a:pt x="1013816" y="102733"/>
                    <a:pt x="1031545" y="127472"/>
                  </a:cubicBezTo>
                  <a:cubicBezTo>
                    <a:pt x="1049275" y="152210"/>
                    <a:pt x="1106173" y="170022"/>
                    <a:pt x="1133426" y="201687"/>
                  </a:cubicBezTo>
                  <a:cubicBezTo>
                    <a:pt x="1160679" y="233352"/>
                    <a:pt x="1112110" y="214056"/>
                    <a:pt x="1081311" y="190719"/>
                  </a:cubicBezTo>
                  <a:cubicBezTo>
                    <a:pt x="1050512" y="167383"/>
                    <a:pt x="1011219" y="175629"/>
                    <a:pt x="992500" y="152293"/>
                  </a:cubicBezTo>
                  <a:cubicBezTo>
                    <a:pt x="973781" y="128956"/>
                    <a:pt x="902453" y="111062"/>
                    <a:pt x="884682" y="124833"/>
                  </a:cubicBezTo>
                  <a:cubicBezTo>
                    <a:pt x="863531" y="141325"/>
                    <a:pt x="933252" y="171506"/>
                    <a:pt x="933252" y="189359"/>
                  </a:cubicBezTo>
                  <a:cubicBezTo>
                    <a:pt x="933252" y="207211"/>
                    <a:pt x="885878" y="185236"/>
                    <a:pt x="877591" y="192080"/>
                  </a:cubicBezTo>
                  <a:cubicBezTo>
                    <a:pt x="869303" y="198924"/>
                    <a:pt x="827826" y="145489"/>
                    <a:pt x="804160" y="145489"/>
                  </a:cubicBezTo>
                  <a:cubicBezTo>
                    <a:pt x="780493" y="145489"/>
                    <a:pt x="800572" y="170228"/>
                    <a:pt x="800572" y="204449"/>
                  </a:cubicBezTo>
                  <a:cubicBezTo>
                    <a:pt x="800572" y="238670"/>
                    <a:pt x="754394" y="259368"/>
                    <a:pt x="767588" y="236032"/>
                  </a:cubicBezTo>
                  <a:cubicBezTo>
                    <a:pt x="780782" y="212695"/>
                    <a:pt x="771134" y="152334"/>
                    <a:pt x="746272" y="141202"/>
                  </a:cubicBezTo>
                  <a:cubicBezTo>
                    <a:pt x="721410" y="130069"/>
                    <a:pt x="657420" y="164538"/>
                    <a:pt x="624271" y="163136"/>
                  </a:cubicBezTo>
                  <a:cubicBezTo>
                    <a:pt x="591122" y="161734"/>
                    <a:pt x="547252" y="174103"/>
                    <a:pt x="575701" y="193358"/>
                  </a:cubicBezTo>
                  <a:cubicBezTo>
                    <a:pt x="604151" y="212613"/>
                    <a:pt x="574506" y="223497"/>
                    <a:pt x="549644" y="202924"/>
                  </a:cubicBezTo>
                  <a:cubicBezTo>
                    <a:pt x="524782" y="182349"/>
                    <a:pt x="443022" y="202924"/>
                    <a:pt x="459638" y="216653"/>
                  </a:cubicBezTo>
                  <a:cubicBezTo>
                    <a:pt x="476254" y="230383"/>
                    <a:pt x="482108" y="270253"/>
                    <a:pt x="471471" y="286745"/>
                  </a:cubicBezTo>
                  <a:cubicBezTo>
                    <a:pt x="460833" y="303237"/>
                    <a:pt x="426447" y="270253"/>
                    <a:pt x="394452" y="273015"/>
                  </a:cubicBezTo>
                  <a:cubicBezTo>
                    <a:pt x="362457" y="275778"/>
                    <a:pt x="203761" y="363722"/>
                    <a:pt x="213038" y="386894"/>
                  </a:cubicBezTo>
                  <a:cubicBezTo>
                    <a:pt x="222315" y="410065"/>
                    <a:pt x="290015" y="391017"/>
                    <a:pt x="311332" y="404705"/>
                  </a:cubicBezTo>
                  <a:cubicBezTo>
                    <a:pt x="332648" y="418394"/>
                    <a:pt x="304240" y="469190"/>
                    <a:pt x="278347" y="489805"/>
                  </a:cubicBezTo>
                  <a:cubicBezTo>
                    <a:pt x="252455" y="510420"/>
                    <a:pt x="155151" y="491166"/>
                    <a:pt x="152801" y="515822"/>
                  </a:cubicBezTo>
                  <a:cubicBezTo>
                    <a:pt x="150450" y="540477"/>
                    <a:pt x="1" y="544683"/>
                    <a:pt x="1" y="584429"/>
                  </a:cubicBezTo>
                  <a:cubicBezTo>
                    <a:pt x="1" y="599519"/>
                    <a:pt x="7092" y="614610"/>
                    <a:pt x="23667" y="618733"/>
                  </a:cubicBezTo>
                  <a:cubicBezTo>
                    <a:pt x="44983" y="624010"/>
                    <a:pt x="71041" y="616011"/>
                    <a:pt x="90006" y="640667"/>
                  </a:cubicBezTo>
                  <a:cubicBezTo>
                    <a:pt x="108973" y="665323"/>
                    <a:pt x="162242" y="666766"/>
                    <a:pt x="198979" y="650274"/>
                  </a:cubicBezTo>
                  <a:cubicBezTo>
                    <a:pt x="235715" y="633782"/>
                    <a:pt x="262927" y="653036"/>
                    <a:pt x="261731" y="677734"/>
                  </a:cubicBezTo>
                  <a:cubicBezTo>
                    <a:pt x="260536" y="702431"/>
                    <a:pt x="178858" y="668127"/>
                    <a:pt x="153996" y="685980"/>
                  </a:cubicBezTo>
                  <a:cubicBezTo>
                    <a:pt x="129134" y="703832"/>
                    <a:pt x="52116" y="688742"/>
                    <a:pt x="55662" y="707955"/>
                  </a:cubicBezTo>
                  <a:cubicBezTo>
                    <a:pt x="59207" y="727169"/>
                    <a:pt x="96892" y="723046"/>
                    <a:pt x="127897" y="729890"/>
                  </a:cubicBezTo>
                  <a:cubicBezTo>
                    <a:pt x="158903" y="736734"/>
                    <a:pt x="130289" y="751866"/>
                    <a:pt x="129093" y="766997"/>
                  </a:cubicBezTo>
                  <a:cubicBezTo>
                    <a:pt x="127897" y="782129"/>
                    <a:pt x="145585" y="779367"/>
                    <a:pt x="176467" y="797178"/>
                  </a:cubicBezTo>
                  <a:cubicBezTo>
                    <a:pt x="207348" y="814990"/>
                    <a:pt x="258186" y="826039"/>
                    <a:pt x="241611" y="805424"/>
                  </a:cubicBezTo>
                  <a:cubicBezTo>
                    <a:pt x="225036" y="784809"/>
                    <a:pt x="273606" y="787571"/>
                    <a:pt x="281893" y="799941"/>
                  </a:cubicBezTo>
                  <a:cubicBezTo>
                    <a:pt x="290181" y="812310"/>
                    <a:pt x="312692" y="782129"/>
                    <a:pt x="335204" y="788973"/>
                  </a:cubicBezTo>
                  <a:cubicBezTo>
                    <a:pt x="357716" y="795818"/>
                    <a:pt x="366003" y="764235"/>
                    <a:pt x="383773" y="778006"/>
                  </a:cubicBezTo>
                  <a:cubicBezTo>
                    <a:pt x="401544" y="791777"/>
                    <a:pt x="484458" y="799941"/>
                    <a:pt x="512908" y="817793"/>
                  </a:cubicBezTo>
                  <a:cubicBezTo>
                    <a:pt x="541356" y="835646"/>
                    <a:pt x="580402" y="839728"/>
                    <a:pt x="576856" y="865786"/>
                  </a:cubicBezTo>
                  <a:cubicBezTo>
                    <a:pt x="573310" y="891843"/>
                    <a:pt x="600522" y="911139"/>
                    <a:pt x="632517" y="927631"/>
                  </a:cubicBezTo>
                  <a:cubicBezTo>
                    <a:pt x="664512" y="944124"/>
                    <a:pt x="670449" y="979788"/>
                    <a:pt x="669253" y="1003083"/>
                  </a:cubicBezTo>
                  <a:cubicBezTo>
                    <a:pt x="668058" y="1026378"/>
                    <a:pt x="703598" y="1042870"/>
                    <a:pt x="697661" y="1053879"/>
                  </a:cubicBezTo>
                  <a:cubicBezTo>
                    <a:pt x="691724" y="1064888"/>
                    <a:pt x="696465" y="1079895"/>
                    <a:pt x="717781" y="1101871"/>
                  </a:cubicBezTo>
                  <a:cubicBezTo>
                    <a:pt x="739098" y="1123847"/>
                    <a:pt x="684797" y="1140298"/>
                    <a:pt x="697661" y="1159594"/>
                  </a:cubicBezTo>
                  <a:cubicBezTo>
                    <a:pt x="710525" y="1178890"/>
                    <a:pt x="678695" y="1215791"/>
                    <a:pt x="716627" y="1222677"/>
                  </a:cubicBezTo>
                  <a:cubicBezTo>
                    <a:pt x="754559" y="1229562"/>
                    <a:pt x="748581" y="1192496"/>
                    <a:pt x="777030" y="1192496"/>
                  </a:cubicBezTo>
                  <a:cubicBezTo>
                    <a:pt x="805479" y="1192496"/>
                    <a:pt x="775875" y="1221357"/>
                    <a:pt x="791254" y="1239169"/>
                  </a:cubicBezTo>
                  <a:cubicBezTo>
                    <a:pt x="806633" y="1256980"/>
                    <a:pt x="838587" y="1252857"/>
                    <a:pt x="868231" y="1281636"/>
                  </a:cubicBezTo>
                  <a:cubicBezTo>
                    <a:pt x="897876" y="1310415"/>
                    <a:pt x="878910" y="1324186"/>
                    <a:pt x="851739" y="1300891"/>
                  </a:cubicBezTo>
                  <a:cubicBezTo>
                    <a:pt x="824568" y="1277595"/>
                    <a:pt x="745117" y="1283038"/>
                    <a:pt x="745117" y="1291243"/>
                  </a:cubicBezTo>
                  <a:cubicBezTo>
                    <a:pt x="745117" y="1299448"/>
                    <a:pt x="832773" y="1357212"/>
                    <a:pt x="852935" y="1348966"/>
                  </a:cubicBezTo>
                  <a:cubicBezTo>
                    <a:pt x="873097" y="1340719"/>
                    <a:pt x="900309" y="1383310"/>
                    <a:pt x="888434" y="1396958"/>
                  </a:cubicBezTo>
                  <a:cubicBezTo>
                    <a:pt x="876560" y="1410605"/>
                    <a:pt x="882538" y="1444991"/>
                    <a:pt x="880188" y="1461442"/>
                  </a:cubicBezTo>
                  <a:cubicBezTo>
                    <a:pt x="877838" y="1477893"/>
                    <a:pt x="848193" y="1461442"/>
                    <a:pt x="829269" y="1464205"/>
                  </a:cubicBezTo>
                  <a:cubicBezTo>
                    <a:pt x="810344" y="1466967"/>
                    <a:pt x="797274" y="1473811"/>
                    <a:pt x="797274" y="1497189"/>
                  </a:cubicBezTo>
                  <a:cubicBezTo>
                    <a:pt x="797274" y="1520567"/>
                    <a:pt x="767670" y="1537018"/>
                    <a:pt x="764290" y="1565796"/>
                  </a:cubicBezTo>
                  <a:cubicBezTo>
                    <a:pt x="760908" y="1594575"/>
                    <a:pt x="787956" y="1593256"/>
                    <a:pt x="803376" y="1605584"/>
                  </a:cubicBezTo>
                  <a:cubicBezTo>
                    <a:pt x="818796" y="1617912"/>
                    <a:pt x="774927" y="1626199"/>
                    <a:pt x="772577" y="1646814"/>
                  </a:cubicBezTo>
                  <a:cubicBezTo>
                    <a:pt x="770227" y="1667430"/>
                    <a:pt x="812818" y="1704537"/>
                    <a:pt x="828238" y="1714020"/>
                  </a:cubicBezTo>
                  <a:cubicBezTo>
                    <a:pt x="843658" y="1723503"/>
                    <a:pt x="829433" y="1770299"/>
                    <a:pt x="835371" y="1793595"/>
                  </a:cubicBezTo>
                  <a:cubicBezTo>
                    <a:pt x="841308" y="1816890"/>
                    <a:pt x="861428" y="1788070"/>
                    <a:pt x="859037" y="1818333"/>
                  </a:cubicBezTo>
                  <a:cubicBezTo>
                    <a:pt x="856646" y="1848596"/>
                    <a:pt x="878003" y="1847194"/>
                    <a:pt x="879199" y="1865006"/>
                  </a:cubicBezTo>
                  <a:cubicBezTo>
                    <a:pt x="880395" y="1882817"/>
                    <a:pt x="917089" y="1880096"/>
                    <a:pt x="909998" y="1904752"/>
                  </a:cubicBezTo>
                  <a:cubicBezTo>
                    <a:pt x="902906" y="1929408"/>
                    <a:pt x="920636" y="1947302"/>
                    <a:pt x="928923" y="1961032"/>
                  </a:cubicBezTo>
                  <a:cubicBezTo>
                    <a:pt x="937210" y="1974761"/>
                    <a:pt x="968009" y="1998139"/>
                    <a:pt x="973946" y="2015909"/>
                  </a:cubicBezTo>
                  <a:cubicBezTo>
                    <a:pt x="979884" y="2033680"/>
                    <a:pt x="997613" y="2057140"/>
                    <a:pt x="1018929" y="2050213"/>
                  </a:cubicBezTo>
                  <a:cubicBezTo>
                    <a:pt x="1040245" y="2043286"/>
                    <a:pt x="1041441" y="2066705"/>
                    <a:pt x="1058015" y="2063902"/>
                  </a:cubicBezTo>
                  <a:cubicBezTo>
                    <a:pt x="1074590" y="2061098"/>
                    <a:pt x="1100648" y="2072148"/>
                    <a:pt x="1105430" y="2087279"/>
                  </a:cubicBezTo>
                  <a:cubicBezTo>
                    <a:pt x="1110213" y="2102411"/>
                    <a:pt x="1161092" y="2116141"/>
                    <a:pt x="1175275" y="2118779"/>
                  </a:cubicBezTo>
                  <a:cubicBezTo>
                    <a:pt x="1189458" y="2121418"/>
                    <a:pt x="1191767" y="2091361"/>
                    <a:pt x="1204920" y="2083115"/>
                  </a:cubicBezTo>
                  <a:cubicBezTo>
                    <a:pt x="1218072" y="2074869"/>
                    <a:pt x="1213166" y="2014508"/>
                    <a:pt x="1225040" y="2010426"/>
                  </a:cubicBezTo>
                  <a:cubicBezTo>
                    <a:pt x="1236914" y="2006344"/>
                    <a:pt x="1233286" y="1943220"/>
                    <a:pt x="1221494" y="1937695"/>
                  </a:cubicBezTo>
                  <a:cubicBezTo>
                    <a:pt x="1209702" y="1932170"/>
                    <a:pt x="1214403" y="1910277"/>
                    <a:pt x="1241656" y="1914400"/>
                  </a:cubicBezTo>
                  <a:cubicBezTo>
                    <a:pt x="1268909" y="1918523"/>
                    <a:pt x="1259426" y="1886940"/>
                    <a:pt x="1272414" y="1882817"/>
                  </a:cubicBezTo>
                  <a:cubicBezTo>
                    <a:pt x="1285401" y="1878694"/>
                    <a:pt x="1279547" y="1849833"/>
                    <a:pt x="1288906" y="1847153"/>
                  </a:cubicBezTo>
                  <a:cubicBezTo>
                    <a:pt x="1298265" y="1844473"/>
                    <a:pt x="1297152" y="1825177"/>
                    <a:pt x="1290061" y="1814169"/>
                  </a:cubicBezTo>
                  <a:cubicBezTo>
                    <a:pt x="1282969" y="1803160"/>
                    <a:pt x="1291256" y="1794955"/>
                    <a:pt x="1305481" y="1792193"/>
                  </a:cubicBezTo>
                  <a:cubicBezTo>
                    <a:pt x="1319705" y="1789430"/>
                    <a:pt x="1316159" y="1766176"/>
                    <a:pt x="1297235" y="1757930"/>
                  </a:cubicBezTo>
                  <a:cubicBezTo>
                    <a:pt x="1278310" y="1749684"/>
                    <a:pt x="1284206" y="1724946"/>
                    <a:pt x="1303130" y="1740078"/>
                  </a:cubicBezTo>
                  <a:cubicBezTo>
                    <a:pt x="1322055" y="1755209"/>
                    <a:pt x="1336115" y="1744201"/>
                    <a:pt x="1325642" y="1727708"/>
                  </a:cubicBezTo>
                  <a:cubicBezTo>
                    <a:pt x="1315170" y="1711216"/>
                    <a:pt x="1338671" y="1702970"/>
                    <a:pt x="1363533" y="1700249"/>
                  </a:cubicBezTo>
                  <a:cubicBezTo>
                    <a:pt x="1388395" y="1697528"/>
                    <a:pt x="1401465" y="1682437"/>
                    <a:pt x="1396517" y="1660462"/>
                  </a:cubicBezTo>
                  <a:cubicBezTo>
                    <a:pt x="1391570" y="1638486"/>
                    <a:pt x="1424925" y="1639846"/>
                    <a:pt x="1416638" y="1659101"/>
                  </a:cubicBezTo>
                  <a:cubicBezTo>
                    <a:pt x="1408350" y="1678356"/>
                    <a:pt x="1413092" y="1697487"/>
                    <a:pt x="1424884" y="1683839"/>
                  </a:cubicBezTo>
                  <a:cubicBezTo>
                    <a:pt x="1436676" y="1670192"/>
                    <a:pt x="1459229" y="1679716"/>
                    <a:pt x="1499511" y="1665986"/>
                  </a:cubicBezTo>
                  <a:cubicBezTo>
                    <a:pt x="1539793" y="1652257"/>
                    <a:pt x="1578797" y="1613294"/>
                    <a:pt x="1588280" y="1576187"/>
                  </a:cubicBezTo>
                  <a:cubicBezTo>
                    <a:pt x="1597763" y="1539079"/>
                    <a:pt x="1643941" y="1543202"/>
                    <a:pt x="1638046" y="1518464"/>
                  </a:cubicBezTo>
                  <a:cubicBezTo>
                    <a:pt x="1632150" y="1493726"/>
                    <a:pt x="1646292" y="1484160"/>
                    <a:pt x="1675936" y="1500652"/>
                  </a:cubicBezTo>
                  <a:cubicBezTo>
                    <a:pt x="1705581" y="1517144"/>
                    <a:pt x="1681873" y="1489685"/>
                    <a:pt x="1715023" y="1489685"/>
                  </a:cubicBezTo>
                  <a:cubicBezTo>
                    <a:pt x="1748172" y="1489685"/>
                    <a:pt x="1742276" y="1475914"/>
                    <a:pt x="1774271" y="1474553"/>
                  </a:cubicBezTo>
                  <a:cubicBezTo>
                    <a:pt x="1806266" y="1473193"/>
                    <a:pt x="1889139" y="1456742"/>
                    <a:pt x="1917547" y="1429200"/>
                  </a:cubicBezTo>
                  <a:cubicBezTo>
                    <a:pt x="1945955" y="1401658"/>
                    <a:pt x="2006399" y="1378486"/>
                    <a:pt x="2031261" y="1360634"/>
                  </a:cubicBezTo>
                  <a:cubicBezTo>
                    <a:pt x="2056122" y="1342781"/>
                    <a:pt x="2062101" y="1327649"/>
                    <a:pt x="2046681" y="1337338"/>
                  </a:cubicBezTo>
                  <a:cubicBezTo>
                    <a:pt x="2031261" y="1347028"/>
                    <a:pt x="1999307" y="1348265"/>
                    <a:pt x="1975599" y="1341462"/>
                  </a:cubicBezTo>
                  <a:cubicBezTo>
                    <a:pt x="1951892" y="1334659"/>
                    <a:pt x="1914001" y="1311281"/>
                    <a:pt x="1886789" y="1329092"/>
                  </a:cubicBezTo>
                  <a:cubicBezTo>
                    <a:pt x="1859577" y="1346904"/>
                    <a:pt x="1876110" y="1303035"/>
                    <a:pt x="1898622" y="1298912"/>
                  </a:cubicBezTo>
                  <a:cubicBezTo>
                    <a:pt x="1921134" y="1294789"/>
                    <a:pt x="1911651" y="1282419"/>
                    <a:pt x="1905714" y="1255042"/>
                  </a:cubicBezTo>
                  <a:cubicBezTo>
                    <a:pt x="1899777" y="1227665"/>
                    <a:pt x="1943646" y="1245436"/>
                    <a:pt x="1962571" y="1276977"/>
                  </a:cubicBezTo>
                  <a:cubicBezTo>
                    <a:pt x="1981495" y="1308518"/>
                    <a:pt x="2018273" y="1322331"/>
                    <a:pt x="2050227" y="1311281"/>
                  </a:cubicBezTo>
                  <a:cubicBezTo>
                    <a:pt x="2082180" y="1300231"/>
                    <a:pt x="2051422" y="1270050"/>
                    <a:pt x="2064451" y="1249435"/>
                  </a:cubicBezTo>
                  <a:cubicBezTo>
                    <a:pt x="2077480" y="1228820"/>
                    <a:pt x="1966158" y="1164377"/>
                    <a:pt x="1960220" y="1142236"/>
                  </a:cubicBezTo>
                  <a:cubicBezTo>
                    <a:pt x="1954283" y="1120095"/>
                    <a:pt x="1988628" y="1135392"/>
                    <a:pt x="2019427" y="1150482"/>
                  </a:cubicBezTo>
                  <a:cubicBezTo>
                    <a:pt x="2050227" y="1165572"/>
                    <a:pt x="2057359" y="1121621"/>
                    <a:pt x="2057359" y="1102490"/>
                  </a:cubicBezTo>
                  <a:cubicBezTo>
                    <a:pt x="2057359" y="1083359"/>
                    <a:pt x="1991020" y="1081874"/>
                    <a:pt x="1961375" y="1101088"/>
                  </a:cubicBezTo>
                  <a:cubicBezTo>
                    <a:pt x="1931730" y="1120301"/>
                    <a:pt x="1903322" y="1076350"/>
                    <a:pt x="1943646" y="1070907"/>
                  </a:cubicBezTo>
                  <a:cubicBezTo>
                    <a:pt x="1983969" y="1065465"/>
                    <a:pt x="1947192" y="1046169"/>
                    <a:pt x="1959025" y="1032522"/>
                  </a:cubicBezTo>
                  <a:cubicBezTo>
                    <a:pt x="1970858" y="1018874"/>
                    <a:pt x="2021819" y="1072268"/>
                    <a:pt x="2047876" y="1062661"/>
                  </a:cubicBezTo>
                  <a:cubicBezTo>
                    <a:pt x="2073934" y="1053054"/>
                    <a:pt x="2092900" y="1064063"/>
                    <a:pt x="2115370" y="1043489"/>
                  </a:cubicBezTo>
                  <a:cubicBezTo>
                    <a:pt x="2137841" y="1022915"/>
                    <a:pt x="2075089" y="1003702"/>
                    <a:pt x="2062101" y="985766"/>
                  </a:cubicBezTo>
                  <a:cubicBezTo>
                    <a:pt x="2049113" y="967831"/>
                    <a:pt x="2127204" y="974799"/>
                    <a:pt x="2150911" y="976160"/>
                  </a:cubicBezTo>
                  <a:cubicBezTo>
                    <a:pt x="2174619" y="977520"/>
                    <a:pt x="2180515" y="936413"/>
                    <a:pt x="2161590" y="944618"/>
                  </a:cubicBezTo>
                  <a:cubicBezTo>
                    <a:pt x="2142665" y="952823"/>
                    <a:pt x="2075006" y="917200"/>
                    <a:pt x="2089313" y="892503"/>
                  </a:cubicBezTo>
                  <a:cubicBezTo>
                    <a:pt x="2103620" y="867806"/>
                    <a:pt x="2129595" y="896626"/>
                    <a:pt x="2159405" y="878773"/>
                  </a:cubicBezTo>
                  <a:cubicBezTo>
                    <a:pt x="2189214" y="860920"/>
                    <a:pt x="2161796" y="793715"/>
                    <a:pt x="2140480" y="793715"/>
                  </a:cubicBezTo>
                  <a:cubicBezTo>
                    <a:pt x="2119164" y="793715"/>
                    <a:pt x="2069399" y="785469"/>
                    <a:pt x="2069399" y="773100"/>
                  </a:cubicBezTo>
                  <a:cubicBezTo>
                    <a:pt x="2069399" y="760730"/>
                    <a:pt x="2027962" y="749763"/>
                    <a:pt x="2039795" y="737435"/>
                  </a:cubicBezTo>
                  <a:cubicBezTo>
                    <a:pt x="2051628" y="725107"/>
                    <a:pt x="2067048" y="752526"/>
                    <a:pt x="2094260" y="729189"/>
                  </a:cubicBezTo>
                  <a:cubicBezTo>
                    <a:pt x="2121473" y="705853"/>
                    <a:pt x="2178371" y="734673"/>
                    <a:pt x="2203233" y="729189"/>
                  </a:cubicBezTo>
                  <a:cubicBezTo>
                    <a:pt x="2228095" y="723706"/>
                    <a:pt x="2192595" y="670230"/>
                    <a:pt x="2178494" y="679713"/>
                  </a:cubicBezTo>
                  <a:cubicBezTo>
                    <a:pt x="2164393" y="689196"/>
                    <a:pt x="2115701" y="692082"/>
                    <a:pt x="2112155" y="663220"/>
                  </a:cubicBezTo>
                  <a:cubicBezTo>
                    <a:pt x="2108609" y="634359"/>
                    <a:pt x="2158374" y="663220"/>
                    <a:pt x="2166661" y="649491"/>
                  </a:cubicBezTo>
                  <a:cubicBezTo>
                    <a:pt x="2174949" y="635761"/>
                    <a:pt x="2097971" y="600014"/>
                    <a:pt x="2086097" y="628875"/>
                  </a:cubicBezTo>
                  <a:cubicBezTo>
                    <a:pt x="2074222" y="657737"/>
                    <a:pt x="2031632" y="648048"/>
                    <a:pt x="2054102" y="631597"/>
                  </a:cubicBezTo>
                  <a:cubicBezTo>
                    <a:pt x="2076573" y="615146"/>
                    <a:pt x="2081396" y="568473"/>
                    <a:pt x="2078840" y="545013"/>
                  </a:cubicBezTo>
                  <a:cubicBezTo>
                    <a:pt x="2076284" y="521553"/>
                    <a:pt x="2159405" y="520274"/>
                    <a:pt x="2149880" y="481930"/>
                  </a:cubicBezTo>
                  <a:cubicBezTo>
                    <a:pt x="2140356" y="443586"/>
                    <a:pt x="2188967" y="435298"/>
                    <a:pt x="2216262" y="435298"/>
                  </a:cubicBezTo>
                  <a:cubicBezTo>
                    <a:pt x="2243556" y="435298"/>
                    <a:pt x="2215025" y="394068"/>
                    <a:pt x="2188967" y="398191"/>
                  </a:cubicBezTo>
                  <a:cubicBezTo>
                    <a:pt x="2162909" y="402314"/>
                    <a:pt x="2135656" y="436577"/>
                    <a:pt x="2122668" y="422929"/>
                  </a:cubicBezTo>
                  <a:cubicBezTo>
                    <a:pt x="2109681" y="409282"/>
                    <a:pt x="2153427" y="384502"/>
                    <a:pt x="2177175" y="384502"/>
                  </a:cubicBezTo>
                  <a:cubicBezTo>
                    <a:pt x="2200924" y="384502"/>
                    <a:pt x="2257698" y="381740"/>
                    <a:pt x="2277819" y="368010"/>
                  </a:cubicBezTo>
                  <a:cubicBezTo>
                    <a:pt x="2297939" y="354281"/>
                    <a:pt x="2242278" y="341953"/>
                    <a:pt x="2204387" y="347395"/>
                  </a:cubicBezTo>
                  <a:cubicBezTo>
                    <a:pt x="2166496" y="352837"/>
                    <a:pt x="2166496" y="333665"/>
                    <a:pt x="2223353" y="332305"/>
                  </a:cubicBezTo>
                  <a:cubicBezTo>
                    <a:pt x="2280210" y="330944"/>
                    <a:pt x="2270727" y="317214"/>
                    <a:pt x="2311009" y="311689"/>
                  </a:cubicBezTo>
                  <a:cubicBezTo>
                    <a:pt x="2351292" y="306165"/>
                    <a:pt x="2338221" y="286951"/>
                    <a:pt x="2363083" y="285591"/>
                  </a:cubicBezTo>
                  <a:cubicBezTo>
                    <a:pt x="2387945" y="284230"/>
                    <a:pt x="2453131" y="252606"/>
                    <a:pt x="2453131" y="237557"/>
                  </a:cubicBezTo>
                  <a:cubicBezTo>
                    <a:pt x="2453131" y="222508"/>
                    <a:pt x="2359373" y="193317"/>
                    <a:pt x="2315586" y="193317"/>
                  </a:cubicBezTo>
                  <a:close/>
                  <a:moveTo>
                    <a:pt x="839535" y="1388176"/>
                  </a:moveTo>
                  <a:cubicBezTo>
                    <a:pt x="840690" y="1366241"/>
                    <a:pt x="819373" y="1379930"/>
                    <a:pt x="807540" y="1353913"/>
                  </a:cubicBezTo>
                  <a:cubicBezTo>
                    <a:pt x="795707" y="1327897"/>
                    <a:pt x="735222" y="1317053"/>
                    <a:pt x="729202" y="1337421"/>
                  </a:cubicBezTo>
                  <a:cubicBezTo>
                    <a:pt x="726811" y="1345667"/>
                    <a:pt x="707886" y="1358036"/>
                    <a:pt x="723265" y="1377167"/>
                  </a:cubicBezTo>
                  <a:cubicBezTo>
                    <a:pt x="738644" y="1396298"/>
                    <a:pt x="749323" y="1388134"/>
                    <a:pt x="767093" y="1407348"/>
                  </a:cubicBezTo>
                  <a:cubicBezTo>
                    <a:pt x="784864" y="1426561"/>
                    <a:pt x="838463" y="1410110"/>
                    <a:pt x="839700" y="138817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A6D4A5A4-0495-BFF0-4735-FC842F004BAC}"/>
                </a:ext>
              </a:extLst>
            </p:cNvPr>
            <p:cNvSpPr/>
            <p:nvPr>
              <p:custDataLst>
                <p:tags r:id="rId172"/>
              </p:custDataLst>
            </p:nvPr>
          </p:nvSpPr>
          <p:spPr>
            <a:xfrm>
              <a:off x="5893163" y="2503141"/>
              <a:ext cx="363336" cy="182303"/>
            </a:xfrm>
            <a:custGeom>
              <a:avLst/>
              <a:gdLst>
                <a:gd name="connsiteX0" fmla="*/ 402001 w 424261"/>
                <a:gd name="connsiteY0" fmla="*/ 66624 h 212872"/>
                <a:gd name="connsiteX1" fmla="*/ 391116 w 424261"/>
                <a:gd name="connsiteY1" fmla="*/ 63821 h 212872"/>
                <a:gd name="connsiteX2" fmla="*/ 372892 w 424261"/>
                <a:gd name="connsiteY2" fmla="*/ 63078 h 212872"/>
                <a:gd name="connsiteX3" fmla="*/ 341516 w 424261"/>
                <a:gd name="connsiteY3" fmla="*/ 16818 h 212872"/>
                <a:gd name="connsiteX4" fmla="*/ 324241 w 424261"/>
                <a:gd name="connsiteY4" fmla="*/ 3830 h 212872"/>
                <a:gd name="connsiteX5" fmla="*/ 303625 w 424261"/>
                <a:gd name="connsiteY5" fmla="*/ 491 h 212872"/>
                <a:gd name="connsiteX6" fmla="*/ 302553 w 424261"/>
                <a:gd name="connsiteY6" fmla="*/ 24074 h 212872"/>
                <a:gd name="connsiteX7" fmla="*/ 278887 w 424261"/>
                <a:gd name="connsiteY7" fmla="*/ 26177 h 212872"/>
                <a:gd name="connsiteX8" fmla="*/ 262848 w 424261"/>
                <a:gd name="connsiteY8" fmla="*/ 26837 h 212872"/>
                <a:gd name="connsiteX9" fmla="*/ 239759 w 424261"/>
                <a:gd name="connsiteY9" fmla="*/ 30960 h 212872"/>
                <a:gd name="connsiteX10" fmla="*/ 219144 w 424261"/>
                <a:gd name="connsiteY10" fmla="*/ 22714 h 212872"/>
                <a:gd name="connsiteX11" fmla="*/ 192509 w 424261"/>
                <a:gd name="connsiteY11" fmla="*/ 43989 h 212872"/>
                <a:gd name="connsiteX12" fmla="*/ 176512 w 424261"/>
                <a:gd name="connsiteY12" fmla="*/ 34382 h 212872"/>
                <a:gd name="connsiteX13" fmla="*/ 158164 w 424261"/>
                <a:gd name="connsiteY13" fmla="*/ 48813 h 212872"/>
                <a:gd name="connsiteX14" fmla="*/ 152845 w 424261"/>
                <a:gd name="connsiteY14" fmla="*/ 70046 h 212872"/>
                <a:gd name="connsiteX15" fmla="*/ 126788 w 424261"/>
                <a:gd name="connsiteY15" fmla="*/ 83776 h 212872"/>
                <a:gd name="connsiteX16" fmla="*/ 116109 w 424261"/>
                <a:gd name="connsiteY16" fmla="*/ 46669 h 212872"/>
                <a:gd name="connsiteX17" fmla="*/ 55088 w 424261"/>
                <a:gd name="connsiteY17" fmla="*/ -4 h 212872"/>
                <a:gd name="connsiteX18" fmla="*/ 61025 w 424261"/>
                <a:gd name="connsiteY18" fmla="*/ 26095 h 212872"/>
                <a:gd name="connsiteX19" fmla="*/ 46223 w 424261"/>
                <a:gd name="connsiteY19" fmla="*/ 24693 h 212872"/>
                <a:gd name="connsiteX20" fmla="*/ 20166 w 424261"/>
                <a:gd name="connsiteY20" fmla="*/ 36361 h 212872"/>
                <a:gd name="connsiteX21" fmla="*/ 46 w 424261"/>
                <a:gd name="connsiteY21" fmla="*/ 67243 h 212872"/>
                <a:gd name="connsiteX22" fmla="*/ 38513 w 424261"/>
                <a:gd name="connsiteY22" fmla="*/ 78210 h 212872"/>
                <a:gd name="connsiteX23" fmla="*/ 87083 w 424261"/>
                <a:gd name="connsiteY23" fmla="*/ 78210 h 212872"/>
                <a:gd name="connsiteX24" fmla="*/ 79373 w 424261"/>
                <a:gd name="connsiteY24" fmla="*/ 100846 h 212872"/>
                <a:gd name="connsiteX25" fmla="*/ 58758 w 424261"/>
                <a:gd name="connsiteY25" fmla="*/ 113874 h 212872"/>
                <a:gd name="connsiteX26" fmla="*/ 13157 w 424261"/>
                <a:gd name="connsiteY26" fmla="*/ 128264 h 212872"/>
                <a:gd name="connsiteX27" fmla="*/ 71168 w 424261"/>
                <a:gd name="connsiteY27" fmla="*/ 129666 h 212872"/>
                <a:gd name="connsiteX28" fmla="*/ 85392 w 424261"/>
                <a:gd name="connsiteY28" fmla="*/ 146818 h 212872"/>
                <a:gd name="connsiteX29" fmla="*/ 97225 w 424261"/>
                <a:gd name="connsiteY29" fmla="*/ 162568 h 212872"/>
                <a:gd name="connsiteX30" fmla="*/ 83619 w 424261"/>
                <a:gd name="connsiteY30" fmla="*/ 183842 h 212872"/>
                <a:gd name="connsiteX31" fmla="*/ 63458 w 424261"/>
                <a:gd name="connsiteY31" fmla="*/ 198933 h 212872"/>
                <a:gd name="connsiteX32" fmla="*/ 114378 w 424261"/>
                <a:gd name="connsiteY32" fmla="*/ 196871 h 212872"/>
                <a:gd name="connsiteX33" fmla="*/ 157463 w 424261"/>
                <a:gd name="connsiteY33" fmla="*/ 212498 h 212872"/>
                <a:gd name="connsiteX34" fmla="*/ 175027 w 424261"/>
                <a:gd name="connsiteY34" fmla="*/ 212869 h 212872"/>
                <a:gd name="connsiteX35" fmla="*/ 256664 w 424261"/>
                <a:gd name="connsiteY35" fmla="*/ 198397 h 212872"/>
                <a:gd name="connsiteX36" fmla="*/ 262230 w 424261"/>
                <a:gd name="connsiteY36" fmla="*/ 197572 h 212872"/>
                <a:gd name="connsiteX37" fmla="*/ 262230 w 424261"/>
                <a:gd name="connsiteY37" fmla="*/ 190769 h 212872"/>
                <a:gd name="connsiteX38" fmla="*/ 335043 w 424261"/>
                <a:gd name="connsiteY38" fmla="*/ 141293 h 212872"/>
                <a:gd name="connsiteX39" fmla="*/ 349226 w 424261"/>
                <a:gd name="connsiteY39" fmla="*/ 144385 h 212872"/>
                <a:gd name="connsiteX40" fmla="*/ 365347 w 424261"/>
                <a:gd name="connsiteY40" fmla="*/ 139973 h 212872"/>
                <a:gd name="connsiteX41" fmla="*/ 409753 w 424261"/>
                <a:gd name="connsiteY41" fmla="*/ 126408 h 212872"/>
                <a:gd name="connsiteX42" fmla="*/ 422781 w 424261"/>
                <a:gd name="connsiteY42" fmla="*/ 104927 h 212872"/>
                <a:gd name="connsiteX43" fmla="*/ 402001 w 424261"/>
                <a:gd name="connsiteY43" fmla="*/ 66624 h 212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424261" h="212872">
                  <a:moveTo>
                    <a:pt x="402001" y="66624"/>
                  </a:moveTo>
                  <a:cubicBezTo>
                    <a:pt x="398208" y="66591"/>
                    <a:pt x="394456" y="65631"/>
                    <a:pt x="391116" y="63821"/>
                  </a:cubicBezTo>
                  <a:cubicBezTo>
                    <a:pt x="385056" y="64938"/>
                    <a:pt x="378830" y="64682"/>
                    <a:pt x="372892" y="63078"/>
                  </a:cubicBezTo>
                  <a:cubicBezTo>
                    <a:pt x="351989" y="57141"/>
                    <a:pt x="341021" y="37557"/>
                    <a:pt x="341516" y="16818"/>
                  </a:cubicBezTo>
                  <a:cubicBezTo>
                    <a:pt x="336569" y="14921"/>
                    <a:pt x="330301" y="8984"/>
                    <a:pt x="324241" y="3830"/>
                  </a:cubicBezTo>
                  <a:cubicBezTo>
                    <a:pt x="316778" y="2305"/>
                    <a:pt x="310098" y="1356"/>
                    <a:pt x="303625" y="491"/>
                  </a:cubicBezTo>
                  <a:cubicBezTo>
                    <a:pt x="300822" y="7252"/>
                    <a:pt x="304409" y="17560"/>
                    <a:pt x="302553" y="24074"/>
                  </a:cubicBezTo>
                  <a:cubicBezTo>
                    <a:pt x="300162" y="32320"/>
                    <a:pt x="278887" y="16529"/>
                    <a:pt x="278887" y="26177"/>
                  </a:cubicBezTo>
                  <a:cubicBezTo>
                    <a:pt x="278887" y="35825"/>
                    <a:pt x="269981" y="37103"/>
                    <a:pt x="262848" y="26837"/>
                  </a:cubicBezTo>
                  <a:cubicBezTo>
                    <a:pt x="255715" y="16571"/>
                    <a:pt x="239141" y="22714"/>
                    <a:pt x="239759" y="30960"/>
                  </a:cubicBezTo>
                  <a:cubicBezTo>
                    <a:pt x="240378" y="39206"/>
                    <a:pt x="232667" y="32362"/>
                    <a:pt x="219144" y="22714"/>
                  </a:cubicBezTo>
                  <a:cubicBezTo>
                    <a:pt x="205621" y="13066"/>
                    <a:pt x="191313" y="33722"/>
                    <a:pt x="192509" y="43989"/>
                  </a:cubicBezTo>
                  <a:cubicBezTo>
                    <a:pt x="193705" y="54255"/>
                    <a:pt x="187767" y="57018"/>
                    <a:pt x="176512" y="34382"/>
                  </a:cubicBezTo>
                  <a:cubicBezTo>
                    <a:pt x="165256" y="11746"/>
                    <a:pt x="152227" y="36443"/>
                    <a:pt x="158164" y="48813"/>
                  </a:cubicBezTo>
                  <a:cubicBezTo>
                    <a:pt x="164101" y="61182"/>
                    <a:pt x="161710" y="76190"/>
                    <a:pt x="152845" y="70046"/>
                  </a:cubicBezTo>
                  <a:cubicBezTo>
                    <a:pt x="143981" y="63903"/>
                    <a:pt x="132230" y="74169"/>
                    <a:pt x="126788" y="83776"/>
                  </a:cubicBezTo>
                  <a:cubicBezTo>
                    <a:pt x="121345" y="93383"/>
                    <a:pt x="102462" y="55657"/>
                    <a:pt x="116109" y="46669"/>
                  </a:cubicBezTo>
                  <a:cubicBezTo>
                    <a:pt x="129756" y="37680"/>
                    <a:pt x="72858" y="-4"/>
                    <a:pt x="55088" y="-4"/>
                  </a:cubicBezTo>
                  <a:cubicBezTo>
                    <a:pt x="37318" y="-4"/>
                    <a:pt x="49192" y="15086"/>
                    <a:pt x="61025" y="26095"/>
                  </a:cubicBezTo>
                  <a:cubicBezTo>
                    <a:pt x="72858" y="37103"/>
                    <a:pt x="52779" y="34341"/>
                    <a:pt x="46223" y="24693"/>
                  </a:cubicBezTo>
                  <a:cubicBezTo>
                    <a:pt x="39668" y="15045"/>
                    <a:pt x="27258" y="22631"/>
                    <a:pt x="20166" y="36361"/>
                  </a:cubicBezTo>
                  <a:cubicBezTo>
                    <a:pt x="13074" y="50091"/>
                    <a:pt x="1200" y="57636"/>
                    <a:pt x="46" y="67243"/>
                  </a:cubicBezTo>
                  <a:cubicBezTo>
                    <a:pt x="-1109" y="76849"/>
                    <a:pt x="20166" y="87116"/>
                    <a:pt x="38513" y="78210"/>
                  </a:cubicBezTo>
                  <a:cubicBezTo>
                    <a:pt x="56861" y="69304"/>
                    <a:pt x="77600" y="67902"/>
                    <a:pt x="87083" y="78210"/>
                  </a:cubicBezTo>
                  <a:cubicBezTo>
                    <a:pt x="96566" y="88518"/>
                    <a:pt x="69931" y="92599"/>
                    <a:pt x="79373" y="100846"/>
                  </a:cubicBezTo>
                  <a:cubicBezTo>
                    <a:pt x="88814" y="109092"/>
                    <a:pt x="81146" y="115936"/>
                    <a:pt x="58758" y="113874"/>
                  </a:cubicBezTo>
                  <a:cubicBezTo>
                    <a:pt x="36369" y="111813"/>
                    <a:pt x="8992" y="119358"/>
                    <a:pt x="13157" y="128264"/>
                  </a:cubicBezTo>
                  <a:cubicBezTo>
                    <a:pt x="17321" y="137170"/>
                    <a:pt x="70591" y="120760"/>
                    <a:pt x="71168" y="129666"/>
                  </a:cubicBezTo>
                  <a:cubicBezTo>
                    <a:pt x="71745" y="138571"/>
                    <a:pt x="71168" y="153662"/>
                    <a:pt x="85392" y="146818"/>
                  </a:cubicBezTo>
                  <a:cubicBezTo>
                    <a:pt x="99617" y="139973"/>
                    <a:pt x="90093" y="159187"/>
                    <a:pt x="97225" y="162568"/>
                  </a:cubicBezTo>
                  <a:cubicBezTo>
                    <a:pt x="104358" y="165948"/>
                    <a:pt x="102544" y="182441"/>
                    <a:pt x="83619" y="183842"/>
                  </a:cubicBezTo>
                  <a:cubicBezTo>
                    <a:pt x="64695" y="185244"/>
                    <a:pt x="55418" y="189615"/>
                    <a:pt x="63458" y="198933"/>
                  </a:cubicBezTo>
                  <a:cubicBezTo>
                    <a:pt x="73559" y="210601"/>
                    <a:pt x="94298" y="202355"/>
                    <a:pt x="114378" y="196871"/>
                  </a:cubicBezTo>
                  <a:cubicBezTo>
                    <a:pt x="126747" y="193532"/>
                    <a:pt x="141960" y="202479"/>
                    <a:pt x="157463" y="212498"/>
                  </a:cubicBezTo>
                  <a:cubicBezTo>
                    <a:pt x="163359" y="212498"/>
                    <a:pt x="169214" y="212498"/>
                    <a:pt x="175027" y="212869"/>
                  </a:cubicBezTo>
                  <a:cubicBezTo>
                    <a:pt x="202116" y="209694"/>
                    <a:pt x="228875" y="204252"/>
                    <a:pt x="256664" y="198397"/>
                  </a:cubicBezTo>
                  <a:cubicBezTo>
                    <a:pt x="258519" y="198026"/>
                    <a:pt x="260374" y="197754"/>
                    <a:pt x="262230" y="197572"/>
                  </a:cubicBezTo>
                  <a:cubicBezTo>
                    <a:pt x="262230" y="195346"/>
                    <a:pt x="262230" y="193078"/>
                    <a:pt x="262230" y="190769"/>
                  </a:cubicBezTo>
                  <a:cubicBezTo>
                    <a:pt x="272043" y="159356"/>
                    <a:pt x="302223" y="138856"/>
                    <a:pt x="335043" y="141293"/>
                  </a:cubicBezTo>
                  <a:lnTo>
                    <a:pt x="349226" y="144385"/>
                  </a:lnTo>
                  <a:cubicBezTo>
                    <a:pt x="354215" y="141779"/>
                    <a:pt x="359740" y="140274"/>
                    <a:pt x="365347" y="139973"/>
                  </a:cubicBezTo>
                  <a:cubicBezTo>
                    <a:pt x="379613" y="133900"/>
                    <a:pt x="394497" y="129352"/>
                    <a:pt x="409753" y="126408"/>
                  </a:cubicBezTo>
                  <a:cubicBezTo>
                    <a:pt x="414948" y="119791"/>
                    <a:pt x="419318" y="112580"/>
                    <a:pt x="422781" y="104927"/>
                  </a:cubicBezTo>
                  <a:cubicBezTo>
                    <a:pt x="428636" y="91321"/>
                    <a:pt x="416184" y="66624"/>
                    <a:pt x="402001" y="6662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28" name="United States">
              <a:extLst>
                <a:ext uri="{FF2B5EF4-FFF2-40B4-BE49-F238E27FC236}">
                  <a16:creationId xmlns:a16="http://schemas.microsoft.com/office/drawing/2014/main" id="{EFD6F464-BA75-B370-505D-8E3B7A7C7A9E}"/>
                </a:ext>
              </a:extLst>
            </p:cNvPr>
            <p:cNvGrpSpPr/>
            <p:nvPr>
              <p:custDataLst>
                <p:tags r:id="rId173"/>
              </p:custDataLst>
            </p:nvPr>
          </p:nvGrpSpPr>
          <p:grpSpPr>
            <a:xfrm>
              <a:off x="923586" y="2195483"/>
              <a:ext cx="3483820" cy="2443827"/>
              <a:chOff x="923060" y="1708158"/>
              <a:chExt cx="3483820" cy="2443827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29" name="US group">
                <a:extLst>
                  <a:ext uri="{FF2B5EF4-FFF2-40B4-BE49-F238E27FC236}">
                    <a16:creationId xmlns:a16="http://schemas.microsoft.com/office/drawing/2014/main" id="{C54C6C4C-1249-7F50-3BEA-01821A2BEF8F}"/>
                  </a:ext>
                </a:extLst>
              </p:cNvPr>
              <p:cNvSpPr/>
              <p:nvPr>
                <p:custDataLst>
                  <p:tags r:id="rId538"/>
                </p:custDataLst>
              </p:nvPr>
            </p:nvSpPr>
            <p:spPr>
              <a:xfrm>
                <a:off x="2426326" y="3016387"/>
                <a:ext cx="1980553" cy="1135598"/>
              </a:xfrm>
              <a:custGeom>
                <a:avLst/>
                <a:gdLst>
                  <a:gd name="connsiteX0" fmla="*/ 2278928 w 2312655"/>
                  <a:gd name="connsiteY0" fmla="*/ 133619 h 1326017"/>
                  <a:gd name="connsiteX1" fmla="*/ 2225659 w 2312655"/>
                  <a:gd name="connsiteY1" fmla="*/ 115808 h 1326017"/>
                  <a:gd name="connsiteX2" fmla="*/ 2174698 w 2312655"/>
                  <a:gd name="connsiteY2" fmla="*/ 198269 h 1326017"/>
                  <a:gd name="connsiteX3" fmla="*/ 2124974 w 2312655"/>
                  <a:gd name="connsiteY3" fmla="*/ 258630 h 1326017"/>
                  <a:gd name="connsiteX4" fmla="*/ 1987553 w 2312655"/>
                  <a:gd name="connsiteY4" fmla="*/ 260032 h 1326017"/>
                  <a:gd name="connsiteX5" fmla="*/ 1933953 w 2312655"/>
                  <a:gd name="connsiteY5" fmla="*/ 306911 h 1326017"/>
                  <a:gd name="connsiteX6" fmla="*/ 1935437 w 2312655"/>
                  <a:gd name="connsiteY6" fmla="*/ 309385 h 1326017"/>
                  <a:gd name="connsiteX7" fmla="*/ 1857100 w 2312655"/>
                  <a:gd name="connsiteY7" fmla="*/ 354738 h 1326017"/>
                  <a:gd name="connsiteX8" fmla="*/ 1825228 w 2312655"/>
                  <a:gd name="connsiteY8" fmla="*/ 358284 h 1326017"/>
                  <a:gd name="connsiteX9" fmla="*/ 1827496 w 2312655"/>
                  <a:gd name="connsiteY9" fmla="*/ 376673 h 1326017"/>
                  <a:gd name="connsiteX10" fmla="*/ 1815622 w 2312655"/>
                  <a:gd name="connsiteY10" fmla="*/ 388176 h 1326017"/>
                  <a:gd name="connsiteX11" fmla="*/ 1723843 w 2312655"/>
                  <a:gd name="connsiteY11" fmla="*/ 453526 h 1326017"/>
                  <a:gd name="connsiteX12" fmla="*/ 1643897 w 2312655"/>
                  <a:gd name="connsiteY12" fmla="*/ 432911 h 1326017"/>
                  <a:gd name="connsiteX13" fmla="*/ 1674078 w 2312655"/>
                  <a:gd name="connsiteY13" fmla="*/ 422645 h 1326017"/>
                  <a:gd name="connsiteX14" fmla="*/ 1690199 w 2312655"/>
                  <a:gd name="connsiteY14" fmla="*/ 417326 h 1326017"/>
                  <a:gd name="connsiteX15" fmla="*/ 1683725 w 2312655"/>
                  <a:gd name="connsiteY15" fmla="*/ 380961 h 1326017"/>
                  <a:gd name="connsiteX16" fmla="*/ 1668759 w 2312655"/>
                  <a:gd name="connsiteY16" fmla="*/ 321795 h 1326017"/>
                  <a:gd name="connsiteX17" fmla="*/ 1626085 w 2312655"/>
                  <a:gd name="connsiteY17" fmla="*/ 330041 h 1326017"/>
                  <a:gd name="connsiteX18" fmla="*/ 1642124 w 2312655"/>
                  <a:gd name="connsiteY18" fmla="*/ 245725 h 1326017"/>
                  <a:gd name="connsiteX19" fmla="*/ 1579907 w 2312655"/>
                  <a:gd name="connsiteY19" fmla="*/ 237479 h 1326017"/>
                  <a:gd name="connsiteX20" fmla="*/ 1539048 w 2312655"/>
                  <a:gd name="connsiteY20" fmla="*/ 272442 h 1326017"/>
                  <a:gd name="connsiteX21" fmla="*/ 1528410 w 2312655"/>
                  <a:gd name="connsiteY21" fmla="*/ 371395 h 1326017"/>
                  <a:gd name="connsiteX22" fmla="*/ 1499961 w 2312655"/>
                  <a:gd name="connsiteY22" fmla="*/ 439302 h 1326017"/>
                  <a:gd name="connsiteX23" fmla="*/ 1469781 w 2312655"/>
                  <a:gd name="connsiteY23" fmla="*/ 350821 h 1326017"/>
                  <a:gd name="connsiteX24" fmla="*/ 1478645 w 2312655"/>
                  <a:gd name="connsiteY24" fmla="*/ 270587 h 1326017"/>
                  <a:gd name="connsiteX25" fmla="*/ 1539048 w 2312655"/>
                  <a:gd name="connsiteY25" fmla="*/ 210885 h 1326017"/>
                  <a:gd name="connsiteX26" fmla="*/ 1622581 w 2312655"/>
                  <a:gd name="connsiteY26" fmla="*/ 192331 h 1326017"/>
                  <a:gd name="connsiteX27" fmla="*/ 1627116 w 2312655"/>
                  <a:gd name="connsiteY27" fmla="*/ 187054 h 1326017"/>
                  <a:gd name="connsiteX28" fmla="*/ 1604274 w 2312655"/>
                  <a:gd name="connsiteY28" fmla="*/ 168665 h 1326017"/>
                  <a:gd name="connsiteX29" fmla="*/ 1599450 w 2312655"/>
                  <a:gd name="connsiteY29" fmla="*/ 175880 h 1326017"/>
                  <a:gd name="connsiteX30" fmla="*/ 1562343 w 2312655"/>
                  <a:gd name="connsiteY30" fmla="*/ 157368 h 1326017"/>
                  <a:gd name="connsiteX31" fmla="*/ 1487716 w 2312655"/>
                  <a:gd name="connsiteY31" fmla="*/ 173860 h 1326017"/>
                  <a:gd name="connsiteX32" fmla="*/ 1457494 w 2312655"/>
                  <a:gd name="connsiteY32" fmla="*/ 144999 h 1326017"/>
                  <a:gd name="connsiteX33" fmla="*/ 1443269 w 2312655"/>
                  <a:gd name="connsiteY33" fmla="*/ 120261 h 1326017"/>
                  <a:gd name="connsiteX34" fmla="*/ 1352562 w 2312655"/>
                  <a:gd name="connsiteY34" fmla="*/ 163511 h 1326017"/>
                  <a:gd name="connsiteX35" fmla="*/ 1301024 w 2312655"/>
                  <a:gd name="connsiteY35" fmla="*/ 153204 h 1326017"/>
                  <a:gd name="connsiteX36" fmla="*/ 1380970 w 2312655"/>
                  <a:gd name="connsiteY36" fmla="*/ 93543 h 1326017"/>
                  <a:gd name="connsiteX37" fmla="*/ 1401585 w 2312655"/>
                  <a:gd name="connsiteY37" fmla="*/ 84349 h 1326017"/>
                  <a:gd name="connsiteX38" fmla="*/ 1344275 w 2312655"/>
                  <a:gd name="connsiteY38" fmla="*/ 75031 h 1326017"/>
                  <a:gd name="connsiteX39" fmla="*/ 1309930 w 2312655"/>
                  <a:gd name="connsiteY39" fmla="*/ 68145 h 1326017"/>
                  <a:gd name="connsiteX40" fmla="*/ 1276946 w 2312655"/>
                  <a:gd name="connsiteY40" fmla="*/ 53096 h 1326017"/>
                  <a:gd name="connsiteX41" fmla="*/ 1240209 w 2312655"/>
                  <a:gd name="connsiteY41" fmla="*/ 51694 h 1326017"/>
                  <a:gd name="connsiteX42" fmla="*/ 1205864 w 2312655"/>
                  <a:gd name="connsiteY42" fmla="*/ 37965 h 1326017"/>
                  <a:gd name="connsiteX43" fmla="*/ 1189372 w 2312655"/>
                  <a:gd name="connsiteY43" fmla="*/ 2300 h 1326017"/>
                  <a:gd name="connsiteX44" fmla="*/ 1175601 w 2312655"/>
                  <a:gd name="connsiteY44" fmla="*/ 22916 h 1326017"/>
                  <a:gd name="connsiteX45" fmla="*/ 71202 w 2312655"/>
                  <a:gd name="connsiteY45" fmla="*/ 29595 h 1326017"/>
                  <a:gd name="connsiteX46" fmla="*/ 75325 w 2312655"/>
                  <a:gd name="connsiteY46" fmla="*/ 35573 h 1326017"/>
                  <a:gd name="connsiteX47" fmla="*/ 82417 w 2312655"/>
                  <a:gd name="connsiteY47" fmla="*/ 83895 h 1326017"/>
                  <a:gd name="connsiteX48" fmla="*/ 70048 w 2312655"/>
                  <a:gd name="connsiteY48" fmla="*/ 131228 h 1326017"/>
                  <a:gd name="connsiteX49" fmla="*/ 64729 w 2312655"/>
                  <a:gd name="connsiteY49" fmla="*/ 107562 h 1326017"/>
                  <a:gd name="connsiteX50" fmla="*/ 59410 w 2312655"/>
                  <a:gd name="connsiteY50" fmla="*/ 78700 h 1326017"/>
                  <a:gd name="connsiteX51" fmla="*/ 66768 w 2312655"/>
                  <a:gd name="connsiteY51" fmla="*/ 87060 h 1326017"/>
                  <a:gd name="connsiteX52" fmla="*/ 28903 w 2312655"/>
                  <a:gd name="connsiteY52" fmla="*/ 92592 h 1326017"/>
                  <a:gd name="connsiteX53" fmla="*/ 38 w 2312655"/>
                  <a:gd name="connsiteY53" fmla="*/ 94863 h 1326017"/>
                  <a:gd name="connsiteX54" fmla="*/ 14593 w 2312655"/>
                  <a:gd name="connsiteY54" fmla="*/ 136382 h 1326017"/>
                  <a:gd name="connsiteX55" fmla="*/ 27415 w 2312655"/>
                  <a:gd name="connsiteY55" fmla="*/ 170273 h 1326017"/>
                  <a:gd name="connsiteX56" fmla="*/ 27415 w 2312655"/>
                  <a:gd name="connsiteY56" fmla="*/ 185693 h 1326017"/>
                  <a:gd name="connsiteX57" fmla="*/ 19417 w 2312655"/>
                  <a:gd name="connsiteY57" fmla="*/ 227872 h 1326017"/>
                  <a:gd name="connsiteX58" fmla="*/ 15871 w 2312655"/>
                  <a:gd name="connsiteY58" fmla="*/ 282296 h 1326017"/>
                  <a:gd name="connsiteX59" fmla="*/ 27250 w 2312655"/>
                  <a:gd name="connsiteY59" fmla="*/ 330907 h 1326017"/>
                  <a:gd name="connsiteX60" fmla="*/ 14510 w 2312655"/>
                  <a:gd name="connsiteY60" fmla="*/ 394814 h 1326017"/>
                  <a:gd name="connsiteX61" fmla="*/ 17066 w 2312655"/>
                  <a:gd name="connsiteY61" fmla="*/ 507703 h 1326017"/>
                  <a:gd name="connsiteX62" fmla="*/ 24983 w 2312655"/>
                  <a:gd name="connsiteY62" fmla="*/ 558293 h 1326017"/>
                  <a:gd name="connsiteX63" fmla="*/ 36032 w 2312655"/>
                  <a:gd name="connsiteY63" fmla="*/ 602286 h 1326017"/>
                  <a:gd name="connsiteX64" fmla="*/ 80974 w 2312655"/>
                  <a:gd name="connsiteY64" fmla="*/ 664132 h 1326017"/>
                  <a:gd name="connsiteX65" fmla="*/ 135192 w 2312655"/>
                  <a:gd name="connsiteY65" fmla="*/ 725977 h 1326017"/>
                  <a:gd name="connsiteX66" fmla="*/ 147066 w 2312655"/>
                  <a:gd name="connsiteY66" fmla="*/ 794255 h 1326017"/>
                  <a:gd name="connsiteX67" fmla="*/ 158817 w 2312655"/>
                  <a:gd name="connsiteY67" fmla="*/ 819612 h 1326017"/>
                  <a:gd name="connsiteX68" fmla="*/ 165166 w 2312655"/>
                  <a:gd name="connsiteY68" fmla="*/ 827280 h 1326017"/>
                  <a:gd name="connsiteX69" fmla="*/ 180050 w 2312655"/>
                  <a:gd name="connsiteY69" fmla="*/ 838949 h 1326017"/>
                  <a:gd name="connsiteX70" fmla="*/ 214313 w 2312655"/>
                  <a:gd name="connsiteY70" fmla="*/ 858739 h 1326017"/>
                  <a:gd name="connsiteX71" fmla="*/ 217158 w 2312655"/>
                  <a:gd name="connsiteY71" fmla="*/ 860760 h 1326017"/>
                  <a:gd name="connsiteX72" fmla="*/ 250390 w 2312655"/>
                  <a:gd name="connsiteY72" fmla="*/ 868635 h 1326017"/>
                  <a:gd name="connsiteX73" fmla="*/ 287497 w 2312655"/>
                  <a:gd name="connsiteY73" fmla="*/ 920090 h 1326017"/>
                  <a:gd name="connsiteX74" fmla="*/ 296485 w 2312655"/>
                  <a:gd name="connsiteY74" fmla="*/ 949364 h 1326017"/>
                  <a:gd name="connsiteX75" fmla="*/ 388677 w 2312655"/>
                  <a:gd name="connsiteY75" fmla="*/ 935676 h 1326017"/>
                  <a:gd name="connsiteX76" fmla="*/ 433288 w 2312655"/>
                  <a:gd name="connsiteY76" fmla="*/ 963176 h 1326017"/>
                  <a:gd name="connsiteX77" fmla="*/ 536735 w 2312655"/>
                  <a:gd name="connsiteY77" fmla="*/ 1004901 h 1326017"/>
                  <a:gd name="connsiteX78" fmla="*/ 650614 w 2312655"/>
                  <a:gd name="connsiteY78" fmla="*/ 1003788 h 1326017"/>
                  <a:gd name="connsiteX79" fmla="*/ 663890 w 2312655"/>
                  <a:gd name="connsiteY79" fmla="*/ 984039 h 1326017"/>
                  <a:gd name="connsiteX80" fmla="*/ 726519 w 2312655"/>
                  <a:gd name="connsiteY80" fmla="*/ 984039 h 1326017"/>
                  <a:gd name="connsiteX81" fmla="*/ 772079 w 2312655"/>
                  <a:gd name="connsiteY81" fmla="*/ 1031330 h 1326017"/>
                  <a:gd name="connsiteX82" fmla="*/ 797724 w 2312655"/>
                  <a:gd name="connsiteY82" fmla="*/ 1067572 h 1326017"/>
                  <a:gd name="connsiteX83" fmla="*/ 811948 w 2312655"/>
                  <a:gd name="connsiteY83" fmla="*/ 1097258 h 1326017"/>
                  <a:gd name="connsiteX84" fmla="*/ 858456 w 2312655"/>
                  <a:gd name="connsiteY84" fmla="*/ 1124717 h 1326017"/>
                  <a:gd name="connsiteX85" fmla="*/ 889750 w 2312655"/>
                  <a:gd name="connsiteY85" fmla="*/ 1081879 h 1326017"/>
                  <a:gd name="connsiteX86" fmla="*/ 960955 w 2312655"/>
                  <a:gd name="connsiteY86" fmla="*/ 1129129 h 1326017"/>
                  <a:gd name="connsiteX87" fmla="*/ 998887 w 2312655"/>
                  <a:gd name="connsiteY87" fmla="*/ 1191758 h 1326017"/>
                  <a:gd name="connsiteX88" fmla="*/ 1008412 w 2312655"/>
                  <a:gd name="connsiteY88" fmla="*/ 1226927 h 1326017"/>
                  <a:gd name="connsiteX89" fmla="*/ 1019791 w 2312655"/>
                  <a:gd name="connsiteY89" fmla="*/ 1255541 h 1326017"/>
                  <a:gd name="connsiteX90" fmla="*/ 1075782 w 2312655"/>
                  <a:gd name="connsiteY90" fmla="*/ 1278631 h 1326017"/>
                  <a:gd name="connsiteX91" fmla="*/ 1092275 w 2312655"/>
                  <a:gd name="connsiteY91" fmla="*/ 1285846 h 1326017"/>
                  <a:gd name="connsiteX92" fmla="*/ 1080689 w 2312655"/>
                  <a:gd name="connsiteY92" fmla="*/ 1226020 h 1326017"/>
                  <a:gd name="connsiteX93" fmla="*/ 1090460 w 2312655"/>
                  <a:gd name="connsiteY93" fmla="*/ 1181739 h 1326017"/>
                  <a:gd name="connsiteX94" fmla="*/ 1117549 w 2312655"/>
                  <a:gd name="connsiteY94" fmla="*/ 1159969 h 1326017"/>
                  <a:gd name="connsiteX95" fmla="*/ 1119775 w 2312655"/>
                  <a:gd name="connsiteY95" fmla="*/ 1153042 h 1326017"/>
                  <a:gd name="connsiteX96" fmla="*/ 1119775 w 2312655"/>
                  <a:gd name="connsiteY96" fmla="*/ 1153042 h 1326017"/>
                  <a:gd name="connsiteX97" fmla="*/ 1125836 w 2312655"/>
                  <a:gd name="connsiteY97" fmla="*/ 1142817 h 1326017"/>
                  <a:gd name="connsiteX98" fmla="*/ 1131814 w 2312655"/>
                  <a:gd name="connsiteY98" fmla="*/ 1136633 h 1326017"/>
                  <a:gd name="connsiteX99" fmla="*/ 1135237 w 2312655"/>
                  <a:gd name="connsiteY99" fmla="*/ 1128634 h 1326017"/>
                  <a:gd name="connsiteX100" fmla="*/ 1161336 w 2312655"/>
                  <a:gd name="connsiteY100" fmla="*/ 1108019 h 1326017"/>
                  <a:gd name="connsiteX101" fmla="*/ 1176385 w 2312655"/>
                  <a:gd name="connsiteY101" fmla="*/ 1106658 h 1326017"/>
                  <a:gd name="connsiteX102" fmla="*/ 1183435 w 2312655"/>
                  <a:gd name="connsiteY102" fmla="*/ 1096598 h 1326017"/>
                  <a:gd name="connsiteX103" fmla="*/ 1185661 w 2312655"/>
                  <a:gd name="connsiteY103" fmla="*/ 1094372 h 1326017"/>
                  <a:gd name="connsiteX104" fmla="*/ 1193124 w 2312655"/>
                  <a:gd name="connsiteY104" fmla="*/ 1088517 h 1326017"/>
                  <a:gd name="connsiteX105" fmla="*/ 1194320 w 2312655"/>
                  <a:gd name="connsiteY105" fmla="*/ 1087940 h 1326017"/>
                  <a:gd name="connsiteX106" fmla="*/ 1194897 w 2312655"/>
                  <a:gd name="connsiteY106" fmla="*/ 1083817 h 1326017"/>
                  <a:gd name="connsiteX107" fmla="*/ 1214976 w 2312655"/>
                  <a:gd name="connsiteY107" fmla="*/ 1056893 h 1326017"/>
                  <a:gd name="connsiteX108" fmla="*/ 1248620 w 2312655"/>
                  <a:gd name="connsiteY108" fmla="*/ 1052358 h 1326017"/>
                  <a:gd name="connsiteX109" fmla="*/ 1259670 w 2312655"/>
                  <a:gd name="connsiteY109" fmla="*/ 1057470 h 1326017"/>
                  <a:gd name="connsiteX110" fmla="*/ 1267586 w 2312655"/>
                  <a:gd name="connsiteY110" fmla="*/ 1056769 h 1326017"/>
                  <a:gd name="connsiteX111" fmla="*/ 1304694 w 2312655"/>
                  <a:gd name="connsiteY111" fmla="*/ 1079240 h 1326017"/>
                  <a:gd name="connsiteX112" fmla="*/ 1326834 w 2312655"/>
                  <a:gd name="connsiteY112" fmla="*/ 1099567 h 1326017"/>
                  <a:gd name="connsiteX113" fmla="*/ 1360561 w 2312655"/>
                  <a:gd name="connsiteY113" fmla="*/ 1110864 h 1326017"/>
                  <a:gd name="connsiteX114" fmla="*/ 1378331 w 2312655"/>
                  <a:gd name="connsiteY114" fmla="*/ 1094372 h 1326017"/>
                  <a:gd name="connsiteX115" fmla="*/ 1400348 w 2312655"/>
                  <a:gd name="connsiteY115" fmla="*/ 1114987 h 1326017"/>
                  <a:gd name="connsiteX116" fmla="*/ 1410862 w 2312655"/>
                  <a:gd name="connsiteY116" fmla="*/ 1105009 h 1326017"/>
                  <a:gd name="connsiteX117" fmla="*/ 1405007 w 2312655"/>
                  <a:gd name="connsiteY117" fmla="*/ 1099443 h 1326017"/>
                  <a:gd name="connsiteX118" fmla="*/ 1397009 w 2312655"/>
                  <a:gd name="connsiteY118" fmla="*/ 1073715 h 1326017"/>
                  <a:gd name="connsiteX119" fmla="*/ 1431642 w 2312655"/>
                  <a:gd name="connsiteY119" fmla="*/ 1053100 h 1326017"/>
                  <a:gd name="connsiteX120" fmla="*/ 1460091 w 2312655"/>
                  <a:gd name="connsiteY120" fmla="*/ 1045884 h 1326017"/>
                  <a:gd name="connsiteX121" fmla="*/ 1476089 w 2312655"/>
                  <a:gd name="connsiteY121" fmla="*/ 1058254 h 1326017"/>
                  <a:gd name="connsiteX122" fmla="*/ 1529358 w 2312655"/>
                  <a:gd name="connsiteY122" fmla="*/ 1051080 h 1326017"/>
                  <a:gd name="connsiteX123" fmla="*/ 1566672 w 2312655"/>
                  <a:gd name="connsiteY123" fmla="*/ 1081961 h 1326017"/>
                  <a:gd name="connsiteX124" fmla="*/ 1594214 w 2312655"/>
                  <a:gd name="connsiteY124" fmla="*/ 1087074 h 1326017"/>
                  <a:gd name="connsiteX125" fmla="*/ 1631528 w 2312655"/>
                  <a:gd name="connsiteY125" fmla="*/ 1072684 h 1326017"/>
                  <a:gd name="connsiteX126" fmla="*/ 1671521 w 2312655"/>
                  <a:gd name="connsiteY126" fmla="*/ 1124099 h 1326017"/>
                  <a:gd name="connsiteX127" fmla="*/ 1672387 w 2312655"/>
                  <a:gd name="connsiteY127" fmla="*/ 1176585 h 1326017"/>
                  <a:gd name="connsiteX128" fmla="*/ 1689250 w 2312655"/>
                  <a:gd name="connsiteY128" fmla="*/ 1222887 h 1326017"/>
                  <a:gd name="connsiteX129" fmla="*/ 1698610 w 2312655"/>
                  <a:gd name="connsiteY129" fmla="*/ 1250099 h 1326017"/>
                  <a:gd name="connsiteX130" fmla="*/ 1701908 w 2312655"/>
                  <a:gd name="connsiteY130" fmla="*/ 1253109 h 1326017"/>
                  <a:gd name="connsiteX131" fmla="*/ 1713824 w 2312655"/>
                  <a:gd name="connsiteY131" fmla="*/ 1276569 h 1326017"/>
                  <a:gd name="connsiteX132" fmla="*/ 1732790 w 2312655"/>
                  <a:gd name="connsiteY132" fmla="*/ 1311368 h 1326017"/>
                  <a:gd name="connsiteX133" fmla="*/ 1763012 w 2312655"/>
                  <a:gd name="connsiteY133" fmla="*/ 1317552 h 1326017"/>
                  <a:gd name="connsiteX134" fmla="*/ 1769196 w 2312655"/>
                  <a:gd name="connsiteY134" fmla="*/ 1296401 h 1326017"/>
                  <a:gd name="connsiteX135" fmla="*/ 1768578 w 2312655"/>
                  <a:gd name="connsiteY135" fmla="*/ 1289474 h 1326017"/>
                  <a:gd name="connsiteX136" fmla="*/ 1767135 w 2312655"/>
                  <a:gd name="connsiteY136" fmla="*/ 1229401 h 1326017"/>
                  <a:gd name="connsiteX137" fmla="*/ 1772206 w 2312655"/>
                  <a:gd name="connsiteY137" fmla="*/ 1207096 h 1326017"/>
                  <a:gd name="connsiteX138" fmla="*/ 1770680 w 2312655"/>
                  <a:gd name="connsiteY138" fmla="*/ 1201200 h 1326017"/>
                  <a:gd name="connsiteX139" fmla="*/ 1752539 w 2312655"/>
                  <a:gd name="connsiteY139" fmla="*/ 1164793 h 1326017"/>
                  <a:gd name="connsiteX140" fmla="*/ 1749941 w 2312655"/>
                  <a:gd name="connsiteY140" fmla="*/ 1130160 h 1326017"/>
                  <a:gd name="connsiteX141" fmla="*/ 1747014 w 2312655"/>
                  <a:gd name="connsiteY141" fmla="*/ 1125171 h 1326017"/>
                  <a:gd name="connsiteX142" fmla="*/ 1724832 w 2312655"/>
                  <a:gd name="connsiteY142" fmla="*/ 1034464 h 1326017"/>
                  <a:gd name="connsiteX143" fmla="*/ 1732377 w 2312655"/>
                  <a:gd name="connsiteY143" fmla="*/ 1003417 h 1326017"/>
                  <a:gd name="connsiteX144" fmla="*/ 1754353 w 2312655"/>
                  <a:gd name="connsiteY144" fmla="*/ 949405 h 1326017"/>
                  <a:gd name="connsiteX145" fmla="*/ 1771299 w 2312655"/>
                  <a:gd name="connsiteY145" fmla="*/ 930439 h 1326017"/>
                  <a:gd name="connsiteX146" fmla="*/ 1798428 w 2312655"/>
                  <a:gd name="connsiteY146" fmla="*/ 924832 h 1326017"/>
                  <a:gd name="connsiteX147" fmla="*/ 1807458 w 2312655"/>
                  <a:gd name="connsiteY147" fmla="*/ 914112 h 1326017"/>
                  <a:gd name="connsiteX148" fmla="*/ 1840442 w 2312655"/>
                  <a:gd name="connsiteY148" fmla="*/ 877004 h 1326017"/>
                  <a:gd name="connsiteX149" fmla="*/ 1845019 w 2312655"/>
                  <a:gd name="connsiteY149" fmla="*/ 877004 h 1326017"/>
                  <a:gd name="connsiteX150" fmla="*/ 1878746 w 2312655"/>
                  <a:gd name="connsiteY150" fmla="*/ 817880 h 1326017"/>
                  <a:gd name="connsiteX151" fmla="*/ 1910988 w 2312655"/>
                  <a:gd name="connsiteY151" fmla="*/ 802419 h 1326017"/>
                  <a:gd name="connsiteX152" fmla="*/ 1910617 w 2312655"/>
                  <a:gd name="connsiteY152" fmla="*/ 801759 h 1326017"/>
                  <a:gd name="connsiteX153" fmla="*/ 1920388 w 2312655"/>
                  <a:gd name="connsiteY153" fmla="*/ 785267 h 1326017"/>
                  <a:gd name="connsiteX154" fmla="*/ 1947930 w 2312655"/>
                  <a:gd name="connsiteY154" fmla="*/ 787369 h 1326017"/>
                  <a:gd name="connsiteX155" fmla="*/ 1957702 w 2312655"/>
                  <a:gd name="connsiteY155" fmla="*/ 759580 h 1326017"/>
                  <a:gd name="connsiteX156" fmla="*/ 1945333 w 2312655"/>
                  <a:gd name="connsiteY156" fmla="*/ 744119 h 1326017"/>
                  <a:gd name="connsiteX157" fmla="*/ 1931108 w 2312655"/>
                  <a:gd name="connsiteY157" fmla="*/ 712248 h 1326017"/>
                  <a:gd name="connsiteX158" fmla="*/ 1930242 w 2312655"/>
                  <a:gd name="connsiteY158" fmla="*/ 689571 h 1326017"/>
                  <a:gd name="connsiteX159" fmla="*/ 1904473 w 2312655"/>
                  <a:gd name="connsiteY159" fmla="*/ 650484 h 1326017"/>
                  <a:gd name="connsiteX160" fmla="*/ 1920471 w 2312655"/>
                  <a:gd name="connsiteY160" fmla="*/ 633992 h 1326017"/>
                  <a:gd name="connsiteX161" fmla="*/ 1926697 w 2312655"/>
                  <a:gd name="connsiteY161" fmla="*/ 573301 h 1326017"/>
                  <a:gd name="connsiteX162" fmla="*/ 1940014 w 2312655"/>
                  <a:gd name="connsiteY162" fmla="*/ 573301 h 1326017"/>
                  <a:gd name="connsiteX163" fmla="*/ 1936468 w 2312655"/>
                  <a:gd name="connsiteY163" fmla="*/ 618654 h 1326017"/>
                  <a:gd name="connsiteX164" fmla="*/ 1948095 w 2312655"/>
                  <a:gd name="connsiteY164" fmla="*/ 645784 h 1326017"/>
                  <a:gd name="connsiteX165" fmla="*/ 1950486 w 2312655"/>
                  <a:gd name="connsiteY165" fmla="*/ 642898 h 1326017"/>
                  <a:gd name="connsiteX166" fmla="*/ 1955434 w 2312655"/>
                  <a:gd name="connsiteY166" fmla="*/ 638775 h 1326017"/>
                  <a:gd name="connsiteX167" fmla="*/ 1955434 w 2312655"/>
                  <a:gd name="connsiteY167" fmla="*/ 638362 h 1326017"/>
                  <a:gd name="connsiteX168" fmla="*/ 1955022 w 2312655"/>
                  <a:gd name="connsiteY168" fmla="*/ 632920 h 1326017"/>
                  <a:gd name="connsiteX169" fmla="*/ 1964010 w 2312655"/>
                  <a:gd name="connsiteY169" fmla="*/ 605997 h 1326017"/>
                  <a:gd name="connsiteX170" fmla="*/ 1966814 w 2312655"/>
                  <a:gd name="connsiteY170" fmla="*/ 601132 h 1326017"/>
                  <a:gd name="connsiteX171" fmla="*/ 1967350 w 2312655"/>
                  <a:gd name="connsiteY171" fmla="*/ 600224 h 1326017"/>
                  <a:gd name="connsiteX172" fmla="*/ 1968215 w 2312655"/>
                  <a:gd name="connsiteY172" fmla="*/ 598122 h 1326017"/>
                  <a:gd name="connsiteX173" fmla="*/ 1972710 w 2312655"/>
                  <a:gd name="connsiteY173" fmla="*/ 580805 h 1326017"/>
                  <a:gd name="connsiteX174" fmla="*/ 1976833 w 2312655"/>
                  <a:gd name="connsiteY174" fmla="*/ 586206 h 1326017"/>
                  <a:gd name="connsiteX175" fmla="*/ 1980956 w 2312655"/>
                  <a:gd name="connsiteY175" fmla="*/ 582495 h 1326017"/>
                  <a:gd name="connsiteX176" fmla="*/ 1987140 w 2312655"/>
                  <a:gd name="connsiteY176" fmla="*/ 578001 h 1326017"/>
                  <a:gd name="connsiteX177" fmla="*/ 1988212 w 2312655"/>
                  <a:gd name="connsiteY177" fmla="*/ 577012 h 1326017"/>
                  <a:gd name="connsiteX178" fmla="*/ 2004705 w 2312655"/>
                  <a:gd name="connsiteY178" fmla="*/ 566580 h 1326017"/>
                  <a:gd name="connsiteX179" fmla="*/ 2019671 w 2312655"/>
                  <a:gd name="connsiteY179" fmla="*/ 532936 h 1326017"/>
                  <a:gd name="connsiteX180" fmla="*/ 2023794 w 2312655"/>
                  <a:gd name="connsiteY180" fmla="*/ 523000 h 1326017"/>
                  <a:gd name="connsiteX181" fmla="*/ 2023794 w 2312655"/>
                  <a:gd name="connsiteY181" fmla="*/ 523000 h 1326017"/>
                  <a:gd name="connsiteX182" fmla="*/ 2022516 w 2312655"/>
                  <a:gd name="connsiteY182" fmla="*/ 521268 h 1326017"/>
                  <a:gd name="connsiteX183" fmla="*/ 2038225 w 2312655"/>
                  <a:gd name="connsiteY183" fmla="*/ 507909 h 1326017"/>
                  <a:gd name="connsiteX184" fmla="*/ 2040699 w 2312655"/>
                  <a:gd name="connsiteY184" fmla="*/ 506260 h 1326017"/>
                  <a:gd name="connsiteX185" fmla="*/ 2065767 w 2312655"/>
                  <a:gd name="connsiteY185" fmla="*/ 498014 h 1326017"/>
                  <a:gd name="connsiteX186" fmla="*/ 2072322 w 2312655"/>
                  <a:gd name="connsiteY186" fmla="*/ 498468 h 1326017"/>
                  <a:gd name="connsiteX187" fmla="*/ 2072858 w 2312655"/>
                  <a:gd name="connsiteY187" fmla="*/ 498179 h 1326017"/>
                  <a:gd name="connsiteX188" fmla="*/ 2081105 w 2312655"/>
                  <a:gd name="connsiteY188" fmla="*/ 494633 h 1326017"/>
                  <a:gd name="connsiteX189" fmla="*/ 2103616 w 2312655"/>
                  <a:gd name="connsiteY189" fmla="*/ 489191 h 1326017"/>
                  <a:gd name="connsiteX190" fmla="*/ 2042265 w 2312655"/>
                  <a:gd name="connsiteY190" fmla="*/ 487500 h 1326017"/>
                  <a:gd name="connsiteX191" fmla="*/ 2107121 w 2312655"/>
                  <a:gd name="connsiteY191" fmla="*/ 463834 h 1326017"/>
                  <a:gd name="connsiteX192" fmla="*/ 2126623 w 2312655"/>
                  <a:gd name="connsiteY192" fmla="*/ 444250 h 1326017"/>
                  <a:gd name="connsiteX193" fmla="*/ 2156103 w 2312655"/>
                  <a:gd name="connsiteY193" fmla="*/ 450063 h 1326017"/>
                  <a:gd name="connsiteX194" fmla="*/ 2155361 w 2312655"/>
                  <a:gd name="connsiteY194" fmla="*/ 444703 h 1326017"/>
                  <a:gd name="connsiteX195" fmla="*/ 2148929 w 2312655"/>
                  <a:gd name="connsiteY195" fmla="*/ 421408 h 1326017"/>
                  <a:gd name="connsiteX196" fmla="*/ 2150042 w 2312655"/>
                  <a:gd name="connsiteY196" fmla="*/ 411471 h 1326017"/>
                  <a:gd name="connsiteX197" fmla="*/ 2149753 w 2312655"/>
                  <a:gd name="connsiteY197" fmla="*/ 411471 h 1326017"/>
                  <a:gd name="connsiteX198" fmla="*/ 2153299 w 2312655"/>
                  <a:gd name="connsiteY198" fmla="*/ 396299 h 1326017"/>
                  <a:gd name="connsiteX199" fmla="*/ 2155608 w 2312655"/>
                  <a:gd name="connsiteY199" fmla="*/ 390526 h 1326017"/>
                  <a:gd name="connsiteX200" fmla="*/ 2155072 w 2312655"/>
                  <a:gd name="connsiteY200" fmla="*/ 387805 h 1326017"/>
                  <a:gd name="connsiteX201" fmla="*/ 2154825 w 2312655"/>
                  <a:gd name="connsiteY201" fmla="*/ 386980 h 1326017"/>
                  <a:gd name="connsiteX202" fmla="*/ 2148929 w 2312655"/>
                  <a:gd name="connsiteY202" fmla="*/ 364428 h 1326017"/>
                  <a:gd name="connsiteX203" fmla="*/ 2190448 w 2312655"/>
                  <a:gd name="connsiteY203" fmla="*/ 318126 h 1326017"/>
                  <a:gd name="connsiteX204" fmla="*/ 2223886 w 2312655"/>
                  <a:gd name="connsiteY204" fmla="*/ 300149 h 1326017"/>
                  <a:gd name="connsiteX205" fmla="*/ 2232956 w 2312655"/>
                  <a:gd name="connsiteY205" fmla="*/ 286625 h 1326017"/>
                  <a:gd name="connsiteX206" fmla="*/ 2282722 w 2312655"/>
                  <a:gd name="connsiteY206" fmla="*/ 288646 h 1326017"/>
                  <a:gd name="connsiteX207" fmla="*/ 2312655 w 2312655"/>
                  <a:gd name="connsiteY207" fmla="*/ 262671 h 1326017"/>
                  <a:gd name="connsiteX208" fmla="*/ 2278928 w 2312655"/>
                  <a:gd name="connsiteY208" fmla="*/ 133619 h 1326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</a:cxnLst>
                <a:rect l="l" t="t" r="r" b="b"/>
                <a:pathLst>
                  <a:path w="2312655" h="1326017">
                    <a:moveTo>
                      <a:pt x="2278928" y="133619"/>
                    </a:moveTo>
                    <a:cubicBezTo>
                      <a:pt x="2277774" y="119931"/>
                      <a:pt x="2242233" y="130898"/>
                      <a:pt x="2225659" y="115808"/>
                    </a:cubicBezTo>
                    <a:cubicBezTo>
                      <a:pt x="2209084" y="100717"/>
                      <a:pt x="2180635" y="169407"/>
                      <a:pt x="2174698" y="198269"/>
                    </a:cubicBezTo>
                    <a:cubicBezTo>
                      <a:pt x="2168761" y="227130"/>
                      <a:pt x="2124974" y="258630"/>
                      <a:pt x="2124974" y="258630"/>
                    </a:cubicBezTo>
                    <a:lnTo>
                      <a:pt x="1987553" y="260032"/>
                    </a:lnTo>
                    <a:cubicBezTo>
                      <a:pt x="1980172" y="260032"/>
                      <a:pt x="1951022" y="289099"/>
                      <a:pt x="1933953" y="306911"/>
                    </a:cubicBezTo>
                    <a:cubicBezTo>
                      <a:pt x="1934510" y="307698"/>
                      <a:pt x="1935004" y="308523"/>
                      <a:pt x="1935437" y="309385"/>
                    </a:cubicBezTo>
                    <a:cubicBezTo>
                      <a:pt x="1948260" y="336143"/>
                      <a:pt x="1901670" y="352635"/>
                      <a:pt x="1857100" y="354738"/>
                    </a:cubicBezTo>
                    <a:cubicBezTo>
                      <a:pt x="1846412" y="355245"/>
                      <a:pt x="1835767" y="356429"/>
                      <a:pt x="1825228" y="358284"/>
                    </a:cubicBezTo>
                    <a:cubicBezTo>
                      <a:pt x="1826931" y="364258"/>
                      <a:pt x="1827694" y="370464"/>
                      <a:pt x="1827496" y="376673"/>
                    </a:cubicBezTo>
                    <a:cubicBezTo>
                      <a:pt x="1827166" y="379971"/>
                      <a:pt x="1822383" y="384012"/>
                      <a:pt x="1815622" y="388176"/>
                    </a:cubicBezTo>
                    <a:cubicBezTo>
                      <a:pt x="1808819" y="404132"/>
                      <a:pt x="1754353" y="434973"/>
                      <a:pt x="1723843" y="453526"/>
                    </a:cubicBezTo>
                    <a:cubicBezTo>
                      <a:pt x="1690075" y="474142"/>
                      <a:pt x="1643897" y="463834"/>
                      <a:pt x="1643897" y="432911"/>
                    </a:cubicBezTo>
                    <a:cubicBezTo>
                      <a:pt x="1643897" y="401988"/>
                      <a:pt x="1668635" y="408173"/>
                      <a:pt x="1674078" y="422645"/>
                    </a:cubicBezTo>
                    <a:cubicBezTo>
                      <a:pt x="1676098" y="428005"/>
                      <a:pt x="1682076" y="424129"/>
                      <a:pt x="1690199" y="417326"/>
                    </a:cubicBezTo>
                    <a:cubicBezTo>
                      <a:pt x="1681952" y="407802"/>
                      <a:pt x="1681952" y="392588"/>
                      <a:pt x="1683725" y="380961"/>
                    </a:cubicBezTo>
                    <a:cubicBezTo>
                      <a:pt x="1673541" y="375807"/>
                      <a:pt x="1689415" y="329753"/>
                      <a:pt x="1668759" y="321795"/>
                    </a:cubicBezTo>
                    <a:cubicBezTo>
                      <a:pt x="1647443" y="313549"/>
                      <a:pt x="1622581" y="356800"/>
                      <a:pt x="1626085" y="330041"/>
                    </a:cubicBezTo>
                    <a:cubicBezTo>
                      <a:pt x="1629590" y="303283"/>
                      <a:pt x="1661667" y="280565"/>
                      <a:pt x="1642124" y="245725"/>
                    </a:cubicBezTo>
                    <a:cubicBezTo>
                      <a:pt x="1622581" y="210885"/>
                      <a:pt x="1587040" y="210720"/>
                      <a:pt x="1579907" y="237479"/>
                    </a:cubicBezTo>
                    <a:cubicBezTo>
                      <a:pt x="1572774" y="264237"/>
                      <a:pt x="1547953" y="251868"/>
                      <a:pt x="1539048" y="272442"/>
                    </a:cubicBezTo>
                    <a:cubicBezTo>
                      <a:pt x="1530142" y="293016"/>
                      <a:pt x="1521277" y="338411"/>
                      <a:pt x="1528410" y="371395"/>
                    </a:cubicBezTo>
                    <a:cubicBezTo>
                      <a:pt x="1535543" y="404380"/>
                      <a:pt x="1526596" y="420872"/>
                      <a:pt x="1499961" y="439302"/>
                    </a:cubicBezTo>
                    <a:cubicBezTo>
                      <a:pt x="1473326" y="457732"/>
                      <a:pt x="1459390" y="410977"/>
                      <a:pt x="1469781" y="350821"/>
                    </a:cubicBezTo>
                    <a:cubicBezTo>
                      <a:pt x="1476872" y="309591"/>
                      <a:pt x="1496415" y="270587"/>
                      <a:pt x="1478645" y="270587"/>
                    </a:cubicBezTo>
                    <a:cubicBezTo>
                      <a:pt x="1460875" y="270587"/>
                      <a:pt x="1501734" y="221110"/>
                      <a:pt x="1539048" y="210885"/>
                    </a:cubicBezTo>
                    <a:cubicBezTo>
                      <a:pt x="1576361" y="200660"/>
                      <a:pt x="1622581" y="204701"/>
                      <a:pt x="1622581" y="192331"/>
                    </a:cubicBezTo>
                    <a:cubicBezTo>
                      <a:pt x="1622581" y="189858"/>
                      <a:pt x="1624271" y="188208"/>
                      <a:pt x="1627116" y="187054"/>
                    </a:cubicBezTo>
                    <a:cubicBezTo>
                      <a:pt x="1619843" y="180515"/>
                      <a:pt x="1612215" y="174376"/>
                      <a:pt x="1604274" y="168665"/>
                    </a:cubicBezTo>
                    <a:cubicBezTo>
                      <a:pt x="1603512" y="171539"/>
                      <a:pt x="1601813" y="174079"/>
                      <a:pt x="1599450" y="175880"/>
                    </a:cubicBezTo>
                    <a:cubicBezTo>
                      <a:pt x="1584855" y="187714"/>
                      <a:pt x="1588813" y="157368"/>
                      <a:pt x="1562343" y="157368"/>
                    </a:cubicBezTo>
                    <a:cubicBezTo>
                      <a:pt x="1535873" y="157368"/>
                      <a:pt x="1509032" y="186229"/>
                      <a:pt x="1487716" y="173860"/>
                    </a:cubicBezTo>
                    <a:cubicBezTo>
                      <a:pt x="1466400" y="161491"/>
                      <a:pt x="1477037" y="144999"/>
                      <a:pt x="1457494" y="144999"/>
                    </a:cubicBezTo>
                    <a:cubicBezTo>
                      <a:pt x="1437951" y="144999"/>
                      <a:pt x="1471718" y="101789"/>
                      <a:pt x="1443269" y="120261"/>
                    </a:cubicBezTo>
                    <a:cubicBezTo>
                      <a:pt x="1414820" y="138732"/>
                      <a:pt x="1372229" y="184085"/>
                      <a:pt x="1352562" y="163511"/>
                    </a:cubicBezTo>
                    <a:cubicBezTo>
                      <a:pt x="1332895" y="142937"/>
                      <a:pt x="1315455" y="169696"/>
                      <a:pt x="1301024" y="153204"/>
                    </a:cubicBezTo>
                    <a:cubicBezTo>
                      <a:pt x="1286594" y="136712"/>
                      <a:pt x="1350748" y="91358"/>
                      <a:pt x="1380970" y="93543"/>
                    </a:cubicBezTo>
                    <a:cubicBezTo>
                      <a:pt x="1388391" y="94038"/>
                      <a:pt x="1395195" y="90245"/>
                      <a:pt x="1401585" y="84349"/>
                    </a:cubicBezTo>
                    <a:cubicBezTo>
                      <a:pt x="1385712" y="77587"/>
                      <a:pt x="1352933" y="62785"/>
                      <a:pt x="1344275" y="75031"/>
                    </a:cubicBezTo>
                    <a:cubicBezTo>
                      <a:pt x="1333638" y="90121"/>
                      <a:pt x="1318217" y="80473"/>
                      <a:pt x="1309930" y="68145"/>
                    </a:cubicBezTo>
                    <a:cubicBezTo>
                      <a:pt x="1301643" y="55817"/>
                      <a:pt x="1291005" y="72268"/>
                      <a:pt x="1276946" y="53096"/>
                    </a:cubicBezTo>
                    <a:cubicBezTo>
                      <a:pt x="1262886" y="33924"/>
                      <a:pt x="1248497" y="47571"/>
                      <a:pt x="1240209" y="51694"/>
                    </a:cubicBezTo>
                    <a:cubicBezTo>
                      <a:pt x="1231922" y="55817"/>
                      <a:pt x="1221285" y="44850"/>
                      <a:pt x="1205864" y="37965"/>
                    </a:cubicBezTo>
                    <a:cubicBezTo>
                      <a:pt x="1190444" y="31079"/>
                      <a:pt x="1202319" y="13226"/>
                      <a:pt x="1189372" y="2300"/>
                    </a:cubicBezTo>
                    <a:cubicBezTo>
                      <a:pt x="1176426" y="-8626"/>
                      <a:pt x="1175601" y="22916"/>
                      <a:pt x="1175601" y="22916"/>
                    </a:cubicBezTo>
                    <a:lnTo>
                      <a:pt x="71202" y="29595"/>
                    </a:lnTo>
                    <a:cubicBezTo>
                      <a:pt x="72414" y="31693"/>
                      <a:pt x="73791" y="33693"/>
                      <a:pt x="75325" y="35573"/>
                    </a:cubicBezTo>
                    <a:cubicBezTo>
                      <a:pt x="88601" y="52066"/>
                      <a:pt x="77964" y="64435"/>
                      <a:pt x="82417" y="83895"/>
                    </a:cubicBezTo>
                    <a:cubicBezTo>
                      <a:pt x="86870" y="103356"/>
                      <a:pt x="83282" y="131228"/>
                      <a:pt x="70048" y="131228"/>
                    </a:cubicBezTo>
                    <a:cubicBezTo>
                      <a:pt x="56813" y="131228"/>
                      <a:pt x="54957" y="113746"/>
                      <a:pt x="64729" y="107562"/>
                    </a:cubicBezTo>
                    <a:cubicBezTo>
                      <a:pt x="74500" y="101377"/>
                      <a:pt x="59070" y="82117"/>
                      <a:pt x="59410" y="78700"/>
                    </a:cubicBezTo>
                    <a:cubicBezTo>
                      <a:pt x="59750" y="75283"/>
                      <a:pt x="66520" y="96090"/>
                      <a:pt x="66768" y="87060"/>
                    </a:cubicBezTo>
                    <a:cubicBezTo>
                      <a:pt x="49987" y="92420"/>
                      <a:pt x="50961" y="95561"/>
                      <a:pt x="28903" y="92592"/>
                    </a:cubicBezTo>
                    <a:cubicBezTo>
                      <a:pt x="31855" y="103246"/>
                      <a:pt x="-1265" y="83887"/>
                      <a:pt x="38" y="94863"/>
                    </a:cubicBezTo>
                    <a:cubicBezTo>
                      <a:pt x="9562" y="106861"/>
                      <a:pt x="12407" y="120797"/>
                      <a:pt x="14593" y="136382"/>
                    </a:cubicBezTo>
                    <a:cubicBezTo>
                      <a:pt x="21354" y="152585"/>
                      <a:pt x="16118" y="163305"/>
                      <a:pt x="27415" y="170273"/>
                    </a:cubicBezTo>
                    <a:cubicBezTo>
                      <a:pt x="40733" y="178519"/>
                      <a:pt x="39784" y="187755"/>
                      <a:pt x="27415" y="185693"/>
                    </a:cubicBezTo>
                    <a:cubicBezTo>
                      <a:pt x="15046" y="183632"/>
                      <a:pt x="23869" y="196990"/>
                      <a:pt x="19417" y="227872"/>
                    </a:cubicBezTo>
                    <a:cubicBezTo>
                      <a:pt x="17437" y="241726"/>
                      <a:pt x="16489" y="262176"/>
                      <a:pt x="15871" y="282296"/>
                    </a:cubicBezTo>
                    <a:cubicBezTo>
                      <a:pt x="20365" y="298376"/>
                      <a:pt x="25684" y="314291"/>
                      <a:pt x="27250" y="330907"/>
                    </a:cubicBezTo>
                    <a:cubicBezTo>
                      <a:pt x="29724" y="356882"/>
                      <a:pt x="17726" y="371602"/>
                      <a:pt x="14510" y="394814"/>
                    </a:cubicBezTo>
                    <a:cubicBezTo>
                      <a:pt x="19458" y="432169"/>
                      <a:pt x="24323" y="469029"/>
                      <a:pt x="17066" y="507703"/>
                    </a:cubicBezTo>
                    <a:cubicBezTo>
                      <a:pt x="12201" y="533761"/>
                      <a:pt x="13397" y="532442"/>
                      <a:pt x="24983" y="558293"/>
                    </a:cubicBezTo>
                    <a:cubicBezTo>
                      <a:pt x="31266" y="572180"/>
                      <a:pt x="35006" y="587080"/>
                      <a:pt x="36032" y="602286"/>
                    </a:cubicBezTo>
                    <a:cubicBezTo>
                      <a:pt x="52661" y="621652"/>
                      <a:pt x="67693" y="642333"/>
                      <a:pt x="80974" y="664132"/>
                    </a:cubicBezTo>
                    <a:cubicBezTo>
                      <a:pt x="96476" y="689694"/>
                      <a:pt x="107691" y="711876"/>
                      <a:pt x="135192" y="725977"/>
                    </a:cubicBezTo>
                    <a:cubicBezTo>
                      <a:pt x="158363" y="737975"/>
                      <a:pt x="163146" y="774464"/>
                      <a:pt x="147066" y="794255"/>
                    </a:cubicBezTo>
                    <a:cubicBezTo>
                      <a:pt x="153914" y="801013"/>
                      <a:pt x="158087" y="810017"/>
                      <a:pt x="158817" y="819612"/>
                    </a:cubicBezTo>
                    <a:cubicBezTo>
                      <a:pt x="160788" y="822283"/>
                      <a:pt x="162907" y="824844"/>
                      <a:pt x="165166" y="827280"/>
                    </a:cubicBezTo>
                    <a:cubicBezTo>
                      <a:pt x="169590" y="831812"/>
                      <a:pt x="174596" y="835733"/>
                      <a:pt x="180050" y="838949"/>
                    </a:cubicBezTo>
                    <a:cubicBezTo>
                      <a:pt x="191471" y="842577"/>
                      <a:pt x="202686" y="850287"/>
                      <a:pt x="214313" y="858739"/>
                    </a:cubicBezTo>
                    <a:lnTo>
                      <a:pt x="217158" y="860760"/>
                    </a:lnTo>
                    <a:cubicBezTo>
                      <a:pt x="233650" y="872593"/>
                      <a:pt x="238969" y="865584"/>
                      <a:pt x="250390" y="868635"/>
                    </a:cubicBezTo>
                    <a:cubicBezTo>
                      <a:pt x="261810" y="871686"/>
                      <a:pt x="283374" y="900547"/>
                      <a:pt x="287497" y="920090"/>
                    </a:cubicBezTo>
                    <a:cubicBezTo>
                      <a:pt x="289711" y="930072"/>
                      <a:pt x="292717" y="939860"/>
                      <a:pt x="296485" y="949364"/>
                    </a:cubicBezTo>
                    <a:lnTo>
                      <a:pt x="388677" y="935676"/>
                    </a:lnTo>
                    <a:cubicBezTo>
                      <a:pt x="388677" y="935676"/>
                      <a:pt x="417126" y="958764"/>
                      <a:pt x="433288" y="963176"/>
                    </a:cubicBezTo>
                    <a:cubicBezTo>
                      <a:pt x="449450" y="967588"/>
                      <a:pt x="536735" y="1004901"/>
                      <a:pt x="536735" y="1004901"/>
                    </a:cubicBezTo>
                    <a:lnTo>
                      <a:pt x="650614" y="1003788"/>
                    </a:lnTo>
                    <a:lnTo>
                      <a:pt x="663890" y="984039"/>
                    </a:lnTo>
                    <a:lnTo>
                      <a:pt x="726519" y="984039"/>
                    </a:lnTo>
                    <a:cubicBezTo>
                      <a:pt x="726519" y="984039"/>
                      <a:pt x="766389" y="1029104"/>
                      <a:pt x="772079" y="1031330"/>
                    </a:cubicBezTo>
                    <a:cubicBezTo>
                      <a:pt x="777768" y="1033557"/>
                      <a:pt x="797724" y="1054378"/>
                      <a:pt x="797724" y="1067572"/>
                    </a:cubicBezTo>
                    <a:cubicBezTo>
                      <a:pt x="797724" y="1080766"/>
                      <a:pt x="802465" y="1091774"/>
                      <a:pt x="811948" y="1097258"/>
                    </a:cubicBezTo>
                    <a:cubicBezTo>
                      <a:pt x="821432" y="1102741"/>
                      <a:pt x="853715" y="1126943"/>
                      <a:pt x="858456" y="1124717"/>
                    </a:cubicBezTo>
                    <a:cubicBezTo>
                      <a:pt x="863198" y="1122491"/>
                      <a:pt x="872681" y="1080766"/>
                      <a:pt x="889750" y="1081879"/>
                    </a:cubicBezTo>
                    <a:cubicBezTo>
                      <a:pt x="906820" y="1082992"/>
                      <a:pt x="953369" y="1098371"/>
                      <a:pt x="960955" y="1129129"/>
                    </a:cubicBezTo>
                    <a:cubicBezTo>
                      <a:pt x="968542" y="1159887"/>
                      <a:pt x="991301" y="1185202"/>
                      <a:pt x="998887" y="1191758"/>
                    </a:cubicBezTo>
                    <a:cubicBezTo>
                      <a:pt x="1006474" y="1198314"/>
                      <a:pt x="1002722" y="1217032"/>
                      <a:pt x="1008412" y="1226927"/>
                    </a:cubicBezTo>
                    <a:cubicBezTo>
                      <a:pt x="1014101" y="1236823"/>
                      <a:pt x="1013153" y="1255541"/>
                      <a:pt x="1019791" y="1255541"/>
                    </a:cubicBezTo>
                    <a:cubicBezTo>
                      <a:pt x="1026429" y="1255541"/>
                      <a:pt x="1060609" y="1279744"/>
                      <a:pt x="1075782" y="1278631"/>
                    </a:cubicBezTo>
                    <a:cubicBezTo>
                      <a:pt x="1080318" y="1278301"/>
                      <a:pt x="1086296" y="1281475"/>
                      <a:pt x="1092275" y="1285846"/>
                    </a:cubicBezTo>
                    <a:cubicBezTo>
                      <a:pt x="1094130" y="1249068"/>
                      <a:pt x="1061475" y="1242884"/>
                      <a:pt x="1080689" y="1226020"/>
                    </a:cubicBezTo>
                    <a:cubicBezTo>
                      <a:pt x="1102912" y="1206436"/>
                      <a:pt x="1079823" y="1189944"/>
                      <a:pt x="1090460" y="1181739"/>
                    </a:cubicBezTo>
                    <a:cubicBezTo>
                      <a:pt x="1098954" y="1175183"/>
                      <a:pt x="1112395" y="1168586"/>
                      <a:pt x="1117549" y="1159969"/>
                    </a:cubicBezTo>
                    <a:cubicBezTo>
                      <a:pt x="1118109" y="1157607"/>
                      <a:pt x="1118856" y="1155289"/>
                      <a:pt x="1119775" y="1153042"/>
                    </a:cubicBezTo>
                    <a:lnTo>
                      <a:pt x="1119775" y="1153042"/>
                    </a:lnTo>
                    <a:cubicBezTo>
                      <a:pt x="1119144" y="1148635"/>
                      <a:pt x="1121664" y="1144380"/>
                      <a:pt x="1125836" y="1142817"/>
                    </a:cubicBezTo>
                    <a:cubicBezTo>
                      <a:pt x="1127625" y="1140566"/>
                      <a:pt x="1129625" y="1138496"/>
                      <a:pt x="1131814" y="1136633"/>
                    </a:cubicBezTo>
                    <a:cubicBezTo>
                      <a:pt x="1132771" y="1133891"/>
                      <a:pt x="1133917" y="1131219"/>
                      <a:pt x="1135237" y="1128634"/>
                    </a:cubicBezTo>
                    <a:cubicBezTo>
                      <a:pt x="1140926" y="1118631"/>
                      <a:pt x="1150286" y="1111239"/>
                      <a:pt x="1161336" y="1108019"/>
                    </a:cubicBezTo>
                    <a:cubicBezTo>
                      <a:pt x="1166201" y="1106518"/>
                      <a:pt x="1171330" y="1106056"/>
                      <a:pt x="1176385" y="1106658"/>
                    </a:cubicBezTo>
                    <a:cubicBezTo>
                      <a:pt x="1178290" y="1103014"/>
                      <a:pt x="1180660" y="1099633"/>
                      <a:pt x="1183435" y="1096598"/>
                    </a:cubicBezTo>
                    <a:cubicBezTo>
                      <a:pt x="1183909" y="1095629"/>
                      <a:pt x="1184693" y="1094846"/>
                      <a:pt x="1185661" y="1094372"/>
                    </a:cubicBezTo>
                    <a:cubicBezTo>
                      <a:pt x="1187929" y="1092158"/>
                      <a:pt x="1190432" y="1090191"/>
                      <a:pt x="1193124" y="1088517"/>
                    </a:cubicBezTo>
                    <a:lnTo>
                      <a:pt x="1194320" y="1087940"/>
                    </a:lnTo>
                    <a:cubicBezTo>
                      <a:pt x="1194526" y="1086579"/>
                      <a:pt x="1194567" y="1085260"/>
                      <a:pt x="1194897" y="1083817"/>
                    </a:cubicBezTo>
                    <a:cubicBezTo>
                      <a:pt x="1197899" y="1072602"/>
                      <a:pt x="1205085" y="1062966"/>
                      <a:pt x="1214976" y="1056893"/>
                    </a:cubicBezTo>
                    <a:cubicBezTo>
                      <a:pt x="1225111" y="1050873"/>
                      <a:pt x="1237253" y="1049236"/>
                      <a:pt x="1248620" y="1052358"/>
                    </a:cubicBezTo>
                    <a:cubicBezTo>
                      <a:pt x="1252529" y="1053525"/>
                      <a:pt x="1256248" y="1055248"/>
                      <a:pt x="1259670" y="1057470"/>
                    </a:cubicBezTo>
                    <a:cubicBezTo>
                      <a:pt x="1262284" y="1057000"/>
                      <a:pt x="1264931" y="1056765"/>
                      <a:pt x="1267586" y="1056769"/>
                    </a:cubicBezTo>
                    <a:cubicBezTo>
                      <a:pt x="1283332" y="1056180"/>
                      <a:pt x="1297920" y="1065011"/>
                      <a:pt x="1304694" y="1079240"/>
                    </a:cubicBezTo>
                    <a:cubicBezTo>
                      <a:pt x="1309971" y="1079611"/>
                      <a:pt x="1318795" y="1089589"/>
                      <a:pt x="1326834" y="1099567"/>
                    </a:cubicBezTo>
                    <a:cubicBezTo>
                      <a:pt x="1338379" y="1113956"/>
                      <a:pt x="1343698" y="1109833"/>
                      <a:pt x="1360561" y="1110864"/>
                    </a:cubicBezTo>
                    <a:cubicBezTo>
                      <a:pt x="1377424" y="1111895"/>
                      <a:pt x="1377466" y="1106741"/>
                      <a:pt x="1378331" y="1094372"/>
                    </a:cubicBezTo>
                    <a:cubicBezTo>
                      <a:pt x="1378991" y="1085383"/>
                      <a:pt x="1388639" y="1103690"/>
                      <a:pt x="1400348" y="1114987"/>
                    </a:cubicBezTo>
                    <a:cubicBezTo>
                      <a:pt x="1403169" y="1111008"/>
                      <a:pt x="1406739" y="1107615"/>
                      <a:pt x="1410862" y="1105009"/>
                    </a:cubicBezTo>
                    <a:cubicBezTo>
                      <a:pt x="1408966" y="1103112"/>
                      <a:pt x="1406986" y="1101216"/>
                      <a:pt x="1405007" y="1099443"/>
                    </a:cubicBezTo>
                    <a:cubicBezTo>
                      <a:pt x="1392638" y="1088104"/>
                      <a:pt x="1407646" y="1082951"/>
                      <a:pt x="1397009" y="1073715"/>
                    </a:cubicBezTo>
                    <a:cubicBezTo>
                      <a:pt x="1386371" y="1064479"/>
                      <a:pt x="1410326" y="1052110"/>
                      <a:pt x="1431642" y="1053100"/>
                    </a:cubicBezTo>
                    <a:cubicBezTo>
                      <a:pt x="1452959" y="1054089"/>
                      <a:pt x="1452258" y="1060315"/>
                      <a:pt x="1460091" y="1045884"/>
                    </a:cubicBezTo>
                    <a:cubicBezTo>
                      <a:pt x="1467925" y="1031454"/>
                      <a:pt x="1476089" y="1045884"/>
                      <a:pt x="1476089" y="1058254"/>
                    </a:cubicBezTo>
                    <a:cubicBezTo>
                      <a:pt x="1476089" y="1070623"/>
                      <a:pt x="1510722" y="1051080"/>
                      <a:pt x="1529358" y="1051080"/>
                    </a:cubicBezTo>
                    <a:cubicBezTo>
                      <a:pt x="1547995" y="1051080"/>
                      <a:pt x="1564899" y="1069592"/>
                      <a:pt x="1566672" y="1081961"/>
                    </a:cubicBezTo>
                    <a:cubicBezTo>
                      <a:pt x="1568445" y="1094330"/>
                      <a:pt x="1580897" y="1100474"/>
                      <a:pt x="1594214" y="1087074"/>
                    </a:cubicBezTo>
                    <a:cubicBezTo>
                      <a:pt x="1607531" y="1073674"/>
                      <a:pt x="1618952" y="1058212"/>
                      <a:pt x="1631528" y="1072684"/>
                    </a:cubicBezTo>
                    <a:cubicBezTo>
                      <a:pt x="1644103" y="1087156"/>
                      <a:pt x="1656266" y="1106617"/>
                      <a:pt x="1671521" y="1124099"/>
                    </a:cubicBezTo>
                    <a:cubicBezTo>
                      <a:pt x="1686777" y="1141580"/>
                      <a:pt x="1664388" y="1163226"/>
                      <a:pt x="1672387" y="1176585"/>
                    </a:cubicBezTo>
                    <a:cubicBezTo>
                      <a:pt x="1680386" y="1189944"/>
                      <a:pt x="1671521" y="1208497"/>
                      <a:pt x="1689250" y="1222887"/>
                    </a:cubicBezTo>
                    <a:cubicBezTo>
                      <a:pt x="1697909" y="1229896"/>
                      <a:pt x="1698568" y="1240534"/>
                      <a:pt x="1698610" y="1250099"/>
                    </a:cubicBezTo>
                    <a:cubicBezTo>
                      <a:pt x="1699764" y="1251047"/>
                      <a:pt x="1700877" y="1252078"/>
                      <a:pt x="1701908" y="1253109"/>
                    </a:cubicBezTo>
                    <a:cubicBezTo>
                      <a:pt x="1708031" y="1259640"/>
                      <a:pt x="1712162" y="1267775"/>
                      <a:pt x="1713824" y="1276569"/>
                    </a:cubicBezTo>
                    <a:cubicBezTo>
                      <a:pt x="1723183" y="1286233"/>
                      <a:pt x="1729739" y="1298264"/>
                      <a:pt x="1732790" y="1311368"/>
                    </a:cubicBezTo>
                    <a:cubicBezTo>
                      <a:pt x="1734604" y="1321634"/>
                      <a:pt x="1761239" y="1335034"/>
                      <a:pt x="1763012" y="1317552"/>
                    </a:cubicBezTo>
                    <a:cubicBezTo>
                      <a:pt x="1764088" y="1310254"/>
                      <a:pt x="1766170" y="1303121"/>
                      <a:pt x="1769196" y="1296401"/>
                    </a:cubicBezTo>
                    <a:cubicBezTo>
                      <a:pt x="1768784" y="1294117"/>
                      <a:pt x="1768574" y="1291795"/>
                      <a:pt x="1768578" y="1289474"/>
                    </a:cubicBezTo>
                    <a:cubicBezTo>
                      <a:pt x="1768578" y="1269395"/>
                      <a:pt x="1769608" y="1249398"/>
                      <a:pt x="1767135" y="1229401"/>
                    </a:cubicBezTo>
                    <a:cubicBezTo>
                      <a:pt x="1766195" y="1221605"/>
                      <a:pt x="1767988" y="1213721"/>
                      <a:pt x="1772206" y="1207096"/>
                    </a:cubicBezTo>
                    <a:cubicBezTo>
                      <a:pt x="1771711" y="1205117"/>
                      <a:pt x="1771216" y="1202972"/>
                      <a:pt x="1770680" y="1201200"/>
                    </a:cubicBezTo>
                    <a:cubicBezTo>
                      <a:pt x="1759593" y="1192306"/>
                      <a:pt x="1752964" y="1179001"/>
                      <a:pt x="1752539" y="1164793"/>
                    </a:cubicBezTo>
                    <a:cubicBezTo>
                      <a:pt x="1752539" y="1153208"/>
                      <a:pt x="1750601" y="1141745"/>
                      <a:pt x="1749941" y="1130160"/>
                    </a:cubicBezTo>
                    <a:cubicBezTo>
                      <a:pt x="1749051" y="1128449"/>
                      <a:pt x="1748074" y="1126783"/>
                      <a:pt x="1747014" y="1125171"/>
                    </a:cubicBezTo>
                    <a:cubicBezTo>
                      <a:pt x="1732790" y="1103525"/>
                      <a:pt x="1723925" y="1065469"/>
                      <a:pt x="1724832" y="1034464"/>
                    </a:cubicBezTo>
                    <a:cubicBezTo>
                      <a:pt x="1725607" y="1023768"/>
                      <a:pt x="1728155" y="1013275"/>
                      <a:pt x="1732377" y="1003417"/>
                    </a:cubicBezTo>
                    <a:cubicBezTo>
                      <a:pt x="1727224" y="983008"/>
                      <a:pt x="1734563" y="958806"/>
                      <a:pt x="1754353" y="949405"/>
                    </a:cubicBezTo>
                    <a:cubicBezTo>
                      <a:pt x="1758208" y="941683"/>
                      <a:pt x="1764059" y="935135"/>
                      <a:pt x="1771299" y="930439"/>
                    </a:cubicBezTo>
                    <a:cubicBezTo>
                      <a:pt x="1779397" y="925430"/>
                      <a:pt x="1789007" y="923442"/>
                      <a:pt x="1798428" y="924832"/>
                    </a:cubicBezTo>
                    <a:cubicBezTo>
                      <a:pt x="1803195" y="923212"/>
                      <a:pt x="1806671" y="919084"/>
                      <a:pt x="1807458" y="914112"/>
                    </a:cubicBezTo>
                    <a:cubicBezTo>
                      <a:pt x="1811004" y="897620"/>
                      <a:pt x="1829640" y="877004"/>
                      <a:pt x="1840442" y="877004"/>
                    </a:cubicBezTo>
                    <a:lnTo>
                      <a:pt x="1845019" y="877004"/>
                    </a:lnTo>
                    <a:cubicBezTo>
                      <a:pt x="1838092" y="852555"/>
                      <a:pt x="1849142" y="821797"/>
                      <a:pt x="1878746" y="817880"/>
                    </a:cubicBezTo>
                    <a:cubicBezTo>
                      <a:pt x="1886398" y="807861"/>
                      <a:pt x="1898384" y="802113"/>
                      <a:pt x="1910988" y="802419"/>
                    </a:cubicBezTo>
                    <a:lnTo>
                      <a:pt x="1910617" y="801759"/>
                    </a:lnTo>
                    <a:cubicBezTo>
                      <a:pt x="1904391" y="789390"/>
                      <a:pt x="1915935" y="777021"/>
                      <a:pt x="1920388" y="785267"/>
                    </a:cubicBezTo>
                    <a:cubicBezTo>
                      <a:pt x="1924841" y="793513"/>
                      <a:pt x="1939024" y="794543"/>
                      <a:pt x="1947930" y="787369"/>
                    </a:cubicBezTo>
                    <a:cubicBezTo>
                      <a:pt x="1956836" y="780195"/>
                      <a:pt x="1977245" y="760611"/>
                      <a:pt x="1957702" y="759580"/>
                    </a:cubicBezTo>
                    <a:cubicBezTo>
                      <a:pt x="1938159" y="758549"/>
                      <a:pt x="1933706" y="749273"/>
                      <a:pt x="1945333" y="744119"/>
                    </a:cubicBezTo>
                    <a:cubicBezTo>
                      <a:pt x="1956960" y="738965"/>
                      <a:pt x="1947106" y="714309"/>
                      <a:pt x="1931108" y="712248"/>
                    </a:cubicBezTo>
                    <a:cubicBezTo>
                      <a:pt x="1915111" y="710186"/>
                      <a:pt x="1920471" y="700909"/>
                      <a:pt x="1930242" y="689571"/>
                    </a:cubicBezTo>
                    <a:cubicBezTo>
                      <a:pt x="1940014" y="678233"/>
                      <a:pt x="1916018" y="659761"/>
                      <a:pt x="1904473" y="650484"/>
                    </a:cubicBezTo>
                    <a:cubicBezTo>
                      <a:pt x="1892929" y="641207"/>
                      <a:pt x="1911565" y="636095"/>
                      <a:pt x="1920471" y="633992"/>
                    </a:cubicBezTo>
                    <a:cubicBezTo>
                      <a:pt x="1929376" y="631890"/>
                      <a:pt x="1922244" y="584516"/>
                      <a:pt x="1926697" y="573301"/>
                    </a:cubicBezTo>
                    <a:cubicBezTo>
                      <a:pt x="1931149" y="562086"/>
                      <a:pt x="1946240" y="562004"/>
                      <a:pt x="1940014" y="573301"/>
                    </a:cubicBezTo>
                    <a:cubicBezTo>
                      <a:pt x="1933788" y="584598"/>
                      <a:pt x="1924882" y="603110"/>
                      <a:pt x="1936468" y="618654"/>
                    </a:cubicBezTo>
                    <a:cubicBezTo>
                      <a:pt x="1942574" y="626571"/>
                      <a:pt x="1946574" y="635905"/>
                      <a:pt x="1948095" y="645784"/>
                    </a:cubicBezTo>
                    <a:cubicBezTo>
                      <a:pt x="1948878" y="644795"/>
                      <a:pt x="1949662" y="643805"/>
                      <a:pt x="1950486" y="642898"/>
                    </a:cubicBezTo>
                    <a:cubicBezTo>
                      <a:pt x="1951996" y="641364"/>
                      <a:pt x="1953653" y="639983"/>
                      <a:pt x="1955434" y="638775"/>
                    </a:cubicBezTo>
                    <a:cubicBezTo>
                      <a:pt x="1955418" y="638639"/>
                      <a:pt x="1955418" y="638499"/>
                      <a:pt x="1955434" y="638362"/>
                    </a:cubicBezTo>
                    <a:cubicBezTo>
                      <a:pt x="1955178" y="636561"/>
                      <a:pt x="1955038" y="634742"/>
                      <a:pt x="1955022" y="632920"/>
                    </a:cubicBezTo>
                    <a:cubicBezTo>
                      <a:pt x="1955154" y="623231"/>
                      <a:pt x="1958295" y="613822"/>
                      <a:pt x="1964010" y="605997"/>
                    </a:cubicBezTo>
                    <a:cubicBezTo>
                      <a:pt x="1965024" y="604422"/>
                      <a:pt x="1965960" y="602801"/>
                      <a:pt x="1966814" y="601132"/>
                    </a:cubicBezTo>
                    <a:cubicBezTo>
                      <a:pt x="1966954" y="600806"/>
                      <a:pt x="1967131" y="600501"/>
                      <a:pt x="1967350" y="600224"/>
                    </a:cubicBezTo>
                    <a:cubicBezTo>
                      <a:pt x="1967597" y="599482"/>
                      <a:pt x="1967927" y="598823"/>
                      <a:pt x="1968215" y="598122"/>
                    </a:cubicBezTo>
                    <a:cubicBezTo>
                      <a:pt x="1962402" y="590494"/>
                      <a:pt x="1964092" y="568106"/>
                      <a:pt x="1972710" y="580805"/>
                    </a:cubicBezTo>
                    <a:cubicBezTo>
                      <a:pt x="1974194" y="582949"/>
                      <a:pt x="1975472" y="584639"/>
                      <a:pt x="1976833" y="586206"/>
                    </a:cubicBezTo>
                    <a:cubicBezTo>
                      <a:pt x="1978099" y="584854"/>
                      <a:pt x="1979480" y="583613"/>
                      <a:pt x="1980956" y="582495"/>
                    </a:cubicBezTo>
                    <a:cubicBezTo>
                      <a:pt x="1982824" y="580747"/>
                      <a:pt x="1984901" y="579234"/>
                      <a:pt x="1987140" y="578001"/>
                    </a:cubicBezTo>
                    <a:cubicBezTo>
                      <a:pt x="1987478" y="577651"/>
                      <a:pt x="1987837" y="577321"/>
                      <a:pt x="1988212" y="577012"/>
                    </a:cubicBezTo>
                    <a:cubicBezTo>
                      <a:pt x="1992806" y="572274"/>
                      <a:pt x="1998458" y="568700"/>
                      <a:pt x="2004705" y="566580"/>
                    </a:cubicBezTo>
                    <a:cubicBezTo>
                      <a:pt x="2004824" y="553778"/>
                      <a:pt x="2010242" y="541595"/>
                      <a:pt x="2019671" y="532936"/>
                    </a:cubicBezTo>
                    <a:cubicBezTo>
                      <a:pt x="2020648" y="529473"/>
                      <a:pt x="2022029" y="526137"/>
                      <a:pt x="2023794" y="523000"/>
                    </a:cubicBezTo>
                    <a:lnTo>
                      <a:pt x="2023794" y="523000"/>
                    </a:lnTo>
                    <a:cubicBezTo>
                      <a:pt x="2023468" y="522357"/>
                      <a:pt x="2023036" y="521771"/>
                      <a:pt x="2022516" y="521268"/>
                    </a:cubicBezTo>
                    <a:cubicBezTo>
                      <a:pt x="2013981" y="515001"/>
                      <a:pt x="2023794" y="508899"/>
                      <a:pt x="2038225" y="507909"/>
                    </a:cubicBezTo>
                    <a:cubicBezTo>
                      <a:pt x="2039012" y="507308"/>
                      <a:pt x="2039841" y="506759"/>
                      <a:pt x="2040699" y="506260"/>
                    </a:cubicBezTo>
                    <a:cubicBezTo>
                      <a:pt x="2048071" y="501119"/>
                      <a:pt x="2056783" y="498253"/>
                      <a:pt x="2065767" y="498014"/>
                    </a:cubicBezTo>
                    <a:cubicBezTo>
                      <a:pt x="2067960" y="497936"/>
                      <a:pt x="2070158" y="498088"/>
                      <a:pt x="2072322" y="498468"/>
                    </a:cubicBezTo>
                    <a:lnTo>
                      <a:pt x="2072858" y="498179"/>
                    </a:lnTo>
                    <a:cubicBezTo>
                      <a:pt x="2075538" y="496983"/>
                      <a:pt x="2078219" y="495746"/>
                      <a:pt x="2081105" y="494633"/>
                    </a:cubicBezTo>
                    <a:cubicBezTo>
                      <a:pt x="2087813" y="490415"/>
                      <a:pt x="2095721" y="488502"/>
                      <a:pt x="2103616" y="489191"/>
                    </a:cubicBezTo>
                    <a:cubicBezTo>
                      <a:pt x="2111244" y="469895"/>
                      <a:pt x="2042265" y="498715"/>
                      <a:pt x="2042265" y="487500"/>
                    </a:cubicBezTo>
                    <a:cubicBezTo>
                      <a:pt x="2042265" y="476286"/>
                      <a:pt x="2086671" y="464824"/>
                      <a:pt x="2107121" y="463834"/>
                    </a:cubicBezTo>
                    <a:cubicBezTo>
                      <a:pt x="2127571" y="462845"/>
                      <a:pt x="2117759" y="430850"/>
                      <a:pt x="2126623" y="444250"/>
                    </a:cubicBezTo>
                    <a:cubicBezTo>
                      <a:pt x="2134457" y="456000"/>
                      <a:pt x="2145672" y="455835"/>
                      <a:pt x="2156103" y="450063"/>
                    </a:cubicBezTo>
                    <a:cubicBezTo>
                      <a:pt x="2155757" y="448290"/>
                      <a:pt x="2155509" y="446501"/>
                      <a:pt x="2155361" y="444703"/>
                    </a:cubicBezTo>
                    <a:cubicBezTo>
                      <a:pt x="2151077" y="437694"/>
                      <a:pt x="2148850" y="429621"/>
                      <a:pt x="2148929" y="421408"/>
                    </a:cubicBezTo>
                    <a:cubicBezTo>
                      <a:pt x="2148929" y="418068"/>
                      <a:pt x="2149547" y="414770"/>
                      <a:pt x="2150042" y="411471"/>
                    </a:cubicBezTo>
                    <a:lnTo>
                      <a:pt x="2149753" y="411471"/>
                    </a:lnTo>
                    <a:cubicBezTo>
                      <a:pt x="2140435" y="408585"/>
                      <a:pt x="2148846" y="402731"/>
                      <a:pt x="2153299" y="396299"/>
                    </a:cubicBezTo>
                    <a:cubicBezTo>
                      <a:pt x="2153938" y="394324"/>
                      <a:pt x="2154713" y="392398"/>
                      <a:pt x="2155608" y="390526"/>
                    </a:cubicBezTo>
                    <a:cubicBezTo>
                      <a:pt x="2155629" y="389590"/>
                      <a:pt x="2155447" y="388663"/>
                      <a:pt x="2155072" y="387805"/>
                    </a:cubicBezTo>
                    <a:cubicBezTo>
                      <a:pt x="2154961" y="387541"/>
                      <a:pt x="2154878" y="387265"/>
                      <a:pt x="2154825" y="386980"/>
                    </a:cubicBezTo>
                    <a:cubicBezTo>
                      <a:pt x="2151089" y="380041"/>
                      <a:pt x="2149069" y="372306"/>
                      <a:pt x="2148929" y="364428"/>
                    </a:cubicBezTo>
                    <a:cubicBezTo>
                      <a:pt x="2148764" y="340596"/>
                      <a:pt x="2166740" y="320550"/>
                      <a:pt x="2190448" y="318126"/>
                    </a:cubicBezTo>
                    <a:cubicBezTo>
                      <a:pt x="2199659" y="309075"/>
                      <a:pt x="2211257" y="302837"/>
                      <a:pt x="2223886" y="300149"/>
                    </a:cubicBezTo>
                    <a:cubicBezTo>
                      <a:pt x="2226446" y="295346"/>
                      <a:pt x="2229485" y="290819"/>
                      <a:pt x="2232956" y="286625"/>
                    </a:cubicBezTo>
                    <a:cubicBezTo>
                      <a:pt x="2245326" y="272195"/>
                      <a:pt x="2263178" y="309220"/>
                      <a:pt x="2282722" y="288646"/>
                    </a:cubicBezTo>
                    <a:cubicBezTo>
                      <a:pt x="2291945" y="279155"/>
                      <a:pt x="2301960" y="270467"/>
                      <a:pt x="2312655" y="262671"/>
                    </a:cubicBezTo>
                    <a:cubicBezTo>
                      <a:pt x="2267136" y="192950"/>
                      <a:pt x="2280042" y="146318"/>
                      <a:pt x="2278928" y="133619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</a:lstStyle>
              <a:p>
                <a:pPr marL="0" marR="0" lvl="0" indent="0" algn="l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0" name="US group">
                <a:extLst>
                  <a:ext uri="{FF2B5EF4-FFF2-40B4-BE49-F238E27FC236}">
                    <a16:creationId xmlns:a16="http://schemas.microsoft.com/office/drawing/2014/main" id="{E9D24B25-511B-F5C8-5DFB-919EDB19590E}"/>
                  </a:ext>
                </a:extLst>
              </p:cNvPr>
              <p:cNvSpPr/>
              <p:nvPr>
                <p:custDataLst>
                  <p:tags r:id="rId539"/>
                </p:custDataLst>
              </p:nvPr>
            </p:nvSpPr>
            <p:spPr>
              <a:xfrm>
                <a:off x="923060" y="1708158"/>
                <a:ext cx="1317853" cy="1029913"/>
              </a:xfrm>
              <a:custGeom>
                <a:avLst/>
                <a:gdLst>
                  <a:gd name="connsiteX0" fmla="*/ 1524316 w 1538831"/>
                  <a:gd name="connsiteY0" fmla="*/ 1137379 h 1202610"/>
                  <a:gd name="connsiteX1" fmla="*/ 1486425 w 1538831"/>
                  <a:gd name="connsiteY1" fmla="*/ 1087903 h 1202610"/>
                  <a:gd name="connsiteX2" fmla="*/ 1415343 w 1538831"/>
                  <a:gd name="connsiteY2" fmla="*/ 990475 h 1202610"/>
                  <a:gd name="connsiteX3" fmla="*/ 1328760 w 1538831"/>
                  <a:gd name="connsiteY3" fmla="*/ 876638 h 1202610"/>
                  <a:gd name="connsiteX4" fmla="*/ 1274253 w 1538831"/>
                  <a:gd name="connsiteY4" fmla="*/ 873875 h 1202610"/>
                  <a:gd name="connsiteX5" fmla="*/ 1237558 w 1538831"/>
                  <a:gd name="connsiteY5" fmla="*/ 906860 h 1202610"/>
                  <a:gd name="connsiteX6" fmla="*/ 1206759 w 1538831"/>
                  <a:gd name="connsiteY6" fmla="*/ 883523 h 1202610"/>
                  <a:gd name="connsiteX7" fmla="*/ 1166476 w 1538831"/>
                  <a:gd name="connsiteY7" fmla="*/ 836892 h 1202610"/>
                  <a:gd name="connsiteX8" fmla="*/ 1139223 w 1538831"/>
                  <a:gd name="connsiteY8" fmla="*/ 813596 h 1202610"/>
                  <a:gd name="connsiteX9" fmla="*/ 1102528 w 1538831"/>
                  <a:gd name="connsiteY9" fmla="*/ 821842 h 1202610"/>
                  <a:gd name="connsiteX10" fmla="*/ 1081212 w 1538831"/>
                  <a:gd name="connsiteY10" fmla="*/ 816812 h 1202610"/>
                  <a:gd name="connsiteX11" fmla="*/ 1081212 w 1538831"/>
                  <a:gd name="connsiteY11" fmla="*/ 105463 h 1202610"/>
                  <a:gd name="connsiteX12" fmla="*/ 1062823 w 1538831"/>
                  <a:gd name="connsiteY12" fmla="*/ 101052 h 1202610"/>
                  <a:gd name="connsiteX13" fmla="*/ 983248 w 1538831"/>
                  <a:gd name="connsiteY13" fmla="*/ 73633 h 1202610"/>
                  <a:gd name="connsiteX14" fmla="*/ 956531 w 1538831"/>
                  <a:gd name="connsiteY14" fmla="*/ 100804 h 1202610"/>
                  <a:gd name="connsiteX15" fmla="*/ 876214 w 1538831"/>
                  <a:gd name="connsiteY15" fmla="*/ 85508 h 1202610"/>
                  <a:gd name="connsiteX16" fmla="*/ 828387 w 1538831"/>
                  <a:gd name="connsiteY16" fmla="*/ 127851 h 1202610"/>
                  <a:gd name="connsiteX17" fmla="*/ 776807 w 1538831"/>
                  <a:gd name="connsiteY17" fmla="*/ 101052 h 1202610"/>
                  <a:gd name="connsiteX18" fmla="*/ 750667 w 1538831"/>
                  <a:gd name="connsiteY18" fmla="*/ 82828 h 1202610"/>
                  <a:gd name="connsiteX19" fmla="*/ 743782 w 1538831"/>
                  <a:gd name="connsiteY19" fmla="*/ 75571 h 1202610"/>
                  <a:gd name="connsiteX20" fmla="*/ 685729 w 1538831"/>
                  <a:gd name="connsiteY20" fmla="*/ 70788 h 1202610"/>
                  <a:gd name="connsiteX21" fmla="*/ 656868 w 1538831"/>
                  <a:gd name="connsiteY21" fmla="*/ 44896 h 1202610"/>
                  <a:gd name="connsiteX22" fmla="*/ 652333 w 1538831"/>
                  <a:gd name="connsiteY22" fmla="*/ 46545 h 1202610"/>
                  <a:gd name="connsiteX23" fmla="*/ 626564 w 1538831"/>
                  <a:gd name="connsiteY23" fmla="*/ 33145 h 1202610"/>
                  <a:gd name="connsiteX24" fmla="*/ 614194 w 1538831"/>
                  <a:gd name="connsiteY24" fmla="*/ 9479 h 1202610"/>
                  <a:gd name="connsiteX25" fmla="*/ 544927 w 1538831"/>
                  <a:gd name="connsiteY25" fmla="*/ 10509 h 1202610"/>
                  <a:gd name="connsiteX26" fmla="*/ 526126 w 1538831"/>
                  <a:gd name="connsiteY26" fmla="*/ -4 h 1202610"/>
                  <a:gd name="connsiteX27" fmla="*/ 497265 w 1538831"/>
                  <a:gd name="connsiteY27" fmla="*/ 6057 h 1202610"/>
                  <a:gd name="connsiteX28" fmla="*/ 487040 w 1538831"/>
                  <a:gd name="connsiteY28" fmla="*/ 9149 h 1202610"/>
                  <a:gd name="connsiteX29" fmla="*/ 410475 w 1538831"/>
                  <a:gd name="connsiteY29" fmla="*/ 40649 h 1202610"/>
                  <a:gd name="connsiteX30" fmla="*/ 365657 w 1538831"/>
                  <a:gd name="connsiteY30" fmla="*/ 76684 h 1202610"/>
                  <a:gd name="connsiteX31" fmla="*/ 327766 w 1538831"/>
                  <a:gd name="connsiteY31" fmla="*/ 79735 h 1202610"/>
                  <a:gd name="connsiteX32" fmla="*/ 324056 w 1538831"/>
                  <a:gd name="connsiteY32" fmla="*/ 81343 h 1202610"/>
                  <a:gd name="connsiteX33" fmla="*/ 175626 w 1538831"/>
                  <a:gd name="connsiteY33" fmla="*/ 148590 h 1202610"/>
                  <a:gd name="connsiteX34" fmla="*/ 172740 w 1538831"/>
                  <a:gd name="connsiteY34" fmla="*/ 152425 h 1202610"/>
                  <a:gd name="connsiteX35" fmla="*/ 155093 w 1538831"/>
                  <a:gd name="connsiteY35" fmla="*/ 165907 h 1202610"/>
                  <a:gd name="connsiteX36" fmla="*/ 130767 w 1538831"/>
                  <a:gd name="connsiteY36" fmla="*/ 185904 h 1202610"/>
                  <a:gd name="connsiteX37" fmla="*/ 120954 w 1538831"/>
                  <a:gd name="connsiteY37" fmla="*/ 193861 h 1202610"/>
                  <a:gd name="connsiteX38" fmla="*/ 84713 w 1538831"/>
                  <a:gd name="connsiteY38" fmla="*/ 199634 h 1202610"/>
                  <a:gd name="connsiteX39" fmla="*/ 68509 w 1538831"/>
                  <a:gd name="connsiteY39" fmla="*/ 207385 h 1202610"/>
                  <a:gd name="connsiteX40" fmla="*/ 59150 w 1538831"/>
                  <a:gd name="connsiteY40" fmla="*/ 211508 h 1202610"/>
                  <a:gd name="connsiteX41" fmla="*/ 98236 w 1538831"/>
                  <a:gd name="connsiteY41" fmla="*/ 235752 h 1202610"/>
                  <a:gd name="connsiteX42" fmla="*/ 126520 w 1538831"/>
                  <a:gd name="connsiteY42" fmla="*/ 233360 h 1202610"/>
                  <a:gd name="connsiteX43" fmla="*/ 173523 w 1538831"/>
                  <a:gd name="connsiteY43" fmla="*/ 262221 h 1202610"/>
                  <a:gd name="connsiteX44" fmla="*/ 197066 w 1538831"/>
                  <a:gd name="connsiteY44" fmla="*/ 288939 h 1202610"/>
                  <a:gd name="connsiteX45" fmla="*/ 236853 w 1538831"/>
                  <a:gd name="connsiteY45" fmla="*/ 320315 h 1202610"/>
                  <a:gd name="connsiteX46" fmla="*/ 238461 w 1538831"/>
                  <a:gd name="connsiteY46" fmla="*/ 320315 h 1202610"/>
                  <a:gd name="connsiteX47" fmla="*/ 251779 w 1538831"/>
                  <a:gd name="connsiteY47" fmla="*/ 360432 h 1202610"/>
                  <a:gd name="connsiteX48" fmla="*/ 294452 w 1538831"/>
                  <a:gd name="connsiteY48" fmla="*/ 370740 h 1202610"/>
                  <a:gd name="connsiteX49" fmla="*/ 246460 w 1538831"/>
                  <a:gd name="connsiteY49" fmla="*/ 386160 h 1202610"/>
                  <a:gd name="connsiteX50" fmla="*/ 212692 w 1538831"/>
                  <a:gd name="connsiteY50" fmla="*/ 397457 h 1202610"/>
                  <a:gd name="connsiteX51" fmla="*/ 161195 w 1538831"/>
                  <a:gd name="connsiteY51" fmla="*/ 395437 h 1202610"/>
                  <a:gd name="connsiteX52" fmla="*/ 160824 w 1538831"/>
                  <a:gd name="connsiteY52" fmla="*/ 365751 h 1202610"/>
                  <a:gd name="connsiteX53" fmla="*/ 137034 w 1538831"/>
                  <a:gd name="connsiteY53" fmla="*/ 354207 h 1202610"/>
                  <a:gd name="connsiteX54" fmla="*/ 111348 w 1538831"/>
                  <a:gd name="connsiteY54" fmla="*/ 365504 h 1202610"/>
                  <a:gd name="connsiteX55" fmla="*/ 89124 w 1538831"/>
                  <a:gd name="connsiteY55" fmla="*/ 393252 h 1202610"/>
                  <a:gd name="connsiteX56" fmla="*/ 54491 w 1538831"/>
                  <a:gd name="connsiteY56" fmla="*/ 397375 h 1202610"/>
                  <a:gd name="connsiteX57" fmla="*/ 438 w 1538831"/>
                  <a:gd name="connsiteY57" fmla="*/ 433410 h 1202610"/>
                  <a:gd name="connsiteX58" fmla="*/ 58160 w 1538831"/>
                  <a:gd name="connsiteY58" fmla="*/ 460169 h 1202610"/>
                  <a:gd name="connsiteX59" fmla="*/ 51069 w 1538831"/>
                  <a:gd name="connsiteY59" fmla="*/ 482763 h 1202610"/>
                  <a:gd name="connsiteX60" fmla="*/ 81249 w 1538831"/>
                  <a:gd name="connsiteY60" fmla="*/ 516737 h 1202610"/>
                  <a:gd name="connsiteX61" fmla="*/ 97742 w 1538831"/>
                  <a:gd name="connsiteY61" fmla="*/ 521850 h 1202610"/>
                  <a:gd name="connsiteX62" fmla="*/ 104792 w 1538831"/>
                  <a:gd name="connsiteY62" fmla="*/ 520489 h 1202610"/>
                  <a:gd name="connsiteX63" fmla="*/ 126727 w 1538831"/>
                  <a:gd name="connsiteY63" fmla="*/ 514057 h 1202610"/>
                  <a:gd name="connsiteX64" fmla="*/ 141281 w 1538831"/>
                  <a:gd name="connsiteY64" fmla="*/ 514057 h 1202610"/>
                  <a:gd name="connsiteX65" fmla="*/ 157773 w 1538831"/>
                  <a:gd name="connsiteY65" fmla="*/ 517603 h 1202610"/>
                  <a:gd name="connsiteX66" fmla="*/ 166596 w 1538831"/>
                  <a:gd name="connsiteY66" fmla="*/ 516737 h 1202610"/>
                  <a:gd name="connsiteX67" fmla="*/ 183089 w 1538831"/>
                  <a:gd name="connsiteY67" fmla="*/ 522880 h 1202610"/>
                  <a:gd name="connsiteX68" fmla="*/ 191623 w 1538831"/>
                  <a:gd name="connsiteY68" fmla="*/ 526385 h 1202610"/>
                  <a:gd name="connsiteX69" fmla="*/ 203127 w 1538831"/>
                  <a:gd name="connsiteY69" fmla="*/ 521891 h 1202610"/>
                  <a:gd name="connsiteX70" fmla="*/ 274208 w 1538831"/>
                  <a:gd name="connsiteY70" fmla="*/ 493030 h 1202610"/>
                  <a:gd name="connsiteX71" fmla="*/ 262663 w 1538831"/>
                  <a:gd name="connsiteY71" fmla="*/ 524942 h 1202610"/>
                  <a:gd name="connsiteX72" fmla="*/ 267116 w 1538831"/>
                  <a:gd name="connsiteY72" fmla="*/ 586788 h 1202610"/>
                  <a:gd name="connsiteX73" fmla="*/ 218217 w 1538831"/>
                  <a:gd name="connsiteY73" fmla="*/ 590911 h 1202610"/>
                  <a:gd name="connsiteX74" fmla="*/ 214094 w 1538831"/>
                  <a:gd name="connsiteY74" fmla="*/ 592313 h 1202610"/>
                  <a:gd name="connsiteX75" fmla="*/ 209971 w 1538831"/>
                  <a:gd name="connsiteY75" fmla="*/ 603857 h 1202610"/>
                  <a:gd name="connsiteX76" fmla="*/ 196983 w 1538831"/>
                  <a:gd name="connsiteY76" fmla="*/ 628966 h 1202610"/>
                  <a:gd name="connsiteX77" fmla="*/ 171668 w 1538831"/>
                  <a:gd name="connsiteY77" fmla="*/ 625214 h 1202610"/>
                  <a:gd name="connsiteX78" fmla="*/ 144332 w 1538831"/>
                  <a:gd name="connsiteY78" fmla="*/ 613752 h 1202610"/>
                  <a:gd name="connsiteX79" fmla="*/ 138436 w 1538831"/>
                  <a:gd name="connsiteY79" fmla="*/ 614330 h 1202610"/>
                  <a:gd name="connsiteX80" fmla="*/ 135509 w 1538831"/>
                  <a:gd name="connsiteY80" fmla="*/ 616556 h 1202610"/>
                  <a:gd name="connsiteX81" fmla="*/ 144332 w 1538831"/>
                  <a:gd name="connsiteY81" fmla="*/ 643273 h 1202610"/>
                  <a:gd name="connsiteX82" fmla="*/ 144332 w 1538831"/>
                  <a:gd name="connsiteY82" fmla="*/ 649252 h 1202610"/>
                  <a:gd name="connsiteX83" fmla="*/ 131509 w 1538831"/>
                  <a:gd name="connsiteY83" fmla="*/ 681123 h 1202610"/>
                  <a:gd name="connsiteX84" fmla="*/ 108709 w 1538831"/>
                  <a:gd name="connsiteY84" fmla="*/ 693492 h 1202610"/>
                  <a:gd name="connsiteX85" fmla="*/ 107802 w 1538831"/>
                  <a:gd name="connsiteY85" fmla="*/ 712458 h 1202610"/>
                  <a:gd name="connsiteX86" fmla="*/ 87723 w 1538831"/>
                  <a:gd name="connsiteY86" fmla="*/ 739382 h 1202610"/>
                  <a:gd name="connsiteX87" fmla="*/ 77662 w 1538831"/>
                  <a:gd name="connsiteY87" fmla="*/ 745319 h 1202610"/>
                  <a:gd name="connsiteX88" fmla="*/ 107266 w 1538831"/>
                  <a:gd name="connsiteY88" fmla="*/ 762759 h 1202610"/>
                  <a:gd name="connsiteX89" fmla="*/ 105493 w 1538831"/>
                  <a:gd name="connsiteY89" fmla="*/ 807000 h 1202610"/>
                  <a:gd name="connsiteX90" fmla="*/ 138477 w 1538831"/>
                  <a:gd name="connsiteY90" fmla="*/ 839159 h 1202610"/>
                  <a:gd name="connsiteX91" fmla="*/ 155959 w 1538831"/>
                  <a:gd name="connsiteY91" fmla="*/ 835655 h 1202610"/>
                  <a:gd name="connsiteX92" fmla="*/ 191747 w 1538831"/>
                  <a:gd name="connsiteY92" fmla="*/ 855775 h 1202610"/>
                  <a:gd name="connsiteX93" fmla="*/ 202343 w 1538831"/>
                  <a:gd name="connsiteY93" fmla="*/ 853301 h 1202610"/>
                  <a:gd name="connsiteX94" fmla="*/ 222752 w 1538831"/>
                  <a:gd name="connsiteY94" fmla="*/ 833758 h 1202610"/>
                  <a:gd name="connsiteX95" fmla="*/ 238750 w 1538831"/>
                  <a:gd name="connsiteY95" fmla="*/ 886245 h 1202610"/>
                  <a:gd name="connsiteX96" fmla="*/ 235328 w 1538831"/>
                  <a:gd name="connsiteY96" fmla="*/ 929949 h 1202610"/>
                  <a:gd name="connsiteX97" fmla="*/ 243326 w 1538831"/>
                  <a:gd name="connsiteY97" fmla="*/ 928836 h 1202610"/>
                  <a:gd name="connsiteX98" fmla="*/ 248604 w 1538831"/>
                  <a:gd name="connsiteY98" fmla="*/ 929042 h 1202610"/>
                  <a:gd name="connsiteX99" fmla="*/ 253345 w 1538831"/>
                  <a:gd name="connsiteY99" fmla="*/ 925949 h 1202610"/>
                  <a:gd name="connsiteX100" fmla="*/ 267529 w 1538831"/>
                  <a:gd name="connsiteY100" fmla="*/ 919971 h 1202610"/>
                  <a:gd name="connsiteX101" fmla="*/ 276270 w 1538831"/>
                  <a:gd name="connsiteY101" fmla="*/ 914735 h 1202610"/>
                  <a:gd name="connsiteX102" fmla="*/ 330982 w 1538831"/>
                  <a:gd name="connsiteY102" fmla="*/ 909498 h 1202610"/>
                  <a:gd name="connsiteX103" fmla="*/ 333126 w 1538831"/>
                  <a:gd name="connsiteY103" fmla="*/ 908880 h 1202610"/>
                  <a:gd name="connsiteX104" fmla="*/ 368337 w 1538831"/>
                  <a:gd name="connsiteY104" fmla="*/ 889502 h 1202610"/>
                  <a:gd name="connsiteX105" fmla="*/ 399219 w 1538831"/>
                  <a:gd name="connsiteY105" fmla="*/ 902696 h 1202610"/>
                  <a:gd name="connsiteX106" fmla="*/ 411176 w 1538831"/>
                  <a:gd name="connsiteY106" fmla="*/ 925578 h 1202610"/>
                  <a:gd name="connsiteX107" fmla="*/ 418844 w 1538831"/>
                  <a:gd name="connsiteY107" fmla="*/ 921991 h 1202610"/>
                  <a:gd name="connsiteX108" fmla="*/ 419752 w 1538831"/>
                  <a:gd name="connsiteY108" fmla="*/ 943596 h 1202610"/>
                  <a:gd name="connsiteX109" fmla="*/ 405527 w 1538831"/>
                  <a:gd name="connsiteY109" fmla="*/ 1017811 h 1202610"/>
                  <a:gd name="connsiteX110" fmla="*/ 356669 w 1538831"/>
                  <a:gd name="connsiteY110" fmla="*/ 1067287 h 1202610"/>
                  <a:gd name="connsiteX111" fmla="*/ 289133 w 1538831"/>
                  <a:gd name="connsiteY111" fmla="*/ 1129133 h 1202610"/>
                  <a:gd name="connsiteX112" fmla="*/ 226958 w 1538831"/>
                  <a:gd name="connsiteY112" fmla="*/ 1136307 h 1202610"/>
                  <a:gd name="connsiteX113" fmla="*/ 197643 w 1538831"/>
                  <a:gd name="connsiteY113" fmla="*/ 1186732 h 1202610"/>
                  <a:gd name="connsiteX114" fmla="*/ 245635 w 1538831"/>
                  <a:gd name="connsiteY114" fmla="*/ 1156881 h 1202610"/>
                  <a:gd name="connsiteX115" fmla="*/ 259819 w 1538831"/>
                  <a:gd name="connsiteY115" fmla="*/ 1155892 h 1202610"/>
                  <a:gd name="connsiteX116" fmla="*/ 292803 w 1538831"/>
                  <a:gd name="connsiteY116" fmla="*/ 1143523 h 1202610"/>
                  <a:gd name="connsiteX117" fmla="*/ 322118 w 1538831"/>
                  <a:gd name="connsiteY117" fmla="*/ 1139400 h 1202610"/>
                  <a:gd name="connsiteX118" fmla="*/ 357658 w 1538831"/>
                  <a:gd name="connsiteY118" fmla="*/ 1122907 h 1202610"/>
                  <a:gd name="connsiteX119" fmla="*/ 381655 w 1538831"/>
                  <a:gd name="connsiteY119" fmla="*/ 1095159 h 1202610"/>
                  <a:gd name="connsiteX120" fmla="*/ 454509 w 1538831"/>
                  <a:gd name="connsiteY120" fmla="*/ 1046796 h 1202610"/>
                  <a:gd name="connsiteX121" fmla="*/ 470506 w 1538831"/>
                  <a:gd name="connsiteY121" fmla="*/ 1022058 h 1202610"/>
                  <a:gd name="connsiteX122" fmla="*/ 514911 w 1538831"/>
                  <a:gd name="connsiteY122" fmla="*/ 990145 h 1202610"/>
                  <a:gd name="connsiteX123" fmla="*/ 545133 w 1538831"/>
                  <a:gd name="connsiteY123" fmla="*/ 976745 h 1202610"/>
                  <a:gd name="connsiteX124" fmla="*/ 559317 w 1538831"/>
                  <a:gd name="connsiteY124" fmla="*/ 942813 h 1202610"/>
                  <a:gd name="connsiteX125" fmla="*/ 579932 w 1538831"/>
                  <a:gd name="connsiteY125" fmla="*/ 919146 h 1202610"/>
                  <a:gd name="connsiteX126" fmla="*/ 547937 w 1538831"/>
                  <a:gd name="connsiteY126" fmla="*/ 900634 h 1202610"/>
                  <a:gd name="connsiteX127" fmla="*/ 580921 w 1538831"/>
                  <a:gd name="connsiteY127" fmla="*/ 867650 h 1202610"/>
                  <a:gd name="connsiteX128" fmla="*/ 607556 w 1538831"/>
                  <a:gd name="connsiteY128" fmla="*/ 839901 h 1202610"/>
                  <a:gd name="connsiteX129" fmla="*/ 634191 w 1538831"/>
                  <a:gd name="connsiteY129" fmla="*/ 805928 h 1202610"/>
                  <a:gd name="connsiteX130" fmla="*/ 654806 w 1538831"/>
                  <a:gd name="connsiteY130" fmla="*/ 778179 h 1202610"/>
                  <a:gd name="connsiteX131" fmla="*/ 689440 w 1538831"/>
                  <a:gd name="connsiteY131" fmla="*/ 750390 h 1202610"/>
                  <a:gd name="connsiteX132" fmla="*/ 713436 w 1538831"/>
                  <a:gd name="connsiteY132" fmla="*/ 761687 h 1202610"/>
                  <a:gd name="connsiteX133" fmla="*/ 714302 w 1538831"/>
                  <a:gd name="connsiteY133" fmla="*/ 779210 h 1202610"/>
                  <a:gd name="connsiteX134" fmla="*/ 672577 w 1538831"/>
                  <a:gd name="connsiteY134" fmla="*/ 788446 h 1202610"/>
                  <a:gd name="connsiteX135" fmla="*/ 656579 w 1538831"/>
                  <a:gd name="connsiteY135" fmla="*/ 830666 h 1202610"/>
                  <a:gd name="connsiteX136" fmla="*/ 659259 w 1538831"/>
                  <a:gd name="connsiteY136" fmla="*/ 864599 h 1202610"/>
                  <a:gd name="connsiteX137" fmla="*/ 645035 w 1538831"/>
                  <a:gd name="connsiteY137" fmla="*/ 885214 h 1202610"/>
                  <a:gd name="connsiteX138" fmla="*/ 661032 w 1538831"/>
                  <a:gd name="connsiteY138" fmla="*/ 900634 h 1202610"/>
                  <a:gd name="connsiteX139" fmla="*/ 740071 w 1538831"/>
                  <a:gd name="connsiteY139" fmla="*/ 850209 h 1202610"/>
                  <a:gd name="connsiteX140" fmla="*/ 797794 w 1538831"/>
                  <a:gd name="connsiteY140" fmla="*/ 847117 h 1202610"/>
                  <a:gd name="connsiteX141" fmla="*/ 798701 w 1538831"/>
                  <a:gd name="connsiteY141" fmla="*/ 823492 h 1202610"/>
                  <a:gd name="connsiteX142" fmla="*/ 780930 w 1538831"/>
                  <a:gd name="connsiteY142" fmla="*/ 795702 h 1202610"/>
                  <a:gd name="connsiteX143" fmla="*/ 794248 w 1538831"/>
                  <a:gd name="connsiteY143" fmla="*/ 773067 h 1202610"/>
                  <a:gd name="connsiteX144" fmla="*/ 816471 w 1538831"/>
                  <a:gd name="connsiteY144" fmla="*/ 771005 h 1202610"/>
                  <a:gd name="connsiteX145" fmla="*/ 845745 w 1538831"/>
                  <a:gd name="connsiteY145" fmla="*/ 783375 h 1202610"/>
                  <a:gd name="connsiteX146" fmla="*/ 876874 w 1538831"/>
                  <a:gd name="connsiteY146" fmla="*/ 791621 h 1202610"/>
                  <a:gd name="connsiteX147" fmla="*/ 859062 w 1538831"/>
                  <a:gd name="connsiteY147" fmla="*/ 807082 h 1202610"/>
                  <a:gd name="connsiteX148" fmla="*/ 863515 w 1538831"/>
                  <a:gd name="connsiteY148" fmla="*/ 823574 h 1202610"/>
                  <a:gd name="connsiteX149" fmla="*/ 895510 w 1538831"/>
                  <a:gd name="connsiteY149" fmla="*/ 816359 h 1202610"/>
                  <a:gd name="connsiteX150" fmla="*/ 919506 w 1538831"/>
                  <a:gd name="connsiteY150" fmla="*/ 812236 h 1202610"/>
                  <a:gd name="connsiteX151" fmla="*/ 928371 w 1538831"/>
                  <a:gd name="connsiteY151" fmla="*/ 820935 h 1202610"/>
                  <a:gd name="connsiteX152" fmla="*/ 937895 w 1538831"/>
                  <a:gd name="connsiteY152" fmla="*/ 806134 h 1202610"/>
                  <a:gd name="connsiteX153" fmla="*/ 968776 w 1538831"/>
                  <a:gd name="connsiteY153" fmla="*/ 792940 h 1202610"/>
                  <a:gd name="connsiteX154" fmla="*/ 999658 w 1538831"/>
                  <a:gd name="connsiteY154" fmla="*/ 806134 h 1202610"/>
                  <a:gd name="connsiteX155" fmla="*/ 1016934 w 1538831"/>
                  <a:gd name="connsiteY155" fmla="*/ 829676 h 1202610"/>
                  <a:gd name="connsiteX156" fmla="*/ 1018212 w 1538831"/>
                  <a:gd name="connsiteY156" fmla="*/ 831202 h 1202610"/>
                  <a:gd name="connsiteX157" fmla="*/ 1040888 w 1538831"/>
                  <a:gd name="connsiteY157" fmla="*/ 824481 h 1202610"/>
                  <a:gd name="connsiteX158" fmla="*/ 1056020 w 1538831"/>
                  <a:gd name="connsiteY158" fmla="*/ 826996 h 1202610"/>
                  <a:gd name="connsiteX159" fmla="*/ 1073089 w 1538831"/>
                  <a:gd name="connsiteY159" fmla="*/ 836521 h 1202610"/>
                  <a:gd name="connsiteX160" fmla="*/ 1087644 w 1538831"/>
                  <a:gd name="connsiteY160" fmla="*/ 852765 h 1202610"/>
                  <a:gd name="connsiteX161" fmla="*/ 1096343 w 1538831"/>
                  <a:gd name="connsiteY161" fmla="*/ 862083 h 1202610"/>
                  <a:gd name="connsiteX162" fmla="*/ 1096879 w 1538831"/>
                  <a:gd name="connsiteY162" fmla="*/ 862702 h 1202610"/>
                  <a:gd name="connsiteX163" fmla="*/ 1145119 w 1538831"/>
                  <a:gd name="connsiteY163" fmla="*/ 844148 h 1202610"/>
                  <a:gd name="connsiteX164" fmla="*/ 1137162 w 1538831"/>
                  <a:gd name="connsiteY164" fmla="*/ 873010 h 1202610"/>
                  <a:gd name="connsiteX165" fmla="*/ 1153159 w 1538831"/>
                  <a:gd name="connsiteY165" fmla="*/ 887976 h 1202610"/>
                  <a:gd name="connsiteX166" fmla="*/ 1172125 w 1538831"/>
                  <a:gd name="connsiteY166" fmla="*/ 893831 h 1202610"/>
                  <a:gd name="connsiteX167" fmla="*/ 1189566 w 1538831"/>
                  <a:gd name="connsiteY167" fmla="*/ 905046 h 1202610"/>
                  <a:gd name="connsiteX168" fmla="*/ 1197812 w 1538831"/>
                  <a:gd name="connsiteY168" fmla="*/ 910612 h 1202610"/>
                  <a:gd name="connsiteX169" fmla="*/ 1226879 w 1538831"/>
                  <a:gd name="connsiteY169" fmla="*/ 923393 h 1202610"/>
                  <a:gd name="connsiteX170" fmla="*/ 1245185 w 1538831"/>
                  <a:gd name="connsiteY170" fmla="*/ 946317 h 1202610"/>
                  <a:gd name="connsiteX171" fmla="*/ 1253431 w 1538831"/>
                  <a:gd name="connsiteY171" fmla="*/ 961573 h 1202610"/>
                  <a:gd name="connsiteX172" fmla="*/ 1274047 w 1538831"/>
                  <a:gd name="connsiteY172" fmla="*/ 937824 h 1202610"/>
                  <a:gd name="connsiteX173" fmla="*/ 1306042 w 1538831"/>
                  <a:gd name="connsiteY173" fmla="*/ 957367 h 1202610"/>
                  <a:gd name="connsiteX174" fmla="*/ 1309587 w 1538831"/>
                  <a:gd name="connsiteY174" fmla="*/ 918281 h 1202610"/>
                  <a:gd name="connsiteX175" fmla="*/ 1325585 w 1538831"/>
                  <a:gd name="connsiteY175" fmla="*/ 922404 h 1202610"/>
                  <a:gd name="connsiteX176" fmla="*/ 1328224 w 1538831"/>
                  <a:gd name="connsiteY176" fmla="*/ 983095 h 1202610"/>
                  <a:gd name="connsiteX177" fmla="*/ 1298909 w 1538831"/>
                  <a:gd name="connsiteY177" fmla="*/ 975921 h 1202610"/>
                  <a:gd name="connsiteX178" fmla="*/ 1271367 w 1538831"/>
                  <a:gd name="connsiteY178" fmla="*/ 984167 h 1202610"/>
                  <a:gd name="connsiteX179" fmla="*/ 1304351 w 1538831"/>
                  <a:gd name="connsiteY179" fmla="*/ 1029520 h 1202610"/>
                  <a:gd name="connsiteX180" fmla="*/ 1316720 w 1538831"/>
                  <a:gd name="connsiteY180" fmla="*/ 1061392 h 1202610"/>
                  <a:gd name="connsiteX181" fmla="*/ 1335398 w 1538831"/>
                  <a:gd name="connsiteY181" fmla="*/ 1088150 h 1202610"/>
                  <a:gd name="connsiteX182" fmla="*/ 1331811 w 1538831"/>
                  <a:gd name="connsiteY182" fmla="*/ 1037767 h 1202610"/>
                  <a:gd name="connsiteX183" fmla="*/ 1338036 w 1538831"/>
                  <a:gd name="connsiteY183" fmla="*/ 1006885 h 1202610"/>
                  <a:gd name="connsiteX184" fmla="*/ 1343396 w 1538831"/>
                  <a:gd name="connsiteY184" fmla="*/ 1039869 h 1202610"/>
                  <a:gd name="connsiteX185" fmla="*/ 1367351 w 1538831"/>
                  <a:gd name="connsiteY185" fmla="*/ 1024449 h 1202610"/>
                  <a:gd name="connsiteX186" fmla="*/ 1366485 w 1538831"/>
                  <a:gd name="connsiteY186" fmla="*/ 980167 h 1202610"/>
                  <a:gd name="connsiteX187" fmla="*/ 1390482 w 1538831"/>
                  <a:gd name="connsiteY187" fmla="*/ 1012080 h 1202610"/>
                  <a:gd name="connsiteX188" fmla="*/ 1377123 w 1538831"/>
                  <a:gd name="connsiteY188" fmla="*/ 1043992 h 1202610"/>
                  <a:gd name="connsiteX189" fmla="*/ 1354900 w 1538831"/>
                  <a:gd name="connsiteY189" fmla="*/ 1056361 h 1202610"/>
                  <a:gd name="connsiteX190" fmla="*/ 1359353 w 1538831"/>
                  <a:gd name="connsiteY190" fmla="*/ 1104725 h 1202610"/>
                  <a:gd name="connsiteX191" fmla="*/ 1375350 w 1538831"/>
                  <a:gd name="connsiteY191" fmla="*/ 1088233 h 1202610"/>
                  <a:gd name="connsiteX192" fmla="*/ 1401119 w 1538831"/>
                  <a:gd name="connsiteY192" fmla="*/ 1082048 h 1202610"/>
                  <a:gd name="connsiteX193" fmla="*/ 1434887 w 1538831"/>
                  <a:gd name="connsiteY193" fmla="*/ 1112930 h 1202610"/>
                  <a:gd name="connsiteX194" fmla="*/ 1418889 w 1538831"/>
                  <a:gd name="connsiteY194" fmla="*/ 1090294 h 1202610"/>
                  <a:gd name="connsiteX195" fmla="*/ 1419755 w 1538831"/>
                  <a:gd name="connsiteY195" fmla="*/ 1064566 h 1202610"/>
                  <a:gd name="connsiteX196" fmla="*/ 1450884 w 1538831"/>
                  <a:gd name="connsiteY196" fmla="*/ 1110909 h 1202610"/>
                  <a:gd name="connsiteX197" fmla="*/ 1430269 w 1538831"/>
                  <a:gd name="connsiteY197" fmla="*/ 1134576 h 1202610"/>
                  <a:gd name="connsiteX198" fmla="*/ 1395635 w 1538831"/>
                  <a:gd name="connsiteY198" fmla="*/ 1115032 h 1202610"/>
                  <a:gd name="connsiteX199" fmla="*/ 1400954 w 1538831"/>
                  <a:gd name="connsiteY199" fmla="*/ 1150985 h 1202610"/>
                  <a:gd name="connsiteX200" fmla="*/ 1401820 w 1538831"/>
                  <a:gd name="connsiteY200" fmla="*/ 1196339 h 1202610"/>
                  <a:gd name="connsiteX201" fmla="*/ 1415179 w 1538831"/>
                  <a:gd name="connsiteY201" fmla="*/ 1180877 h 1202610"/>
                  <a:gd name="connsiteX202" fmla="*/ 1437361 w 1538831"/>
                  <a:gd name="connsiteY202" fmla="*/ 1190154 h 1202610"/>
                  <a:gd name="connsiteX203" fmla="*/ 1446266 w 1538831"/>
                  <a:gd name="connsiteY203" fmla="*/ 1164426 h 1202610"/>
                  <a:gd name="connsiteX204" fmla="*/ 1466882 w 1538831"/>
                  <a:gd name="connsiteY204" fmla="*/ 1172673 h 1202610"/>
                  <a:gd name="connsiteX205" fmla="*/ 1485518 w 1538831"/>
                  <a:gd name="connsiteY205" fmla="*/ 1161334 h 1202610"/>
                  <a:gd name="connsiteX206" fmla="*/ 1489064 w 1538831"/>
                  <a:gd name="connsiteY206" fmla="*/ 1194319 h 1202610"/>
                  <a:gd name="connsiteX207" fmla="*/ 1505927 w 1538831"/>
                  <a:gd name="connsiteY207" fmla="*/ 1197411 h 1202610"/>
                  <a:gd name="connsiteX208" fmla="*/ 1505927 w 1538831"/>
                  <a:gd name="connsiteY208" fmla="*/ 1202606 h 1202610"/>
                  <a:gd name="connsiteX209" fmla="*/ 1533263 w 1538831"/>
                  <a:gd name="connsiteY209" fmla="*/ 1180218 h 1202610"/>
                  <a:gd name="connsiteX210" fmla="*/ 1524316 w 1538831"/>
                  <a:gd name="connsiteY210" fmla="*/ 1137379 h 1202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</a:cxnLst>
                <a:rect l="l" t="t" r="r" b="b"/>
                <a:pathLst>
                  <a:path w="1538831" h="1202610">
                    <a:moveTo>
                      <a:pt x="1524316" y="1137379"/>
                    </a:moveTo>
                    <a:cubicBezTo>
                      <a:pt x="1530253" y="1119485"/>
                      <a:pt x="1531448" y="1108518"/>
                      <a:pt x="1486425" y="1087903"/>
                    </a:cubicBezTo>
                    <a:cubicBezTo>
                      <a:pt x="1441401" y="1067287"/>
                      <a:pt x="1446143" y="1053599"/>
                      <a:pt x="1415343" y="990475"/>
                    </a:cubicBezTo>
                    <a:cubicBezTo>
                      <a:pt x="1384544" y="927351"/>
                      <a:pt x="1328760" y="899768"/>
                      <a:pt x="1328760" y="876638"/>
                    </a:cubicBezTo>
                    <a:cubicBezTo>
                      <a:pt x="1328760" y="853508"/>
                      <a:pt x="1274253" y="856023"/>
                      <a:pt x="1274253" y="873875"/>
                    </a:cubicBezTo>
                    <a:cubicBezTo>
                      <a:pt x="1274253" y="891728"/>
                      <a:pt x="1250587" y="897253"/>
                      <a:pt x="1237558" y="906860"/>
                    </a:cubicBezTo>
                    <a:cubicBezTo>
                      <a:pt x="1224529" y="916466"/>
                      <a:pt x="1218592" y="901376"/>
                      <a:pt x="1206759" y="883523"/>
                    </a:cubicBezTo>
                    <a:cubicBezTo>
                      <a:pt x="1194925" y="865670"/>
                      <a:pt x="1166476" y="847859"/>
                      <a:pt x="1166476" y="836892"/>
                    </a:cubicBezTo>
                    <a:cubicBezTo>
                      <a:pt x="1166476" y="825924"/>
                      <a:pt x="1159385" y="802588"/>
                      <a:pt x="1139223" y="813596"/>
                    </a:cubicBezTo>
                    <a:cubicBezTo>
                      <a:pt x="1119061" y="824605"/>
                      <a:pt x="1108424" y="813596"/>
                      <a:pt x="1102528" y="821842"/>
                    </a:cubicBezTo>
                    <a:cubicBezTo>
                      <a:pt x="1096632" y="830088"/>
                      <a:pt x="1081212" y="816812"/>
                      <a:pt x="1081212" y="816812"/>
                    </a:cubicBezTo>
                    <a:lnTo>
                      <a:pt x="1081212" y="105463"/>
                    </a:lnTo>
                    <a:cubicBezTo>
                      <a:pt x="1074908" y="104857"/>
                      <a:pt x="1068719" y="103373"/>
                      <a:pt x="1062823" y="101052"/>
                    </a:cubicBezTo>
                    <a:cubicBezTo>
                      <a:pt x="1038951" y="90579"/>
                      <a:pt x="1004441" y="72190"/>
                      <a:pt x="983248" y="73633"/>
                    </a:cubicBezTo>
                    <a:cubicBezTo>
                      <a:pt x="978898" y="86258"/>
                      <a:pt x="969081" y="96244"/>
                      <a:pt x="956531" y="100804"/>
                    </a:cubicBezTo>
                    <a:cubicBezTo>
                      <a:pt x="927381" y="111936"/>
                      <a:pt x="898561" y="103649"/>
                      <a:pt x="876214" y="85508"/>
                    </a:cubicBezTo>
                    <a:cubicBezTo>
                      <a:pt x="867123" y="105855"/>
                      <a:pt x="849686" y="121292"/>
                      <a:pt x="828387" y="127851"/>
                    </a:cubicBezTo>
                    <a:cubicBezTo>
                      <a:pt x="805627" y="134943"/>
                      <a:pt x="784806" y="121048"/>
                      <a:pt x="776807" y="101052"/>
                    </a:cubicBezTo>
                    <a:cubicBezTo>
                      <a:pt x="767048" y="96636"/>
                      <a:pt x="758184" y="90459"/>
                      <a:pt x="750667" y="82828"/>
                    </a:cubicBezTo>
                    <a:cubicBezTo>
                      <a:pt x="748688" y="80849"/>
                      <a:pt x="746297" y="78334"/>
                      <a:pt x="743782" y="75571"/>
                    </a:cubicBezTo>
                    <a:cubicBezTo>
                      <a:pt x="724337" y="75501"/>
                      <a:pt x="704926" y="73901"/>
                      <a:pt x="685729" y="70788"/>
                    </a:cubicBezTo>
                    <a:cubicBezTo>
                      <a:pt x="671756" y="68793"/>
                      <a:pt x="660364" y="58572"/>
                      <a:pt x="656868" y="44896"/>
                    </a:cubicBezTo>
                    <a:cubicBezTo>
                      <a:pt x="655054" y="45514"/>
                      <a:pt x="653487" y="46050"/>
                      <a:pt x="652333" y="46545"/>
                    </a:cubicBezTo>
                    <a:cubicBezTo>
                      <a:pt x="639963" y="51658"/>
                      <a:pt x="642561" y="31083"/>
                      <a:pt x="626564" y="33145"/>
                    </a:cubicBezTo>
                    <a:cubicBezTo>
                      <a:pt x="610566" y="35207"/>
                      <a:pt x="623018" y="24899"/>
                      <a:pt x="614194" y="9479"/>
                    </a:cubicBezTo>
                    <a:cubicBezTo>
                      <a:pt x="605371" y="-5941"/>
                      <a:pt x="560883" y="8448"/>
                      <a:pt x="544927" y="10509"/>
                    </a:cubicBezTo>
                    <a:cubicBezTo>
                      <a:pt x="533465" y="11994"/>
                      <a:pt x="527982" y="6593"/>
                      <a:pt x="526126" y="-4"/>
                    </a:cubicBezTo>
                    <a:cubicBezTo>
                      <a:pt x="516400" y="1472"/>
                      <a:pt x="506764" y="3492"/>
                      <a:pt x="497265" y="6057"/>
                    </a:cubicBezTo>
                    <a:cubicBezTo>
                      <a:pt x="494152" y="7891"/>
                      <a:pt x="490647" y="8955"/>
                      <a:pt x="487040" y="9149"/>
                    </a:cubicBezTo>
                    <a:cubicBezTo>
                      <a:pt x="460772" y="17737"/>
                      <a:pt x="435180" y="28263"/>
                      <a:pt x="410475" y="40649"/>
                    </a:cubicBezTo>
                    <a:cubicBezTo>
                      <a:pt x="395797" y="53018"/>
                      <a:pt x="381036" y="65387"/>
                      <a:pt x="365657" y="76684"/>
                    </a:cubicBezTo>
                    <a:cubicBezTo>
                      <a:pt x="354620" y="84786"/>
                      <a:pt x="339957" y="85965"/>
                      <a:pt x="327766" y="79735"/>
                    </a:cubicBezTo>
                    <a:lnTo>
                      <a:pt x="324056" y="81343"/>
                    </a:lnTo>
                    <a:cubicBezTo>
                      <a:pt x="273713" y="101959"/>
                      <a:pt x="224237" y="124182"/>
                      <a:pt x="175626" y="148590"/>
                    </a:cubicBezTo>
                    <a:cubicBezTo>
                      <a:pt x="174719" y="149827"/>
                      <a:pt x="173812" y="151105"/>
                      <a:pt x="172740" y="152425"/>
                    </a:cubicBezTo>
                    <a:cubicBezTo>
                      <a:pt x="167934" y="158176"/>
                      <a:pt x="161905" y="162782"/>
                      <a:pt x="155093" y="165907"/>
                    </a:cubicBezTo>
                    <a:cubicBezTo>
                      <a:pt x="147040" y="172669"/>
                      <a:pt x="138931" y="179336"/>
                      <a:pt x="130767" y="185904"/>
                    </a:cubicBezTo>
                    <a:cubicBezTo>
                      <a:pt x="127675" y="188543"/>
                      <a:pt x="124500" y="191099"/>
                      <a:pt x="120954" y="193861"/>
                    </a:cubicBezTo>
                    <a:cubicBezTo>
                      <a:pt x="108049" y="203798"/>
                      <a:pt x="95350" y="204499"/>
                      <a:pt x="84713" y="199634"/>
                    </a:cubicBezTo>
                    <a:cubicBezTo>
                      <a:pt x="79270" y="201984"/>
                      <a:pt x="73828" y="204458"/>
                      <a:pt x="68509" y="207385"/>
                    </a:cubicBezTo>
                    <a:cubicBezTo>
                      <a:pt x="65543" y="209084"/>
                      <a:pt x="62406" y="210465"/>
                      <a:pt x="59150" y="211508"/>
                    </a:cubicBezTo>
                    <a:cubicBezTo>
                      <a:pt x="60139" y="219754"/>
                      <a:pt x="73374" y="227464"/>
                      <a:pt x="98236" y="235752"/>
                    </a:cubicBezTo>
                    <a:cubicBezTo>
                      <a:pt x="107156" y="231909"/>
                      <a:pt x="117082" y="231068"/>
                      <a:pt x="126520" y="233360"/>
                    </a:cubicBezTo>
                    <a:cubicBezTo>
                      <a:pt x="144607" y="238333"/>
                      <a:pt x="160907" y="248339"/>
                      <a:pt x="173523" y="262221"/>
                    </a:cubicBezTo>
                    <a:cubicBezTo>
                      <a:pt x="181769" y="270921"/>
                      <a:pt x="188366" y="280816"/>
                      <a:pt x="197066" y="288939"/>
                    </a:cubicBezTo>
                    <a:cubicBezTo>
                      <a:pt x="216085" y="288654"/>
                      <a:pt x="232695" y="301753"/>
                      <a:pt x="236853" y="320315"/>
                    </a:cubicBezTo>
                    <a:cubicBezTo>
                      <a:pt x="237348" y="320315"/>
                      <a:pt x="238008" y="320315"/>
                      <a:pt x="238461" y="320315"/>
                    </a:cubicBezTo>
                    <a:cubicBezTo>
                      <a:pt x="256231" y="323407"/>
                      <a:pt x="236688" y="352186"/>
                      <a:pt x="251779" y="360432"/>
                    </a:cubicBezTo>
                    <a:cubicBezTo>
                      <a:pt x="266869" y="368679"/>
                      <a:pt x="289999" y="356309"/>
                      <a:pt x="294452" y="370740"/>
                    </a:cubicBezTo>
                    <a:cubicBezTo>
                      <a:pt x="298905" y="385171"/>
                      <a:pt x="264230" y="370740"/>
                      <a:pt x="246460" y="386160"/>
                    </a:cubicBezTo>
                    <a:cubicBezTo>
                      <a:pt x="228690" y="401580"/>
                      <a:pt x="219825" y="408796"/>
                      <a:pt x="212692" y="397457"/>
                    </a:cubicBezTo>
                    <a:cubicBezTo>
                      <a:pt x="205559" y="386119"/>
                      <a:pt x="176286" y="393334"/>
                      <a:pt x="161195" y="395437"/>
                    </a:cubicBezTo>
                    <a:cubicBezTo>
                      <a:pt x="147094" y="397334"/>
                      <a:pt x="158515" y="376842"/>
                      <a:pt x="160824" y="365751"/>
                    </a:cubicBezTo>
                    <a:cubicBezTo>
                      <a:pt x="152014" y="364069"/>
                      <a:pt x="143806" y="360086"/>
                      <a:pt x="137034" y="354207"/>
                    </a:cubicBezTo>
                    <a:cubicBezTo>
                      <a:pt x="127825" y="356285"/>
                      <a:pt x="119104" y="360119"/>
                      <a:pt x="111348" y="365504"/>
                    </a:cubicBezTo>
                    <a:cubicBezTo>
                      <a:pt x="82033" y="385047"/>
                      <a:pt x="92670" y="377873"/>
                      <a:pt x="89124" y="393252"/>
                    </a:cubicBezTo>
                    <a:cubicBezTo>
                      <a:pt x="85579" y="408631"/>
                      <a:pt x="73168" y="384016"/>
                      <a:pt x="54491" y="397375"/>
                    </a:cubicBezTo>
                    <a:cubicBezTo>
                      <a:pt x="35813" y="410734"/>
                      <a:pt x="5798" y="419969"/>
                      <a:pt x="438" y="433410"/>
                    </a:cubicBezTo>
                    <a:cubicBezTo>
                      <a:pt x="-4922" y="446851"/>
                      <a:pt x="40431" y="456046"/>
                      <a:pt x="58160" y="460169"/>
                    </a:cubicBezTo>
                    <a:cubicBezTo>
                      <a:pt x="75889" y="464292"/>
                      <a:pt x="36844" y="477651"/>
                      <a:pt x="51069" y="482763"/>
                    </a:cubicBezTo>
                    <a:cubicBezTo>
                      <a:pt x="65293" y="487876"/>
                      <a:pt x="59067" y="503378"/>
                      <a:pt x="81249" y="516737"/>
                    </a:cubicBezTo>
                    <a:cubicBezTo>
                      <a:pt x="86354" y="519516"/>
                      <a:pt x="91960" y="521252"/>
                      <a:pt x="97742" y="521850"/>
                    </a:cubicBezTo>
                    <a:lnTo>
                      <a:pt x="104792" y="520489"/>
                    </a:lnTo>
                    <a:cubicBezTo>
                      <a:pt x="111400" y="516428"/>
                      <a:pt x="118973" y="514210"/>
                      <a:pt x="126727" y="514057"/>
                    </a:cubicBezTo>
                    <a:lnTo>
                      <a:pt x="141281" y="514057"/>
                    </a:lnTo>
                    <a:cubicBezTo>
                      <a:pt x="146966" y="514074"/>
                      <a:pt x="152584" y="515282"/>
                      <a:pt x="157773" y="517603"/>
                    </a:cubicBezTo>
                    <a:cubicBezTo>
                      <a:pt x="160692" y="517120"/>
                      <a:pt x="163639" y="516832"/>
                      <a:pt x="166596" y="516737"/>
                    </a:cubicBezTo>
                    <a:cubicBezTo>
                      <a:pt x="172510" y="517421"/>
                      <a:pt x="178169" y="519528"/>
                      <a:pt x="183089" y="522880"/>
                    </a:cubicBezTo>
                    <a:cubicBezTo>
                      <a:pt x="186054" y="523730"/>
                      <a:pt x="188917" y="524905"/>
                      <a:pt x="191623" y="526385"/>
                    </a:cubicBezTo>
                    <a:cubicBezTo>
                      <a:pt x="196023" y="527482"/>
                      <a:pt x="200635" y="525680"/>
                      <a:pt x="203127" y="521891"/>
                    </a:cubicBezTo>
                    <a:cubicBezTo>
                      <a:pt x="213805" y="508491"/>
                      <a:pt x="253758" y="471507"/>
                      <a:pt x="274208" y="493030"/>
                    </a:cubicBezTo>
                    <a:cubicBezTo>
                      <a:pt x="294658" y="514552"/>
                      <a:pt x="251985" y="511542"/>
                      <a:pt x="262663" y="524942"/>
                    </a:cubicBezTo>
                    <a:cubicBezTo>
                      <a:pt x="273342" y="538342"/>
                      <a:pt x="286660" y="570295"/>
                      <a:pt x="267116" y="586788"/>
                    </a:cubicBezTo>
                    <a:cubicBezTo>
                      <a:pt x="247573" y="603280"/>
                      <a:pt x="228896" y="591941"/>
                      <a:pt x="218217" y="590911"/>
                    </a:cubicBezTo>
                    <a:cubicBezTo>
                      <a:pt x="216695" y="590667"/>
                      <a:pt x="215152" y="591191"/>
                      <a:pt x="214094" y="592313"/>
                    </a:cubicBezTo>
                    <a:cubicBezTo>
                      <a:pt x="213214" y="596320"/>
                      <a:pt x="211828" y="600200"/>
                      <a:pt x="209971" y="603857"/>
                    </a:cubicBezTo>
                    <a:cubicBezTo>
                      <a:pt x="208339" y="613369"/>
                      <a:pt x="203802" y="622139"/>
                      <a:pt x="196983" y="628966"/>
                    </a:cubicBezTo>
                    <a:cubicBezTo>
                      <a:pt x="187954" y="637213"/>
                      <a:pt x="180203" y="631935"/>
                      <a:pt x="171668" y="625214"/>
                    </a:cubicBezTo>
                    <a:cubicBezTo>
                      <a:pt x="161413" y="625091"/>
                      <a:pt x="151608" y="620980"/>
                      <a:pt x="144332" y="613752"/>
                    </a:cubicBezTo>
                    <a:cubicBezTo>
                      <a:pt x="142394" y="613752"/>
                      <a:pt x="140209" y="614206"/>
                      <a:pt x="138436" y="614330"/>
                    </a:cubicBezTo>
                    <a:cubicBezTo>
                      <a:pt x="137360" y="614932"/>
                      <a:pt x="136375" y="615678"/>
                      <a:pt x="135509" y="616556"/>
                    </a:cubicBezTo>
                    <a:cubicBezTo>
                      <a:pt x="141074" y="624369"/>
                      <a:pt x="144149" y="633683"/>
                      <a:pt x="144332" y="643273"/>
                    </a:cubicBezTo>
                    <a:lnTo>
                      <a:pt x="144332" y="649252"/>
                    </a:lnTo>
                    <a:cubicBezTo>
                      <a:pt x="144188" y="661106"/>
                      <a:pt x="139614" y="672473"/>
                      <a:pt x="131509" y="681123"/>
                    </a:cubicBezTo>
                    <a:cubicBezTo>
                      <a:pt x="125483" y="687650"/>
                      <a:pt x="117466" y="692000"/>
                      <a:pt x="108709" y="693492"/>
                    </a:cubicBezTo>
                    <a:cubicBezTo>
                      <a:pt x="109641" y="699813"/>
                      <a:pt x="109333" y="706257"/>
                      <a:pt x="107802" y="712458"/>
                    </a:cubicBezTo>
                    <a:cubicBezTo>
                      <a:pt x="104801" y="723673"/>
                      <a:pt x="97615" y="733308"/>
                      <a:pt x="87723" y="739382"/>
                    </a:cubicBezTo>
                    <a:cubicBezTo>
                      <a:pt x="84300" y="741196"/>
                      <a:pt x="80961" y="743257"/>
                      <a:pt x="77662" y="745319"/>
                    </a:cubicBezTo>
                    <a:cubicBezTo>
                      <a:pt x="92505" y="766140"/>
                      <a:pt x="91598" y="750060"/>
                      <a:pt x="107266" y="762759"/>
                    </a:cubicBezTo>
                    <a:cubicBezTo>
                      <a:pt x="125036" y="777149"/>
                      <a:pt x="87723" y="802918"/>
                      <a:pt x="105493" y="807000"/>
                    </a:cubicBezTo>
                    <a:cubicBezTo>
                      <a:pt x="116543" y="809556"/>
                      <a:pt x="128211" y="824770"/>
                      <a:pt x="138477" y="839159"/>
                    </a:cubicBezTo>
                    <a:cubicBezTo>
                      <a:pt x="144002" y="836805"/>
                      <a:pt x="149953" y="835609"/>
                      <a:pt x="155959" y="835655"/>
                    </a:cubicBezTo>
                    <a:cubicBezTo>
                      <a:pt x="170715" y="835127"/>
                      <a:pt x="184528" y="842895"/>
                      <a:pt x="191747" y="855775"/>
                    </a:cubicBezTo>
                    <a:cubicBezTo>
                      <a:pt x="195135" y="854423"/>
                      <a:pt x="198707" y="853590"/>
                      <a:pt x="202343" y="853301"/>
                    </a:cubicBezTo>
                    <a:cubicBezTo>
                      <a:pt x="220979" y="852271"/>
                      <a:pt x="212115" y="822461"/>
                      <a:pt x="222752" y="833758"/>
                    </a:cubicBezTo>
                    <a:cubicBezTo>
                      <a:pt x="233390" y="845055"/>
                      <a:pt x="248521" y="877999"/>
                      <a:pt x="238750" y="886245"/>
                    </a:cubicBezTo>
                    <a:cubicBezTo>
                      <a:pt x="228978" y="894491"/>
                      <a:pt x="235946" y="916920"/>
                      <a:pt x="235328" y="929949"/>
                    </a:cubicBezTo>
                    <a:cubicBezTo>
                      <a:pt x="237956" y="929343"/>
                      <a:pt x="240633" y="928972"/>
                      <a:pt x="243326" y="928836"/>
                    </a:cubicBezTo>
                    <a:cubicBezTo>
                      <a:pt x="245088" y="928757"/>
                      <a:pt x="246853" y="928827"/>
                      <a:pt x="248604" y="929042"/>
                    </a:cubicBezTo>
                    <a:cubicBezTo>
                      <a:pt x="250212" y="928093"/>
                      <a:pt x="251779" y="927063"/>
                      <a:pt x="253345" y="925949"/>
                    </a:cubicBezTo>
                    <a:cubicBezTo>
                      <a:pt x="257548" y="922890"/>
                      <a:pt x="262403" y="920841"/>
                      <a:pt x="267529" y="919971"/>
                    </a:cubicBezTo>
                    <a:cubicBezTo>
                      <a:pt x="270577" y="918462"/>
                      <a:pt x="273500" y="916710"/>
                      <a:pt x="276270" y="914735"/>
                    </a:cubicBezTo>
                    <a:cubicBezTo>
                      <a:pt x="292308" y="900304"/>
                      <a:pt x="313377" y="897665"/>
                      <a:pt x="330982" y="909498"/>
                    </a:cubicBezTo>
                    <a:lnTo>
                      <a:pt x="333126" y="908880"/>
                    </a:lnTo>
                    <a:cubicBezTo>
                      <a:pt x="341110" y="897183"/>
                      <a:pt x="354185" y="889988"/>
                      <a:pt x="368337" y="889502"/>
                    </a:cubicBezTo>
                    <a:cubicBezTo>
                      <a:pt x="379974" y="889625"/>
                      <a:pt x="391085" y="894371"/>
                      <a:pt x="399219" y="902696"/>
                    </a:cubicBezTo>
                    <a:cubicBezTo>
                      <a:pt x="405189" y="909111"/>
                      <a:pt x="409320" y="917015"/>
                      <a:pt x="411176" y="925578"/>
                    </a:cubicBezTo>
                    <a:cubicBezTo>
                      <a:pt x="413596" y="924589"/>
                      <a:pt x="416152" y="923393"/>
                      <a:pt x="418844" y="921991"/>
                    </a:cubicBezTo>
                    <a:cubicBezTo>
                      <a:pt x="446386" y="907602"/>
                      <a:pt x="433935" y="923022"/>
                      <a:pt x="419752" y="943596"/>
                    </a:cubicBezTo>
                    <a:cubicBezTo>
                      <a:pt x="400126" y="972045"/>
                      <a:pt x="419752" y="1013688"/>
                      <a:pt x="405527" y="1017811"/>
                    </a:cubicBezTo>
                    <a:cubicBezTo>
                      <a:pt x="391303" y="1021934"/>
                      <a:pt x="379758" y="1064154"/>
                      <a:pt x="356669" y="1067287"/>
                    </a:cubicBezTo>
                    <a:cubicBezTo>
                      <a:pt x="333580" y="1070421"/>
                      <a:pt x="294493" y="1120887"/>
                      <a:pt x="289133" y="1129133"/>
                    </a:cubicBezTo>
                    <a:cubicBezTo>
                      <a:pt x="283773" y="1137379"/>
                      <a:pt x="234050" y="1112641"/>
                      <a:pt x="226958" y="1136307"/>
                    </a:cubicBezTo>
                    <a:cubicBezTo>
                      <a:pt x="219866" y="1159973"/>
                      <a:pt x="189850" y="1177538"/>
                      <a:pt x="197643" y="1186732"/>
                    </a:cubicBezTo>
                    <a:cubicBezTo>
                      <a:pt x="202962" y="1192917"/>
                      <a:pt x="243821" y="1169250"/>
                      <a:pt x="245635" y="1156881"/>
                    </a:cubicBezTo>
                    <a:cubicBezTo>
                      <a:pt x="247449" y="1144512"/>
                      <a:pt x="252727" y="1146615"/>
                      <a:pt x="259819" y="1155892"/>
                    </a:cubicBezTo>
                    <a:cubicBezTo>
                      <a:pt x="266910" y="1165169"/>
                      <a:pt x="284557" y="1151769"/>
                      <a:pt x="292803" y="1143523"/>
                    </a:cubicBezTo>
                    <a:cubicBezTo>
                      <a:pt x="301049" y="1135276"/>
                      <a:pt x="314160" y="1138369"/>
                      <a:pt x="322118" y="1139400"/>
                    </a:cubicBezTo>
                    <a:cubicBezTo>
                      <a:pt x="330075" y="1140430"/>
                      <a:pt x="333704" y="1128102"/>
                      <a:pt x="357658" y="1122907"/>
                    </a:cubicBezTo>
                    <a:cubicBezTo>
                      <a:pt x="381613" y="1117712"/>
                      <a:pt x="376336" y="1109549"/>
                      <a:pt x="381655" y="1095159"/>
                    </a:cubicBezTo>
                    <a:cubicBezTo>
                      <a:pt x="386973" y="1080770"/>
                      <a:pt x="443871" y="1049806"/>
                      <a:pt x="454509" y="1046796"/>
                    </a:cubicBezTo>
                    <a:cubicBezTo>
                      <a:pt x="465146" y="1043786"/>
                      <a:pt x="458962" y="1023130"/>
                      <a:pt x="470506" y="1022058"/>
                    </a:cubicBezTo>
                    <a:cubicBezTo>
                      <a:pt x="482051" y="1020986"/>
                      <a:pt x="499821" y="1004535"/>
                      <a:pt x="514911" y="990145"/>
                    </a:cubicBezTo>
                    <a:cubicBezTo>
                      <a:pt x="530002" y="975756"/>
                      <a:pt x="533589" y="981899"/>
                      <a:pt x="545133" y="976745"/>
                    </a:cubicBezTo>
                    <a:cubicBezTo>
                      <a:pt x="556678" y="971591"/>
                      <a:pt x="547772" y="944874"/>
                      <a:pt x="559317" y="942813"/>
                    </a:cubicBezTo>
                    <a:cubicBezTo>
                      <a:pt x="570952" y="940850"/>
                      <a:pt x="579586" y="930943"/>
                      <a:pt x="579932" y="919146"/>
                    </a:cubicBezTo>
                    <a:cubicBezTo>
                      <a:pt x="579932" y="907849"/>
                      <a:pt x="550617" y="907849"/>
                      <a:pt x="547937" y="900634"/>
                    </a:cubicBezTo>
                    <a:cubicBezTo>
                      <a:pt x="545257" y="893419"/>
                      <a:pt x="571026" y="866660"/>
                      <a:pt x="580921" y="867650"/>
                    </a:cubicBezTo>
                    <a:cubicBezTo>
                      <a:pt x="590817" y="868639"/>
                      <a:pt x="606649" y="856353"/>
                      <a:pt x="607556" y="839901"/>
                    </a:cubicBezTo>
                    <a:cubicBezTo>
                      <a:pt x="608463" y="823450"/>
                      <a:pt x="622688" y="820358"/>
                      <a:pt x="634191" y="805928"/>
                    </a:cubicBezTo>
                    <a:cubicBezTo>
                      <a:pt x="645694" y="791497"/>
                      <a:pt x="643097" y="779210"/>
                      <a:pt x="654806" y="778179"/>
                    </a:cubicBezTo>
                    <a:cubicBezTo>
                      <a:pt x="666516" y="777149"/>
                      <a:pt x="676988" y="758595"/>
                      <a:pt x="689440" y="750390"/>
                    </a:cubicBezTo>
                    <a:cubicBezTo>
                      <a:pt x="701892" y="742185"/>
                      <a:pt x="689440" y="760657"/>
                      <a:pt x="713436" y="761687"/>
                    </a:cubicBezTo>
                    <a:cubicBezTo>
                      <a:pt x="737432" y="762718"/>
                      <a:pt x="732113" y="788446"/>
                      <a:pt x="714302" y="779210"/>
                    </a:cubicBezTo>
                    <a:cubicBezTo>
                      <a:pt x="696490" y="769975"/>
                      <a:pt x="688574" y="770964"/>
                      <a:pt x="672577" y="788446"/>
                    </a:cubicBezTo>
                    <a:cubicBezTo>
                      <a:pt x="656579" y="805928"/>
                      <a:pt x="669031" y="811081"/>
                      <a:pt x="656579" y="830666"/>
                    </a:cubicBezTo>
                    <a:cubicBezTo>
                      <a:pt x="644128" y="850250"/>
                      <a:pt x="643262" y="862496"/>
                      <a:pt x="659259" y="864599"/>
                    </a:cubicBezTo>
                    <a:cubicBezTo>
                      <a:pt x="675257" y="866701"/>
                      <a:pt x="660125" y="880019"/>
                      <a:pt x="645035" y="885214"/>
                    </a:cubicBezTo>
                    <a:cubicBezTo>
                      <a:pt x="629944" y="890409"/>
                      <a:pt x="640582" y="900634"/>
                      <a:pt x="661032" y="900634"/>
                    </a:cubicBezTo>
                    <a:cubicBezTo>
                      <a:pt x="681482" y="900634"/>
                      <a:pt x="711663" y="866660"/>
                      <a:pt x="740071" y="850209"/>
                    </a:cubicBezTo>
                    <a:cubicBezTo>
                      <a:pt x="768479" y="833758"/>
                      <a:pt x="789836" y="850209"/>
                      <a:pt x="797794" y="847117"/>
                    </a:cubicBezTo>
                    <a:cubicBezTo>
                      <a:pt x="805751" y="844024"/>
                      <a:pt x="788888" y="828604"/>
                      <a:pt x="798701" y="823492"/>
                    </a:cubicBezTo>
                    <a:cubicBezTo>
                      <a:pt x="808514" y="818379"/>
                      <a:pt x="787115" y="815246"/>
                      <a:pt x="780930" y="795702"/>
                    </a:cubicBezTo>
                    <a:cubicBezTo>
                      <a:pt x="774746" y="776159"/>
                      <a:pt x="790661" y="788487"/>
                      <a:pt x="794248" y="773067"/>
                    </a:cubicBezTo>
                    <a:cubicBezTo>
                      <a:pt x="797835" y="757647"/>
                      <a:pt x="807565" y="763790"/>
                      <a:pt x="816471" y="771005"/>
                    </a:cubicBezTo>
                    <a:cubicBezTo>
                      <a:pt x="825377" y="778221"/>
                      <a:pt x="837787" y="763790"/>
                      <a:pt x="845745" y="783375"/>
                    </a:cubicBezTo>
                    <a:cubicBezTo>
                      <a:pt x="853702" y="802959"/>
                      <a:pt x="862649" y="778262"/>
                      <a:pt x="876874" y="791621"/>
                    </a:cubicBezTo>
                    <a:cubicBezTo>
                      <a:pt x="891098" y="804979"/>
                      <a:pt x="874152" y="803000"/>
                      <a:pt x="859062" y="807082"/>
                    </a:cubicBezTo>
                    <a:cubicBezTo>
                      <a:pt x="843972" y="811164"/>
                      <a:pt x="851970" y="834871"/>
                      <a:pt x="863515" y="823574"/>
                    </a:cubicBezTo>
                    <a:cubicBezTo>
                      <a:pt x="875060" y="812277"/>
                      <a:pt x="884831" y="805021"/>
                      <a:pt x="895510" y="816359"/>
                    </a:cubicBezTo>
                    <a:cubicBezTo>
                      <a:pt x="906189" y="827697"/>
                      <a:pt x="910600" y="822544"/>
                      <a:pt x="919506" y="812236"/>
                    </a:cubicBezTo>
                    <a:cubicBezTo>
                      <a:pt x="928412" y="801928"/>
                      <a:pt x="928371" y="812772"/>
                      <a:pt x="928371" y="820935"/>
                    </a:cubicBezTo>
                    <a:cubicBezTo>
                      <a:pt x="930717" y="815514"/>
                      <a:pt x="933933" y="810516"/>
                      <a:pt x="937895" y="806134"/>
                    </a:cubicBezTo>
                    <a:cubicBezTo>
                      <a:pt x="946025" y="797801"/>
                      <a:pt x="957137" y="793055"/>
                      <a:pt x="968776" y="792940"/>
                    </a:cubicBezTo>
                    <a:cubicBezTo>
                      <a:pt x="978672" y="792940"/>
                      <a:pt x="993226" y="797681"/>
                      <a:pt x="999658" y="806134"/>
                    </a:cubicBezTo>
                    <a:cubicBezTo>
                      <a:pt x="1005595" y="813885"/>
                      <a:pt x="1011244" y="821801"/>
                      <a:pt x="1016934" y="829676"/>
                    </a:cubicBezTo>
                    <a:cubicBezTo>
                      <a:pt x="1017346" y="830171"/>
                      <a:pt x="1017799" y="830666"/>
                      <a:pt x="1018212" y="831202"/>
                    </a:cubicBezTo>
                    <a:cubicBezTo>
                      <a:pt x="1024883" y="826650"/>
                      <a:pt x="1032816" y="824300"/>
                      <a:pt x="1040888" y="824481"/>
                    </a:cubicBezTo>
                    <a:cubicBezTo>
                      <a:pt x="1046013" y="824716"/>
                      <a:pt x="1051093" y="825557"/>
                      <a:pt x="1056020" y="826996"/>
                    </a:cubicBezTo>
                    <a:cubicBezTo>
                      <a:pt x="1062332" y="828893"/>
                      <a:pt x="1068158" y="832142"/>
                      <a:pt x="1073089" y="836521"/>
                    </a:cubicBezTo>
                    <a:cubicBezTo>
                      <a:pt x="1078858" y="841035"/>
                      <a:pt x="1083789" y="846535"/>
                      <a:pt x="1087644" y="852765"/>
                    </a:cubicBezTo>
                    <a:cubicBezTo>
                      <a:pt x="1091124" y="855276"/>
                      <a:pt x="1094076" y="858443"/>
                      <a:pt x="1096343" y="862083"/>
                    </a:cubicBezTo>
                    <a:lnTo>
                      <a:pt x="1096879" y="862702"/>
                    </a:lnTo>
                    <a:cubicBezTo>
                      <a:pt x="1123885" y="868227"/>
                      <a:pt x="1131018" y="830872"/>
                      <a:pt x="1145119" y="844148"/>
                    </a:cubicBezTo>
                    <a:cubicBezTo>
                      <a:pt x="1159220" y="857424"/>
                      <a:pt x="1145119" y="862619"/>
                      <a:pt x="1137162" y="873010"/>
                    </a:cubicBezTo>
                    <a:cubicBezTo>
                      <a:pt x="1129987" y="882204"/>
                      <a:pt x="1142769" y="884018"/>
                      <a:pt x="1153159" y="887976"/>
                    </a:cubicBezTo>
                    <a:cubicBezTo>
                      <a:pt x="1159805" y="888669"/>
                      <a:pt x="1166246" y="890656"/>
                      <a:pt x="1172125" y="893831"/>
                    </a:cubicBezTo>
                    <a:cubicBezTo>
                      <a:pt x="1178256" y="897051"/>
                      <a:pt x="1184090" y="900803"/>
                      <a:pt x="1189566" y="905046"/>
                    </a:cubicBezTo>
                    <a:cubicBezTo>
                      <a:pt x="1192427" y="906728"/>
                      <a:pt x="1195181" y="908587"/>
                      <a:pt x="1197812" y="910612"/>
                    </a:cubicBezTo>
                    <a:cubicBezTo>
                      <a:pt x="1208771" y="911032"/>
                      <a:pt x="1219161" y="915601"/>
                      <a:pt x="1226879" y="923393"/>
                    </a:cubicBezTo>
                    <a:cubicBezTo>
                      <a:pt x="1233600" y="930518"/>
                      <a:pt x="1239722" y="938187"/>
                      <a:pt x="1245185" y="946317"/>
                    </a:cubicBezTo>
                    <a:cubicBezTo>
                      <a:pt x="1248410" y="951129"/>
                      <a:pt x="1251172" y="956237"/>
                      <a:pt x="1253431" y="961573"/>
                    </a:cubicBezTo>
                    <a:cubicBezTo>
                      <a:pt x="1277634" y="973158"/>
                      <a:pt x="1252648" y="919889"/>
                      <a:pt x="1274047" y="937824"/>
                    </a:cubicBezTo>
                    <a:cubicBezTo>
                      <a:pt x="1296229" y="956377"/>
                      <a:pt x="1288271" y="938854"/>
                      <a:pt x="1306042" y="957367"/>
                    </a:cubicBezTo>
                    <a:cubicBezTo>
                      <a:pt x="1323812" y="975880"/>
                      <a:pt x="1317586" y="949121"/>
                      <a:pt x="1309587" y="918281"/>
                    </a:cubicBezTo>
                    <a:cubicBezTo>
                      <a:pt x="1301589" y="887440"/>
                      <a:pt x="1317586" y="908014"/>
                      <a:pt x="1325585" y="922404"/>
                    </a:cubicBezTo>
                    <a:cubicBezTo>
                      <a:pt x="1333584" y="936793"/>
                      <a:pt x="1333542" y="964582"/>
                      <a:pt x="1328224" y="983095"/>
                    </a:cubicBezTo>
                    <a:cubicBezTo>
                      <a:pt x="1322905" y="1001607"/>
                      <a:pt x="1296229" y="986187"/>
                      <a:pt x="1298909" y="975921"/>
                    </a:cubicBezTo>
                    <a:cubicBezTo>
                      <a:pt x="1301589" y="965654"/>
                      <a:pt x="1272274" y="969736"/>
                      <a:pt x="1271367" y="984167"/>
                    </a:cubicBezTo>
                    <a:cubicBezTo>
                      <a:pt x="1270460" y="998598"/>
                      <a:pt x="1290044" y="1026387"/>
                      <a:pt x="1304351" y="1029520"/>
                    </a:cubicBezTo>
                    <a:cubicBezTo>
                      <a:pt x="1318658" y="1032654"/>
                      <a:pt x="1307938" y="1058382"/>
                      <a:pt x="1316720" y="1061392"/>
                    </a:cubicBezTo>
                    <a:cubicBezTo>
                      <a:pt x="1329089" y="1065515"/>
                      <a:pt x="1328265" y="1092273"/>
                      <a:pt x="1335398" y="1088150"/>
                    </a:cubicBezTo>
                    <a:cubicBezTo>
                      <a:pt x="1342530" y="1084027"/>
                      <a:pt x="1339809" y="1052156"/>
                      <a:pt x="1331811" y="1037767"/>
                    </a:cubicBezTo>
                    <a:cubicBezTo>
                      <a:pt x="1323812" y="1023377"/>
                      <a:pt x="1327358" y="1002721"/>
                      <a:pt x="1338036" y="1006885"/>
                    </a:cubicBezTo>
                    <a:cubicBezTo>
                      <a:pt x="1348715" y="1011049"/>
                      <a:pt x="1338036" y="1032613"/>
                      <a:pt x="1343396" y="1039869"/>
                    </a:cubicBezTo>
                    <a:cubicBezTo>
                      <a:pt x="1348756" y="1047126"/>
                      <a:pt x="1354900" y="1032695"/>
                      <a:pt x="1367351" y="1024449"/>
                    </a:cubicBezTo>
                    <a:cubicBezTo>
                      <a:pt x="1379803" y="1016203"/>
                      <a:pt x="1362033" y="992537"/>
                      <a:pt x="1366485" y="980167"/>
                    </a:cubicBezTo>
                    <a:cubicBezTo>
                      <a:pt x="1370938" y="967798"/>
                      <a:pt x="1385122" y="990475"/>
                      <a:pt x="1390482" y="1012080"/>
                    </a:cubicBezTo>
                    <a:cubicBezTo>
                      <a:pt x="1395842" y="1033685"/>
                      <a:pt x="1377123" y="1032695"/>
                      <a:pt x="1377123" y="1043992"/>
                    </a:cubicBezTo>
                    <a:cubicBezTo>
                      <a:pt x="1377123" y="1055290"/>
                      <a:pt x="1360260" y="1050177"/>
                      <a:pt x="1354900" y="1056361"/>
                    </a:cubicBezTo>
                    <a:cubicBezTo>
                      <a:pt x="1349540" y="1062546"/>
                      <a:pt x="1352261" y="1103694"/>
                      <a:pt x="1359353" y="1104725"/>
                    </a:cubicBezTo>
                    <a:cubicBezTo>
                      <a:pt x="1366444" y="1105756"/>
                      <a:pt x="1370897" y="1070751"/>
                      <a:pt x="1375350" y="1088233"/>
                    </a:cubicBezTo>
                    <a:cubicBezTo>
                      <a:pt x="1379803" y="1105714"/>
                      <a:pt x="1396666" y="1065597"/>
                      <a:pt x="1401119" y="1082048"/>
                    </a:cubicBezTo>
                    <a:cubicBezTo>
                      <a:pt x="1405572" y="1098499"/>
                      <a:pt x="1426888" y="1117053"/>
                      <a:pt x="1434887" y="1112930"/>
                    </a:cubicBezTo>
                    <a:cubicBezTo>
                      <a:pt x="1442886" y="1108807"/>
                      <a:pt x="1431341" y="1091325"/>
                      <a:pt x="1418889" y="1090294"/>
                    </a:cubicBezTo>
                    <a:cubicBezTo>
                      <a:pt x="1406438" y="1089263"/>
                      <a:pt x="1408211" y="1065556"/>
                      <a:pt x="1419755" y="1064566"/>
                    </a:cubicBezTo>
                    <a:cubicBezTo>
                      <a:pt x="1431300" y="1063577"/>
                      <a:pt x="1451750" y="1098540"/>
                      <a:pt x="1450884" y="1110909"/>
                    </a:cubicBezTo>
                    <a:cubicBezTo>
                      <a:pt x="1450018" y="1123279"/>
                      <a:pt x="1440205" y="1122206"/>
                      <a:pt x="1430269" y="1134576"/>
                    </a:cubicBezTo>
                    <a:cubicBezTo>
                      <a:pt x="1420332" y="1146945"/>
                      <a:pt x="1407180" y="1113960"/>
                      <a:pt x="1395635" y="1115032"/>
                    </a:cubicBezTo>
                    <a:cubicBezTo>
                      <a:pt x="1384091" y="1116104"/>
                      <a:pt x="1395635" y="1136596"/>
                      <a:pt x="1400954" y="1150985"/>
                    </a:cubicBezTo>
                    <a:cubicBezTo>
                      <a:pt x="1406273" y="1165375"/>
                      <a:pt x="1386730" y="1184959"/>
                      <a:pt x="1401820" y="1196339"/>
                    </a:cubicBezTo>
                    <a:cubicBezTo>
                      <a:pt x="1416910" y="1207718"/>
                      <a:pt x="1412499" y="1189123"/>
                      <a:pt x="1415179" y="1180877"/>
                    </a:cubicBezTo>
                    <a:cubicBezTo>
                      <a:pt x="1417859" y="1172631"/>
                      <a:pt x="1429403" y="1182939"/>
                      <a:pt x="1437361" y="1190154"/>
                    </a:cubicBezTo>
                    <a:cubicBezTo>
                      <a:pt x="1445318" y="1197370"/>
                      <a:pt x="1446266" y="1173662"/>
                      <a:pt x="1446266" y="1164426"/>
                    </a:cubicBezTo>
                    <a:cubicBezTo>
                      <a:pt x="1446266" y="1155191"/>
                      <a:pt x="1459584" y="1160303"/>
                      <a:pt x="1466882" y="1172673"/>
                    </a:cubicBezTo>
                    <a:cubicBezTo>
                      <a:pt x="1474179" y="1185042"/>
                      <a:pt x="1474839" y="1159314"/>
                      <a:pt x="1485518" y="1161334"/>
                    </a:cubicBezTo>
                    <a:cubicBezTo>
                      <a:pt x="1496196" y="1163354"/>
                      <a:pt x="1489064" y="1182939"/>
                      <a:pt x="1489064" y="1194319"/>
                    </a:cubicBezTo>
                    <a:cubicBezTo>
                      <a:pt x="1489064" y="1205698"/>
                      <a:pt x="1507700" y="1185042"/>
                      <a:pt x="1505927" y="1197411"/>
                    </a:cubicBezTo>
                    <a:cubicBezTo>
                      <a:pt x="1505745" y="1199138"/>
                      <a:pt x="1505745" y="1200878"/>
                      <a:pt x="1505927" y="1202606"/>
                    </a:cubicBezTo>
                    <a:cubicBezTo>
                      <a:pt x="1515781" y="1194360"/>
                      <a:pt x="1526006" y="1186114"/>
                      <a:pt x="1533263" y="1180218"/>
                    </a:cubicBezTo>
                    <a:cubicBezTo>
                      <a:pt x="1551569" y="1164591"/>
                      <a:pt x="1518378" y="1154985"/>
                      <a:pt x="1524316" y="1137379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</a:lstStyle>
              <a:p>
                <a:pPr marL="0" marR="0" lvl="0" indent="0" algn="l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31" name="Mexico">
              <a:extLst>
                <a:ext uri="{FF2B5EF4-FFF2-40B4-BE49-F238E27FC236}">
                  <a16:creationId xmlns:a16="http://schemas.microsoft.com/office/drawing/2014/main" id="{3EF59507-6999-E225-1183-D92B145752FD}"/>
                </a:ext>
              </a:extLst>
            </p:cNvPr>
            <p:cNvSpPr/>
            <p:nvPr>
              <p:custDataLst>
                <p:tags r:id="rId174"/>
              </p:custDataLst>
            </p:nvPr>
          </p:nvSpPr>
          <p:spPr>
            <a:xfrm>
              <a:off x="2680760" y="4305029"/>
              <a:ext cx="1042589" cy="752344"/>
            </a:xfrm>
            <a:custGeom>
              <a:avLst/>
              <a:gdLst>
                <a:gd name="connsiteX0" fmla="*/ 1216959 w 1217411"/>
                <a:gd name="connsiteY0" fmla="*/ 573264 h 878497"/>
                <a:gd name="connsiteX1" fmla="*/ 1182325 w 1217411"/>
                <a:gd name="connsiteY1" fmla="*/ 562998 h 878497"/>
                <a:gd name="connsiteX2" fmla="*/ 1119490 w 1217411"/>
                <a:gd name="connsiteY2" fmla="*/ 566007 h 878497"/>
                <a:gd name="connsiteX3" fmla="*/ 1111244 w 1217411"/>
                <a:gd name="connsiteY3" fmla="*/ 577964 h 878497"/>
                <a:gd name="connsiteX4" fmla="*/ 1095205 w 1217411"/>
                <a:gd name="connsiteY4" fmla="*/ 588148 h 878497"/>
                <a:gd name="connsiteX5" fmla="*/ 1069230 w 1217411"/>
                <a:gd name="connsiteY5" fmla="*/ 602249 h 878497"/>
                <a:gd name="connsiteX6" fmla="*/ 1068199 w 1217411"/>
                <a:gd name="connsiteY6" fmla="*/ 608269 h 878497"/>
                <a:gd name="connsiteX7" fmla="*/ 1077352 w 1217411"/>
                <a:gd name="connsiteY7" fmla="*/ 625750 h 878497"/>
                <a:gd name="connsiteX8" fmla="*/ 1072941 w 1217411"/>
                <a:gd name="connsiteY8" fmla="*/ 660467 h 878497"/>
                <a:gd name="connsiteX9" fmla="*/ 1054181 w 1217411"/>
                <a:gd name="connsiteY9" fmla="*/ 680051 h 878497"/>
                <a:gd name="connsiteX10" fmla="*/ 1045935 w 1217411"/>
                <a:gd name="connsiteY10" fmla="*/ 683679 h 878497"/>
                <a:gd name="connsiteX11" fmla="*/ 1029443 w 1217411"/>
                <a:gd name="connsiteY11" fmla="*/ 703924 h 878497"/>
                <a:gd name="connsiteX12" fmla="*/ 1004210 w 1217411"/>
                <a:gd name="connsiteY12" fmla="*/ 702109 h 878497"/>
                <a:gd name="connsiteX13" fmla="*/ 995964 w 1217411"/>
                <a:gd name="connsiteY13" fmla="*/ 708211 h 878497"/>
                <a:gd name="connsiteX14" fmla="*/ 968050 w 1217411"/>
                <a:gd name="connsiteY14" fmla="*/ 715880 h 878497"/>
                <a:gd name="connsiteX15" fmla="*/ 946940 w 1217411"/>
                <a:gd name="connsiteY15" fmla="*/ 709819 h 878497"/>
                <a:gd name="connsiteX16" fmla="*/ 904927 w 1217411"/>
                <a:gd name="connsiteY16" fmla="*/ 722436 h 878497"/>
                <a:gd name="connsiteX17" fmla="*/ 859573 w 1217411"/>
                <a:gd name="connsiteY17" fmla="*/ 697698 h 878497"/>
                <a:gd name="connsiteX18" fmla="*/ 836443 w 1217411"/>
                <a:gd name="connsiteY18" fmla="*/ 650324 h 878497"/>
                <a:gd name="connsiteX19" fmla="*/ 835907 w 1217411"/>
                <a:gd name="connsiteY19" fmla="*/ 646943 h 878497"/>
                <a:gd name="connsiteX20" fmla="*/ 809478 w 1217411"/>
                <a:gd name="connsiteY20" fmla="*/ 608722 h 878497"/>
                <a:gd name="connsiteX21" fmla="*/ 793810 w 1217411"/>
                <a:gd name="connsiteY21" fmla="*/ 589632 h 878497"/>
                <a:gd name="connsiteX22" fmla="*/ 778720 w 1217411"/>
                <a:gd name="connsiteY22" fmla="*/ 498925 h 878497"/>
                <a:gd name="connsiteX23" fmla="*/ 792038 w 1217411"/>
                <a:gd name="connsiteY23" fmla="*/ 369297 h 878497"/>
                <a:gd name="connsiteX24" fmla="*/ 795625 w 1217411"/>
                <a:gd name="connsiteY24" fmla="*/ 349919 h 878497"/>
                <a:gd name="connsiteX25" fmla="*/ 779132 w 1217411"/>
                <a:gd name="connsiteY25" fmla="*/ 342703 h 878497"/>
                <a:gd name="connsiteX26" fmla="*/ 723142 w 1217411"/>
                <a:gd name="connsiteY26" fmla="*/ 319614 h 878497"/>
                <a:gd name="connsiteX27" fmla="*/ 711762 w 1217411"/>
                <a:gd name="connsiteY27" fmla="*/ 291000 h 878497"/>
                <a:gd name="connsiteX28" fmla="*/ 702238 w 1217411"/>
                <a:gd name="connsiteY28" fmla="*/ 255831 h 878497"/>
                <a:gd name="connsiteX29" fmla="*/ 664306 w 1217411"/>
                <a:gd name="connsiteY29" fmla="*/ 193202 h 878497"/>
                <a:gd name="connsiteX30" fmla="*/ 593224 w 1217411"/>
                <a:gd name="connsiteY30" fmla="*/ 146034 h 878497"/>
                <a:gd name="connsiteX31" fmla="*/ 561930 w 1217411"/>
                <a:gd name="connsiteY31" fmla="*/ 188873 h 878497"/>
                <a:gd name="connsiteX32" fmla="*/ 515423 w 1217411"/>
                <a:gd name="connsiteY32" fmla="*/ 161413 h 878497"/>
                <a:gd name="connsiteX33" fmla="*/ 501198 w 1217411"/>
                <a:gd name="connsiteY33" fmla="*/ 131727 h 878497"/>
                <a:gd name="connsiteX34" fmla="*/ 475553 w 1217411"/>
                <a:gd name="connsiteY34" fmla="*/ 95485 h 878497"/>
                <a:gd name="connsiteX35" fmla="*/ 429993 w 1217411"/>
                <a:gd name="connsiteY35" fmla="*/ 48194 h 878497"/>
                <a:gd name="connsiteX36" fmla="*/ 367364 w 1217411"/>
                <a:gd name="connsiteY36" fmla="*/ 48194 h 878497"/>
                <a:gd name="connsiteX37" fmla="*/ 354088 w 1217411"/>
                <a:gd name="connsiteY37" fmla="*/ 67944 h 878497"/>
                <a:gd name="connsiteX38" fmla="*/ 240209 w 1217411"/>
                <a:gd name="connsiteY38" fmla="*/ 69057 h 878497"/>
                <a:gd name="connsiteX39" fmla="*/ 136762 w 1217411"/>
                <a:gd name="connsiteY39" fmla="*/ 27332 h 878497"/>
                <a:gd name="connsiteX40" fmla="*/ 92192 w 1217411"/>
                <a:gd name="connsiteY40" fmla="*/ -4 h 878497"/>
                <a:gd name="connsiteX41" fmla="*/ 1 w 1217411"/>
                <a:gd name="connsiteY41" fmla="*/ 14097 h 878497"/>
                <a:gd name="connsiteX42" fmla="*/ 21234 w 1217411"/>
                <a:gd name="connsiteY42" fmla="*/ 52771 h 878497"/>
                <a:gd name="connsiteX43" fmla="*/ 54590 w 1217411"/>
                <a:gd name="connsiteY43" fmla="*/ 140303 h 878497"/>
                <a:gd name="connsiteX44" fmla="*/ 74710 w 1217411"/>
                <a:gd name="connsiteY44" fmla="*/ 168381 h 878497"/>
                <a:gd name="connsiteX45" fmla="*/ 104726 w 1217411"/>
                <a:gd name="connsiteY45" fmla="*/ 189615 h 878497"/>
                <a:gd name="connsiteX46" fmla="*/ 124269 w 1217411"/>
                <a:gd name="connsiteY46" fmla="*/ 251460 h 878497"/>
                <a:gd name="connsiteX47" fmla="*/ 92316 w 1217411"/>
                <a:gd name="connsiteY47" fmla="*/ 254511 h 878497"/>
                <a:gd name="connsiteX48" fmla="*/ 92934 w 1217411"/>
                <a:gd name="connsiteY48" fmla="*/ 257975 h 878497"/>
                <a:gd name="connsiteX49" fmla="*/ 92934 w 1217411"/>
                <a:gd name="connsiteY49" fmla="*/ 257975 h 878497"/>
                <a:gd name="connsiteX50" fmla="*/ 150038 w 1217411"/>
                <a:gd name="connsiteY50" fmla="*/ 298175 h 878497"/>
                <a:gd name="connsiteX51" fmla="*/ 185414 w 1217411"/>
                <a:gd name="connsiteY51" fmla="*/ 328603 h 878497"/>
                <a:gd name="connsiteX52" fmla="*/ 200710 w 1217411"/>
                <a:gd name="connsiteY52" fmla="*/ 380594 h 878497"/>
                <a:gd name="connsiteX53" fmla="*/ 212255 w 1217411"/>
                <a:gd name="connsiteY53" fmla="*/ 392963 h 878497"/>
                <a:gd name="connsiteX54" fmla="*/ 230850 w 1217411"/>
                <a:gd name="connsiteY54" fmla="*/ 424340 h 878497"/>
                <a:gd name="connsiteX55" fmla="*/ 243219 w 1217411"/>
                <a:gd name="connsiteY55" fmla="*/ 433575 h 878497"/>
                <a:gd name="connsiteX56" fmla="*/ 285851 w 1217411"/>
                <a:gd name="connsiteY56" fmla="*/ 493277 h 878497"/>
                <a:gd name="connsiteX57" fmla="*/ 305395 w 1217411"/>
                <a:gd name="connsiteY57" fmla="*/ 478887 h 878497"/>
                <a:gd name="connsiteX58" fmla="*/ 296489 w 1217411"/>
                <a:gd name="connsiteY58" fmla="*/ 441780 h 878497"/>
                <a:gd name="connsiteX59" fmla="*/ 262721 w 1217411"/>
                <a:gd name="connsiteY59" fmla="*/ 425288 h 878497"/>
                <a:gd name="connsiteX60" fmla="*/ 252991 w 1217411"/>
                <a:gd name="connsiteY60" fmla="*/ 384057 h 878497"/>
                <a:gd name="connsiteX61" fmla="*/ 227222 w 1217411"/>
                <a:gd name="connsiteY61" fmla="*/ 318089 h 878497"/>
                <a:gd name="connsiteX62" fmla="*/ 182775 w 1217411"/>
                <a:gd name="connsiteY62" fmla="*/ 247997 h 878497"/>
                <a:gd name="connsiteX63" fmla="*/ 150821 w 1217411"/>
                <a:gd name="connsiteY63" fmla="*/ 197572 h 878497"/>
                <a:gd name="connsiteX64" fmla="*/ 155233 w 1217411"/>
                <a:gd name="connsiteY64" fmla="*/ 172834 h 878497"/>
                <a:gd name="connsiteX65" fmla="*/ 124145 w 1217411"/>
                <a:gd name="connsiteY65" fmla="*/ 157372 h 878497"/>
                <a:gd name="connsiteX66" fmla="*/ 101922 w 1217411"/>
                <a:gd name="connsiteY66" fmla="*/ 121378 h 878497"/>
                <a:gd name="connsiteX67" fmla="*/ 88605 w 1217411"/>
                <a:gd name="connsiteY67" fmla="*/ 52441 h 878497"/>
                <a:gd name="connsiteX68" fmla="*/ 102829 w 1217411"/>
                <a:gd name="connsiteY68" fmla="*/ 47287 h 878497"/>
                <a:gd name="connsiteX69" fmla="*/ 117054 w 1217411"/>
                <a:gd name="connsiteY69" fmla="*/ 55533 h 878497"/>
                <a:gd name="connsiteX70" fmla="*/ 138370 w 1217411"/>
                <a:gd name="connsiteY70" fmla="*/ 65799 h 878497"/>
                <a:gd name="connsiteX71" fmla="*/ 165005 w 1217411"/>
                <a:gd name="connsiteY71" fmla="*/ 71984 h 878497"/>
                <a:gd name="connsiteX72" fmla="*/ 172096 w 1217411"/>
                <a:gd name="connsiteY72" fmla="*/ 130614 h 878497"/>
                <a:gd name="connsiteX73" fmla="*/ 179229 w 1217411"/>
                <a:gd name="connsiteY73" fmla="*/ 183100 h 878497"/>
                <a:gd name="connsiteX74" fmla="*/ 197907 w 1217411"/>
                <a:gd name="connsiteY74" fmla="*/ 195469 h 878497"/>
                <a:gd name="connsiteX75" fmla="*/ 226315 w 1217411"/>
                <a:gd name="connsiteY75" fmla="*/ 222228 h 878497"/>
                <a:gd name="connsiteX76" fmla="*/ 260082 w 1217411"/>
                <a:gd name="connsiteY76" fmla="*/ 248986 h 878497"/>
                <a:gd name="connsiteX77" fmla="*/ 279626 w 1217411"/>
                <a:gd name="connsiteY77" fmla="*/ 279868 h 878497"/>
                <a:gd name="connsiteX78" fmla="*/ 307167 w 1217411"/>
                <a:gd name="connsiteY78" fmla="*/ 304606 h 878497"/>
                <a:gd name="connsiteX79" fmla="*/ 313352 w 1217411"/>
                <a:gd name="connsiteY79" fmla="*/ 332354 h 878497"/>
                <a:gd name="connsiteX80" fmla="*/ 338090 w 1217411"/>
                <a:gd name="connsiteY80" fmla="*/ 368349 h 878497"/>
                <a:gd name="connsiteX81" fmla="*/ 371075 w 1217411"/>
                <a:gd name="connsiteY81" fmla="*/ 403353 h 878497"/>
                <a:gd name="connsiteX82" fmla="*/ 457246 w 1217411"/>
                <a:gd name="connsiteY82" fmla="*/ 514676 h 878497"/>
                <a:gd name="connsiteX83" fmla="*/ 476790 w 1217411"/>
                <a:gd name="connsiteY83" fmla="*/ 565059 h 878497"/>
                <a:gd name="connsiteX84" fmla="*/ 477119 w 1217411"/>
                <a:gd name="connsiteY84" fmla="*/ 575820 h 878497"/>
                <a:gd name="connsiteX85" fmla="*/ 499136 w 1217411"/>
                <a:gd name="connsiteY85" fmla="*/ 625709 h 878497"/>
                <a:gd name="connsiteX86" fmla="*/ 495302 w 1217411"/>
                <a:gd name="connsiteY86" fmla="*/ 652014 h 878497"/>
                <a:gd name="connsiteX87" fmla="*/ 495756 w 1217411"/>
                <a:gd name="connsiteY87" fmla="*/ 653581 h 878497"/>
                <a:gd name="connsiteX88" fmla="*/ 546386 w 1217411"/>
                <a:gd name="connsiteY88" fmla="*/ 679598 h 878497"/>
                <a:gd name="connsiteX89" fmla="*/ 582546 w 1217411"/>
                <a:gd name="connsiteY89" fmla="*/ 720828 h 878497"/>
                <a:gd name="connsiteX90" fmla="*/ 628353 w 1217411"/>
                <a:gd name="connsiteY90" fmla="*/ 742309 h 878497"/>
                <a:gd name="connsiteX91" fmla="*/ 687518 w 1217411"/>
                <a:gd name="connsiteY91" fmla="*/ 775293 h 878497"/>
                <a:gd name="connsiteX92" fmla="*/ 756373 w 1217411"/>
                <a:gd name="connsiteY92" fmla="*/ 791785 h 878497"/>
                <a:gd name="connsiteX93" fmla="*/ 817518 w 1217411"/>
                <a:gd name="connsiteY93" fmla="*/ 841839 h 878497"/>
                <a:gd name="connsiteX94" fmla="*/ 866788 w 1217411"/>
                <a:gd name="connsiteY94" fmla="*/ 827285 h 878497"/>
                <a:gd name="connsiteX95" fmla="*/ 939643 w 1217411"/>
                <a:gd name="connsiteY95" fmla="*/ 839654 h 878497"/>
                <a:gd name="connsiteX96" fmla="*/ 982770 w 1217411"/>
                <a:gd name="connsiteY96" fmla="*/ 878493 h 878497"/>
                <a:gd name="connsiteX97" fmla="*/ 1015507 w 1217411"/>
                <a:gd name="connsiteY97" fmla="*/ 828398 h 878497"/>
                <a:gd name="connsiteX98" fmla="*/ 1068694 w 1217411"/>
                <a:gd name="connsiteY98" fmla="*/ 821430 h 878497"/>
                <a:gd name="connsiteX99" fmla="*/ 1039544 w 1217411"/>
                <a:gd name="connsiteY99" fmla="*/ 776778 h 878497"/>
                <a:gd name="connsiteX100" fmla="*/ 1052408 w 1217411"/>
                <a:gd name="connsiteY100" fmla="*/ 741979 h 878497"/>
                <a:gd name="connsiteX101" fmla="*/ 1125304 w 1217411"/>
                <a:gd name="connsiteY101" fmla="*/ 741979 h 878497"/>
                <a:gd name="connsiteX102" fmla="*/ 1151031 w 1217411"/>
                <a:gd name="connsiteY102" fmla="*/ 713118 h 878497"/>
                <a:gd name="connsiteX103" fmla="*/ 1169709 w 1217411"/>
                <a:gd name="connsiteY103" fmla="*/ 726600 h 878497"/>
                <a:gd name="connsiteX104" fmla="*/ 1177955 w 1217411"/>
                <a:gd name="connsiteY104" fmla="*/ 712582 h 878497"/>
                <a:gd name="connsiteX105" fmla="*/ 1175192 w 1217411"/>
                <a:gd name="connsiteY105" fmla="*/ 708459 h 878497"/>
                <a:gd name="connsiteX106" fmla="*/ 1170781 w 1217411"/>
                <a:gd name="connsiteY106" fmla="*/ 673743 h 878497"/>
                <a:gd name="connsiteX107" fmla="*/ 1174656 w 1217411"/>
                <a:gd name="connsiteY107" fmla="*/ 657250 h 878497"/>
                <a:gd name="connsiteX108" fmla="*/ 1169255 w 1217411"/>
                <a:gd name="connsiteY108" fmla="*/ 636306 h 878497"/>
                <a:gd name="connsiteX109" fmla="*/ 1199848 w 1217411"/>
                <a:gd name="connsiteY109" fmla="*/ 593467 h 878497"/>
                <a:gd name="connsiteX110" fmla="*/ 1217412 w 1217411"/>
                <a:gd name="connsiteY110" fmla="*/ 578171 h 878497"/>
                <a:gd name="connsiteX111" fmla="*/ 1216959 w 1217411"/>
                <a:gd name="connsiteY111" fmla="*/ 573264 h 878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</a:cxnLst>
              <a:rect l="l" t="t" r="r" b="b"/>
              <a:pathLst>
                <a:path w="1217411" h="878497">
                  <a:moveTo>
                    <a:pt x="1216959" y="573264"/>
                  </a:moveTo>
                  <a:cubicBezTo>
                    <a:pt x="1213413" y="551659"/>
                    <a:pt x="1196550" y="573264"/>
                    <a:pt x="1182325" y="562998"/>
                  </a:cubicBezTo>
                  <a:cubicBezTo>
                    <a:pt x="1168101" y="552731"/>
                    <a:pt x="1155732" y="559864"/>
                    <a:pt x="1119490" y="566007"/>
                  </a:cubicBezTo>
                  <a:cubicBezTo>
                    <a:pt x="1117395" y="570419"/>
                    <a:pt x="1114612" y="574460"/>
                    <a:pt x="1111244" y="577964"/>
                  </a:cubicBezTo>
                  <a:cubicBezTo>
                    <a:pt x="1106742" y="582541"/>
                    <a:pt x="1101258" y="586004"/>
                    <a:pt x="1095205" y="588148"/>
                  </a:cubicBezTo>
                  <a:cubicBezTo>
                    <a:pt x="1088476" y="595776"/>
                    <a:pt x="1079278" y="600765"/>
                    <a:pt x="1069230" y="602249"/>
                  </a:cubicBezTo>
                  <a:cubicBezTo>
                    <a:pt x="1068776" y="604187"/>
                    <a:pt x="1068488" y="606372"/>
                    <a:pt x="1068199" y="608269"/>
                  </a:cubicBezTo>
                  <a:cubicBezTo>
                    <a:pt x="1072409" y="613422"/>
                    <a:pt x="1075522" y="619360"/>
                    <a:pt x="1077352" y="625750"/>
                  </a:cubicBezTo>
                  <a:cubicBezTo>
                    <a:pt x="1080313" y="637460"/>
                    <a:pt x="1078738" y="649870"/>
                    <a:pt x="1072941" y="660467"/>
                  </a:cubicBezTo>
                  <a:cubicBezTo>
                    <a:pt x="1068471" y="668506"/>
                    <a:pt x="1062011" y="675227"/>
                    <a:pt x="1054181" y="680051"/>
                  </a:cubicBezTo>
                  <a:cubicBezTo>
                    <a:pt x="1051530" y="681453"/>
                    <a:pt x="1048771" y="682690"/>
                    <a:pt x="1045935" y="683679"/>
                  </a:cubicBezTo>
                  <a:cubicBezTo>
                    <a:pt x="1037936" y="690730"/>
                    <a:pt x="1028288" y="694853"/>
                    <a:pt x="1029443" y="703924"/>
                  </a:cubicBezTo>
                  <a:cubicBezTo>
                    <a:pt x="1030927" y="716746"/>
                    <a:pt x="1014064" y="708294"/>
                    <a:pt x="1004210" y="702109"/>
                  </a:cubicBezTo>
                  <a:cubicBezTo>
                    <a:pt x="1001835" y="704624"/>
                    <a:pt x="999044" y="706686"/>
                    <a:pt x="995964" y="708211"/>
                  </a:cubicBezTo>
                  <a:cubicBezTo>
                    <a:pt x="987437" y="713035"/>
                    <a:pt x="977847" y="715674"/>
                    <a:pt x="968050" y="715880"/>
                  </a:cubicBezTo>
                  <a:cubicBezTo>
                    <a:pt x="960596" y="715798"/>
                    <a:pt x="953298" y="713695"/>
                    <a:pt x="946940" y="709819"/>
                  </a:cubicBezTo>
                  <a:cubicBezTo>
                    <a:pt x="927809" y="715592"/>
                    <a:pt x="909833" y="721529"/>
                    <a:pt x="904927" y="722436"/>
                  </a:cubicBezTo>
                  <a:cubicBezTo>
                    <a:pt x="894248" y="724498"/>
                    <a:pt x="874705" y="696708"/>
                    <a:pt x="859573" y="697698"/>
                  </a:cubicBezTo>
                  <a:cubicBezTo>
                    <a:pt x="844442" y="698687"/>
                    <a:pt x="838257" y="671929"/>
                    <a:pt x="836443" y="650324"/>
                  </a:cubicBezTo>
                  <a:cubicBezTo>
                    <a:pt x="836344" y="649169"/>
                    <a:pt x="836167" y="648056"/>
                    <a:pt x="835907" y="646943"/>
                  </a:cubicBezTo>
                  <a:cubicBezTo>
                    <a:pt x="819415" y="640841"/>
                    <a:pt x="810715" y="625173"/>
                    <a:pt x="809478" y="608722"/>
                  </a:cubicBezTo>
                  <a:cubicBezTo>
                    <a:pt x="803718" y="602826"/>
                    <a:pt x="798478" y="596436"/>
                    <a:pt x="793810" y="589632"/>
                  </a:cubicBezTo>
                  <a:cubicBezTo>
                    <a:pt x="781441" y="570089"/>
                    <a:pt x="779627" y="526839"/>
                    <a:pt x="778720" y="498925"/>
                  </a:cubicBezTo>
                  <a:cubicBezTo>
                    <a:pt x="777813" y="471012"/>
                    <a:pt x="775174" y="423804"/>
                    <a:pt x="792038" y="369297"/>
                  </a:cubicBezTo>
                  <a:cubicBezTo>
                    <a:pt x="794062" y="363018"/>
                    <a:pt x="795266" y="356507"/>
                    <a:pt x="795625" y="349919"/>
                  </a:cubicBezTo>
                  <a:cubicBezTo>
                    <a:pt x="789481" y="345548"/>
                    <a:pt x="783503" y="342373"/>
                    <a:pt x="779132" y="342703"/>
                  </a:cubicBezTo>
                  <a:cubicBezTo>
                    <a:pt x="763960" y="343816"/>
                    <a:pt x="729656" y="319614"/>
                    <a:pt x="723142" y="319614"/>
                  </a:cubicBezTo>
                  <a:cubicBezTo>
                    <a:pt x="716627" y="319614"/>
                    <a:pt x="717452" y="300937"/>
                    <a:pt x="711762" y="291000"/>
                  </a:cubicBezTo>
                  <a:cubicBezTo>
                    <a:pt x="706072" y="281064"/>
                    <a:pt x="709824" y="262428"/>
                    <a:pt x="702238" y="255831"/>
                  </a:cubicBezTo>
                  <a:cubicBezTo>
                    <a:pt x="694651" y="249234"/>
                    <a:pt x="671892" y="223960"/>
                    <a:pt x="664306" y="193202"/>
                  </a:cubicBezTo>
                  <a:cubicBezTo>
                    <a:pt x="656719" y="162444"/>
                    <a:pt x="610335" y="147271"/>
                    <a:pt x="593224" y="146034"/>
                  </a:cubicBezTo>
                  <a:cubicBezTo>
                    <a:pt x="576114" y="144797"/>
                    <a:pt x="566672" y="186728"/>
                    <a:pt x="561930" y="188873"/>
                  </a:cubicBezTo>
                  <a:cubicBezTo>
                    <a:pt x="557189" y="191016"/>
                    <a:pt x="524823" y="166897"/>
                    <a:pt x="515423" y="161413"/>
                  </a:cubicBezTo>
                  <a:cubicBezTo>
                    <a:pt x="506022" y="155929"/>
                    <a:pt x="501198" y="144921"/>
                    <a:pt x="501198" y="131727"/>
                  </a:cubicBezTo>
                  <a:cubicBezTo>
                    <a:pt x="501198" y="118533"/>
                    <a:pt x="481242" y="97629"/>
                    <a:pt x="475553" y="95485"/>
                  </a:cubicBezTo>
                  <a:cubicBezTo>
                    <a:pt x="469863" y="93341"/>
                    <a:pt x="429993" y="48194"/>
                    <a:pt x="429993" y="48194"/>
                  </a:cubicBezTo>
                  <a:lnTo>
                    <a:pt x="367364" y="48194"/>
                  </a:lnTo>
                  <a:lnTo>
                    <a:pt x="354088" y="67944"/>
                  </a:lnTo>
                  <a:lnTo>
                    <a:pt x="240209" y="69057"/>
                  </a:lnTo>
                  <a:cubicBezTo>
                    <a:pt x="240209" y="69057"/>
                    <a:pt x="152883" y="31702"/>
                    <a:pt x="136762" y="27332"/>
                  </a:cubicBezTo>
                  <a:cubicBezTo>
                    <a:pt x="120641" y="22961"/>
                    <a:pt x="92192" y="-4"/>
                    <a:pt x="92192" y="-4"/>
                  </a:cubicBezTo>
                  <a:lnTo>
                    <a:pt x="1" y="14097"/>
                  </a:lnTo>
                  <a:cubicBezTo>
                    <a:pt x="5587" y="27752"/>
                    <a:pt x="12712" y="40727"/>
                    <a:pt x="21234" y="52771"/>
                  </a:cubicBezTo>
                  <a:cubicBezTo>
                    <a:pt x="38881" y="78045"/>
                    <a:pt x="51745" y="121708"/>
                    <a:pt x="54590" y="140303"/>
                  </a:cubicBezTo>
                  <a:cubicBezTo>
                    <a:pt x="62807" y="148479"/>
                    <a:pt x="69610" y="157970"/>
                    <a:pt x="74710" y="168381"/>
                  </a:cubicBezTo>
                  <a:cubicBezTo>
                    <a:pt x="83698" y="175225"/>
                    <a:pt x="94583" y="182069"/>
                    <a:pt x="104726" y="189615"/>
                  </a:cubicBezTo>
                  <a:cubicBezTo>
                    <a:pt x="126949" y="206107"/>
                    <a:pt x="126949" y="242060"/>
                    <a:pt x="124269" y="251460"/>
                  </a:cubicBezTo>
                  <a:cubicBezTo>
                    <a:pt x="121589" y="260861"/>
                    <a:pt x="94047" y="245276"/>
                    <a:pt x="92316" y="254511"/>
                  </a:cubicBezTo>
                  <a:cubicBezTo>
                    <a:pt x="92192" y="255703"/>
                    <a:pt x="92406" y="256903"/>
                    <a:pt x="92934" y="257975"/>
                  </a:cubicBezTo>
                  <a:lnTo>
                    <a:pt x="92934" y="257975"/>
                  </a:lnTo>
                  <a:cubicBezTo>
                    <a:pt x="115322" y="265829"/>
                    <a:pt x="135092" y="279744"/>
                    <a:pt x="150038" y="298175"/>
                  </a:cubicBezTo>
                  <a:cubicBezTo>
                    <a:pt x="159686" y="300607"/>
                    <a:pt x="167850" y="310544"/>
                    <a:pt x="185414" y="328603"/>
                  </a:cubicBezTo>
                  <a:cubicBezTo>
                    <a:pt x="203926" y="347445"/>
                    <a:pt x="205740" y="369132"/>
                    <a:pt x="200710" y="380594"/>
                  </a:cubicBezTo>
                  <a:cubicBezTo>
                    <a:pt x="205180" y="384099"/>
                    <a:pt x="209072" y="388263"/>
                    <a:pt x="212255" y="392963"/>
                  </a:cubicBezTo>
                  <a:cubicBezTo>
                    <a:pt x="219132" y="403024"/>
                    <a:pt x="225341" y="413496"/>
                    <a:pt x="230850" y="424340"/>
                  </a:cubicBezTo>
                  <a:lnTo>
                    <a:pt x="243219" y="433575"/>
                  </a:lnTo>
                  <a:cubicBezTo>
                    <a:pt x="271627" y="455221"/>
                    <a:pt x="283171" y="481938"/>
                    <a:pt x="285851" y="493277"/>
                  </a:cubicBezTo>
                  <a:cubicBezTo>
                    <a:pt x="288531" y="504615"/>
                    <a:pt x="300942" y="494308"/>
                    <a:pt x="305395" y="478887"/>
                  </a:cubicBezTo>
                  <a:cubicBezTo>
                    <a:pt x="309847" y="463467"/>
                    <a:pt x="296489" y="459344"/>
                    <a:pt x="296489" y="441780"/>
                  </a:cubicBezTo>
                  <a:cubicBezTo>
                    <a:pt x="296489" y="424216"/>
                    <a:pt x="273400" y="427391"/>
                    <a:pt x="262721" y="425288"/>
                  </a:cubicBezTo>
                  <a:cubicBezTo>
                    <a:pt x="252042" y="423185"/>
                    <a:pt x="263628" y="396427"/>
                    <a:pt x="252991" y="384057"/>
                  </a:cubicBezTo>
                  <a:cubicBezTo>
                    <a:pt x="242353" y="371688"/>
                    <a:pt x="232375" y="340848"/>
                    <a:pt x="227222" y="318089"/>
                  </a:cubicBezTo>
                  <a:cubicBezTo>
                    <a:pt x="222068" y="295330"/>
                    <a:pt x="194237" y="272735"/>
                    <a:pt x="182775" y="247997"/>
                  </a:cubicBezTo>
                  <a:cubicBezTo>
                    <a:pt x="171313" y="223259"/>
                    <a:pt x="158820" y="203757"/>
                    <a:pt x="150821" y="197572"/>
                  </a:cubicBezTo>
                  <a:cubicBezTo>
                    <a:pt x="142823" y="191388"/>
                    <a:pt x="162366" y="182152"/>
                    <a:pt x="155233" y="172834"/>
                  </a:cubicBezTo>
                  <a:cubicBezTo>
                    <a:pt x="148100" y="163516"/>
                    <a:pt x="137463" y="164588"/>
                    <a:pt x="124145" y="157372"/>
                  </a:cubicBezTo>
                  <a:cubicBezTo>
                    <a:pt x="110457" y="150619"/>
                    <a:pt x="101831" y="136642"/>
                    <a:pt x="101922" y="121378"/>
                  </a:cubicBezTo>
                  <a:cubicBezTo>
                    <a:pt x="101922" y="104886"/>
                    <a:pt x="93058" y="65799"/>
                    <a:pt x="88605" y="52441"/>
                  </a:cubicBezTo>
                  <a:cubicBezTo>
                    <a:pt x="84152" y="39082"/>
                    <a:pt x="98376" y="41102"/>
                    <a:pt x="102829" y="47287"/>
                  </a:cubicBezTo>
                  <a:cubicBezTo>
                    <a:pt x="107282" y="53472"/>
                    <a:pt x="110828" y="59656"/>
                    <a:pt x="117054" y="55533"/>
                  </a:cubicBezTo>
                  <a:cubicBezTo>
                    <a:pt x="123279" y="51410"/>
                    <a:pt x="133917" y="54461"/>
                    <a:pt x="138370" y="65799"/>
                  </a:cubicBezTo>
                  <a:cubicBezTo>
                    <a:pt x="142823" y="77138"/>
                    <a:pt x="157913" y="66830"/>
                    <a:pt x="165005" y="71984"/>
                  </a:cubicBezTo>
                  <a:cubicBezTo>
                    <a:pt x="172096" y="77138"/>
                    <a:pt x="149048" y="83281"/>
                    <a:pt x="172096" y="130614"/>
                  </a:cubicBezTo>
                  <a:cubicBezTo>
                    <a:pt x="195144" y="177946"/>
                    <a:pt x="179229" y="151229"/>
                    <a:pt x="179229" y="183100"/>
                  </a:cubicBezTo>
                  <a:cubicBezTo>
                    <a:pt x="179229" y="214971"/>
                    <a:pt x="193454" y="200623"/>
                    <a:pt x="197907" y="195469"/>
                  </a:cubicBezTo>
                  <a:cubicBezTo>
                    <a:pt x="202359" y="190315"/>
                    <a:pt x="214770" y="205777"/>
                    <a:pt x="226315" y="222228"/>
                  </a:cubicBezTo>
                  <a:cubicBezTo>
                    <a:pt x="237859" y="238679"/>
                    <a:pt x="260082" y="239709"/>
                    <a:pt x="260082" y="248986"/>
                  </a:cubicBezTo>
                  <a:cubicBezTo>
                    <a:pt x="260082" y="258263"/>
                    <a:pt x="264535" y="276776"/>
                    <a:pt x="279626" y="279868"/>
                  </a:cubicBezTo>
                  <a:cubicBezTo>
                    <a:pt x="294716" y="282960"/>
                    <a:pt x="297396" y="302462"/>
                    <a:pt x="307167" y="304606"/>
                  </a:cubicBezTo>
                  <a:cubicBezTo>
                    <a:pt x="316939" y="306750"/>
                    <a:pt x="318712" y="318996"/>
                    <a:pt x="313352" y="332354"/>
                  </a:cubicBezTo>
                  <a:cubicBezTo>
                    <a:pt x="307992" y="345713"/>
                    <a:pt x="313352" y="357093"/>
                    <a:pt x="338090" y="368349"/>
                  </a:cubicBezTo>
                  <a:cubicBezTo>
                    <a:pt x="362829" y="379605"/>
                    <a:pt x="351408" y="381748"/>
                    <a:pt x="371075" y="403353"/>
                  </a:cubicBezTo>
                  <a:cubicBezTo>
                    <a:pt x="390741" y="424958"/>
                    <a:pt x="445702" y="494926"/>
                    <a:pt x="457246" y="514676"/>
                  </a:cubicBezTo>
                  <a:cubicBezTo>
                    <a:pt x="468791" y="534425"/>
                    <a:pt x="472337" y="550629"/>
                    <a:pt x="476790" y="565059"/>
                  </a:cubicBezTo>
                  <a:cubicBezTo>
                    <a:pt x="477849" y="568564"/>
                    <a:pt x="477965" y="572275"/>
                    <a:pt x="477119" y="575820"/>
                  </a:cubicBezTo>
                  <a:cubicBezTo>
                    <a:pt x="495100" y="585386"/>
                    <a:pt x="504199" y="606001"/>
                    <a:pt x="499136" y="625709"/>
                  </a:cubicBezTo>
                  <a:cubicBezTo>
                    <a:pt x="497611" y="632636"/>
                    <a:pt x="498436" y="646036"/>
                    <a:pt x="495302" y="652014"/>
                  </a:cubicBezTo>
                  <a:cubicBezTo>
                    <a:pt x="495508" y="652633"/>
                    <a:pt x="495632" y="653086"/>
                    <a:pt x="495756" y="653581"/>
                  </a:cubicBezTo>
                  <a:cubicBezTo>
                    <a:pt x="511712" y="651478"/>
                    <a:pt x="535502" y="669125"/>
                    <a:pt x="546386" y="679598"/>
                  </a:cubicBezTo>
                  <a:cubicBezTo>
                    <a:pt x="559663" y="692379"/>
                    <a:pt x="568404" y="708954"/>
                    <a:pt x="582546" y="720828"/>
                  </a:cubicBezTo>
                  <a:cubicBezTo>
                    <a:pt x="596688" y="732702"/>
                    <a:pt x="611778" y="735465"/>
                    <a:pt x="628353" y="742309"/>
                  </a:cubicBezTo>
                  <a:cubicBezTo>
                    <a:pt x="649422" y="750967"/>
                    <a:pt x="666408" y="767336"/>
                    <a:pt x="687518" y="775293"/>
                  </a:cubicBezTo>
                  <a:cubicBezTo>
                    <a:pt x="709742" y="783539"/>
                    <a:pt x="734232" y="781808"/>
                    <a:pt x="756373" y="791785"/>
                  </a:cubicBezTo>
                  <a:cubicBezTo>
                    <a:pt x="780040" y="802423"/>
                    <a:pt x="797892" y="824110"/>
                    <a:pt x="817518" y="841839"/>
                  </a:cubicBezTo>
                  <a:cubicBezTo>
                    <a:pt x="832567" y="841345"/>
                    <a:pt x="849101" y="835490"/>
                    <a:pt x="866788" y="827285"/>
                  </a:cubicBezTo>
                  <a:cubicBezTo>
                    <a:pt x="897876" y="812895"/>
                    <a:pt x="921872" y="831408"/>
                    <a:pt x="939643" y="839654"/>
                  </a:cubicBezTo>
                  <a:cubicBezTo>
                    <a:pt x="948383" y="843777"/>
                    <a:pt x="965577" y="860723"/>
                    <a:pt x="982770" y="878493"/>
                  </a:cubicBezTo>
                  <a:cubicBezTo>
                    <a:pt x="998437" y="852435"/>
                    <a:pt x="1013528" y="829017"/>
                    <a:pt x="1015507" y="828398"/>
                  </a:cubicBezTo>
                  <a:cubicBezTo>
                    <a:pt x="1019630" y="827409"/>
                    <a:pt x="1064406" y="834376"/>
                    <a:pt x="1068694" y="821430"/>
                  </a:cubicBezTo>
                  <a:cubicBezTo>
                    <a:pt x="1072982" y="808484"/>
                    <a:pt x="1035256" y="779746"/>
                    <a:pt x="1039544" y="776778"/>
                  </a:cubicBezTo>
                  <a:cubicBezTo>
                    <a:pt x="1043832" y="773809"/>
                    <a:pt x="1045522" y="741979"/>
                    <a:pt x="1052408" y="741979"/>
                  </a:cubicBezTo>
                  <a:cubicBezTo>
                    <a:pt x="1059294" y="741979"/>
                    <a:pt x="1121840" y="744000"/>
                    <a:pt x="1125304" y="741979"/>
                  </a:cubicBezTo>
                  <a:cubicBezTo>
                    <a:pt x="1128767" y="739959"/>
                    <a:pt x="1140724" y="714190"/>
                    <a:pt x="1151031" y="713118"/>
                  </a:cubicBezTo>
                  <a:cubicBezTo>
                    <a:pt x="1155732" y="712664"/>
                    <a:pt x="1163071" y="719303"/>
                    <a:pt x="1169709" y="726600"/>
                  </a:cubicBezTo>
                  <a:cubicBezTo>
                    <a:pt x="1173296" y="722477"/>
                    <a:pt x="1176091" y="717736"/>
                    <a:pt x="1177955" y="712582"/>
                  </a:cubicBezTo>
                  <a:cubicBezTo>
                    <a:pt x="1176965" y="711180"/>
                    <a:pt x="1176017" y="709819"/>
                    <a:pt x="1175192" y="708459"/>
                  </a:cubicBezTo>
                  <a:cubicBezTo>
                    <a:pt x="1168884" y="697326"/>
                    <a:pt x="1168843" y="686071"/>
                    <a:pt x="1170781" y="673743"/>
                  </a:cubicBezTo>
                  <a:cubicBezTo>
                    <a:pt x="1171729" y="668177"/>
                    <a:pt x="1173024" y="662652"/>
                    <a:pt x="1174656" y="657250"/>
                  </a:cubicBezTo>
                  <a:cubicBezTo>
                    <a:pt x="1171436" y="650695"/>
                    <a:pt x="1169602" y="643603"/>
                    <a:pt x="1169255" y="636306"/>
                  </a:cubicBezTo>
                  <a:cubicBezTo>
                    <a:pt x="1168389" y="616844"/>
                    <a:pt x="1182738" y="599569"/>
                    <a:pt x="1199848" y="593467"/>
                  </a:cubicBezTo>
                  <a:cubicBezTo>
                    <a:pt x="1203967" y="586664"/>
                    <a:pt x="1210110" y="581304"/>
                    <a:pt x="1217412" y="578171"/>
                  </a:cubicBezTo>
                  <a:cubicBezTo>
                    <a:pt x="1217375" y="576521"/>
                    <a:pt x="1217227" y="574872"/>
                    <a:pt x="1216959" y="573264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32" name="Canada">
              <a:extLst>
                <a:ext uri="{FF2B5EF4-FFF2-40B4-BE49-F238E27FC236}">
                  <a16:creationId xmlns:a16="http://schemas.microsoft.com/office/drawing/2014/main" id="{9148EF5A-3518-2FAD-23FC-F37DAAE2D809}"/>
                </a:ext>
              </a:extLst>
            </p:cNvPr>
            <p:cNvGrpSpPr/>
            <p:nvPr>
              <p:custDataLst>
                <p:tags r:id="rId175"/>
              </p:custDataLst>
            </p:nvPr>
          </p:nvGrpSpPr>
          <p:grpSpPr>
            <a:xfrm>
              <a:off x="1849431" y="1158864"/>
              <a:ext cx="3050957" cy="2702427"/>
              <a:chOff x="1848902" y="671536"/>
              <a:chExt cx="3050957" cy="2702427"/>
            </a:xfrm>
            <a:solidFill>
              <a:schemeClr val="accent1"/>
            </a:solidFill>
          </p:grpSpPr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70FD316-07EE-742D-BC00-A9D10F0FE1E2}"/>
                  </a:ext>
                </a:extLst>
              </p:cNvPr>
              <p:cNvSpPr/>
              <p:nvPr>
                <p:custDataLst>
                  <p:tags r:id="rId516"/>
                </p:custDataLst>
              </p:nvPr>
            </p:nvSpPr>
            <p:spPr>
              <a:xfrm>
                <a:off x="2289227" y="2941307"/>
                <a:ext cx="185752" cy="131050"/>
              </a:xfrm>
              <a:custGeom>
                <a:avLst/>
                <a:gdLst>
                  <a:gd name="connsiteX0" fmla="*/ 190840 w 216899"/>
                  <a:gd name="connsiteY0" fmla="*/ 111904 h 153025"/>
                  <a:gd name="connsiteX1" fmla="*/ 144662 w 216899"/>
                  <a:gd name="connsiteY1" fmla="*/ 87165 h 153025"/>
                  <a:gd name="connsiteX2" fmla="*/ 97577 w 216899"/>
                  <a:gd name="connsiteY2" fmla="*/ 26474 h 153025"/>
                  <a:gd name="connsiteX3" fmla="*/ 45173 w 216899"/>
                  <a:gd name="connsiteY3" fmla="*/ 13115 h 153025"/>
                  <a:gd name="connsiteX4" fmla="*/ 3406 w 216899"/>
                  <a:gd name="connsiteY4" fmla="*/ 5900 h 153025"/>
                  <a:gd name="connsiteX5" fmla="*/ 15775 w 216899"/>
                  <a:gd name="connsiteY5" fmla="*/ 27505 h 153025"/>
                  <a:gd name="connsiteX6" fmla="*/ 34411 w 216899"/>
                  <a:gd name="connsiteY6" fmla="*/ 41894 h 153025"/>
                  <a:gd name="connsiteX7" fmla="*/ 61953 w 216899"/>
                  <a:gd name="connsiteY7" fmla="*/ 66633 h 153025"/>
                  <a:gd name="connsiteX8" fmla="*/ 87599 w 216899"/>
                  <a:gd name="connsiteY8" fmla="*/ 87000 h 153025"/>
                  <a:gd name="connsiteX9" fmla="*/ 153567 w 216899"/>
                  <a:gd name="connsiteY9" fmla="*/ 150124 h 153025"/>
                  <a:gd name="connsiteX10" fmla="*/ 211579 w 216899"/>
                  <a:gd name="connsiteY10" fmla="*/ 149629 h 153025"/>
                  <a:gd name="connsiteX11" fmla="*/ 215702 w 216899"/>
                  <a:gd name="connsiteY11" fmla="*/ 130416 h 153025"/>
                  <a:gd name="connsiteX12" fmla="*/ 190840 w 216899"/>
                  <a:gd name="connsiteY12" fmla="*/ 111904 h 153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16899" h="153025">
                    <a:moveTo>
                      <a:pt x="190840" y="111904"/>
                    </a:moveTo>
                    <a:cubicBezTo>
                      <a:pt x="179295" y="97473"/>
                      <a:pt x="149115" y="100565"/>
                      <a:pt x="144662" y="87165"/>
                    </a:cubicBezTo>
                    <a:cubicBezTo>
                      <a:pt x="140209" y="73766"/>
                      <a:pt x="112667" y="25320"/>
                      <a:pt x="97577" y="26474"/>
                    </a:cubicBezTo>
                    <a:cubicBezTo>
                      <a:pt x="82486" y="27629"/>
                      <a:pt x="62943" y="28494"/>
                      <a:pt x="45173" y="13115"/>
                    </a:cubicBezTo>
                    <a:cubicBezTo>
                      <a:pt x="27402" y="-2263"/>
                      <a:pt x="15858" y="-3377"/>
                      <a:pt x="3406" y="5900"/>
                    </a:cubicBezTo>
                    <a:cubicBezTo>
                      <a:pt x="-9045" y="15177"/>
                      <a:pt x="16724" y="17197"/>
                      <a:pt x="15775" y="27505"/>
                    </a:cubicBezTo>
                    <a:cubicBezTo>
                      <a:pt x="14827" y="37812"/>
                      <a:pt x="23733" y="43997"/>
                      <a:pt x="34411" y="41894"/>
                    </a:cubicBezTo>
                    <a:cubicBezTo>
                      <a:pt x="45090" y="39792"/>
                      <a:pt x="51275" y="65561"/>
                      <a:pt x="61953" y="66633"/>
                    </a:cubicBezTo>
                    <a:cubicBezTo>
                      <a:pt x="72632" y="67705"/>
                      <a:pt x="76013" y="85887"/>
                      <a:pt x="87599" y="87000"/>
                    </a:cubicBezTo>
                    <a:cubicBezTo>
                      <a:pt x="125118" y="89845"/>
                      <a:pt x="144085" y="117058"/>
                      <a:pt x="153567" y="150124"/>
                    </a:cubicBezTo>
                    <a:cubicBezTo>
                      <a:pt x="175626" y="153093"/>
                      <a:pt x="194798" y="154989"/>
                      <a:pt x="211579" y="149629"/>
                    </a:cubicBezTo>
                    <a:cubicBezTo>
                      <a:pt x="211682" y="143016"/>
                      <a:pt x="213080" y="136489"/>
                      <a:pt x="215702" y="130416"/>
                    </a:cubicBezTo>
                    <a:cubicBezTo>
                      <a:pt x="221928" y="117058"/>
                      <a:pt x="202426" y="126252"/>
                      <a:pt x="190840" y="111904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</a:lstStyle>
              <a:p>
                <a:pPr marL="0" marR="0" lvl="0" indent="0" algn="l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grpSp>
            <p:nvGrpSpPr>
              <p:cNvPr id="34" name="Canada group">
                <a:extLst>
                  <a:ext uri="{FF2B5EF4-FFF2-40B4-BE49-F238E27FC236}">
                    <a16:creationId xmlns:a16="http://schemas.microsoft.com/office/drawing/2014/main" id="{74585250-8D39-72E8-4FCC-C40F19BFA4ED}"/>
                  </a:ext>
                </a:extLst>
              </p:cNvPr>
              <p:cNvGrpSpPr/>
              <p:nvPr>
                <p:custDataLst>
                  <p:tags r:id="rId517"/>
                </p:custDataLst>
              </p:nvPr>
            </p:nvGrpSpPr>
            <p:grpSpPr>
              <a:xfrm>
                <a:off x="1848902" y="671536"/>
                <a:ext cx="3050957" cy="2702426"/>
                <a:chOff x="1848902" y="671536"/>
                <a:chExt cx="3050957" cy="2702426"/>
              </a:xfrm>
              <a:grpFill/>
            </p:grpSpPr>
            <p:sp>
              <p:nvSpPr>
                <p:cNvPr id="35" name="Canada group">
                  <a:extLst>
                    <a:ext uri="{FF2B5EF4-FFF2-40B4-BE49-F238E27FC236}">
                      <a16:creationId xmlns:a16="http://schemas.microsoft.com/office/drawing/2014/main" id="{3DFB8AEA-40AC-FCCB-919A-F4CBAAAF0983}"/>
                    </a:ext>
                  </a:extLst>
                </p:cNvPr>
                <p:cNvSpPr/>
                <p:nvPr>
                  <p:custDataLst>
                    <p:tags r:id="rId518"/>
                  </p:custDataLst>
                </p:nvPr>
              </p:nvSpPr>
              <p:spPr>
                <a:xfrm>
                  <a:off x="4674071" y="2903971"/>
                  <a:ext cx="225788" cy="239977"/>
                </a:xfrm>
                <a:custGeom>
                  <a:avLst/>
                  <a:gdLst>
                    <a:gd name="connsiteX0" fmla="*/ 243008 w 263650"/>
                    <a:gd name="connsiteY0" fmla="*/ 227861 h 280216"/>
                    <a:gd name="connsiteX1" fmla="*/ 240617 w 263650"/>
                    <a:gd name="connsiteY1" fmla="*/ 203123 h 280216"/>
                    <a:gd name="connsiteX2" fmla="*/ 224125 w 263650"/>
                    <a:gd name="connsiteY2" fmla="*/ 192155 h 280216"/>
                    <a:gd name="connsiteX3" fmla="*/ 226475 w 263650"/>
                    <a:gd name="connsiteY3" fmla="*/ 146802 h 280216"/>
                    <a:gd name="connsiteX4" fmla="*/ 194521 w 263650"/>
                    <a:gd name="connsiteY4" fmla="*/ 137195 h 280216"/>
                    <a:gd name="connsiteX5" fmla="*/ 158980 w 263650"/>
                    <a:gd name="connsiteY5" fmla="*/ 128949 h 280216"/>
                    <a:gd name="connsiteX6" fmla="*/ 141210 w 263650"/>
                    <a:gd name="connsiteY6" fmla="*/ 101531 h 280216"/>
                    <a:gd name="connsiteX7" fmla="*/ 110411 w 263650"/>
                    <a:gd name="connsiteY7" fmla="*/ 102892 h 280216"/>
                    <a:gd name="connsiteX8" fmla="*/ 113956 w 263650"/>
                    <a:gd name="connsiteY8" fmla="*/ 69907 h 280216"/>
                    <a:gd name="connsiteX9" fmla="*/ 142406 w 263650"/>
                    <a:gd name="connsiteY9" fmla="*/ 17751 h 280216"/>
                    <a:gd name="connsiteX10" fmla="*/ 123440 w 263650"/>
                    <a:gd name="connsiteY10" fmla="*/ 2660 h 280216"/>
                    <a:gd name="connsiteX11" fmla="*/ 58295 w 263650"/>
                    <a:gd name="connsiteY11" fmla="*/ 106932 h 280216"/>
                    <a:gd name="connsiteX12" fmla="*/ 40525 w 263650"/>
                    <a:gd name="connsiteY12" fmla="*/ 150801 h 280216"/>
                    <a:gd name="connsiteX13" fmla="*/ 18014 w 263650"/>
                    <a:gd name="connsiteY13" fmla="*/ 178261 h 280216"/>
                    <a:gd name="connsiteX14" fmla="*/ 6180 w 263650"/>
                    <a:gd name="connsiteY14" fmla="*/ 234540 h 280216"/>
                    <a:gd name="connsiteX15" fmla="*/ 16611 w 263650"/>
                    <a:gd name="connsiteY15" fmla="*/ 237798 h 280216"/>
                    <a:gd name="connsiteX16" fmla="*/ 46916 w 263650"/>
                    <a:gd name="connsiteY16" fmla="*/ 222254 h 280216"/>
                    <a:gd name="connsiteX17" fmla="*/ 62707 w 263650"/>
                    <a:gd name="connsiteY17" fmla="*/ 218955 h 280216"/>
                    <a:gd name="connsiteX18" fmla="*/ 87693 w 263650"/>
                    <a:gd name="connsiteY18" fmla="*/ 210709 h 280216"/>
                    <a:gd name="connsiteX19" fmla="*/ 96351 w 263650"/>
                    <a:gd name="connsiteY19" fmla="*/ 211080 h 280216"/>
                    <a:gd name="connsiteX20" fmla="*/ 100475 w 263650"/>
                    <a:gd name="connsiteY20" fmla="*/ 209472 h 280216"/>
                    <a:gd name="connsiteX21" fmla="*/ 149951 w 263650"/>
                    <a:gd name="connsiteY21" fmla="*/ 216853 h 280216"/>
                    <a:gd name="connsiteX22" fmla="*/ 166443 w 263650"/>
                    <a:gd name="connsiteY22" fmla="*/ 233138 h 280216"/>
                    <a:gd name="connsiteX23" fmla="*/ 167556 w 263650"/>
                    <a:gd name="connsiteY23" fmla="*/ 235283 h 280216"/>
                    <a:gd name="connsiteX24" fmla="*/ 168010 w 263650"/>
                    <a:gd name="connsiteY24" fmla="*/ 236148 h 280216"/>
                    <a:gd name="connsiteX25" fmla="*/ 169783 w 263650"/>
                    <a:gd name="connsiteY25" fmla="*/ 237138 h 280216"/>
                    <a:gd name="connsiteX26" fmla="*/ 183925 w 263650"/>
                    <a:gd name="connsiteY26" fmla="*/ 250909 h 280216"/>
                    <a:gd name="connsiteX27" fmla="*/ 186192 w 263650"/>
                    <a:gd name="connsiteY27" fmla="*/ 249507 h 280216"/>
                    <a:gd name="connsiteX28" fmla="*/ 210931 w 263650"/>
                    <a:gd name="connsiteY28" fmla="*/ 263196 h 280216"/>
                    <a:gd name="connsiteX29" fmla="*/ 260696 w 263650"/>
                    <a:gd name="connsiteY29" fmla="*/ 268679 h 280216"/>
                    <a:gd name="connsiteX30" fmla="*/ 243008 w 263650"/>
                    <a:gd name="connsiteY30" fmla="*/ 227861 h 2802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263650" h="280216">
                      <a:moveTo>
                        <a:pt x="243008" y="227861"/>
                      </a:moveTo>
                      <a:cubicBezTo>
                        <a:pt x="235916" y="242951"/>
                        <a:pt x="225237" y="216894"/>
                        <a:pt x="240617" y="203123"/>
                      </a:cubicBezTo>
                      <a:cubicBezTo>
                        <a:pt x="255996" y="189352"/>
                        <a:pt x="238266" y="183951"/>
                        <a:pt x="224125" y="192155"/>
                      </a:cubicBezTo>
                      <a:cubicBezTo>
                        <a:pt x="209982" y="200360"/>
                        <a:pt x="213446" y="155048"/>
                        <a:pt x="226475" y="146802"/>
                      </a:cubicBezTo>
                      <a:cubicBezTo>
                        <a:pt x="239504" y="138556"/>
                        <a:pt x="194521" y="122064"/>
                        <a:pt x="194521" y="137195"/>
                      </a:cubicBezTo>
                      <a:cubicBezTo>
                        <a:pt x="194521" y="152327"/>
                        <a:pt x="162526" y="142679"/>
                        <a:pt x="158980" y="128949"/>
                      </a:cubicBezTo>
                      <a:cubicBezTo>
                        <a:pt x="155435" y="115219"/>
                        <a:pt x="132923" y="111138"/>
                        <a:pt x="141210" y="101531"/>
                      </a:cubicBezTo>
                      <a:cubicBezTo>
                        <a:pt x="149497" y="91924"/>
                        <a:pt x="113956" y="86441"/>
                        <a:pt x="110411" y="102892"/>
                      </a:cubicBezTo>
                      <a:cubicBezTo>
                        <a:pt x="106865" y="119342"/>
                        <a:pt x="96186" y="91924"/>
                        <a:pt x="113956" y="69907"/>
                      </a:cubicBezTo>
                      <a:cubicBezTo>
                        <a:pt x="131727" y="47890"/>
                        <a:pt x="125831" y="28677"/>
                        <a:pt x="142406" y="17751"/>
                      </a:cubicBezTo>
                      <a:cubicBezTo>
                        <a:pt x="158980" y="6825"/>
                        <a:pt x="141210" y="-5544"/>
                        <a:pt x="123440" y="2660"/>
                      </a:cubicBezTo>
                      <a:cubicBezTo>
                        <a:pt x="105669" y="10865"/>
                        <a:pt x="58295" y="86358"/>
                        <a:pt x="58295" y="106932"/>
                      </a:cubicBezTo>
                      <a:cubicBezTo>
                        <a:pt x="58295" y="127506"/>
                        <a:pt x="57100" y="152286"/>
                        <a:pt x="40525" y="150801"/>
                      </a:cubicBezTo>
                      <a:cubicBezTo>
                        <a:pt x="23951" y="149317"/>
                        <a:pt x="4985" y="167294"/>
                        <a:pt x="18014" y="178261"/>
                      </a:cubicBezTo>
                      <a:cubicBezTo>
                        <a:pt x="31042" y="189228"/>
                        <a:pt x="-16373" y="220440"/>
                        <a:pt x="6180" y="234540"/>
                      </a:cubicBezTo>
                      <a:cubicBezTo>
                        <a:pt x="9355" y="236420"/>
                        <a:pt x="12942" y="237534"/>
                        <a:pt x="16611" y="237798"/>
                      </a:cubicBezTo>
                      <a:cubicBezTo>
                        <a:pt x="24280" y="228847"/>
                        <a:pt x="35165" y="223268"/>
                        <a:pt x="46916" y="222254"/>
                      </a:cubicBezTo>
                      <a:cubicBezTo>
                        <a:pt x="52111" y="220873"/>
                        <a:pt x="57388" y="219772"/>
                        <a:pt x="62707" y="218955"/>
                      </a:cubicBezTo>
                      <a:cubicBezTo>
                        <a:pt x="70252" y="214271"/>
                        <a:pt x="78829" y="211447"/>
                        <a:pt x="87693" y="210709"/>
                      </a:cubicBezTo>
                      <a:cubicBezTo>
                        <a:pt x="90579" y="210355"/>
                        <a:pt x="93506" y="210478"/>
                        <a:pt x="96351" y="211080"/>
                      </a:cubicBezTo>
                      <a:cubicBezTo>
                        <a:pt x="97794" y="210544"/>
                        <a:pt x="99155" y="209885"/>
                        <a:pt x="100475" y="209472"/>
                      </a:cubicBezTo>
                      <a:cubicBezTo>
                        <a:pt x="117997" y="204525"/>
                        <a:pt x="134077" y="208895"/>
                        <a:pt x="149951" y="216853"/>
                      </a:cubicBezTo>
                      <a:cubicBezTo>
                        <a:pt x="157084" y="220336"/>
                        <a:pt x="162856" y="226055"/>
                        <a:pt x="166443" y="233138"/>
                      </a:cubicBezTo>
                      <a:cubicBezTo>
                        <a:pt x="167350" y="233435"/>
                        <a:pt x="167845" y="234384"/>
                        <a:pt x="167556" y="235283"/>
                      </a:cubicBezTo>
                      <a:cubicBezTo>
                        <a:pt x="167556" y="235571"/>
                        <a:pt x="167886" y="235860"/>
                        <a:pt x="168010" y="236148"/>
                      </a:cubicBezTo>
                      <a:lnTo>
                        <a:pt x="169783" y="237138"/>
                      </a:lnTo>
                      <a:cubicBezTo>
                        <a:pt x="175596" y="240453"/>
                        <a:pt x="180461" y="245194"/>
                        <a:pt x="183925" y="250909"/>
                      </a:cubicBezTo>
                      <a:cubicBezTo>
                        <a:pt x="184667" y="250414"/>
                        <a:pt x="185450" y="249919"/>
                        <a:pt x="186192" y="249507"/>
                      </a:cubicBezTo>
                      <a:cubicBezTo>
                        <a:pt x="200376" y="241261"/>
                        <a:pt x="218146" y="249507"/>
                        <a:pt x="210931" y="263196"/>
                      </a:cubicBezTo>
                      <a:cubicBezTo>
                        <a:pt x="203715" y="276884"/>
                        <a:pt x="250017" y="290655"/>
                        <a:pt x="260696" y="268679"/>
                      </a:cubicBezTo>
                      <a:cubicBezTo>
                        <a:pt x="271375" y="246703"/>
                        <a:pt x="250223" y="212771"/>
                        <a:pt x="243008" y="227861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grpSp>
              <p:nvGrpSpPr>
                <p:cNvPr id="36" name="Canada group">
                  <a:extLst>
                    <a:ext uri="{FF2B5EF4-FFF2-40B4-BE49-F238E27FC236}">
                      <a16:creationId xmlns:a16="http://schemas.microsoft.com/office/drawing/2014/main" id="{979C583B-9DC1-FC4D-C9E3-966517BFA503}"/>
                    </a:ext>
                  </a:extLst>
                </p:cNvPr>
                <p:cNvGrpSpPr/>
                <p:nvPr>
                  <p:custDataLst>
                    <p:tags r:id="rId519"/>
                  </p:custDataLst>
                </p:nvPr>
              </p:nvGrpSpPr>
              <p:grpSpPr>
                <a:xfrm>
                  <a:off x="1848902" y="671536"/>
                  <a:ext cx="2948774" cy="2702427"/>
                  <a:chOff x="1848902" y="671536"/>
                  <a:chExt cx="2948774" cy="2702427"/>
                </a:xfrm>
                <a:grpFill/>
              </p:grpSpPr>
              <p:sp>
                <p:nvSpPr>
                  <p:cNvPr id="37" name="Canada group">
                    <a:extLst>
                      <a:ext uri="{FF2B5EF4-FFF2-40B4-BE49-F238E27FC236}">
                        <a16:creationId xmlns:a16="http://schemas.microsoft.com/office/drawing/2014/main" id="{9ABE41AF-B1F9-01A8-2E60-980534CFA084}"/>
                      </a:ext>
                    </a:extLst>
                  </p:cNvPr>
                  <p:cNvSpPr/>
                  <p:nvPr>
                    <p:custDataLst>
                      <p:tags r:id="rId520"/>
                    </p:custDataLst>
                  </p:nvPr>
                </p:nvSpPr>
                <p:spPr>
                  <a:xfrm>
                    <a:off x="3923823" y="1485790"/>
                    <a:ext cx="156901" cy="85098"/>
                  </a:xfrm>
                  <a:custGeom>
                    <a:avLst/>
                    <a:gdLst>
                      <a:gd name="connsiteX0" fmla="*/ 2086 w 183210"/>
                      <a:gd name="connsiteY0" fmla="*/ 9877 h 99367"/>
                      <a:gd name="connsiteX1" fmla="*/ 26824 w 183210"/>
                      <a:gd name="connsiteY1" fmla="*/ 67600 h 99367"/>
                      <a:gd name="connsiteX2" fmla="*/ 87268 w 183210"/>
                      <a:gd name="connsiteY2" fmla="*/ 90029 h 99367"/>
                      <a:gd name="connsiteX3" fmla="*/ 183211 w 183210"/>
                      <a:gd name="connsiteY3" fmla="*/ 71517 h 99367"/>
                      <a:gd name="connsiteX4" fmla="*/ 81949 w 183210"/>
                      <a:gd name="connsiteY4" fmla="*/ 13794 h 99367"/>
                      <a:gd name="connsiteX5" fmla="*/ 2086 w 183210"/>
                      <a:gd name="connsiteY5" fmla="*/ 9877 h 993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83210" h="99367">
                        <a:moveTo>
                          <a:pt x="2086" y="9877"/>
                        </a:moveTo>
                        <a:cubicBezTo>
                          <a:pt x="-8593" y="36636"/>
                          <a:pt x="25133" y="36636"/>
                          <a:pt x="26824" y="67600"/>
                        </a:cubicBezTo>
                        <a:cubicBezTo>
                          <a:pt x="28514" y="98564"/>
                          <a:pt x="62530" y="108624"/>
                          <a:pt x="87268" y="90029"/>
                        </a:cubicBezTo>
                        <a:cubicBezTo>
                          <a:pt x="112006" y="71434"/>
                          <a:pt x="183211" y="95513"/>
                          <a:pt x="183211" y="71517"/>
                        </a:cubicBezTo>
                        <a:cubicBezTo>
                          <a:pt x="183211" y="48881"/>
                          <a:pt x="108584" y="7733"/>
                          <a:pt x="81949" y="13794"/>
                        </a:cubicBezTo>
                        <a:cubicBezTo>
                          <a:pt x="55314" y="19855"/>
                          <a:pt x="12723" y="-16881"/>
                          <a:pt x="2086" y="9877"/>
                        </a:cubicBezTo>
                        <a:close/>
                      </a:path>
                    </a:pathLst>
                  </a:custGeom>
                  <a:grpFill/>
                  <a:ln w="6350" cap="flat">
                    <a:solidFill>
                      <a:schemeClr val="bg1"/>
                    </a:solidFill>
                    <a:prstDash val="solid"/>
                    <a:miter/>
                  </a:ln>
                </p:spPr>
                <p:txBody>
                  <a:bodyPr rtlCol="0" anchor="ctr"/>
                  <a:lstStyle>
                    <a:defPPr>
                      <a:defRPr lang="en-US"/>
                    </a:defPPr>
                  </a:lstStyle>
                  <a:p>
                    <a:pPr marL="0" marR="0" lvl="0" indent="0" algn="l" defTabSz="1462923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normalizeH="0" noProof="0">
                        <a:solidFill>
                          <a:srgbClr val="000000"/>
                        </a:solidFill>
                        <a:uLnTx/>
                        <a:uFillTx/>
                        <a:latin typeface="+mn-lt"/>
                        <a:ea typeface="+mn-ea"/>
                        <a:cs typeface="+mn-cs"/>
                      </a:defRPr>
                    </a:pPr>
                    <a:endParaRPr kumimoji="0" lang="en-US" sz="288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38" name="Canada group">
                    <a:extLst>
                      <a:ext uri="{FF2B5EF4-FFF2-40B4-BE49-F238E27FC236}">
                        <a16:creationId xmlns:a16="http://schemas.microsoft.com/office/drawing/2014/main" id="{688BD754-97C0-6940-3C4C-BA90E263EB3B}"/>
                      </a:ext>
                    </a:extLst>
                  </p:cNvPr>
                  <p:cNvSpPr/>
                  <p:nvPr>
                    <p:custDataLst>
                      <p:tags r:id="rId521"/>
                    </p:custDataLst>
                  </p:nvPr>
                </p:nvSpPr>
                <p:spPr>
                  <a:xfrm>
                    <a:off x="3612176" y="1484258"/>
                    <a:ext cx="969416" cy="824801"/>
                  </a:xfrm>
                  <a:custGeom>
                    <a:avLst/>
                    <a:gdLst>
                      <a:gd name="connsiteX0" fmla="*/ 1123807 w 1131970"/>
                      <a:gd name="connsiteY0" fmla="*/ 605714 h 963104"/>
                      <a:gd name="connsiteX1" fmla="*/ 1122900 w 1131970"/>
                      <a:gd name="connsiteY1" fmla="*/ 600932 h 963104"/>
                      <a:gd name="connsiteX2" fmla="*/ 1116344 w 1131970"/>
                      <a:gd name="connsiteY2" fmla="*/ 590377 h 963104"/>
                      <a:gd name="connsiteX3" fmla="*/ 1109995 w 1131970"/>
                      <a:gd name="connsiteY3" fmla="*/ 579616 h 963104"/>
                      <a:gd name="connsiteX4" fmla="*/ 1076681 w 1131970"/>
                      <a:gd name="connsiteY4" fmla="*/ 544611 h 963104"/>
                      <a:gd name="connsiteX5" fmla="*/ 1005599 w 1131970"/>
                      <a:gd name="connsiteY5" fmla="*/ 501443 h 963104"/>
                      <a:gd name="connsiteX6" fmla="*/ 934518 w 1131970"/>
                      <a:gd name="connsiteY6" fmla="*/ 472581 h 963104"/>
                      <a:gd name="connsiteX7" fmla="*/ 881207 w 1131970"/>
                      <a:gd name="connsiteY7" fmla="*/ 421167 h 963104"/>
                      <a:gd name="connsiteX8" fmla="*/ 936291 w 1131970"/>
                      <a:gd name="connsiteY8" fmla="*/ 406736 h 963104"/>
                      <a:gd name="connsiteX9" fmla="*/ 890113 w 1131970"/>
                      <a:gd name="connsiteY9" fmla="*/ 380019 h 963104"/>
                      <a:gd name="connsiteX10" fmla="*/ 913202 w 1131970"/>
                      <a:gd name="connsiteY10" fmla="*/ 359404 h 963104"/>
                      <a:gd name="connsiteX11" fmla="*/ 891886 w 1131970"/>
                      <a:gd name="connsiteY11" fmla="*/ 320276 h 963104"/>
                      <a:gd name="connsiteX12" fmla="*/ 863437 w 1131970"/>
                      <a:gd name="connsiteY12" fmla="*/ 336768 h 963104"/>
                      <a:gd name="connsiteX13" fmla="*/ 870570 w 1131970"/>
                      <a:gd name="connsiteY13" fmla="*/ 299661 h 963104"/>
                      <a:gd name="connsiteX14" fmla="*/ 808394 w 1131970"/>
                      <a:gd name="connsiteY14" fmla="*/ 277025 h 963104"/>
                      <a:gd name="connsiteX15" fmla="*/ 779945 w 1131970"/>
                      <a:gd name="connsiteY15" fmla="*/ 254390 h 963104"/>
                      <a:gd name="connsiteX16" fmla="*/ 728407 w 1131970"/>
                      <a:gd name="connsiteY16" fmla="*/ 266759 h 963104"/>
                      <a:gd name="connsiteX17" fmla="*/ 714224 w 1131970"/>
                      <a:gd name="connsiteY17" fmla="*/ 252369 h 963104"/>
                      <a:gd name="connsiteX18" fmla="*/ 747950 w 1131970"/>
                      <a:gd name="connsiteY18" fmla="*/ 215262 h 963104"/>
                      <a:gd name="connsiteX19" fmla="*/ 687548 w 1131970"/>
                      <a:gd name="connsiteY19" fmla="*/ 217323 h 963104"/>
                      <a:gd name="connsiteX20" fmla="*/ 641370 w 1131970"/>
                      <a:gd name="connsiteY20" fmla="*/ 174114 h 963104"/>
                      <a:gd name="connsiteX21" fmla="*/ 591604 w 1131970"/>
                      <a:gd name="connsiteY21" fmla="*/ 141130 h 963104"/>
                      <a:gd name="connsiteX22" fmla="*/ 506340 w 1131970"/>
                      <a:gd name="connsiteY22" fmla="*/ 102043 h 963104"/>
                      <a:gd name="connsiteX23" fmla="*/ 461893 w 1131970"/>
                      <a:gd name="connsiteY23" fmla="*/ 141294 h 963104"/>
                      <a:gd name="connsiteX24" fmla="*/ 437155 w 1131970"/>
                      <a:gd name="connsiteY24" fmla="*/ 131028 h 963104"/>
                      <a:gd name="connsiteX25" fmla="*/ 371434 w 1131970"/>
                      <a:gd name="connsiteY25" fmla="*/ 155766 h 963104"/>
                      <a:gd name="connsiteX26" fmla="*/ 373166 w 1131970"/>
                      <a:gd name="connsiteY26" fmla="*/ 77429 h 963104"/>
                      <a:gd name="connsiteX27" fmla="*/ 344758 w 1131970"/>
                      <a:gd name="connsiteY27" fmla="*/ 21850 h 963104"/>
                      <a:gd name="connsiteX28" fmla="*/ 266420 w 1131970"/>
                      <a:gd name="connsiteY28" fmla="*/ 21850 h 963104"/>
                      <a:gd name="connsiteX29" fmla="*/ 181155 w 1131970"/>
                      <a:gd name="connsiteY29" fmla="*/ 60977 h 963104"/>
                      <a:gd name="connsiteX30" fmla="*/ 193524 w 1131970"/>
                      <a:gd name="connsiteY30" fmla="*/ 128884 h 963104"/>
                      <a:gd name="connsiteX31" fmla="*/ 172208 w 1131970"/>
                      <a:gd name="connsiteY31" fmla="*/ 172094 h 963104"/>
                      <a:gd name="connsiteX32" fmla="*/ 214840 w 1131970"/>
                      <a:gd name="connsiteY32" fmla="*/ 207057 h 963104"/>
                      <a:gd name="connsiteX33" fmla="*/ 147346 w 1131970"/>
                      <a:gd name="connsiteY33" fmla="*/ 176175 h 963104"/>
                      <a:gd name="connsiteX34" fmla="*/ 138441 w 1131970"/>
                      <a:gd name="connsiteY34" fmla="*/ 116515 h 963104"/>
                      <a:gd name="connsiteX35" fmla="*/ 159757 w 1131970"/>
                      <a:gd name="connsiteY35" fmla="*/ 50546 h 963104"/>
                      <a:gd name="connsiteX36" fmla="*/ 200657 w 1131970"/>
                      <a:gd name="connsiteY36" fmla="*/ 9316 h 963104"/>
                      <a:gd name="connsiteX37" fmla="*/ 42538 w 1131970"/>
                      <a:gd name="connsiteY37" fmla="*/ 54669 h 963104"/>
                      <a:gd name="connsiteX38" fmla="*/ 5307 w 1131970"/>
                      <a:gd name="connsiteY38" fmla="*/ 215509 h 963104"/>
                      <a:gd name="connsiteX39" fmla="*/ 90572 w 1131970"/>
                      <a:gd name="connsiteY39" fmla="*/ 234022 h 963104"/>
                      <a:gd name="connsiteX40" fmla="*/ 81666 w 1131970"/>
                      <a:gd name="connsiteY40" fmla="*/ 254637 h 963104"/>
                      <a:gd name="connsiteX41" fmla="*/ 21263 w 1131970"/>
                      <a:gd name="connsiteY41" fmla="*/ 260822 h 963104"/>
                      <a:gd name="connsiteX42" fmla="*/ 99601 w 1131970"/>
                      <a:gd name="connsiteY42" fmla="*/ 306175 h 963104"/>
                      <a:gd name="connsiteX43" fmla="*/ 140461 w 1131970"/>
                      <a:gd name="connsiteY43" fmla="*/ 316442 h 963104"/>
                      <a:gd name="connsiteX44" fmla="*/ 220448 w 1131970"/>
                      <a:gd name="connsiteY44" fmla="*/ 330872 h 963104"/>
                      <a:gd name="connsiteX45" fmla="*/ 309300 w 1131970"/>
                      <a:gd name="connsiteY45" fmla="*/ 349385 h 963104"/>
                      <a:gd name="connsiteX46" fmla="*/ 350159 w 1131970"/>
                      <a:gd name="connsiteY46" fmla="*/ 328769 h 963104"/>
                      <a:gd name="connsiteX47" fmla="*/ 374155 w 1131970"/>
                      <a:gd name="connsiteY47" fmla="*/ 328769 h 963104"/>
                      <a:gd name="connsiteX48" fmla="*/ 433939 w 1131970"/>
                      <a:gd name="connsiteY48" fmla="*/ 330542 h 963104"/>
                      <a:gd name="connsiteX49" fmla="*/ 442598 w 1131970"/>
                      <a:gd name="connsiteY49" fmla="*/ 339984 h 963104"/>
                      <a:gd name="connsiteX50" fmla="*/ 449772 w 1131970"/>
                      <a:gd name="connsiteY50" fmla="*/ 338665 h 963104"/>
                      <a:gd name="connsiteX51" fmla="*/ 435423 w 1131970"/>
                      <a:gd name="connsiteY51" fmla="*/ 314174 h 963104"/>
                      <a:gd name="connsiteX52" fmla="*/ 444288 w 1131970"/>
                      <a:gd name="connsiteY52" fmla="*/ 291580 h 963104"/>
                      <a:gd name="connsiteX53" fmla="*/ 492280 w 1131970"/>
                      <a:gd name="connsiteY53" fmla="*/ 326543 h 963104"/>
                      <a:gd name="connsiteX54" fmla="*/ 513597 w 1131970"/>
                      <a:gd name="connsiteY54" fmla="*/ 349179 h 963104"/>
                      <a:gd name="connsiteX55" fmla="*/ 573999 w 1131970"/>
                      <a:gd name="connsiteY55" fmla="*/ 396511 h 963104"/>
                      <a:gd name="connsiteX56" fmla="*/ 534913 w 1131970"/>
                      <a:gd name="connsiteY56" fmla="*/ 435598 h 963104"/>
                      <a:gd name="connsiteX57" fmla="*/ 597129 w 1131970"/>
                      <a:gd name="connsiteY57" fmla="*/ 414982 h 963104"/>
                      <a:gd name="connsiteX58" fmla="*/ 634237 w 1131970"/>
                      <a:gd name="connsiteY58" fmla="*/ 460336 h 963104"/>
                      <a:gd name="connsiteX59" fmla="*/ 694681 w 1131970"/>
                      <a:gd name="connsiteY59" fmla="*/ 505689 h 963104"/>
                      <a:gd name="connsiteX60" fmla="*/ 694681 w 1131970"/>
                      <a:gd name="connsiteY60" fmla="*/ 585924 h 963104"/>
                      <a:gd name="connsiteX61" fmla="*/ 760402 w 1131970"/>
                      <a:gd name="connsiteY61" fmla="*/ 579780 h 963104"/>
                      <a:gd name="connsiteX62" fmla="*/ 822578 w 1131970"/>
                      <a:gd name="connsiteY62" fmla="*/ 614744 h 963104"/>
                      <a:gd name="connsiteX63" fmla="*/ 763948 w 1131970"/>
                      <a:gd name="connsiteY63" fmla="*/ 647728 h 963104"/>
                      <a:gd name="connsiteX64" fmla="*/ 662686 w 1131970"/>
                      <a:gd name="connsiteY64" fmla="*/ 604519 h 963104"/>
                      <a:gd name="connsiteX65" fmla="*/ 652007 w 1131970"/>
                      <a:gd name="connsiteY65" fmla="*/ 682857 h 963104"/>
                      <a:gd name="connsiteX66" fmla="*/ 557837 w 1131970"/>
                      <a:gd name="connsiteY66" fmla="*/ 705492 h 963104"/>
                      <a:gd name="connsiteX67" fmla="*/ 504567 w 1131970"/>
                      <a:gd name="connsiteY67" fmla="*/ 717861 h 963104"/>
                      <a:gd name="connsiteX68" fmla="*/ 481437 w 1131970"/>
                      <a:gd name="connsiteY68" fmla="*/ 775584 h 963104"/>
                      <a:gd name="connsiteX69" fmla="*/ 570288 w 1131970"/>
                      <a:gd name="connsiteY69" fmla="*/ 779707 h 963104"/>
                      <a:gd name="connsiteX70" fmla="*/ 609375 w 1131970"/>
                      <a:gd name="connsiteY70" fmla="*/ 771461 h 963104"/>
                      <a:gd name="connsiteX71" fmla="*/ 669778 w 1131970"/>
                      <a:gd name="connsiteY71" fmla="*/ 767338 h 963104"/>
                      <a:gd name="connsiteX72" fmla="*/ 715997 w 1131970"/>
                      <a:gd name="connsiteY72" fmla="*/ 814670 h 963104"/>
                      <a:gd name="connsiteX73" fmla="*/ 739086 w 1131970"/>
                      <a:gd name="connsiteY73" fmla="*/ 874331 h 963104"/>
                      <a:gd name="connsiteX74" fmla="*/ 835029 w 1131970"/>
                      <a:gd name="connsiteY74" fmla="*/ 909336 h 963104"/>
                      <a:gd name="connsiteX75" fmla="*/ 848718 w 1131970"/>
                      <a:gd name="connsiteY75" fmla="*/ 921705 h 963104"/>
                      <a:gd name="connsiteX76" fmla="*/ 892339 w 1131970"/>
                      <a:gd name="connsiteY76" fmla="*/ 930404 h 963104"/>
                      <a:gd name="connsiteX77" fmla="*/ 910234 w 1131970"/>
                      <a:gd name="connsiteY77" fmla="*/ 935393 h 963104"/>
                      <a:gd name="connsiteX78" fmla="*/ 952165 w 1131970"/>
                      <a:gd name="connsiteY78" fmla="*/ 956008 h 963104"/>
                      <a:gd name="connsiteX79" fmla="*/ 960164 w 1131970"/>
                      <a:gd name="connsiteY79" fmla="*/ 963100 h 963104"/>
                      <a:gd name="connsiteX80" fmla="*/ 854655 w 1131970"/>
                      <a:gd name="connsiteY80" fmla="*/ 841017 h 963104"/>
                      <a:gd name="connsiteX81" fmla="*/ 915058 w 1131970"/>
                      <a:gd name="connsiteY81" fmla="*/ 853386 h 963104"/>
                      <a:gd name="connsiteX82" fmla="*/ 1023452 w 1131970"/>
                      <a:gd name="connsiteY82" fmla="*/ 861632 h 963104"/>
                      <a:gd name="connsiteX83" fmla="*/ 1026174 w 1131970"/>
                      <a:gd name="connsiteY83" fmla="*/ 834131 h 963104"/>
                      <a:gd name="connsiteX84" fmla="*/ 1013062 w 1131970"/>
                      <a:gd name="connsiteY84" fmla="*/ 825596 h 963104"/>
                      <a:gd name="connsiteX85" fmla="*/ 1007001 w 1131970"/>
                      <a:gd name="connsiteY85" fmla="*/ 820608 h 963104"/>
                      <a:gd name="connsiteX86" fmla="*/ 988736 w 1131970"/>
                      <a:gd name="connsiteY86" fmla="*/ 762514 h 963104"/>
                      <a:gd name="connsiteX87" fmla="*/ 961277 w 1131970"/>
                      <a:gd name="connsiteY87" fmla="*/ 744331 h 963104"/>
                      <a:gd name="connsiteX88" fmla="*/ 895308 w 1131970"/>
                      <a:gd name="connsiteY88" fmla="*/ 674239 h 963104"/>
                      <a:gd name="connsiteX89" fmla="*/ 905987 w 1131970"/>
                      <a:gd name="connsiteY89" fmla="*/ 622784 h 963104"/>
                      <a:gd name="connsiteX90" fmla="*/ 962843 w 1131970"/>
                      <a:gd name="connsiteY90" fmla="*/ 645419 h 963104"/>
                      <a:gd name="connsiteX91" fmla="*/ 1021473 w 1131970"/>
                      <a:gd name="connsiteY91" fmla="*/ 711388 h 963104"/>
                      <a:gd name="connsiteX92" fmla="*/ 1029513 w 1131970"/>
                      <a:gd name="connsiteY92" fmla="*/ 718603 h 963104"/>
                      <a:gd name="connsiteX93" fmla="*/ 1042089 w 1131970"/>
                      <a:gd name="connsiteY93" fmla="*/ 712584 h 963104"/>
                      <a:gd name="connsiteX94" fmla="*/ 1062704 w 1131970"/>
                      <a:gd name="connsiteY94" fmla="*/ 704997 h 963104"/>
                      <a:gd name="connsiteX95" fmla="*/ 1064106 w 1131970"/>
                      <a:gd name="connsiteY95" fmla="*/ 699060 h 963104"/>
                      <a:gd name="connsiteX96" fmla="*/ 1066992 w 1131970"/>
                      <a:gd name="connsiteY96" fmla="*/ 692999 h 963104"/>
                      <a:gd name="connsiteX97" fmla="*/ 1106450 w 1131970"/>
                      <a:gd name="connsiteY97" fmla="*/ 649996 h 963104"/>
                      <a:gd name="connsiteX98" fmla="*/ 1107274 w 1131970"/>
                      <a:gd name="connsiteY98" fmla="*/ 649089 h 963104"/>
                      <a:gd name="connsiteX99" fmla="*/ 1122570 w 1131970"/>
                      <a:gd name="connsiteY99" fmla="*/ 637338 h 963104"/>
                      <a:gd name="connsiteX100" fmla="*/ 1123518 w 1131970"/>
                      <a:gd name="connsiteY100" fmla="*/ 636390 h 963104"/>
                      <a:gd name="connsiteX101" fmla="*/ 1131971 w 1131970"/>
                      <a:gd name="connsiteY101" fmla="*/ 623114 h 963104"/>
                      <a:gd name="connsiteX102" fmla="*/ 1123807 w 1131970"/>
                      <a:gd name="connsiteY102" fmla="*/ 605714 h 96310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</a:cxnLst>
                    <a:rect l="l" t="t" r="r" b="b"/>
                    <a:pathLst>
                      <a:path w="1131970" h="963104">
                        <a:moveTo>
                          <a:pt x="1123807" y="605714"/>
                        </a:moveTo>
                        <a:cubicBezTo>
                          <a:pt x="1123642" y="604094"/>
                          <a:pt x="1123354" y="602494"/>
                          <a:pt x="1122900" y="600932"/>
                        </a:cubicBezTo>
                        <a:cubicBezTo>
                          <a:pt x="1120674" y="597427"/>
                          <a:pt x="1118777" y="593840"/>
                          <a:pt x="1116344" y="590377"/>
                        </a:cubicBezTo>
                        <a:cubicBezTo>
                          <a:pt x="1113912" y="586913"/>
                          <a:pt x="1111933" y="583203"/>
                          <a:pt x="1109995" y="579616"/>
                        </a:cubicBezTo>
                        <a:cubicBezTo>
                          <a:pt x="1081958" y="581388"/>
                          <a:pt x="1076681" y="559000"/>
                          <a:pt x="1076681" y="544611"/>
                        </a:cubicBezTo>
                        <a:cubicBezTo>
                          <a:pt x="1076681" y="530221"/>
                          <a:pt x="1023370" y="495134"/>
                          <a:pt x="1005599" y="501443"/>
                        </a:cubicBezTo>
                        <a:cubicBezTo>
                          <a:pt x="987829" y="507751"/>
                          <a:pt x="957649" y="474684"/>
                          <a:pt x="934518" y="472581"/>
                        </a:cubicBezTo>
                        <a:cubicBezTo>
                          <a:pt x="911388" y="470478"/>
                          <a:pt x="877661" y="449987"/>
                          <a:pt x="881207" y="421167"/>
                        </a:cubicBezTo>
                        <a:cubicBezTo>
                          <a:pt x="884753" y="392347"/>
                          <a:pt x="927427" y="429413"/>
                          <a:pt x="936291" y="406736"/>
                        </a:cubicBezTo>
                        <a:cubicBezTo>
                          <a:pt x="945156" y="384059"/>
                          <a:pt x="891886" y="396470"/>
                          <a:pt x="890113" y="380019"/>
                        </a:cubicBezTo>
                        <a:cubicBezTo>
                          <a:pt x="888340" y="363568"/>
                          <a:pt x="902482" y="369711"/>
                          <a:pt x="913202" y="359404"/>
                        </a:cubicBezTo>
                        <a:cubicBezTo>
                          <a:pt x="923922" y="349096"/>
                          <a:pt x="904337" y="328522"/>
                          <a:pt x="891886" y="320276"/>
                        </a:cubicBezTo>
                        <a:cubicBezTo>
                          <a:pt x="879434" y="312030"/>
                          <a:pt x="875889" y="336768"/>
                          <a:pt x="863437" y="336768"/>
                        </a:cubicBezTo>
                        <a:cubicBezTo>
                          <a:pt x="850985" y="336768"/>
                          <a:pt x="861664" y="314133"/>
                          <a:pt x="870570" y="299661"/>
                        </a:cubicBezTo>
                        <a:cubicBezTo>
                          <a:pt x="879476" y="285189"/>
                          <a:pt x="829710" y="268779"/>
                          <a:pt x="808394" y="277025"/>
                        </a:cubicBezTo>
                        <a:cubicBezTo>
                          <a:pt x="787078" y="285271"/>
                          <a:pt x="779945" y="270841"/>
                          <a:pt x="779945" y="254390"/>
                        </a:cubicBezTo>
                        <a:cubicBezTo>
                          <a:pt x="779945" y="237939"/>
                          <a:pt x="742838" y="254390"/>
                          <a:pt x="728407" y="266759"/>
                        </a:cubicBezTo>
                        <a:cubicBezTo>
                          <a:pt x="713976" y="279128"/>
                          <a:pt x="696454" y="254390"/>
                          <a:pt x="714224" y="252369"/>
                        </a:cubicBezTo>
                        <a:cubicBezTo>
                          <a:pt x="731994" y="250349"/>
                          <a:pt x="753310" y="233857"/>
                          <a:pt x="747950" y="215262"/>
                        </a:cubicBezTo>
                        <a:cubicBezTo>
                          <a:pt x="742590" y="196667"/>
                          <a:pt x="696454" y="194647"/>
                          <a:pt x="687548" y="217323"/>
                        </a:cubicBezTo>
                        <a:cubicBezTo>
                          <a:pt x="678642" y="240000"/>
                          <a:pt x="641370" y="192585"/>
                          <a:pt x="641370" y="174114"/>
                        </a:cubicBezTo>
                        <a:cubicBezTo>
                          <a:pt x="641370" y="155643"/>
                          <a:pt x="584513" y="172052"/>
                          <a:pt x="591604" y="141130"/>
                        </a:cubicBezTo>
                        <a:cubicBezTo>
                          <a:pt x="598696" y="110207"/>
                          <a:pt x="525883" y="102043"/>
                          <a:pt x="506340" y="102043"/>
                        </a:cubicBezTo>
                        <a:cubicBezTo>
                          <a:pt x="486797" y="102043"/>
                          <a:pt x="458348" y="120679"/>
                          <a:pt x="461893" y="141294"/>
                        </a:cubicBezTo>
                        <a:cubicBezTo>
                          <a:pt x="465439" y="161910"/>
                          <a:pt x="440577" y="153664"/>
                          <a:pt x="437155" y="131028"/>
                        </a:cubicBezTo>
                        <a:cubicBezTo>
                          <a:pt x="433733" y="108393"/>
                          <a:pt x="385617" y="155766"/>
                          <a:pt x="371434" y="155766"/>
                        </a:cubicBezTo>
                        <a:cubicBezTo>
                          <a:pt x="357250" y="155766"/>
                          <a:pt x="380298" y="96065"/>
                          <a:pt x="373166" y="77429"/>
                        </a:cubicBezTo>
                        <a:cubicBezTo>
                          <a:pt x="366033" y="58792"/>
                          <a:pt x="355437" y="52690"/>
                          <a:pt x="344758" y="21850"/>
                        </a:cubicBezTo>
                        <a:cubicBezTo>
                          <a:pt x="334079" y="-8991"/>
                          <a:pt x="280809" y="3337"/>
                          <a:pt x="266420" y="21850"/>
                        </a:cubicBezTo>
                        <a:cubicBezTo>
                          <a:pt x="252030" y="40362"/>
                          <a:pt x="206017" y="32157"/>
                          <a:pt x="181155" y="60977"/>
                        </a:cubicBezTo>
                        <a:cubicBezTo>
                          <a:pt x="156293" y="89798"/>
                          <a:pt x="182928" y="118700"/>
                          <a:pt x="193524" y="128884"/>
                        </a:cubicBezTo>
                        <a:cubicBezTo>
                          <a:pt x="204121" y="139068"/>
                          <a:pt x="156417" y="155643"/>
                          <a:pt x="172208" y="172094"/>
                        </a:cubicBezTo>
                        <a:cubicBezTo>
                          <a:pt x="187999" y="188545"/>
                          <a:pt x="213068" y="180340"/>
                          <a:pt x="214840" y="207057"/>
                        </a:cubicBezTo>
                        <a:cubicBezTo>
                          <a:pt x="216613" y="233774"/>
                          <a:pt x="156252" y="198811"/>
                          <a:pt x="147346" y="176175"/>
                        </a:cubicBezTo>
                        <a:cubicBezTo>
                          <a:pt x="138441" y="153540"/>
                          <a:pt x="150892" y="133007"/>
                          <a:pt x="138441" y="116515"/>
                        </a:cubicBezTo>
                        <a:cubicBezTo>
                          <a:pt x="125989" y="100023"/>
                          <a:pt x="136667" y="79407"/>
                          <a:pt x="159757" y="50546"/>
                        </a:cubicBezTo>
                        <a:cubicBezTo>
                          <a:pt x="182846" y="21685"/>
                          <a:pt x="200657" y="25808"/>
                          <a:pt x="200657" y="9316"/>
                        </a:cubicBezTo>
                        <a:cubicBezTo>
                          <a:pt x="200657" y="-7176"/>
                          <a:pt x="101127" y="-7176"/>
                          <a:pt x="42538" y="54669"/>
                        </a:cubicBezTo>
                        <a:cubicBezTo>
                          <a:pt x="-16050" y="116515"/>
                          <a:pt x="1761" y="199017"/>
                          <a:pt x="5307" y="215509"/>
                        </a:cubicBezTo>
                        <a:cubicBezTo>
                          <a:pt x="8853" y="232001"/>
                          <a:pt x="60350" y="223755"/>
                          <a:pt x="90572" y="234022"/>
                        </a:cubicBezTo>
                        <a:cubicBezTo>
                          <a:pt x="120794" y="244288"/>
                          <a:pt x="104755" y="258760"/>
                          <a:pt x="81666" y="254637"/>
                        </a:cubicBezTo>
                        <a:cubicBezTo>
                          <a:pt x="58577" y="250514"/>
                          <a:pt x="19491" y="242268"/>
                          <a:pt x="21263" y="260822"/>
                        </a:cubicBezTo>
                        <a:cubicBezTo>
                          <a:pt x="23036" y="279375"/>
                          <a:pt x="71029" y="314421"/>
                          <a:pt x="99601" y="306175"/>
                        </a:cubicBezTo>
                        <a:cubicBezTo>
                          <a:pt x="128174" y="297929"/>
                          <a:pt x="128050" y="297929"/>
                          <a:pt x="140461" y="316442"/>
                        </a:cubicBezTo>
                        <a:cubicBezTo>
                          <a:pt x="152871" y="334954"/>
                          <a:pt x="186680" y="328811"/>
                          <a:pt x="220448" y="330872"/>
                        </a:cubicBezTo>
                        <a:cubicBezTo>
                          <a:pt x="254216" y="332934"/>
                          <a:pt x="293302" y="347364"/>
                          <a:pt x="309300" y="349385"/>
                        </a:cubicBezTo>
                        <a:cubicBezTo>
                          <a:pt x="325297" y="351405"/>
                          <a:pt x="344799" y="339077"/>
                          <a:pt x="350159" y="328769"/>
                        </a:cubicBezTo>
                        <a:cubicBezTo>
                          <a:pt x="352056" y="325100"/>
                          <a:pt x="361703" y="326172"/>
                          <a:pt x="374155" y="328769"/>
                        </a:cubicBezTo>
                        <a:cubicBezTo>
                          <a:pt x="391348" y="313267"/>
                          <a:pt x="417698" y="314046"/>
                          <a:pt x="433939" y="330542"/>
                        </a:cubicBezTo>
                        <a:cubicBezTo>
                          <a:pt x="436908" y="333635"/>
                          <a:pt x="439711" y="336809"/>
                          <a:pt x="442598" y="339984"/>
                        </a:cubicBezTo>
                        <a:cubicBezTo>
                          <a:pt x="444952" y="339370"/>
                          <a:pt x="447351" y="338929"/>
                          <a:pt x="449772" y="338665"/>
                        </a:cubicBezTo>
                        <a:cubicBezTo>
                          <a:pt x="454225" y="331779"/>
                          <a:pt x="444824" y="318874"/>
                          <a:pt x="435423" y="314174"/>
                        </a:cubicBezTo>
                        <a:cubicBezTo>
                          <a:pt x="423054" y="308030"/>
                          <a:pt x="428332" y="281189"/>
                          <a:pt x="444288" y="291580"/>
                        </a:cubicBezTo>
                        <a:cubicBezTo>
                          <a:pt x="460244" y="301970"/>
                          <a:pt x="486962" y="308072"/>
                          <a:pt x="492280" y="326543"/>
                        </a:cubicBezTo>
                        <a:cubicBezTo>
                          <a:pt x="496816" y="342293"/>
                          <a:pt x="511824" y="334789"/>
                          <a:pt x="513597" y="349179"/>
                        </a:cubicBezTo>
                        <a:cubicBezTo>
                          <a:pt x="515369" y="363568"/>
                          <a:pt x="572226" y="380060"/>
                          <a:pt x="573999" y="396511"/>
                        </a:cubicBezTo>
                        <a:cubicBezTo>
                          <a:pt x="575772" y="412962"/>
                          <a:pt x="518915" y="421249"/>
                          <a:pt x="534913" y="435598"/>
                        </a:cubicBezTo>
                        <a:cubicBezTo>
                          <a:pt x="550910" y="449946"/>
                          <a:pt x="575772" y="417085"/>
                          <a:pt x="597129" y="414982"/>
                        </a:cubicBezTo>
                        <a:cubicBezTo>
                          <a:pt x="618487" y="412879"/>
                          <a:pt x="618446" y="468582"/>
                          <a:pt x="634237" y="460336"/>
                        </a:cubicBezTo>
                        <a:cubicBezTo>
                          <a:pt x="656048" y="449121"/>
                          <a:pt x="673365" y="470643"/>
                          <a:pt x="694681" y="505689"/>
                        </a:cubicBezTo>
                        <a:cubicBezTo>
                          <a:pt x="715997" y="540735"/>
                          <a:pt x="692908" y="573596"/>
                          <a:pt x="694681" y="585924"/>
                        </a:cubicBezTo>
                        <a:cubicBezTo>
                          <a:pt x="696454" y="598252"/>
                          <a:pt x="737313" y="594170"/>
                          <a:pt x="760402" y="579780"/>
                        </a:cubicBezTo>
                        <a:cubicBezTo>
                          <a:pt x="783491" y="565391"/>
                          <a:pt x="804807" y="596273"/>
                          <a:pt x="822578" y="614744"/>
                        </a:cubicBezTo>
                        <a:cubicBezTo>
                          <a:pt x="840348" y="633215"/>
                          <a:pt x="756856" y="664220"/>
                          <a:pt x="763948" y="647728"/>
                        </a:cubicBezTo>
                        <a:cubicBezTo>
                          <a:pt x="771040" y="631236"/>
                          <a:pt x="714224" y="581759"/>
                          <a:pt x="662686" y="604519"/>
                        </a:cubicBezTo>
                        <a:cubicBezTo>
                          <a:pt x="611148" y="627278"/>
                          <a:pt x="646688" y="662241"/>
                          <a:pt x="652007" y="682857"/>
                        </a:cubicBezTo>
                        <a:cubicBezTo>
                          <a:pt x="657326" y="703472"/>
                          <a:pt x="605829" y="724087"/>
                          <a:pt x="557837" y="705492"/>
                        </a:cubicBezTo>
                        <a:cubicBezTo>
                          <a:pt x="509844" y="686897"/>
                          <a:pt x="524110" y="717861"/>
                          <a:pt x="504567" y="717861"/>
                        </a:cubicBezTo>
                        <a:cubicBezTo>
                          <a:pt x="485024" y="717861"/>
                          <a:pt x="463666" y="752866"/>
                          <a:pt x="481437" y="775584"/>
                        </a:cubicBezTo>
                        <a:cubicBezTo>
                          <a:pt x="499207" y="798302"/>
                          <a:pt x="538294" y="777645"/>
                          <a:pt x="570288" y="779707"/>
                        </a:cubicBezTo>
                        <a:cubicBezTo>
                          <a:pt x="602283" y="781768"/>
                          <a:pt x="605829" y="792076"/>
                          <a:pt x="609375" y="771461"/>
                        </a:cubicBezTo>
                        <a:cubicBezTo>
                          <a:pt x="612921" y="750846"/>
                          <a:pt x="646482" y="761153"/>
                          <a:pt x="669778" y="767338"/>
                        </a:cubicBezTo>
                        <a:cubicBezTo>
                          <a:pt x="693073" y="773522"/>
                          <a:pt x="687548" y="810506"/>
                          <a:pt x="715997" y="814670"/>
                        </a:cubicBezTo>
                        <a:cubicBezTo>
                          <a:pt x="744446" y="818835"/>
                          <a:pt x="721316" y="851778"/>
                          <a:pt x="739086" y="874331"/>
                        </a:cubicBezTo>
                        <a:cubicBezTo>
                          <a:pt x="756856" y="896884"/>
                          <a:pt x="813713" y="884597"/>
                          <a:pt x="835029" y="909336"/>
                        </a:cubicBezTo>
                        <a:cubicBezTo>
                          <a:pt x="839202" y="913871"/>
                          <a:pt x="843782" y="918015"/>
                          <a:pt x="848718" y="921705"/>
                        </a:cubicBezTo>
                        <a:cubicBezTo>
                          <a:pt x="863808" y="917355"/>
                          <a:pt x="880069" y="920600"/>
                          <a:pt x="892339" y="930404"/>
                        </a:cubicBezTo>
                        <a:cubicBezTo>
                          <a:pt x="898607" y="930685"/>
                          <a:pt x="904725" y="932392"/>
                          <a:pt x="910234" y="935393"/>
                        </a:cubicBezTo>
                        <a:cubicBezTo>
                          <a:pt x="925155" y="940151"/>
                          <a:pt x="939284" y="947098"/>
                          <a:pt x="952165" y="956008"/>
                        </a:cubicBezTo>
                        <a:cubicBezTo>
                          <a:pt x="955117" y="958029"/>
                          <a:pt x="957805" y="960412"/>
                          <a:pt x="960164" y="963100"/>
                        </a:cubicBezTo>
                        <a:cubicBezTo>
                          <a:pt x="969894" y="940052"/>
                          <a:pt x="880754" y="849057"/>
                          <a:pt x="854655" y="841017"/>
                        </a:cubicBezTo>
                        <a:cubicBezTo>
                          <a:pt x="828556" y="832977"/>
                          <a:pt x="881290" y="822504"/>
                          <a:pt x="915058" y="853386"/>
                        </a:cubicBezTo>
                        <a:cubicBezTo>
                          <a:pt x="948825" y="884267"/>
                          <a:pt x="998549" y="898739"/>
                          <a:pt x="1023452" y="861632"/>
                        </a:cubicBezTo>
                        <a:cubicBezTo>
                          <a:pt x="1033678" y="846418"/>
                          <a:pt x="1031698" y="839244"/>
                          <a:pt x="1026174" y="834131"/>
                        </a:cubicBezTo>
                        <a:cubicBezTo>
                          <a:pt x="1021391" y="832004"/>
                          <a:pt x="1016938" y="829122"/>
                          <a:pt x="1013062" y="825596"/>
                        </a:cubicBezTo>
                        <a:cubicBezTo>
                          <a:pt x="1010836" y="824174"/>
                          <a:pt x="1008816" y="822500"/>
                          <a:pt x="1007001" y="820608"/>
                        </a:cubicBezTo>
                        <a:cubicBezTo>
                          <a:pt x="987541" y="807867"/>
                          <a:pt x="979748" y="782181"/>
                          <a:pt x="988736" y="762514"/>
                        </a:cubicBezTo>
                        <a:cubicBezTo>
                          <a:pt x="981810" y="751835"/>
                          <a:pt x="972244" y="744331"/>
                          <a:pt x="961277" y="744331"/>
                        </a:cubicBezTo>
                        <a:cubicBezTo>
                          <a:pt x="936538" y="744331"/>
                          <a:pt x="872425" y="686609"/>
                          <a:pt x="895308" y="674239"/>
                        </a:cubicBezTo>
                        <a:cubicBezTo>
                          <a:pt x="918191" y="661870"/>
                          <a:pt x="888216" y="645378"/>
                          <a:pt x="905987" y="622784"/>
                        </a:cubicBezTo>
                        <a:cubicBezTo>
                          <a:pt x="923757" y="600189"/>
                          <a:pt x="941486" y="643399"/>
                          <a:pt x="962843" y="645419"/>
                        </a:cubicBezTo>
                        <a:cubicBezTo>
                          <a:pt x="984201" y="647440"/>
                          <a:pt x="987582" y="678404"/>
                          <a:pt x="1021473" y="711388"/>
                        </a:cubicBezTo>
                        <a:cubicBezTo>
                          <a:pt x="1024401" y="714233"/>
                          <a:pt x="1027039" y="716542"/>
                          <a:pt x="1029513" y="718603"/>
                        </a:cubicBezTo>
                        <a:cubicBezTo>
                          <a:pt x="1033389" y="715973"/>
                          <a:pt x="1037636" y="713944"/>
                          <a:pt x="1042089" y="712584"/>
                        </a:cubicBezTo>
                        <a:cubicBezTo>
                          <a:pt x="1049139" y="710510"/>
                          <a:pt x="1056025" y="707978"/>
                          <a:pt x="1062704" y="704997"/>
                        </a:cubicBezTo>
                        <a:cubicBezTo>
                          <a:pt x="1063157" y="703018"/>
                          <a:pt x="1063652" y="700874"/>
                          <a:pt x="1064106" y="699060"/>
                        </a:cubicBezTo>
                        <a:cubicBezTo>
                          <a:pt x="1064601" y="696846"/>
                          <a:pt x="1065590" y="694772"/>
                          <a:pt x="1066992" y="692999"/>
                        </a:cubicBezTo>
                        <a:cubicBezTo>
                          <a:pt x="1068270" y="671122"/>
                          <a:pt x="1084762" y="653162"/>
                          <a:pt x="1106450" y="649996"/>
                        </a:cubicBezTo>
                        <a:cubicBezTo>
                          <a:pt x="1106697" y="649674"/>
                          <a:pt x="1106986" y="649369"/>
                          <a:pt x="1107274" y="649089"/>
                        </a:cubicBezTo>
                        <a:cubicBezTo>
                          <a:pt x="1112016" y="644714"/>
                          <a:pt x="1117128" y="640781"/>
                          <a:pt x="1122570" y="637338"/>
                        </a:cubicBezTo>
                        <a:lnTo>
                          <a:pt x="1123518" y="636390"/>
                        </a:lnTo>
                        <a:cubicBezTo>
                          <a:pt x="1125580" y="631533"/>
                          <a:pt x="1128466" y="627051"/>
                          <a:pt x="1131971" y="623114"/>
                        </a:cubicBezTo>
                        <a:cubicBezTo>
                          <a:pt x="1127642" y="618220"/>
                          <a:pt x="1124797" y="612179"/>
                          <a:pt x="1123807" y="605714"/>
                        </a:cubicBez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>
                    <a:defPPr>
                      <a:defRPr lang="en-US"/>
                    </a:defPPr>
                  </a:lstStyle>
                  <a:p>
                    <a:pPr marL="0" marR="0" lvl="0" indent="0" algn="l" defTabSz="1462923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normalizeH="0" noProof="0">
                        <a:solidFill>
                          <a:srgbClr val="000000"/>
                        </a:solidFill>
                        <a:uLnTx/>
                        <a:uFillTx/>
                        <a:latin typeface="+mn-lt"/>
                        <a:ea typeface="+mn-ea"/>
                        <a:cs typeface="+mn-cs"/>
                      </a:defRPr>
                    </a:pPr>
                    <a:endParaRPr kumimoji="0" lang="en-US" sz="288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39" name="Canada group">
                    <a:extLst>
                      <a:ext uri="{FF2B5EF4-FFF2-40B4-BE49-F238E27FC236}">
                        <a16:creationId xmlns:a16="http://schemas.microsoft.com/office/drawing/2014/main" id="{51B4B9EB-3DBE-0EC8-D111-DE47FD4ED4F2}"/>
                      </a:ext>
                    </a:extLst>
                  </p:cNvPr>
                  <p:cNvSpPr/>
                  <p:nvPr>
                    <p:custDataLst>
                      <p:tags r:id="rId522"/>
                    </p:custDataLst>
                  </p:nvPr>
                </p:nvSpPr>
                <p:spPr>
                  <a:xfrm>
                    <a:off x="3380319" y="1225053"/>
                    <a:ext cx="584165" cy="207541"/>
                  </a:xfrm>
                  <a:custGeom>
                    <a:avLst/>
                    <a:gdLst>
                      <a:gd name="connsiteX0" fmla="*/ 663442 w 682118"/>
                      <a:gd name="connsiteY0" fmla="*/ 196333 h 242342"/>
                      <a:gd name="connsiteX1" fmla="*/ 663689 w 682118"/>
                      <a:gd name="connsiteY1" fmla="*/ 196333 h 242342"/>
                      <a:gd name="connsiteX2" fmla="*/ 665008 w 682118"/>
                      <a:gd name="connsiteY2" fmla="*/ 188829 h 242342"/>
                      <a:gd name="connsiteX3" fmla="*/ 676759 w 682118"/>
                      <a:gd name="connsiteY3" fmla="*/ 168750 h 242342"/>
                      <a:gd name="connsiteX4" fmla="*/ 682119 w 682118"/>
                      <a:gd name="connsiteY4" fmla="*/ 147104 h 242342"/>
                      <a:gd name="connsiteX5" fmla="*/ 462567 w 682118"/>
                      <a:gd name="connsiteY5" fmla="*/ 135312 h 242342"/>
                      <a:gd name="connsiteX6" fmla="*/ 348853 w 682118"/>
                      <a:gd name="connsiteY6" fmla="*/ 141456 h 242342"/>
                      <a:gd name="connsiteX7" fmla="*/ 283132 w 682118"/>
                      <a:gd name="connsiteY7" fmla="*/ 118820 h 242342"/>
                      <a:gd name="connsiteX8" fmla="*/ 295501 w 682118"/>
                      <a:gd name="connsiteY8" fmla="*/ 75611 h 242342"/>
                      <a:gd name="connsiteX9" fmla="*/ 188879 w 682118"/>
                      <a:gd name="connsiteY9" fmla="*/ 38503 h 242342"/>
                      <a:gd name="connsiteX10" fmla="*/ 103614 w 682118"/>
                      <a:gd name="connsiteY10" fmla="*/ 9642 h 242342"/>
                      <a:gd name="connsiteX11" fmla="*/ 2311 w 682118"/>
                      <a:gd name="connsiteY11" fmla="*/ 26134 h 242342"/>
                      <a:gd name="connsiteX12" fmla="*/ 128476 w 682118"/>
                      <a:gd name="connsiteY12" fmla="*/ 69344 h 242342"/>
                      <a:gd name="connsiteX13" fmla="*/ 181746 w 682118"/>
                      <a:gd name="connsiteY13" fmla="*/ 116635 h 242342"/>
                      <a:gd name="connsiteX14" fmla="*/ 183560 w 682118"/>
                      <a:gd name="connsiteY14" fmla="*/ 188665 h 242342"/>
                      <a:gd name="connsiteX15" fmla="*/ 229738 w 682118"/>
                      <a:gd name="connsiteY15" fmla="*/ 217526 h 242342"/>
                      <a:gd name="connsiteX16" fmla="*/ 295460 w 682118"/>
                      <a:gd name="connsiteY16" fmla="*/ 227792 h 242342"/>
                      <a:gd name="connsiteX17" fmla="*/ 323909 w 682118"/>
                      <a:gd name="connsiteY17" fmla="*/ 213403 h 242342"/>
                      <a:gd name="connsiteX18" fmla="*/ 457166 w 682118"/>
                      <a:gd name="connsiteY18" fmla="*/ 242264 h 242342"/>
                      <a:gd name="connsiteX19" fmla="*/ 546017 w 682118"/>
                      <a:gd name="connsiteY19" fmla="*/ 217526 h 242342"/>
                      <a:gd name="connsiteX20" fmla="*/ 620851 w 682118"/>
                      <a:gd name="connsiteY20" fmla="*/ 231503 h 242342"/>
                      <a:gd name="connsiteX21" fmla="*/ 663442 w 682118"/>
                      <a:gd name="connsiteY21" fmla="*/ 196333 h 24234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</a:cxnLst>
                    <a:rect l="l" t="t" r="r" b="b"/>
                    <a:pathLst>
                      <a:path w="682118" h="242342">
                        <a:moveTo>
                          <a:pt x="663442" y="196333"/>
                        </a:moveTo>
                        <a:lnTo>
                          <a:pt x="663689" y="196333"/>
                        </a:lnTo>
                        <a:cubicBezTo>
                          <a:pt x="663916" y="193798"/>
                          <a:pt x="664357" y="191287"/>
                          <a:pt x="665008" y="188829"/>
                        </a:cubicBezTo>
                        <a:cubicBezTo>
                          <a:pt x="667000" y="181181"/>
                          <a:pt x="671065" y="174230"/>
                          <a:pt x="676759" y="168750"/>
                        </a:cubicBezTo>
                        <a:cubicBezTo>
                          <a:pt x="677006" y="161238"/>
                          <a:pt x="678833" y="153866"/>
                          <a:pt x="682119" y="147104"/>
                        </a:cubicBezTo>
                        <a:cubicBezTo>
                          <a:pt x="649423" y="127850"/>
                          <a:pt x="492913" y="114944"/>
                          <a:pt x="462567" y="135312"/>
                        </a:cubicBezTo>
                        <a:cubicBezTo>
                          <a:pt x="428799" y="157948"/>
                          <a:pt x="375488" y="125005"/>
                          <a:pt x="348853" y="141456"/>
                        </a:cubicBezTo>
                        <a:cubicBezTo>
                          <a:pt x="322218" y="157907"/>
                          <a:pt x="331083" y="120840"/>
                          <a:pt x="283132" y="118820"/>
                        </a:cubicBezTo>
                        <a:cubicBezTo>
                          <a:pt x="235181" y="116800"/>
                          <a:pt x="286678" y="87980"/>
                          <a:pt x="295501" y="75611"/>
                        </a:cubicBezTo>
                        <a:cubicBezTo>
                          <a:pt x="304324" y="63241"/>
                          <a:pt x="222647" y="30257"/>
                          <a:pt x="188879" y="38503"/>
                        </a:cubicBezTo>
                        <a:cubicBezTo>
                          <a:pt x="155111" y="46749"/>
                          <a:pt x="135568" y="26134"/>
                          <a:pt x="103614" y="9642"/>
                        </a:cubicBezTo>
                        <a:cubicBezTo>
                          <a:pt x="71661" y="-6850"/>
                          <a:pt x="-15212" y="-2727"/>
                          <a:pt x="2311" y="26134"/>
                        </a:cubicBezTo>
                        <a:cubicBezTo>
                          <a:pt x="14680" y="46749"/>
                          <a:pt x="117756" y="89918"/>
                          <a:pt x="128476" y="69344"/>
                        </a:cubicBezTo>
                        <a:cubicBezTo>
                          <a:pt x="139196" y="48770"/>
                          <a:pt x="165584" y="94082"/>
                          <a:pt x="181746" y="116635"/>
                        </a:cubicBezTo>
                        <a:cubicBezTo>
                          <a:pt x="197908" y="139188"/>
                          <a:pt x="171109" y="147517"/>
                          <a:pt x="183560" y="188665"/>
                        </a:cubicBezTo>
                        <a:cubicBezTo>
                          <a:pt x="196012" y="229813"/>
                          <a:pt x="210195" y="201034"/>
                          <a:pt x="229738" y="217526"/>
                        </a:cubicBezTo>
                        <a:cubicBezTo>
                          <a:pt x="249282" y="234018"/>
                          <a:pt x="279504" y="244284"/>
                          <a:pt x="295460" y="227792"/>
                        </a:cubicBezTo>
                        <a:cubicBezTo>
                          <a:pt x="311416" y="211300"/>
                          <a:pt x="318590" y="198931"/>
                          <a:pt x="323909" y="213403"/>
                        </a:cubicBezTo>
                        <a:cubicBezTo>
                          <a:pt x="332567" y="236822"/>
                          <a:pt x="371860" y="240161"/>
                          <a:pt x="457166" y="242264"/>
                        </a:cubicBezTo>
                        <a:cubicBezTo>
                          <a:pt x="542471" y="244367"/>
                          <a:pt x="521114" y="201034"/>
                          <a:pt x="546017" y="217526"/>
                        </a:cubicBezTo>
                        <a:cubicBezTo>
                          <a:pt x="562881" y="228699"/>
                          <a:pt x="594504" y="232286"/>
                          <a:pt x="620851" y="231503"/>
                        </a:cubicBezTo>
                        <a:cubicBezTo>
                          <a:pt x="625266" y="211378"/>
                          <a:pt x="642843" y="196861"/>
                          <a:pt x="663442" y="196333"/>
                        </a:cubicBez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>
                    <a:defPPr>
                      <a:defRPr lang="en-US"/>
                    </a:defPPr>
                  </a:lstStyle>
                  <a:p>
                    <a:pPr marL="0" marR="0" lvl="0" indent="0" algn="l" defTabSz="1462923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normalizeH="0" noProof="0">
                        <a:solidFill>
                          <a:srgbClr val="000000"/>
                        </a:solidFill>
                        <a:uLnTx/>
                        <a:uFillTx/>
                        <a:latin typeface="+mn-lt"/>
                        <a:ea typeface="+mn-ea"/>
                        <a:cs typeface="+mn-cs"/>
                      </a:defRPr>
                    </a:pPr>
                    <a:endParaRPr kumimoji="0" lang="en-US" sz="288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40" name="Canada group">
                    <a:extLst>
                      <a:ext uri="{FF2B5EF4-FFF2-40B4-BE49-F238E27FC236}">
                        <a16:creationId xmlns:a16="http://schemas.microsoft.com/office/drawing/2014/main" id="{A8FC2845-D07E-4992-BBED-FFB7C9C4B7D6}"/>
                      </a:ext>
                    </a:extLst>
                  </p:cNvPr>
                  <p:cNvSpPr/>
                  <p:nvPr>
                    <p:custDataLst>
                      <p:tags r:id="rId523"/>
                    </p:custDataLst>
                  </p:nvPr>
                </p:nvSpPr>
                <p:spPr>
                  <a:xfrm>
                    <a:off x="3558986" y="671536"/>
                    <a:ext cx="1054424" cy="623708"/>
                  </a:xfrm>
                  <a:custGeom>
                    <a:avLst/>
                    <a:gdLst>
                      <a:gd name="connsiteX0" fmla="*/ 1197416 w 1231232"/>
                      <a:gd name="connsiteY0" fmla="*/ 65511 h 728292"/>
                      <a:gd name="connsiteX1" fmla="*/ 1136601 w 1231232"/>
                      <a:gd name="connsiteY1" fmla="*/ 45762 h 728292"/>
                      <a:gd name="connsiteX2" fmla="*/ 1136023 w 1231232"/>
                      <a:gd name="connsiteY2" fmla="*/ 45267 h 728292"/>
                      <a:gd name="connsiteX3" fmla="*/ 1126664 w 1231232"/>
                      <a:gd name="connsiteY3" fmla="*/ 36361 h 728292"/>
                      <a:gd name="connsiteX4" fmla="*/ 1125633 w 1231232"/>
                      <a:gd name="connsiteY4" fmla="*/ 35454 h 728292"/>
                      <a:gd name="connsiteX5" fmla="*/ 1122459 w 1231232"/>
                      <a:gd name="connsiteY5" fmla="*/ 33145 h 728292"/>
                      <a:gd name="connsiteX6" fmla="*/ 1111862 w 1231232"/>
                      <a:gd name="connsiteY6" fmla="*/ 26754 h 728292"/>
                      <a:gd name="connsiteX7" fmla="*/ 1109347 w 1231232"/>
                      <a:gd name="connsiteY7" fmla="*/ 25971 h 728292"/>
                      <a:gd name="connsiteX8" fmla="*/ 1089021 w 1231232"/>
                      <a:gd name="connsiteY8" fmla="*/ 22301 h 728292"/>
                      <a:gd name="connsiteX9" fmla="*/ 1059871 w 1231232"/>
                      <a:gd name="connsiteY9" fmla="*/ 17230 h 728292"/>
                      <a:gd name="connsiteX10" fmla="*/ 1040204 w 1231232"/>
                      <a:gd name="connsiteY10" fmla="*/ 22425 h 728292"/>
                      <a:gd name="connsiteX11" fmla="*/ 1037359 w 1231232"/>
                      <a:gd name="connsiteY11" fmla="*/ 22425 h 728292"/>
                      <a:gd name="connsiteX12" fmla="*/ 998396 w 1231232"/>
                      <a:gd name="connsiteY12" fmla="*/ 36773 h 728292"/>
                      <a:gd name="connsiteX13" fmla="*/ 993119 w 1231232"/>
                      <a:gd name="connsiteY13" fmla="*/ 22095 h 728292"/>
                      <a:gd name="connsiteX14" fmla="*/ 960794 w 1231232"/>
                      <a:gd name="connsiteY14" fmla="*/ 2552 h 728292"/>
                      <a:gd name="connsiteX15" fmla="*/ 918079 w 1231232"/>
                      <a:gd name="connsiteY15" fmla="*/ -4 h 728292"/>
                      <a:gd name="connsiteX16" fmla="*/ 911936 w 1231232"/>
                      <a:gd name="connsiteY16" fmla="*/ 9149 h 728292"/>
                      <a:gd name="connsiteX17" fmla="*/ 874210 w 1231232"/>
                      <a:gd name="connsiteY17" fmla="*/ 31455 h 728292"/>
                      <a:gd name="connsiteX18" fmla="*/ 815209 w 1231232"/>
                      <a:gd name="connsiteY18" fmla="*/ 9767 h 728292"/>
                      <a:gd name="connsiteX19" fmla="*/ 764083 w 1231232"/>
                      <a:gd name="connsiteY19" fmla="*/ 27703 h 728292"/>
                      <a:gd name="connsiteX20" fmla="*/ 649916 w 1231232"/>
                      <a:gd name="connsiteY20" fmla="*/ 25353 h 728292"/>
                      <a:gd name="connsiteX21" fmla="*/ 601841 w 1231232"/>
                      <a:gd name="connsiteY21" fmla="*/ 3624 h 728292"/>
                      <a:gd name="connsiteX22" fmla="*/ 541769 w 1231232"/>
                      <a:gd name="connsiteY22" fmla="*/ 18261 h 728292"/>
                      <a:gd name="connsiteX23" fmla="*/ 468914 w 1231232"/>
                      <a:gd name="connsiteY23" fmla="*/ 14138 h 728292"/>
                      <a:gd name="connsiteX24" fmla="*/ 447598 w 1231232"/>
                      <a:gd name="connsiteY24" fmla="*/ 26507 h 728292"/>
                      <a:gd name="connsiteX25" fmla="*/ 422860 w 1231232"/>
                      <a:gd name="connsiteY25" fmla="*/ 49142 h 728292"/>
                      <a:gd name="connsiteX26" fmla="*/ 357139 w 1231232"/>
                      <a:gd name="connsiteY26" fmla="*/ 65635 h 728292"/>
                      <a:gd name="connsiteX27" fmla="*/ 309146 w 1231232"/>
                      <a:gd name="connsiteY27" fmla="*/ 80065 h 728292"/>
                      <a:gd name="connsiteX28" fmla="*/ 239879 w 1231232"/>
                      <a:gd name="connsiteY28" fmla="*/ 71819 h 728292"/>
                      <a:gd name="connsiteX29" fmla="*/ 200752 w 1231232"/>
                      <a:gd name="connsiteY29" fmla="*/ 98578 h 728292"/>
                      <a:gd name="connsiteX30" fmla="*/ 174117 w 1231232"/>
                      <a:gd name="connsiteY30" fmla="*/ 121213 h 728292"/>
                      <a:gd name="connsiteX31" fmla="*/ 111941 w 1231232"/>
                      <a:gd name="connsiteY31" fmla="*/ 110906 h 728292"/>
                      <a:gd name="connsiteX32" fmla="*/ 79946 w 1231232"/>
                      <a:gd name="connsiteY32" fmla="*/ 139767 h 728292"/>
                      <a:gd name="connsiteX33" fmla="*/ 18101 w 1231232"/>
                      <a:gd name="connsiteY33" fmla="*/ 139314 h 728292"/>
                      <a:gd name="connsiteX34" fmla="*/ 1 w 1231232"/>
                      <a:gd name="connsiteY34" fmla="*/ 167350 h 728292"/>
                      <a:gd name="connsiteX35" fmla="*/ 24739 w 1231232"/>
                      <a:gd name="connsiteY35" fmla="*/ 158280 h 728292"/>
                      <a:gd name="connsiteX36" fmla="*/ 47869 w 1231232"/>
                      <a:gd name="connsiteY36" fmla="*/ 164464 h 728292"/>
                      <a:gd name="connsiteX37" fmla="*/ 63825 w 1231232"/>
                      <a:gd name="connsiteY37" fmla="*/ 182977 h 728292"/>
                      <a:gd name="connsiteX38" fmla="*/ 51456 w 1231232"/>
                      <a:gd name="connsiteY38" fmla="*/ 213858 h 728292"/>
                      <a:gd name="connsiteX39" fmla="*/ 88811 w 1231232"/>
                      <a:gd name="connsiteY39" fmla="*/ 242720 h 728292"/>
                      <a:gd name="connsiteX40" fmla="*/ 190073 w 1231232"/>
                      <a:gd name="connsiteY40" fmla="*/ 246843 h 728292"/>
                      <a:gd name="connsiteX41" fmla="*/ 202442 w 1231232"/>
                      <a:gd name="connsiteY41" fmla="*/ 269478 h 728292"/>
                      <a:gd name="connsiteX42" fmla="*/ 316156 w 1231232"/>
                      <a:gd name="connsiteY42" fmla="*/ 279786 h 728292"/>
                      <a:gd name="connsiteX43" fmla="*/ 358829 w 1231232"/>
                      <a:gd name="connsiteY43" fmla="*/ 273601 h 728292"/>
                      <a:gd name="connsiteX44" fmla="*/ 486644 w 1231232"/>
                      <a:gd name="connsiteY44" fmla="*/ 226269 h 728292"/>
                      <a:gd name="connsiteX45" fmla="*/ 486644 w 1231232"/>
                      <a:gd name="connsiteY45" fmla="*/ 265355 h 728292"/>
                      <a:gd name="connsiteX46" fmla="*/ 355201 w 1231232"/>
                      <a:gd name="connsiteY46" fmla="*/ 298339 h 728292"/>
                      <a:gd name="connsiteX47" fmla="*/ 404925 w 1231232"/>
                      <a:gd name="connsiteY47" fmla="*/ 360185 h 728292"/>
                      <a:gd name="connsiteX48" fmla="*/ 337430 w 1231232"/>
                      <a:gd name="connsiteY48" fmla="*/ 337550 h 728292"/>
                      <a:gd name="connsiteX49" fmla="*/ 211265 w 1231232"/>
                      <a:gd name="connsiteY49" fmla="*/ 304565 h 728292"/>
                      <a:gd name="connsiteX50" fmla="*/ 213038 w 1231232"/>
                      <a:gd name="connsiteY50" fmla="*/ 378780 h 728292"/>
                      <a:gd name="connsiteX51" fmla="*/ 287666 w 1231232"/>
                      <a:gd name="connsiteY51" fmla="*/ 434359 h 728292"/>
                      <a:gd name="connsiteX52" fmla="*/ 366003 w 1231232"/>
                      <a:gd name="connsiteY52" fmla="*/ 489896 h 728292"/>
                      <a:gd name="connsiteX53" fmla="*/ 257608 w 1231232"/>
                      <a:gd name="connsiteY53" fmla="*/ 465158 h 728292"/>
                      <a:gd name="connsiteX54" fmla="*/ 154532 w 1231232"/>
                      <a:gd name="connsiteY54" fmla="*/ 518757 h 728292"/>
                      <a:gd name="connsiteX55" fmla="*/ 250476 w 1231232"/>
                      <a:gd name="connsiteY55" fmla="*/ 520819 h 728292"/>
                      <a:gd name="connsiteX56" fmla="*/ 241611 w 1231232"/>
                      <a:gd name="connsiteY56" fmla="*/ 549680 h 728292"/>
                      <a:gd name="connsiteX57" fmla="*/ 287789 w 1231232"/>
                      <a:gd name="connsiteY57" fmla="*/ 611526 h 728292"/>
                      <a:gd name="connsiteX58" fmla="*/ 234478 w 1231232"/>
                      <a:gd name="connsiteY58" fmla="*/ 605341 h 728292"/>
                      <a:gd name="connsiteX59" fmla="*/ 165211 w 1231232"/>
                      <a:gd name="connsiteY59" fmla="*/ 564111 h 728292"/>
                      <a:gd name="connsiteX60" fmla="*/ 159851 w 1231232"/>
                      <a:gd name="connsiteY60" fmla="*/ 609465 h 728292"/>
                      <a:gd name="connsiteX61" fmla="*/ 158078 w 1231232"/>
                      <a:gd name="connsiteY61" fmla="*/ 638326 h 728292"/>
                      <a:gd name="connsiteX62" fmla="*/ 76359 w 1231232"/>
                      <a:gd name="connsiteY62" fmla="*/ 685658 h 728292"/>
                      <a:gd name="connsiteX63" fmla="*/ 207843 w 1231232"/>
                      <a:gd name="connsiteY63" fmla="*/ 702151 h 728292"/>
                      <a:gd name="connsiteX64" fmla="*/ 278883 w 1231232"/>
                      <a:gd name="connsiteY64" fmla="*/ 706274 h 728292"/>
                      <a:gd name="connsiteX65" fmla="*/ 360643 w 1231232"/>
                      <a:gd name="connsiteY65" fmla="*/ 696007 h 728292"/>
                      <a:gd name="connsiteX66" fmla="*/ 421046 w 1231232"/>
                      <a:gd name="connsiteY66" fmla="*/ 718602 h 728292"/>
                      <a:gd name="connsiteX67" fmla="*/ 485036 w 1231232"/>
                      <a:gd name="connsiteY67" fmla="*/ 712458 h 728292"/>
                      <a:gd name="connsiteX68" fmla="*/ 529441 w 1231232"/>
                      <a:gd name="connsiteY68" fmla="*/ 695966 h 728292"/>
                      <a:gd name="connsiteX69" fmla="*/ 543624 w 1231232"/>
                      <a:gd name="connsiteY69" fmla="*/ 692997 h 728292"/>
                      <a:gd name="connsiteX70" fmla="*/ 548201 w 1231232"/>
                      <a:gd name="connsiteY70" fmla="*/ 680958 h 728292"/>
                      <a:gd name="connsiteX71" fmla="*/ 553354 w 1231232"/>
                      <a:gd name="connsiteY71" fmla="*/ 673949 h 728292"/>
                      <a:gd name="connsiteX72" fmla="*/ 547211 w 1231232"/>
                      <a:gd name="connsiteY72" fmla="*/ 654777 h 728292"/>
                      <a:gd name="connsiteX73" fmla="*/ 499219 w 1231232"/>
                      <a:gd name="connsiteY73" fmla="*/ 654777 h 728292"/>
                      <a:gd name="connsiteX74" fmla="*/ 415727 w 1231232"/>
                      <a:gd name="connsiteY74" fmla="*/ 636264 h 728292"/>
                      <a:gd name="connsiteX75" fmla="*/ 417500 w 1231232"/>
                      <a:gd name="connsiteY75" fmla="*/ 609506 h 728292"/>
                      <a:gd name="connsiteX76" fmla="*/ 522308 w 1231232"/>
                      <a:gd name="connsiteY76" fmla="*/ 605383 h 728292"/>
                      <a:gd name="connsiteX77" fmla="*/ 529441 w 1231232"/>
                      <a:gd name="connsiteY77" fmla="*/ 560029 h 728292"/>
                      <a:gd name="connsiteX78" fmla="*/ 604068 w 1231232"/>
                      <a:gd name="connsiteY78" fmla="*/ 553886 h 728292"/>
                      <a:gd name="connsiteX79" fmla="*/ 623570 w 1231232"/>
                      <a:gd name="connsiteY79" fmla="*/ 547907 h 728292"/>
                      <a:gd name="connsiteX80" fmla="*/ 651813 w 1231232"/>
                      <a:gd name="connsiteY80" fmla="*/ 497854 h 728292"/>
                      <a:gd name="connsiteX81" fmla="*/ 651483 w 1231232"/>
                      <a:gd name="connsiteY81" fmla="*/ 491793 h 728292"/>
                      <a:gd name="connsiteX82" fmla="*/ 673129 w 1231232"/>
                      <a:gd name="connsiteY82" fmla="*/ 452871 h 728292"/>
                      <a:gd name="connsiteX83" fmla="*/ 681375 w 1231232"/>
                      <a:gd name="connsiteY83" fmla="*/ 448418 h 728292"/>
                      <a:gd name="connsiteX84" fmla="*/ 577227 w 1231232"/>
                      <a:gd name="connsiteY84" fmla="*/ 432462 h 728292"/>
                      <a:gd name="connsiteX85" fmla="*/ 667934 w 1231232"/>
                      <a:gd name="connsiteY85" fmla="*/ 405704 h 728292"/>
                      <a:gd name="connsiteX86" fmla="*/ 717658 w 1231232"/>
                      <a:gd name="connsiteY86" fmla="*/ 362494 h 728292"/>
                      <a:gd name="connsiteX87" fmla="*/ 782719 w 1231232"/>
                      <a:gd name="connsiteY87" fmla="*/ 370245 h 728292"/>
                      <a:gd name="connsiteX88" fmla="*/ 810220 w 1231232"/>
                      <a:gd name="connsiteY88" fmla="*/ 335571 h 728292"/>
                      <a:gd name="connsiteX89" fmla="*/ 852358 w 1231232"/>
                      <a:gd name="connsiteY89" fmla="*/ 302586 h 728292"/>
                      <a:gd name="connsiteX90" fmla="*/ 865263 w 1231232"/>
                      <a:gd name="connsiteY90" fmla="*/ 294546 h 728292"/>
                      <a:gd name="connsiteX91" fmla="*/ 898247 w 1231232"/>
                      <a:gd name="connsiteY91" fmla="*/ 288939 h 728292"/>
                      <a:gd name="connsiteX92" fmla="*/ 955970 w 1231232"/>
                      <a:gd name="connsiteY92" fmla="*/ 250801 h 728292"/>
                      <a:gd name="connsiteX93" fmla="*/ 1089227 w 1231232"/>
                      <a:gd name="connsiteY93" fmla="*/ 184832 h 728292"/>
                      <a:gd name="connsiteX94" fmla="*/ 970195 w 1231232"/>
                      <a:gd name="connsiteY94" fmla="*/ 176586 h 728292"/>
                      <a:gd name="connsiteX95" fmla="*/ 1064365 w 1231232"/>
                      <a:gd name="connsiteY95" fmla="*/ 151848 h 728292"/>
                      <a:gd name="connsiteX96" fmla="*/ 1186943 w 1231232"/>
                      <a:gd name="connsiteY96" fmla="*/ 110617 h 728292"/>
                      <a:gd name="connsiteX97" fmla="*/ 1197416 w 1231232"/>
                      <a:gd name="connsiteY97" fmla="*/ 65511 h 7282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</a:cxnLst>
                    <a:rect l="l" t="t" r="r" b="b"/>
                    <a:pathLst>
                      <a:path w="1231232" h="728292">
                        <a:moveTo>
                          <a:pt x="1197416" y="65511"/>
                        </a:moveTo>
                        <a:cubicBezTo>
                          <a:pt x="1171523" y="70830"/>
                          <a:pt x="1143115" y="62460"/>
                          <a:pt x="1136601" y="45762"/>
                        </a:cubicBezTo>
                        <a:lnTo>
                          <a:pt x="1136023" y="45267"/>
                        </a:lnTo>
                        <a:cubicBezTo>
                          <a:pt x="1132972" y="42175"/>
                          <a:pt x="1129756" y="39330"/>
                          <a:pt x="1126664" y="36361"/>
                        </a:cubicBezTo>
                        <a:lnTo>
                          <a:pt x="1125633" y="35454"/>
                        </a:lnTo>
                        <a:lnTo>
                          <a:pt x="1122459" y="33145"/>
                        </a:lnTo>
                        <a:cubicBezTo>
                          <a:pt x="1119036" y="30795"/>
                          <a:pt x="1115449" y="29022"/>
                          <a:pt x="1111862" y="26754"/>
                        </a:cubicBezTo>
                        <a:lnTo>
                          <a:pt x="1109347" y="25971"/>
                        </a:lnTo>
                        <a:cubicBezTo>
                          <a:pt x="1099205" y="26796"/>
                          <a:pt x="1089804" y="27744"/>
                          <a:pt x="1089021" y="22301"/>
                        </a:cubicBezTo>
                        <a:cubicBezTo>
                          <a:pt x="1088114" y="16076"/>
                          <a:pt x="1076652" y="14591"/>
                          <a:pt x="1059871" y="17230"/>
                        </a:cubicBezTo>
                        <a:cubicBezTo>
                          <a:pt x="1053851" y="20577"/>
                          <a:pt x="1047089" y="22363"/>
                          <a:pt x="1040204" y="22425"/>
                        </a:cubicBezTo>
                        <a:lnTo>
                          <a:pt x="1037359" y="22425"/>
                        </a:lnTo>
                        <a:cubicBezTo>
                          <a:pt x="1024054" y="26299"/>
                          <a:pt x="1011037" y="31093"/>
                          <a:pt x="998396" y="36773"/>
                        </a:cubicBezTo>
                        <a:cubicBezTo>
                          <a:pt x="966401" y="51039"/>
                          <a:pt x="977039" y="35619"/>
                          <a:pt x="993119" y="22095"/>
                        </a:cubicBezTo>
                        <a:cubicBezTo>
                          <a:pt x="979884" y="20989"/>
                          <a:pt x="967923" y="13759"/>
                          <a:pt x="960794" y="2552"/>
                        </a:cubicBezTo>
                        <a:cubicBezTo>
                          <a:pt x="946693" y="2057"/>
                          <a:pt x="931933" y="1315"/>
                          <a:pt x="918079" y="-4"/>
                        </a:cubicBezTo>
                        <a:cubicBezTo>
                          <a:pt x="915675" y="2793"/>
                          <a:pt x="913614" y="5866"/>
                          <a:pt x="911936" y="9149"/>
                        </a:cubicBezTo>
                        <a:cubicBezTo>
                          <a:pt x="905463" y="21972"/>
                          <a:pt x="888517" y="32980"/>
                          <a:pt x="874210" y="31455"/>
                        </a:cubicBezTo>
                        <a:cubicBezTo>
                          <a:pt x="850461" y="28940"/>
                          <a:pt x="830671" y="21724"/>
                          <a:pt x="815209" y="9767"/>
                        </a:cubicBezTo>
                        <a:cubicBezTo>
                          <a:pt x="799995" y="20045"/>
                          <a:pt x="782386" y="26222"/>
                          <a:pt x="764083" y="27703"/>
                        </a:cubicBezTo>
                        <a:cubicBezTo>
                          <a:pt x="725739" y="31166"/>
                          <a:pt x="688013" y="15828"/>
                          <a:pt x="649916" y="25353"/>
                        </a:cubicBezTo>
                        <a:cubicBezTo>
                          <a:pt x="630748" y="30652"/>
                          <a:pt x="610529" y="21513"/>
                          <a:pt x="601841" y="3624"/>
                        </a:cubicBezTo>
                        <a:cubicBezTo>
                          <a:pt x="567455" y="-499"/>
                          <a:pt x="581804" y="38381"/>
                          <a:pt x="541769" y="18261"/>
                        </a:cubicBezTo>
                        <a:cubicBezTo>
                          <a:pt x="500909" y="-2354"/>
                          <a:pt x="456504" y="7953"/>
                          <a:pt x="468914" y="14138"/>
                        </a:cubicBezTo>
                        <a:cubicBezTo>
                          <a:pt x="481325" y="20322"/>
                          <a:pt x="465410" y="32650"/>
                          <a:pt x="447598" y="26507"/>
                        </a:cubicBezTo>
                        <a:cubicBezTo>
                          <a:pt x="429787" y="20364"/>
                          <a:pt x="413831" y="28568"/>
                          <a:pt x="422860" y="49142"/>
                        </a:cubicBezTo>
                        <a:cubicBezTo>
                          <a:pt x="431890" y="69717"/>
                          <a:pt x="357139" y="42958"/>
                          <a:pt x="357139" y="65635"/>
                        </a:cubicBezTo>
                        <a:cubicBezTo>
                          <a:pt x="357139" y="88311"/>
                          <a:pt x="330463" y="100639"/>
                          <a:pt x="309146" y="80065"/>
                        </a:cubicBezTo>
                        <a:cubicBezTo>
                          <a:pt x="287830" y="59491"/>
                          <a:pt x="220295" y="53307"/>
                          <a:pt x="239879" y="71819"/>
                        </a:cubicBezTo>
                        <a:cubicBezTo>
                          <a:pt x="259464" y="90332"/>
                          <a:pt x="179436" y="80065"/>
                          <a:pt x="200752" y="98578"/>
                        </a:cubicBezTo>
                        <a:cubicBezTo>
                          <a:pt x="222068" y="117090"/>
                          <a:pt x="174117" y="131562"/>
                          <a:pt x="174117" y="121213"/>
                        </a:cubicBezTo>
                        <a:cubicBezTo>
                          <a:pt x="174117" y="110864"/>
                          <a:pt x="129711" y="92352"/>
                          <a:pt x="111941" y="110906"/>
                        </a:cubicBezTo>
                        <a:cubicBezTo>
                          <a:pt x="94171" y="129459"/>
                          <a:pt x="88852" y="152136"/>
                          <a:pt x="79946" y="139767"/>
                        </a:cubicBezTo>
                        <a:cubicBezTo>
                          <a:pt x="72937" y="130037"/>
                          <a:pt x="46962" y="130573"/>
                          <a:pt x="18101" y="139314"/>
                        </a:cubicBezTo>
                        <a:cubicBezTo>
                          <a:pt x="11586" y="147931"/>
                          <a:pt x="5484" y="159022"/>
                          <a:pt x="1" y="167350"/>
                        </a:cubicBezTo>
                        <a:cubicBezTo>
                          <a:pt x="8919" y="166641"/>
                          <a:pt x="17474" y="163504"/>
                          <a:pt x="24739" y="158280"/>
                        </a:cubicBezTo>
                        <a:cubicBezTo>
                          <a:pt x="49477" y="139767"/>
                          <a:pt x="69185" y="152095"/>
                          <a:pt x="47869" y="164464"/>
                        </a:cubicBezTo>
                        <a:cubicBezTo>
                          <a:pt x="26553" y="176833"/>
                          <a:pt x="33644" y="185079"/>
                          <a:pt x="63825" y="182977"/>
                        </a:cubicBezTo>
                        <a:cubicBezTo>
                          <a:pt x="94006" y="180874"/>
                          <a:pt x="51456" y="193284"/>
                          <a:pt x="51456" y="213858"/>
                        </a:cubicBezTo>
                        <a:cubicBezTo>
                          <a:pt x="51456" y="234432"/>
                          <a:pt x="87038" y="222104"/>
                          <a:pt x="88811" y="242720"/>
                        </a:cubicBezTo>
                        <a:cubicBezTo>
                          <a:pt x="90584" y="263335"/>
                          <a:pt x="167149" y="271581"/>
                          <a:pt x="190073" y="246843"/>
                        </a:cubicBezTo>
                        <a:cubicBezTo>
                          <a:pt x="212997" y="222104"/>
                          <a:pt x="204256" y="253027"/>
                          <a:pt x="202442" y="269478"/>
                        </a:cubicBezTo>
                        <a:cubicBezTo>
                          <a:pt x="200628" y="285929"/>
                          <a:pt x="310837" y="300360"/>
                          <a:pt x="316156" y="279786"/>
                        </a:cubicBezTo>
                        <a:cubicBezTo>
                          <a:pt x="321474" y="259212"/>
                          <a:pt x="337513" y="267417"/>
                          <a:pt x="358829" y="273601"/>
                        </a:cubicBezTo>
                        <a:cubicBezTo>
                          <a:pt x="380145" y="279786"/>
                          <a:pt x="484994" y="250966"/>
                          <a:pt x="486644" y="226269"/>
                        </a:cubicBezTo>
                        <a:cubicBezTo>
                          <a:pt x="488293" y="201572"/>
                          <a:pt x="520411" y="238638"/>
                          <a:pt x="486644" y="265355"/>
                        </a:cubicBezTo>
                        <a:cubicBezTo>
                          <a:pt x="452876" y="292072"/>
                          <a:pt x="385382" y="288032"/>
                          <a:pt x="355201" y="298339"/>
                        </a:cubicBezTo>
                        <a:cubicBezTo>
                          <a:pt x="325020" y="308647"/>
                          <a:pt x="374744" y="333303"/>
                          <a:pt x="404925" y="360185"/>
                        </a:cubicBezTo>
                        <a:cubicBezTo>
                          <a:pt x="435105" y="387067"/>
                          <a:pt x="365838" y="372554"/>
                          <a:pt x="337430" y="337550"/>
                        </a:cubicBezTo>
                        <a:cubicBezTo>
                          <a:pt x="309023" y="302545"/>
                          <a:pt x="245033" y="302586"/>
                          <a:pt x="211265" y="304565"/>
                        </a:cubicBezTo>
                        <a:cubicBezTo>
                          <a:pt x="177498" y="306544"/>
                          <a:pt x="188176" y="378780"/>
                          <a:pt x="213038" y="378780"/>
                        </a:cubicBezTo>
                        <a:cubicBezTo>
                          <a:pt x="237900" y="378780"/>
                          <a:pt x="262803" y="389088"/>
                          <a:pt x="287666" y="434359"/>
                        </a:cubicBezTo>
                        <a:cubicBezTo>
                          <a:pt x="312527" y="479630"/>
                          <a:pt x="366003" y="469322"/>
                          <a:pt x="366003" y="489896"/>
                        </a:cubicBezTo>
                        <a:cubicBezTo>
                          <a:pt x="366003" y="510470"/>
                          <a:pt x="296736" y="473404"/>
                          <a:pt x="257608" y="465158"/>
                        </a:cubicBezTo>
                        <a:cubicBezTo>
                          <a:pt x="218481" y="456912"/>
                          <a:pt x="156346" y="485773"/>
                          <a:pt x="154532" y="518757"/>
                        </a:cubicBezTo>
                        <a:cubicBezTo>
                          <a:pt x="152718" y="551742"/>
                          <a:pt x="211389" y="547619"/>
                          <a:pt x="250476" y="520819"/>
                        </a:cubicBezTo>
                        <a:cubicBezTo>
                          <a:pt x="289562" y="494019"/>
                          <a:pt x="261154" y="529065"/>
                          <a:pt x="241611" y="549680"/>
                        </a:cubicBezTo>
                        <a:cubicBezTo>
                          <a:pt x="222068" y="570296"/>
                          <a:pt x="287789" y="586788"/>
                          <a:pt x="287789" y="611526"/>
                        </a:cubicBezTo>
                        <a:cubicBezTo>
                          <a:pt x="287789" y="636264"/>
                          <a:pt x="239838" y="628018"/>
                          <a:pt x="234478" y="605341"/>
                        </a:cubicBezTo>
                        <a:cubicBezTo>
                          <a:pt x="229118" y="582665"/>
                          <a:pt x="211389" y="559988"/>
                          <a:pt x="165211" y="564111"/>
                        </a:cubicBezTo>
                        <a:cubicBezTo>
                          <a:pt x="119033" y="568234"/>
                          <a:pt x="131402" y="605341"/>
                          <a:pt x="159851" y="609465"/>
                        </a:cubicBezTo>
                        <a:cubicBezTo>
                          <a:pt x="188300" y="613588"/>
                          <a:pt x="190073" y="638326"/>
                          <a:pt x="158078" y="638326"/>
                        </a:cubicBezTo>
                        <a:cubicBezTo>
                          <a:pt x="126083" y="638326"/>
                          <a:pt x="53930" y="661580"/>
                          <a:pt x="76359" y="685658"/>
                        </a:cubicBezTo>
                        <a:cubicBezTo>
                          <a:pt x="101098" y="712417"/>
                          <a:pt x="191805" y="685658"/>
                          <a:pt x="207843" y="702151"/>
                        </a:cubicBezTo>
                        <a:cubicBezTo>
                          <a:pt x="223882" y="718643"/>
                          <a:pt x="268246" y="724786"/>
                          <a:pt x="278883" y="706274"/>
                        </a:cubicBezTo>
                        <a:cubicBezTo>
                          <a:pt x="289521" y="687761"/>
                          <a:pt x="325103" y="696007"/>
                          <a:pt x="360643" y="696007"/>
                        </a:cubicBezTo>
                        <a:cubicBezTo>
                          <a:pt x="396184" y="696007"/>
                          <a:pt x="405049" y="702151"/>
                          <a:pt x="421046" y="718602"/>
                        </a:cubicBezTo>
                        <a:cubicBezTo>
                          <a:pt x="437043" y="735052"/>
                          <a:pt x="465492" y="728909"/>
                          <a:pt x="485036" y="712458"/>
                        </a:cubicBezTo>
                        <a:cubicBezTo>
                          <a:pt x="504579" y="696007"/>
                          <a:pt x="504538" y="695966"/>
                          <a:pt x="529441" y="695966"/>
                        </a:cubicBezTo>
                        <a:cubicBezTo>
                          <a:pt x="534335" y="696098"/>
                          <a:pt x="539192" y="695080"/>
                          <a:pt x="543624" y="692997"/>
                        </a:cubicBezTo>
                        <a:cubicBezTo>
                          <a:pt x="544585" y="688792"/>
                          <a:pt x="546123" y="684739"/>
                          <a:pt x="548201" y="680958"/>
                        </a:cubicBezTo>
                        <a:cubicBezTo>
                          <a:pt x="549681" y="678455"/>
                          <a:pt x="551404" y="676105"/>
                          <a:pt x="553354" y="673949"/>
                        </a:cubicBezTo>
                        <a:cubicBezTo>
                          <a:pt x="552699" y="667191"/>
                          <a:pt x="550604" y="660656"/>
                          <a:pt x="547211" y="654777"/>
                        </a:cubicBezTo>
                        <a:cubicBezTo>
                          <a:pt x="534842" y="632141"/>
                          <a:pt x="502765" y="671269"/>
                          <a:pt x="499219" y="654777"/>
                        </a:cubicBezTo>
                        <a:cubicBezTo>
                          <a:pt x="494807" y="634450"/>
                          <a:pt x="465492" y="628018"/>
                          <a:pt x="415727" y="636264"/>
                        </a:cubicBezTo>
                        <a:cubicBezTo>
                          <a:pt x="365962" y="644510"/>
                          <a:pt x="387278" y="599157"/>
                          <a:pt x="417500" y="609506"/>
                        </a:cubicBezTo>
                        <a:cubicBezTo>
                          <a:pt x="447722" y="619855"/>
                          <a:pt x="488581" y="615690"/>
                          <a:pt x="522308" y="605383"/>
                        </a:cubicBezTo>
                        <a:cubicBezTo>
                          <a:pt x="556034" y="595075"/>
                          <a:pt x="529441" y="576521"/>
                          <a:pt x="529441" y="560029"/>
                        </a:cubicBezTo>
                        <a:cubicBezTo>
                          <a:pt x="529441" y="543537"/>
                          <a:pt x="572073" y="553886"/>
                          <a:pt x="604068" y="553886"/>
                        </a:cubicBezTo>
                        <a:cubicBezTo>
                          <a:pt x="610966" y="553556"/>
                          <a:pt x="617674" y="551503"/>
                          <a:pt x="623570" y="547907"/>
                        </a:cubicBezTo>
                        <a:cubicBezTo>
                          <a:pt x="629961" y="528323"/>
                          <a:pt x="638124" y="511377"/>
                          <a:pt x="651813" y="497854"/>
                        </a:cubicBezTo>
                        <a:cubicBezTo>
                          <a:pt x="651813" y="495833"/>
                          <a:pt x="651524" y="493731"/>
                          <a:pt x="651483" y="491793"/>
                        </a:cubicBezTo>
                        <a:cubicBezTo>
                          <a:pt x="651236" y="477032"/>
                          <a:pt x="659729" y="459386"/>
                          <a:pt x="673129" y="452871"/>
                        </a:cubicBezTo>
                        <a:cubicBezTo>
                          <a:pt x="675879" y="451469"/>
                          <a:pt x="678625" y="449985"/>
                          <a:pt x="681375" y="448418"/>
                        </a:cubicBezTo>
                        <a:cubicBezTo>
                          <a:pt x="668594" y="426113"/>
                          <a:pt x="608521" y="432462"/>
                          <a:pt x="577227" y="432462"/>
                        </a:cubicBezTo>
                        <a:cubicBezTo>
                          <a:pt x="541686" y="432462"/>
                          <a:pt x="600316" y="401580"/>
                          <a:pt x="667934" y="405704"/>
                        </a:cubicBezTo>
                        <a:cubicBezTo>
                          <a:pt x="735552" y="409827"/>
                          <a:pt x="705041" y="374863"/>
                          <a:pt x="717658" y="362494"/>
                        </a:cubicBezTo>
                        <a:cubicBezTo>
                          <a:pt x="728460" y="351774"/>
                          <a:pt x="754065" y="370740"/>
                          <a:pt x="782719" y="370245"/>
                        </a:cubicBezTo>
                        <a:cubicBezTo>
                          <a:pt x="796573" y="357588"/>
                          <a:pt x="809107" y="344229"/>
                          <a:pt x="810220" y="335571"/>
                        </a:cubicBezTo>
                        <a:cubicBezTo>
                          <a:pt x="812653" y="316976"/>
                          <a:pt x="835453" y="301638"/>
                          <a:pt x="852358" y="302586"/>
                        </a:cubicBezTo>
                        <a:cubicBezTo>
                          <a:pt x="851698" y="308221"/>
                          <a:pt x="855998" y="305541"/>
                          <a:pt x="865263" y="294546"/>
                        </a:cubicBezTo>
                        <a:cubicBezTo>
                          <a:pt x="874783" y="287643"/>
                          <a:pt x="886979" y="285570"/>
                          <a:pt x="898247" y="288939"/>
                        </a:cubicBezTo>
                        <a:cubicBezTo>
                          <a:pt x="914327" y="278178"/>
                          <a:pt x="933334" y="265396"/>
                          <a:pt x="955970" y="250801"/>
                        </a:cubicBezTo>
                        <a:cubicBezTo>
                          <a:pt x="1028824" y="203468"/>
                          <a:pt x="1085681" y="211714"/>
                          <a:pt x="1089227" y="184832"/>
                        </a:cubicBezTo>
                        <a:cubicBezTo>
                          <a:pt x="1092773" y="157950"/>
                          <a:pt x="987924" y="184832"/>
                          <a:pt x="970195" y="176586"/>
                        </a:cubicBezTo>
                        <a:cubicBezTo>
                          <a:pt x="952465" y="168340"/>
                          <a:pt x="1043007" y="145745"/>
                          <a:pt x="1064365" y="151848"/>
                        </a:cubicBezTo>
                        <a:cubicBezTo>
                          <a:pt x="1085722" y="157950"/>
                          <a:pt x="1114089" y="151848"/>
                          <a:pt x="1186943" y="110617"/>
                        </a:cubicBezTo>
                        <a:cubicBezTo>
                          <a:pt x="1259798" y="69387"/>
                          <a:pt x="1227596" y="59533"/>
                          <a:pt x="1197416" y="65511"/>
                        </a:cubicBez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>
                    <a:defPPr>
                      <a:defRPr lang="en-US"/>
                    </a:defPPr>
                  </a:lstStyle>
                  <a:p>
                    <a:pPr marL="0" marR="0" lvl="0" indent="0" algn="l" defTabSz="1462923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normalizeH="0" noProof="0">
                        <a:solidFill>
                          <a:srgbClr val="000000"/>
                        </a:solidFill>
                        <a:uLnTx/>
                        <a:uFillTx/>
                        <a:latin typeface="+mn-lt"/>
                        <a:ea typeface="+mn-ea"/>
                        <a:cs typeface="+mn-cs"/>
                      </a:defRPr>
                    </a:pPr>
                    <a:endParaRPr kumimoji="0" lang="en-US" sz="288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41" name="Canada group">
                    <a:extLst>
                      <a:ext uri="{FF2B5EF4-FFF2-40B4-BE49-F238E27FC236}">
                        <a16:creationId xmlns:a16="http://schemas.microsoft.com/office/drawing/2014/main" id="{299ACF49-7E75-7C0C-343F-82C4F19F1BB3}"/>
                      </a:ext>
                    </a:extLst>
                  </p:cNvPr>
                  <p:cNvSpPr/>
                  <p:nvPr>
                    <p:custDataLst>
                      <p:tags r:id="rId524"/>
                    </p:custDataLst>
                  </p:nvPr>
                </p:nvSpPr>
                <p:spPr>
                  <a:xfrm>
                    <a:off x="3705975" y="2055522"/>
                    <a:ext cx="233422" cy="173756"/>
                  </a:xfrm>
                  <a:custGeom>
                    <a:avLst/>
                    <a:gdLst>
                      <a:gd name="connsiteX0" fmla="*/ 272417 w 272562"/>
                      <a:gd name="connsiteY0" fmla="*/ 159491 h 202891"/>
                      <a:gd name="connsiteX1" fmla="*/ 217333 w 272562"/>
                      <a:gd name="connsiteY1" fmla="*/ 108035 h 202891"/>
                      <a:gd name="connsiteX2" fmla="*/ 138995 w 272562"/>
                      <a:gd name="connsiteY2" fmla="*/ 54435 h 202891"/>
                      <a:gd name="connsiteX3" fmla="*/ 89271 w 272562"/>
                      <a:gd name="connsiteY3" fmla="*/ 11226 h 202891"/>
                      <a:gd name="connsiteX4" fmla="*/ 44824 w 272562"/>
                      <a:gd name="connsiteY4" fmla="*/ 42066 h 202891"/>
                      <a:gd name="connsiteX5" fmla="*/ 34187 w 272562"/>
                      <a:gd name="connsiteY5" fmla="*/ 105850 h 202891"/>
                      <a:gd name="connsiteX6" fmla="*/ 419 w 272562"/>
                      <a:gd name="connsiteY6" fmla="*/ 167695 h 202891"/>
                      <a:gd name="connsiteX7" fmla="*/ 50143 w 272562"/>
                      <a:gd name="connsiteY7" fmla="*/ 165675 h 202891"/>
                      <a:gd name="connsiteX8" fmla="*/ 71500 w 272562"/>
                      <a:gd name="connsiteY8" fmla="*/ 202783 h 202891"/>
                      <a:gd name="connsiteX9" fmla="*/ 138995 w 272562"/>
                      <a:gd name="connsiteY9" fmla="*/ 159573 h 202891"/>
                      <a:gd name="connsiteX10" fmla="*/ 190533 w 272562"/>
                      <a:gd name="connsiteY10" fmla="*/ 157470 h 202891"/>
                      <a:gd name="connsiteX11" fmla="*/ 272417 w 272562"/>
                      <a:gd name="connsiteY11" fmla="*/ 159491 h 20289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 w="272562" h="202891">
                        <a:moveTo>
                          <a:pt x="272417" y="159491"/>
                        </a:moveTo>
                        <a:cubicBezTo>
                          <a:pt x="275962" y="138875"/>
                          <a:pt x="213787" y="130629"/>
                          <a:pt x="217333" y="108035"/>
                        </a:cubicBezTo>
                        <a:cubicBezTo>
                          <a:pt x="220879" y="85441"/>
                          <a:pt x="158703" y="66805"/>
                          <a:pt x="138995" y="54435"/>
                        </a:cubicBezTo>
                        <a:cubicBezTo>
                          <a:pt x="119287" y="42066"/>
                          <a:pt x="89271" y="35882"/>
                          <a:pt x="89271" y="11226"/>
                        </a:cubicBezTo>
                        <a:cubicBezTo>
                          <a:pt x="89271" y="-13430"/>
                          <a:pt x="46639" y="5041"/>
                          <a:pt x="44824" y="42066"/>
                        </a:cubicBezTo>
                        <a:cubicBezTo>
                          <a:pt x="43010" y="79091"/>
                          <a:pt x="25281" y="70928"/>
                          <a:pt x="34187" y="105850"/>
                        </a:cubicBezTo>
                        <a:cubicBezTo>
                          <a:pt x="43093" y="140772"/>
                          <a:pt x="-4941" y="149101"/>
                          <a:pt x="419" y="167695"/>
                        </a:cubicBezTo>
                        <a:cubicBezTo>
                          <a:pt x="5779" y="186290"/>
                          <a:pt x="28827" y="165675"/>
                          <a:pt x="50143" y="165675"/>
                        </a:cubicBezTo>
                        <a:cubicBezTo>
                          <a:pt x="71459" y="165675"/>
                          <a:pt x="44412" y="200103"/>
                          <a:pt x="71500" y="202783"/>
                        </a:cubicBezTo>
                        <a:cubicBezTo>
                          <a:pt x="92817" y="204844"/>
                          <a:pt x="130130" y="176065"/>
                          <a:pt x="138995" y="159573"/>
                        </a:cubicBezTo>
                        <a:cubicBezTo>
                          <a:pt x="147859" y="143081"/>
                          <a:pt x="165671" y="136938"/>
                          <a:pt x="190533" y="157470"/>
                        </a:cubicBezTo>
                        <a:cubicBezTo>
                          <a:pt x="215395" y="178003"/>
                          <a:pt x="268871" y="180065"/>
                          <a:pt x="272417" y="159491"/>
                        </a:cubicBezTo>
                        <a:close/>
                      </a:path>
                    </a:pathLst>
                  </a:custGeom>
                  <a:grpFill/>
                  <a:ln w="6350" cap="flat">
                    <a:solidFill>
                      <a:schemeClr val="bg1"/>
                    </a:solidFill>
                    <a:prstDash val="solid"/>
                    <a:miter/>
                  </a:ln>
                </p:spPr>
                <p:txBody>
                  <a:bodyPr rtlCol="0" anchor="ctr"/>
                  <a:lstStyle>
                    <a:defPPr>
                      <a:defRPr lang="en-US"/>
                    </a:defPPr>
                  </a:lstStyle>
                  <a:p>
                    <a:pPr marL="0" marR="0" lvl="0" indent="0" algn="l" defTabSz="1462923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normalizeH="0" noProof="0">
                        <a:solidFill>
                          <a:srgbClr val="000000"/>
                        </a:solidFill>
                        <a:uLnTx/>
                        <a:uFillTx/>
                        <a:latin typeface="+mn-lt"/>
                        <a:ea typeface="+mn-ea"/>
                        <a:cs typeface="+mn-cs"/>
                      </a:defRPr>
                    </a:pPr>
                    <a:endParaRPr kumimoji="0" lang="en-US" sz="288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itchFamily="34" charset="0"/>
                      <a:cs typeface="Arial" pitchFamily="34" charset="0"/>
                    </a:endParaRPr>
                  </a:p>
                </p:txBody>
              </p:sp>
              <p:grpSp>
                <p:nvGrpSpPr>
                  <p:cNvPr id="42" name="Canada group">
                    <a:extLst>
                      <a:ext uri="{FF2B5EF4-FFF2-40B4-BE49-F238E27FC236}">
                        <a16:creationId xmlns:a16="http://schemas.microsoft.com/office/drawing/2014/main" id="{6B45ADA8-D858-255C-3A02-28D5115E7792}"/>
                      </a:ext>
                    </a:extLst>
                  </p:cNvPr>
                  <p:cNvGrpSpPr/>
                  <p:nvPr>
                    <p:custDataLst>
                      <p:tags r:id="rId525"/>
                    </p:custDataLst>
                  </p:nvPr>
                </p:nvGrpSpPr>
                <p:grpSpPr>
                  <a:xfrm>
                    <a:off x="1848902" y="843424"/>
                    <a:ext cx="2948774" cy="2530539"/>
                    <a:chOff x="1848903" y="843424"/>
                    <a:chExt cx="2948774" cy="2530539"/>
                  </a:xfrm>
                  <a:grpFill/>
                </p:grpSpPr>
                <p:sp>
                  <p:nvSpPr>
                    <p:cNvPr id="43" name="Freeform: Shape 42">
                      <a:extLst>
                        <a:ext uri="{FF2B5EF4-FFF2-40B4-BE49-F238E27FC236}">
                          <a16:creationId xmlns:a16="http://schemas.microsoft.com/office/drawing/2014/main" id="{1AFCD0D8-BC0C-DCDF-5E13-099246A8F03B}"/>
                        </a:ext>
                      </a:extLst>
                    </p:cNvPr>
                    <p:cNvSpPr/>
                    <p:nvPr>
                      <p:custDataLst>
                        <p:tags r:id="rId526"/>
                      </p:custDataLst>
                    </p:nvPr>
                  </p:nvSpPr>
                  <p:spPr>
                    <a:xfrm>
                      <a:off x="3179054" y="1457200"/>
                      <a:ext cx="217700" cy="219623"/>
                    </a:xfrm>
                    <a:custGeom>
                      <a:avLst/>
                      <a:gdLst>
                        <a:gd name="connsiteX0" fmla="*/ 129012 w 254204"/>
                        <a:gd name="connsiteY0" fmla="*/ 247104 h 256450"/>
                        <a:gd name="connsiteX1" fmla="*/ 200093 w 254204"/>
                        <a:gd name="connsiteY1" fmla="*/ 224469 h 256450"/>
                        <a:gd name="connsiteX2" fmla="*/ 253404 w 254204"/>
                        <a:gd name="connsiteY2" fmla="*/ 111291 h 256450"/>
                        <a:gd name="connsiteX3" fmla="*/ 228666 w 254204"/>
                        <a:gd name="connsiteY3" fmla="*/ 105107 h 256450"/>
                        <a:gd name="connsiteX4" fmla="*/ 223306 w 254204"/>
                        <a:gd name="connsiteY4" fmla="*/ 123619 h 256450"/>
                        <a:gd name="connsiteX5" fmla="*/ 173540 w 254204"/>
                        <a:gd name="connsiteY5" fmla="*/ 100984 h 256450"/>
                        <a:gd name="connsiteX6" fmla="*/ 225079 w 254204"/>
                        <a:gd name="connsiteY6" fmla="*/ 51507 h 256450"/>
                        <a:gd name="connsiteX7" fmla="*/ 196671 w 254204"/>
                        <a:gd name="connsiteY7" fmla="*/ 8298 h 256450"/>
                        <a:gd name="connsiteX8" fmla="*/ 145133 w 254204"/>
                        <a:gd name="connsiteY8" fmla="*/ 22728 h 256450"/>
                        <a:gd name="connsiteX9" fmla="*/ 122044 w 254204"/>
                        <a:gd name="connsiteY9" fmla="*/ 30974 h 256450"/>
                        <a:gd name="connsiteX10" fmla="*/ 52735 w 254204"/>
                        <a:gd name="connsiteY10" fmla="*/ 68082 h 256450"/>
                        <a:gd name="connsiteX11" fmla="*/ 97182 w 254204"/>
                        <a:gd name="connsiteY11" fmla="*/ 109312 h 256450"/>
                        <a:gd name="connsiteX12" fmla="*/ 17195 w 254204"/>
                        <a:gd name="connsiteY12" fmla="*/ 101066 h 256450"/>
                        <a:gd name="connsiteX13" fmla="*/ 47293 w 254204"/>
                        <a:gd name="connsiteY13" fmla="*/ 168767 h 256450"/>
                        <a:gd name="connsiteX14" fmla="*/ 129012 w 254204"/>
                        <a:gd name="connsiteY14" fmla="*/ 247104 h 2564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</a:cxnLst>
                      <a:rect l="l" t="t" r="r" b="b"/>
                      <a:pathLst>
                        <a:path w="254204" h="256445">
                          <a:moveTo>
                            <a:pt x="129012" y="247104"/>
                          </a:moveTo>
                          <a:cubicBezTo>
                            <a:pt x="168139" y="277945"/>
                            <a:pt x="155688" y="222366"/>
                            <a:pt x="200093" y="224469"/>
                          </a:cubicBezTo>
                          <a:cubicBezTo>
                            <a:pt x="244498" y="226572"/>
                            <a:pt x="246312" y="142008"/>
                            <a:pt x="253404" y="111291"/>
                          </a:cubicBezTo>
                          <a:cubicBezTo>
                            <a:pt x="260496" y="80575"/>
                            <a:pt x="217863" y="82430"/>
                            <a:pt x="228666" y="105107"/>
                          </a:cubicBezTo>
                          <a:cubicBezTo>
                            <a:pt x="239468" y="127783"/>
                            <a:pt x="226893" y="150460"/>
                            <a:pt x="223306" y="123619"/>
                          </a:cubicBezTo>
                          <a:cubicBezTo>
                            <a:pt x="219719" y="96778"/>
                            <a:pt x="186198" y="121558"/>
                            <a:pt x="173540" y="100984"/>
                          </a:cubicBezTo>
                          <a:cubicBezTo>
                            <a:pt x="160883" y="80410"/>
                            <a:pt x="212668" y="78348"/>
                            <a:pt x="225079" y="51507"/>
                          </a:cubicBezTo>
                          <a:cubicBezTo>
                            <a:pt x="237489" y="24666"/>
                            <a:pt x="184219" y="28872"/>
                            <a:pt x="196671" y="8298"/>
                          </a:cubicBezTo>
                          <a:cubicBezTo>
                            <a:pt x="209122" y="-12276"/>
                            <a:pt x="118333" y="10359"/>
                            <a:pt x="145133" y="22728"/>
                          </a:cubicBezTo>
                          <a:cubicBezTo>
                            <a:pt x="171932" y="35097"/>
                            <a:pt x="146906" y="51590"/>
                            <a:pt x="122044" y="30974"/>
                          </a:cubicBezTo>
                          <a:cubicBezTo>
                            <a:pt x="97182" y="10359"/>
                            <a:pt x="28286" y="44828"/>
                            <a:pt x="52735" y="68082"/>
                          </a:cubicBezTo>
                          <a:cubicBezTo>
                            <a:pt x="72320" y="86594"/>
                            <a:pt x="131073" y="55713"/>
                            <a:pt x="97182" y="109312"/>
                          </a:cubicBezTo>
                          <a:cubicBezTo>
                            <a:pt x="63290" y="162912"/>
                            <a:pt x="49190" y="94882"/>
                            <a:pt x="17195" y="101066"/>
                          </a:cubicBezTo>
                          <a:cubicBezTo>
                            <a:pt x="-14800" y="107251"/>
                            <a:pt x="-658" y="152274"/>
                            <a:pt x="47293" y="168767"/>
                          </a:cubicBezTo>
                          <a:cubicBezTo>
                            <a:pt x="95244" y="185259"/>
                            <a:pt x="89925" y="216099"/>
                            <a:pt x="129012" y="247104"/>
                          </a:cubicBezTo>
                          <a:close/>
                        </a:path>
                      </a:pathLst>
                    </a:custGeom>
                    <a:grpFill/>
                    <a:ln w="635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>
                      <a:defPPr>
                        <a:defRPr lang="en-US"/>
                      </a:defPPr>
                    </a:lstStyle>
                    <a:p>
                      <a:pPr marL="0" marR="0" lvl="0" indent="0" algn="l" defTabSz="1462923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 kumimoji="0" sz="2160" b="0" i="0" normalizeH="0" noProof="0">
                          <a:solidFill>
                            <a:srgbClr val="000000"/>
                          </a:solidFill>
                          <a:uLnTx/>
                          <a:uFillTx/>
                          <a:latin typeface="+mn-lt"/>
                          <a:ea typeface="+mn-ea"/>
                          <a:cs typeface="+mn-cs"/>
                        </a:defRPr>
                      </a:pPr>
                      <a:endParaRPr kumimoji="0" lang="en-US" sz="288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cs typeface="Arial" pitchFamily="34" charset="0"/>
                      </a:endParaRPr>
                    </a:p>
                  </p:txBody>
                </p:sp>
                <p:sp>
                  <p:nvSpPr>
                    <p:cNvPr id="44" name="Canada group">
                      <a:extLst>
                        <a:ext uri="{FF2B5EF4-FFF2-40B4-BE49-F238E27FC236}">
                          <a16:creationId xmlns:a16="http://schemas.microsoft.com/office/drawing/2014/main" id="{44F36C0C-99BC-F046-402E-0E7CFA02BCCF}"/>
                        </a:ext>
                      </a:extLst>
                    </p:cNvPr>
                    <p:cNvSpPr/>
                    <p:nvPr>
                      <p:custDataLst>
                        <p:tags r:id="rId527"/>
                      </p:custDataLst>
                    </p:nvPr>
                  </p:nvSpPr>
                  <p:spPr>
                    <a:xfrm>
                      <a:off x="3379420" y="1347703"/>
                      <a:ext cx="119657" cy="74424"/>
                    </a:xfrm>
                    <a:custGeom>
                      <a:avLst/>
                      <a:gdLst>
                        <a:gd name="connsiteX0" fmla="*/ 122474 w 139721"/>
                        <a:gd name="connsiteY0" fmla="*/ 86762 h 86904"/>
                        <a:gd name="connsiteX1" fmla="*/ 102931 w 139721"/>
                        <a:gd name="connsiteY1" fmla="*/ 8424 h 86904"/>
                        <a:gd name="connsiteX2" fmla="*/ 1669 w 139721"/>
                        <a:gd name="connsiteY2" fmla="*/ 53777 h 86904"/>
                        <a:gd name="connsiteX3" fmla="*/ 122474 w 139721"/>
                        <a:gd name="connsiteY3" fmla="*/ 86762 h 8690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39721" h="86904">
                          <a:moveTo>
                            <a:pt x="122474" y="86762"/>
                          </a:moveTo>
                          <a:cubicBezTo>
                            <a:pt x="154469" y="84659"/>
                            <a:pt x="138472" y="39429"/>
                            <a:pt x="102931" y="8424"/>
                          </a:cubicBezTo>
                          <a:cubicBezTo>
                            <a:pt x="67390" y="-22582"/>
                            <a:pt x="-12514" y="40996"/>
                            <a:pt x="1669" y="53777"/>
                          </a:cubicBezTo>
                          <a:cubicBezTo>
                            <a:pt x="17625" y="68208"/>
                            <a:pt x="90520" y="88782"/>
                            <a:pt x="122474" y="86762"/>
                          </a:cubicBezTo>
                          <a:close/>
                        </a:path>
                      </a:pathLst>
                    </a:custGeom>
                    <a:grpFill/>
                    <a:ln w="6350" cap="flat">
                      <a:solidFill>
                        <a:schemeClr val="bg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>
                      <a:defPPr>
                        <a:defRPr lang="en-US"/>
                      </a:defPPr>
                    </a:lstStyle>
                    <a:p>
                      <a:pPr marL="0" marR="0" lvl="0" indent="0" algn="l" defTabSz="1462923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 kumimoji="0" sz="2160" b="0" i="0" normalizeH="0" noProof="0">
                          <a:solidFill>
                            <a:srgbClr val="000000"/>
                          </a:solidFill>
                          <a:uLnTx/>
                          <a:uFillTx/>
                          <a:latin typeface="+mn-lt"/>
                          <a:ea typeface="+mn-ea"/>
                          <a:cs typeface="+mn-cs"/>
                        </a:defRPr>
                      </a:pPr>
                      <a:endParaRPr kumimoji="0" lang="en-US" sz="288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cs typeface="Arial" pitchFamily="34" charset="0"/>
                      </a:endParaRPr>
                    </a:p>
                  </p:txBody>
                </p:sp>
                <p:sp>
                  <p:nvSpPr>
                    <p:cNvPr id="45" name="Canada group">
                      <a:extLst>
                        <a:ext uri="{FF2B5EF4-FFF2-40B4-BE49-F238E27FC236}">
                          <a16:creationId xmlns:a16="http://schemas.microsoft.com/office/drawing/2014/main" id="{1B4FB340-5A34-51B3-62F5-78573B64E1CD}"/>
                        </a:ext>
                      </a:extLst>
                    </p:cNvPr>
                    <p:cNvSpPr/>
                    <p:nvPr>
                      <p:custDataLst>
                        <p:tags r:id="rId528"/>
                      </p:custDataLst>
                    </p:nvPr>
                  </p:nvSpPr>
                  <p:spPr>
                    <a:xfrm>
                      <a:off x="2612517" y="1488657"/>
                      <a:ext cx="623812" cy="386420"/>
                    </a:xfrm>
                    <a:custGeom>
                      <a:avLst/>
                      <a:gdLst>
                        <a:gd name="connsiteX0" fmla="*/ 671513 w 728413"/>
                        <a:gd name="connsiteY0" fmla="*/ 341938 h 451215"/>
                        <a:gd name="connsiteX1" fmla="*/ 728370 w 728413"/>
                        <a:gd name="connsiteY1" fmla="*/ 339877 h 451215"/>
                        <a:gd name="connsiteX2" fmla="*/ 657288 w 728413"/>
                        <a:gd name="connsiteY2" fmla="*/ 278031 h 451215"/>
                        <a:gd name="connsiteX3" fmla="*/ 593340 w 728413"/>
                        <a:gd name="connsiteY3" fmla="*/ 240924 h 451215"/>
                        <a:gd name="connsiteX4" fmla="*/ 577343 w 728413"/>
                        <a:gd name="connsiteY4" fmla="*/ 174955 h 451215"/>
                        <a:gd name="connsiteX5" fmla="*/ 561345 w 728413"/>
                        <a:gd name="connsiteY5" fmla="*/ 70188 h 451215"/>
                        <a:gd name="connsiteX6" fmla="*/ 566705 w 728413"/>
                        <a:gd name="connsiteY6" fmla="*/ 4220 h 451215"/>
                        <a:gd name="connsiteX7" fmla="*/ 488367 w 728413"/>
                        <a:gd name="connsiteY7" fmla="*/ 24835 h 451215"/>
                        <a:gd name="connsiteX8" fmla="*/ 538215 w 728413"/>
                        <a:gd name="connsiteY8" fmla="*/ 74312 h 451215"/>
                        <a:gd name="connsiteX9" fmla="*/ 483131 w 728413"/>
                        <a:gd name="connsiteY9" fmla="*/ 49573 h 451215"/>
                        <a:gd name="connsiteX10" fmla="*/ 440499 w 728413"/>
                        <a:gd name="connsiteY10" fmla="*/ 49573 h 451215"/>
                        <a:gd name="connsiteX11" fmla="*/ 467134 w 728413"/>
                        <a:gd name="connsiteY11" fmla="*/ 162751 h 451215"/>
                        <a:gd name="connsiteX12" fmla="*/ 442395 w 728413"/>
                        <a:gd name="connsiteY12" fmla="*/ 187489 h 451215"/>
                        <a:gd name="connsiteX13" fmla="*/ 412173 w 728413"/>
                        <a:gd name="connsiteY13" fmla="*/ 107213 h 451215"/>
                        <a:gd name="connsiteX14" fmla="*/ 337588 w 728413"/>
                        <a:gd name="connsiteY14" fmla="*/ 74229 h 451215"/>
                        <a:gd name="connsiteX15" fmla="*/ 367768 w 728413"/>
                        <a:gd name="connsiteY15" fmla="*/ 113315 h 451215"/>
                        <a:gd name="connsiteX16" fmla="*/ 321590 w 728413"/>
                        <a:gd name="connsiteY16" fmla="*/ 117439 h 451215"/>
                        <a:gd name="connsiteX17" fmla="*/ 309221 w 728413"/>
                        <a:gd name="connsiteY17" fmla="*/ 105069 h 451215"/>
                        <a:gd name="connsiteX18" fmla="*/ 245107 w 728413"/>
                        <a:gd name="connsiteY18" fmla="*/ 70188 h 451215"/>
                        <a:gd name="connsiteX19" fmla="*/ 218431 w 728413"/>
                        <a:gd name="connsiteY19" fmla="*/ 113398 h 451215"/>
                        <a:gd name="connsiteX20" fmla="*/ 188251 w 728413"/>
                        <a:gd name="connsiteY20" fmla="*/ 99009 h 451215"/>
                        <a:gd name="connsiteX21" fmla="*/ 195342 w 728413"/>
                        <a:gd name="connsiteY21" fmla="*/ 45409 h 451215"/>
                        <a:gd name="connsiteX22" fmla="*/ 94080 w 728413"/>
                        <a:gd name="connsiteY22" fmla="*/ 72168 h 451215"/>
                        <a:gd name="connsiteX23" fmla="*/ 21226 w 728413"/>
                        <a:gd name="connsiteY23" fmla="*/ 121644 h 451215"/>
                        <a:gd name="connsiteX24" fmla="*/ 8857 w 728413"/>
                        <a:gd name="connsiteY24" fmla="*/ 154628 h 451215"/>
                        <a:gd name="connsiteX25" fmla="*/ 28400 w 728413"/>
                        <a:gd name="connsiteY25" fmla="*/ 193756 h 451215"/>
                        <a:gd name="connsiteX26" fmla="*/ 44398 w 728413"/>
                        <a:gd name="connsiteY26" fmla="*/ 216392 h 451215"/>
                        <a:gd name="connsiteX27" fmla="*/ 138568 w 728413"/>
                        <a:gd name="connsiteY27" fmla="*/ 202002 h 451215"/>
                        <a:gd name="connsiteX28" fmla="*/ 33760 w 728413"/>
                        <a:gd name="connsiteY28" fmla="*/ 249294 h 451215"/>
                        <a:gd name="connsiteX29" fmla="*/ 151020 w 728413"/>
                        <a:gd name="connsiteY29" fmla="*/ 278155 h 451215"/>
                        <a:gd name="connsiteX30" fmla="*/ 287822 w 728413"/>
                        <a:gd name="connsiteY30" fmla="*/ 300790 h 451215"/>
                        <a:gd name="connsiteX31" fmla="*/ 184746 w 728413"/>
                        <a:gd name="connsiteY31" fmla="*/ 309037 h 451215"/>
                        <a:gd name="connsiteX32" fmla="*/ 67445 w 728413"/>
                        <a:gd name="connsiteY32" fmla="*/ 339918 h 451215"/>
                        <a:gd name="connsiteX33" fmla="*/ 122529 w 728413"/>
                        <a:gd name="connsiteY33" fmla="*/ 383128 h 451215"/>
                        <a:gd name="connsiteX34" fmla="*/ 214927 w 728413"/>
                        <a:gd name="connsiteY34" fmla="*/ 405763 h 451215"/>
                        <a:gd name="connsiteX35" fmla="*/ 302006 w 728413"/>
                        <a:gd name="connsiteY35" fmla="*/ 451117 h 451215"/>
                        <a:gd name="connsiteX36" fmla="*/ 422811 w 728413"/>
                        <a:gd name="connsiteY36" fmla="*/ 420276 h 451215"/>
                        <a:gd name="connsiteX37" fmla="*/ 481440 w 728413"/>
                        <a:gd name="connsiteY37" fmla="*/ 391415 h 451215"/>
                        <a:gd name="connsiteX38" fmla="*/ 511662 w 728413"/>
                        <a:gd name="connsiteY38" fmla="*/ 393477 h 451215"/>
                        <a:gd name="connsiteX39" fmla="*/ 563159 w 728413"/>
                        <a:gd name="connsiteY39" fmla="*/ 414092 h 451215"/>
                        <a:gd name="connsiteX40" fmla="*/ 689325 w 728413"/>
                        <a:gd name="connsiteY40" fmla="*/ 416153 h 451215"/>
                        <a:gd name="connsiteX41" fmla="*/ 662690 w 728413"/>
                        <a:gd name="connsiteY41" fmla="*/ 374923 h 451215"/>
                        <a:gd name="connsiteX42" fmla="*/ 632468 w 728413"/>
                        <a:gd name="connsiteY42" fmla="*/ 372861 h 451215"/>
                        <a:gd name="connsiteX43" fmla="*/ 671513 w 728413"/>
                        <a:gd name="connsiteY43" fmla="*/ 341938 h 45121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</a:cxnLst>
                      <a:rect l="l" t="t" r="r" b="b"/>
                      <a:pathLst>
                        <a:path w="728413" h="451215">
                          <a:moveTo>
                            <a:pt x="671513" y="341938"/>
                          </a:moveTo>
                          <a:cubicBezTo>
                            <a:pt x="682192" y="327549"/>
                            <a:pt x="726597" y="370800"/>
                            <a:pt x="728370" y="339877"/>
                          </a:cubicBezTo>
                          <a:cubicBezTo>
                            <a:pt x="730143" y="308954"/>
                            <a:pt x="678605" y="294523"/>
                            <a:pt x="657288" y="278031"/>
                          </a:cubicBezTo>
                          <a:cubicBezTo>
                            <a:pt x="635972" y="261539"/>
                            <a:pt x="627108" y="269785"/>
                            <a:pt x="593340" y="240924"/>
                          </a:cubicBezTo>
                          <a:cubicBezTo>
                            <a:pt x="559572" y="212062"/>
                            <a:pt x="602246" y="197714"/>
                            <a:pt x="577343" y="174955"/>
                          </a:cubicBezTo>
                          <a:cubicBezTo>
                            <a:pt x="552439" y="152196"/>
                            <a:pt x="543575" y="90804"/>
                            <a:pt x="561345" y="70188"/>
                          </a:cubicBezTo>
                          <a:cubicBezTo>
                            <a:pt x="579115" y="49573"/>
                            <a:pt x="598453" y="18733"/>
                            <a:pt x="566705" y="4220"/>
                          </a:cubicBezTo>
                          <a:cubicBezTo>
                            <a:pt x="534958" y="-10293"/>
                            <a:pt x="483172" y="16589"/>
                            <a:pt x="488367" y="24835"/>
                          </a:cubicBezTo>
                          <a:cubicBezTo>
                            <a:pt x="493562" y="33081"/>
                            <a:pt x="538215" y="61942"/>
                            <a:pt x="538215" y="74312"/>
                          </a:cubicBezTo>
                          <a:cubicBezTo>
                            <a:pt x="538215" y="86681"/>
                            <a:pt x="497356" y="39307"/>
                            <a:pt x="483131" y="49573"/>
                          </a:cubicBezTo>
                          <a:cubicBezTo>
                            <a:pt x="468906" y="59840"/>
                            <a:pt x="452950" y="28958"/>
                            <a:pt x="440499" y="49573"/>
                          </a:cubicBezTo>
                          <a:cubicBezTo>
                            <a:pt x="428047" y="70188"/>
                            <a:pt x="456496" y="142177"/>
                            <a:pt x="467134" y="162751"/>
                          </a:cubicBezTo>
                          <a:cubicBezTo>
                            <a:pt x="477771" y="183325"/>
                            <a:pt x="456496" y="183366"/>
                            <a:pt x="442395" y="187489"/>
                          </a:cubicBezTo>
                          <a:cubicBezTo>
                            <a:pt x="428295" y="191612"/>
                            <a:pt x="426398" y="129767"/>
                            <a:pt x="412173" y="107213"/>
                          </a:cubicBezTo>
                          <a:cubicBezTo>
                            <a:pt x="397949" y="84660"/>
                            <a:pt x="341133" y="57737"/>
                            <a:pt x="337588" y="74229"/>
                          </a:cubicBezTo>
                          <a:cubicBezTo>
                            <a:pt x="334042" y="90721"/>
                            <a:pt x="373087" y="90721"/>
                            <a:pt x="367768" y="113315"/>
                          </a:cubicBezTo>
                          <a:cubicBezTo>
                            <a:pt x="362449" y="135910"/>
                            <a:pt x="341133" y="98926"/>
                            <a:pt x="321590" y="117439"/>
                          </a:cubicBezTo>
                          <a:cubicBezTo>
                            <a:pt x="302047" y="135951"/>
                            <a:pt x="305593" y="123623"/>
                            <a:pt x="309221" y="105069"/>
                          </a:cubicBezTo>
                          <a:cubicBezTo>
                            <a:pt x="312849" y="86516"/>
                            <a:pt x="280648" y="66065"/>
                            <a:pt x="245107" y="70188"/>
                          </a:cubicBezTo>
                          <a:cubicBezTo>
                            <a:pt x="209567" y="74312"/>
                            <a:pt x="229110" y="103173"/>
                            <a:pt x="218431" y="113398"/>
                          </a:cubicBezTo>
                          <a:cubicBezTo>
                            <a:pt x="207753" y="123623"/>
                            <a:pt x="154483" y="107213"/>
                            <a:pt x="188251" y="99009"/>
                          </a:cubicBezTo>
                          <a:cubicBezTo>
                            <a:pt x="222018" y="90804"/>
                            <a:pt x="207794" y="68127"/>
                            <a:pt x="195342" y="45409"/>
                          </a:cubicBezTo>
                          <a:cubicBezTo>
                            <a:pt x="182891" y="22691"/>
                            <a:pt x="149164" y="49532"/>
                            <a:pt x="94080" y="72168"/>
                          </a:cubicBezTo>
                          <a:cubicBezTo>
                            <a:pt x="38996" y="94803"/>
                            <a:pt x="14134" y="119500"/>
                            <a:pt x="21226" y="121644"/>
                          </a:cubicBezTo>
                          <a:cubicBezTo>
                            <a:pt x="28318" y="123788"/>
                            <a:pt x="30132" y="134013"/>
                            <a:pt x="8857" y="154628"/>
                          </a:cubicBezTo>
                          <a:cubicBezTo>
                            <a:pt x="-12418" y="175244"/>
                            <a:pt x="8857" y="193756"/>
                            <a:pt x="28400" y="193756"/>
                          </a:cubicBezTo>
                          <a:cubicBezTo>
                            <a:pt x="47943" y="193756"/>
                            <a:pt x="30750" y="211856"/>
                            <a:pt x="44398" y="216392"/>
                          </a:cubicBezTo>
                          <a:cubicBezTo>
                            <a:pt x="56767" y="220515"/>
                            <a:pt x="120798" y="187530"/>
                            <a:pt x="138568" y="202002"/>
                          </a:cubicBezTo>
                          <a:cubicBezTo>
                            <a:pt x="156338" y="216474"/>
                            <a:pt x="33760" y="224597"/>
                            <a:pt x="33760" y="249294"/>
                          </a:cubicBezTo>
                          <a:cubicBezTo>
                            <a:pt x="33760" y="273991"/>
                            <a:pt x="101254" y="288421"/>
                            <a:pt x="151020" y="278155"/>
                          </a:cubicBezTo>
                          <a:cubicBezTo>
                            <a:pt x="200785" y="267889"/>
                            <a:pt x="287822" y="286401"/>
                            <a:pt x="287822" y="300790"/>
                          </a:cubicBezTo>
                          <a:cubicBezTo>
                            <a:pt x="287822" y="315180"/>
                            <a:pt x="229192" y="311057"/>
                            <a:pt x="184746" y="309037"/>
                          </a:cubicBezTo>
                          <a:cubicBezTo>
                            <a:pt x="140300" y="307016"/>
                            <a:pt x="63900" y="323467"/>
                            <a:pt x="67445" y="339918"/>
                          </a:cubicBezTo>
                          <a:cubicBezTo>
                            <a:pt x="71569" y="358348"/>
                            <a:pt x="76351" y="358431"/>
                            <a:pt x="122529" y="383128"/>
                          </a:cubicBezTo>
                          <a:cubicBezTo>
                            <a:pt x="168707" y="407825"/>
                            <a:pt x="216700" y="370759"/>
                            <a:pt x="214927" y="405763"/>
                          </a:cubicBezTo>
                          <a:cubicBezTo>
                            <a:pt x="213154" y="440768"/>
                            <a:pt x="239665" y="448973"/>
                            <a:pt x="302006" y="451117"/>
                          </a:cubicBezTo>
                          <a:cubicBezTo>
                            <a:pt x="364346" y="453261"/>
                            <a:pt x="392713" y="418132"/>
                            <a:pt x="422811" y="420276"/>
                          </a:cubicBezTo>
                          <a:cubicBezTo>
                            <a:pt x="452909" y="422420"/>
                            <a:pt x="467216" y="416153"/>
                            <a:pt x="481440" y="391415"/>
                          </a:cubicBezTo>
                          <a:cubicBezTo>
                            <a:pt x="495665" y="366677"/>
                            <a:pt x="508117" y="381107"/>
                            <a:pt x="511662" y="393477"/>
                          </a:cubicBezTo>
                          <a:cubicBezTo>
                            <a:pt x="515208" y="405846"/>
                            <a:pt x="554295" y="403743"/>
                            <a:pt x="563159" y="414092"/>
                          </a:cubicBezTo>
                          <a:cubicBezTo>
                            <a:pt x="585836" y="440314"/>
                            <a:pt x="660917" y="432604"/>
                            <a:pt x="689325" y="416153"/>
                          </a:cubicBezTo>
                          <a:cubicBezTo>
                            <a:pt x="717732" y="399702"/>
                            <a:pt x="676955" y="354308"/>
                            <a:pt x="662690" y="374923"/>
                          </a:cubicBezTo>
                          <a:cubicBezTo>
                            <a:pt x="648424" y="395538"/>
                            <a:pt x="636013" y="383169"/>
                            <a:pt x="632468" y="372861"/>
                          </a:cubicBezTo>
                          <a:cubicBezTo>
                            <a:pt x="628922" y="362554"/>
                            <a:pt x="660875" y="356328"/>
                            <a:pt x="671513" y="341938"/>
                          </a:cubicBezTo>
                          <a:close/>
                        </a:path>
                      </a:pathLst>
                    </a:custGeom>
                    <a:grpFill/>
                    <a:ln w="635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>
                      <a:defPPr>
                        <a:defRPr lang="en-US"/>
                      </a:defPPr>
                    </a:lstStyle>
                    <a:p>
                      <a:pPr marL="0" marR="0" lvl="0" indent="0" algn="l" defTabSz="1462923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 kumimoji="0" sz="2160" b="0" i="0" normalizeH="0" noProof="0">
                          <a:solidFill>
                            <a:srgbClr val="000000"/>
                          </a:solidFill>
                          <a:uLnTx/>
                          <a:uFillTx/>
                          <a:latin typeface="+mn-lt"/>
                          <a:ea typeface="+mn-ea"/>
                          <a:cs typeface="+mn-cs"/>
                        </a:defRPr>
                      </a:pPr>
                      <a:endParaRPr kumimoji="0" lang="en-US" sz="288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cs typeface="Arial" pitchFamily="34" charset="0"/>
                      </a:endParaRPr>
                    </a:p>
                  </p:txBody>
                </p:sp>
                <p:sp>
                  <p:nvSpPr>
                    <p:cNvPr id="46" name="Canada group">
                      <a:extLst>
                        <a:ext uri="{FF2B5EF4-FFF2-40B4-BE49-F238E27FC236}">
                          <a16:creationId xmlns:a16="http://schemas.microsoft.com/office/drawing/2014/main" id="{378C5D62-4F95-A53E-0115-6D965189542E}"/>
                        </a:ext>
                      </a:extLst>
                    </p:cNvPr>
                    <p:cNvSpPr/>
                    <p:nvPr>
                      <p:custDataLst>
                        <p:tags r:id="rId529"/>
                      </p:custDataLst>
                    </p:nvPr>
                  </p:nvSpPr>
                  <p:spPr>
                    <a:xfrm>
                      <a:off x="3332009" y="1068098"/>
                      <a:ext cx="113587" cy="87815"/>
                    </a:xfrm>
                    <a:custGeom>
                      <a:avLst/>
                      <a:gdLst>
                        <a:gd name="connsiteX0" fmla="*/ 53484 w 132633"/>
                        <a:gd name="connsiteY0" fmla="*/ 102497 h 102540"/>
                        <a:gd name="connsiteX1" fmla="*/ 124565 w 132633"/>
                        <a:gd name="connsiteY1" fmla="*/ 88107 h 102540"/>
                        <a:gd name="connsiteX2" fmla="*/ 128111 w 132633"/>
                        <a:gd name="connsiteY2" fmla="*/ 53103 h 102540"/>
                        <a:gd name="connsiteX3" fmla="*/ 85438 w 132633"/>
                        <a:gd name="connsiteY3" fmla="*/ 34590 h 102540"/>
                        <a:gd name="connsiteX4" fmla="*/ 1946 w 132633"/>
                        <a:gd name="connsiteY4" fmla="*/ 3709 h 102540"/>
                        <a:gd name="connsiteX5" fmla="*/ 53484 w 132633"/>
                        <a:gd name="connsiteY5" fmla="*/ 102497 h 10254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32633" h="102540">
                          <a:moveTo>
                            <a:pt x="53484" y="102497"/>
                          </a:moveTo>
                          <a:cubicBezTo>
                            <a:pt x="77950" y="103033"/>
                            <a:pt x="102231" y="98118"/>
                            <a:pt x="124565" y="88107"/>
                          </a:cubicBezTo>
                          <a:cubicBezTo>
                            <a:pt x="147654" y="77800"/>
                            <a:pt x="112196" y="77800"/>
                            <a:pt x="128111" y="53103"/>
                          </a:cubicBezTo>
                          <a:cubicBezTo>
                            <a:pt x="144026" y="28406"/>
                            <a:pt x="89025" y="26344"/>
                            <a:pt x="85438" y="34590"/>
                          </a:cubicBezTo>
                          <a:cubicBezTo>
                            <a:pt x="81851" y="42836"/>
                            <a:pt x="12625" y="-14886"/>
                            <a:pt x="1946" y="3709"/>
                          </a:cubicBezTo>
                          <a:cubicBezTo>
                            <a:pt x="-8733" y="22304"/>
                            <a:pt x="26808" y="102497"/>
                            <a:pt x="53484" y="102497"/>
                          </a:cubicBezTo>
                          <a:close/>
                        </a:path>
                      </a:pathLst>
                    </a:custGeom>
                    <a:grpFill/>
                    <a:ln w="635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>
                      <a:defPPr>
                        <a:defRPr lang="en-US"/>
                      </a:defPPr>
                    </a:lstStyle>
                    <a:p>
                      <a:pPr marL="0" marR="0" lvl="0" indent="0" algn="l" defTabSz="1462923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 kumimoji="0" sz="2160" b="0" i="0" normalizeH="0" noProof="0">
                          <a:solidFill>
                            <a:srgbClr val="000000"/>
                          </a:solidFill>
                          <a:uLnTx/>
                          <a:uFillTx/>
                          <a:latin typeface="+mn-lt"/>
                          <a:ea typeface="+mn-ea"/>
                          <a:cs typeface="+mn-cs"/>
                        </a:defRPr>
                      </a:pPr>
                      <a:endParaRPr kumimoji="0" lang="en-US" sz="288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cs typeface="Arial" pitchFamily="34" charset="0"/>
                      </a:endParaRPr>
                    </a:p>
                  </p:txBody>
                </p:sp>
                <p:sp>
                  <p:nvSpPr>
                    <p:cNvPr id="47" name="Canada group">
                      <a:extLst>
                        <a:ext uri="{FF2B5EF4-FFF2-40B4-BE49-F238E27FC236}">
                          <a16:creationId xmlns:a16="http://schemas.microsoft.com/office/drawing/2014/main" id="{C3520647-DD33-6007-C0FE-3CD73EB40471}"/>
                        </a:ext>
                      </a:extLst>
                    </p:cNvPr>
                    <p:cNvSpPr/>
                    <p:nvPr>
                      <p:custDataLst>
                        <p:tags r:id="rId530"/>
                      </p:custDataLst>
                    </p:nvPr>
                  </p:nvSpPr>
                  <p:spPr>
                    <a:xfrm>
                      <a:off x="3381916" y="843424"/>
                      <a:ext cx="393186" cy="289884"/>
                    </a:xfrm>
                    <a:custGeom>
                      <a:avLst/>
                      <a:gdLst>
                        <a:gd name="connsiteX0" fmla="*/ 419844 w 459116"/>
                        <a:gd name="connsiteY0" fmla="*/ 194068 h 338492"/>
                        <a:gd name="connsiteX1" fmla="*/ 380757 w 459116"/>
                        <a:gd name="connsiteY1" fmla="*/ 163186 h 338492"/>
                        <a:gd name="connsiteX2" fmla="*/ 362987 w 459116"/>
                        <a:gd name="connsiteY2" fmla="*/ 119976 h 338492"/>
                        <a:gd name="connsiteX3" fmla="*/ 334538 w 459116"/>
                        <a:gd name="connsiteY3" fmla="*/ 111730 h 338492"/>
                        <a:gd name="connsiteX4" fmla="*/ 297430 w 459116"/>
                        <a:gd name="connsiteY4" fmla="*/ 91115 h 338492"/>
                        <a:gd name="connsiteX5" fmla="*/ 171306 w 459116"/>
                        <a:gd name="connsiteY5" fmla="*/ 10881 h 338492"/>
                        <a:gd name="connsiteX6" fmla="*/ 158937 w 459116"/>
                        <a:gd name="connsiteY6" fmla="*/ -4 h 338492"/>
                        <a:gd name="connsiteX7" fmla="*/ 121830 w 459116"/>
                        <a:gd name="connsiteY7" fmla="*/ 10592 h 338492"/>
                        <a:gd name="connsiteX8" fmla="*/ 105338 w 459116"/>
                        <a:gd name="connsiteY8" fmla="*/ 21147 h 338492"/>
                        <a:gd name="connsiteX9" fmla="*/ 78662 w 459116"/>
                        <a:gd name="connsiteY9" fmla="*/ 39701 h 338492"/>
                        <a:gd name="connsiteX10" fmla="*/ 44935 w 459116"/>
                        <a:gd name="connsiteY10" fmla="*/ 62295 h 338492"/>
                        <a:gd name="connsiteX11" fmla="*/ 52027 w 459116"/>
                        <a:gd name="connsiteY11" fmla="*/ 113751 h 338492"/>
                        <a:gd name="connsiteX12" fmla="*/ 30711 w 459116"/>
                        <a:gd name="connsiteY12" fmla="*/ 136386 h 338492"/>
                        <a:gd name="connsiteX13" fmla="*/ 16486 w 459116"/>
                        <a:gd name="connsiteY13" fmla="*/ 161124 h 338492"/>
                        <a:gd name="connsiteX14" fmla="*/ 55573 w 459116"/>
                        <a:gd name="connsiteY14" fmla="*/ 210601 h 338492"/>
                        <a:gd name="connsiteX15" fmla="*/ 172832 w 459116"/>
                        <a:gd name="connsiteY15" fmla="*/ 214724 h 338492"/>
                        <a:gd name="connsiteX16" fmla="*/ 101792 w 459116"/>
                        <a:gd name="connsiteY16" fmla="*/ 253811 h 338492"/>
                        <a:gd name="connsiteX17" fmla="*/ 158608 w 459116"/>
                        <a:gd name="connsiteY17" fmla="*/ 303287 h 338492"/>
                        <a:gd name="connsiteX18" fmla="*/ 252778 w 459116"/>
                        <a:gd name="connsiteY18" fmla="*/ 334169 h 338492"/>
                        <a:gd name="connsiteX19" fmla="*/ 309635 w 459116"/>
                        <a:gd name="connsiteY19" fmla="*/ 332107 h 338492"/>
                        <a:gd name="connsiteX20" fmla="*/ 350494 w 459116"/>
                        <a:gd name="connsiteY20" fmla="*/ 280652 h 338492"/>
                        <a:gd name="connsiteX21" fmla="*/ 391354 w 459116"/>
                        <a:gd name="connsiteY21" fmla="*/ 241565 h 338492"/>
                        <a:gd name="connsiteX22" fmla="*/ 458889 w 459116"/>
                        <a:gd name="connsiteY22" fmla="*/ 214806 h 338492"/>
                        <a:gd name="connsiteX23" fmla="*/ 419844 w 459116"/>
                        <a:gd name="connsiteY23" fmla="*/ 194068 h 33849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</a:cxnLst>
                      <a:rect l="l" t="t" r="r" b="b"/>
                      <a:pathLst>
                        <a:path w="459116" h="338492">
                          <a:moveTo>
                            <a:pt x="419844" y="194068"/>
                          </a:moveTo>
                          <a:cubicBezTo>
                            <a:pt x="387890" y="198191"/>
                            <a:pt x="366533" y="183760"/>
                            <a:pt x="380757" y="163186"/>
                          </a:cubicBezTo>
                          <a:cubicBezTo>
                            <a:pt x="394982" y="142612"/>
                            <a:pt x="345217" y="136427"/>
                            <a:pt x="362987" y="119976"/>
                          </a:cubicBezTo>
                          <a:cubicBezTo>
                            <a:pt x="380757" y="103525"/>
                            <a:pt x="329219" y="86992"/>
                            <a:pt x="334538" y="111730"/>
                          </a:cubicBezTo>
                          <a:cubicBezTo>
                            <a:pt x="339857" y="136469"/>
                            <a:pt x="302584" y="113792"/>
                            <a:pt x="297430" y="91115"/>
                          </a:cubicBezTo>
                          <a:cubicBezTo>
                            <a:pt x="292277" y="68438"/>
                            <a:pt x="219093" y="60233"/>
                            <a:pt x="171306" y="10881"/>
                          </a:cubicBezTo>
                          <a:cubicBezTo>
                            <a:pt x="167464" y="6944"/>
                            <a:pt x="163333" y="3305"/>
                            <a:pt x="158937" y="-4"/>
                          </a:cubicBezTo>
                          <a:cubicBezTo>
                            <a:pt x="146778" y="4229"/>
                            <a:pt x="134389" y="7767"/>
                            <a:pt x="121830" y="10592"/>
                          </a:cubicBezTo>
                          <a:cubicBezTo>
                            <a:pt x="125953" y="16653"/>
                            <a:pt x="119768" y="22425"/>
                            <a:pt x="105338" y="21147"/>
                          </a:cubicBezTo>
                          <a:cubicBezTo>
                            <a:pt x="82207" y="19086"/>
                            <a:pt x="41348" y="23209"/>
                            <a:pt x="78662" y="39701"/>
                          </a:cubicBezTo>
                          <a:cubicBezTo>
                            <a:pt x="115975" y="56193"/>
                            <a:pt x="75116" y="62295"/>
                            <a:pt x="44935" y="62295"/>
                          </a:cubicBezTo>
                          <a:cubicBezTo>
                            <a:pt x="14754" y="62295"/>
                            <a:pt x="12940" y="107649"/>
                            <a:pt x="52027" y="113751"/>
                          </a:cubicBezTo>
                          <a:cubicBezTo>
                            <a:pt x="91113" y="119853"/>
                            <a:pt x="62664" y="146735"/>
                            <a:pt x="30711" y="136386"/>
                          </a:cubicBezTo>
                          <a:cubicBezTo>
                            <a:pt x="-1243" y="126037"/>
                            <a:pt x="-11963" y="144632"/>
                            <a:pt x="16486" y="161124"/>
                          </a:cubicBezTo>
                          <a:cubicBezTo>
                            <a:pt x="42668" y="176338"/>
                            <a:pt x="27124" y="196129"/>
                            <a:pt x="55573" y="210601"/>
                          </a:cubicBezTo>
                          <a:cubicBezTo>
                            <a:pt x="84022" y="225073"/>
                            <a:pt x="165740" y="192089"/>
                            <a:pt x="172832" y="214724"/>
                          </a:cubicBezTo>
                          <a:cubicBezTo>
                            <a:pt x="179924" y="237360"/>
                            <a:pt x="89340" y="239462"/>
                            <a:pt x="101792" y="253811"/>
                          </a:cubicBezTo>
                          <a:cubicBezTo>
                            <a:pt x="114244" y="268159"/>
                            <a:pt x="165740" y="290918"/>
                            <a:pt x="158608" y="303287"/>
                          </a:cubicBezTo>
                          <a:cubicBezTo>
                            <a:pt x="151475" y="315656"/>
                            <a:pt x="243913" y="350620"/>
                            <a:pt x="252778" y="334169"/>
                          </a:cubicBezTo>
                          <a:cubicBezTo>
                            <a:pt x="261642" y="317718"/>
                            <a:pt x="286546" y="321800"/>
                            <a:pt x="309635" y="332107"/>
                          </a:cubicBezTo>
                          <a:cubicBezTo>
                            <a:pt x="332724" y="342415"/>
                            <a:pt x="334373" y="268282"/>
                            <a:pt x="350494" y="280652"/>
                          </a:cubicBezTo>
                          <a:cubicBezTo>
                            <a:pt x="366615" y="293021"/>
                            <a:pt x="364719" y="253893"/>
                            <a:pt x="391354" y="241565"/>
                          </a:cubicBezTo>
                          <a:cubicBezTo>
                            <a:pt x="417988" y="229237"/>
                            <a:pt x="456415" y="229196"/>
                            <a:pt x="458889" y="214806"/>
                          </a:cubicBezTo>
                          <a:cubicBezTo>
                            <a:pt x="460703" y="204334"/>
                            <a:pt x="452045" y="189945"/>
                            <a:pt x="419844" y="194068"/>
                          </a:cubicBezTo>
                          <a:close/>
                        </a:path>
                      </a:pathLst>
                    </a:custGeom>
                    <a:grpFill/>
                    <a:ln w="635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>
                      <a:defPPr>
                        <a:defRPr lang="en-US"/>
                      </a:defPPr>
                    </a:lstStyle>
                    <a:p>
                      <a:pPr marL="0" marR="0" lvl="0" indent="0" algn="l" defTabSz="1462923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 kumimoji="0" sz="2160" b="0" i="0" normalizeH="0" noProof="0">
                          <a:solidFill>
                            <a:srgbClr val="000000"/>
                          </a:solidFill>
                          <a:uLnTx/>
                          <a:uFillTx/>
                          <a:latin typeface="+mn-lt"/>
                          <a:ea typeface="+mn-ea"/>
                          <a:cs typeface="+mn-cs"/>
                        </a:defRPr>
                      </a:pPr>
                      <a:endParaRPr kumimoji="0" lang="en-US" sz="288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cs typeface="Arial" pitchFamily="34" charset="0"/>
                      </a:endParaRPr>
                    </a:p>
                  </p:txBody>
                </p:sp>
                <p:sp>
                  <p:nvSpPr>
                    <p:cNvPr id="48" name="Canada group">
                      <a:extLst>
                        <a:ext uri="{FF2B5EF4-FFF2-40B4-BE49-F238E27FC236}">
                          <a16:creationId xmlns:a16="http://schemas.microsoft.com/office/drawing/2014/main" id="{F18DD67D-F968-D329-2E28-7EB183F3209B}"/>
                        </a:ext>
                      </a:extLst>
                    </p:cNvPr>
                    <p:cNvSpPr/>
                    <p:nvPr>
                      <p:custDataLst>
                        <p:tags r:id="rId531"/>
                      </p:custDataLst>
                    </p:nvPr>
                  </p:nvSpPr>
                  <p:spPr>
                    <a:xfrm>
                      <a:off x="2377952" y="1425571"/>
                      <a:ext cx="359204" cy="275102"/>
                    </a:xfrm>
                    <a:custGeom>
                      <a:avLst/>
                      <a:gdLst>
                        <a:gd name="connsiteX0" fmla="*/ 366204 w 419435"/>
                        <a:gd name="connsiteY0" fmla="*/ 49313 h 321231"/>
                        <a:gd name="connsiteX1" fmla="*/ 284486 w 419435"/>
                        <a:gd name="connsiteY1" fmla="*/ 39046 h 321231"/>
                        <a:gd name="connsiteX2" fmla="*/ 259747 w 419435"/>
                        <a:gd name="connsiteY2" fmla="*/ 28739 h 321231"/>
                        <a:gd name="connsiteX3" fmla="*/ 179801 w 419435"/>
                        <a:gd name="connsiteY3" fmla="*/ 1980 h 321231"/>
                        <a:gd name="connsiteX4" fmla="*/ 112183 w 419435"/>
                        <a:gd name="connsiteY4" fmla="*/ 12123 h 321231"/>
                        <a:gd name="connsiteX5" fmla="*/ 106823 w 419435"/>
                        <a:gd name="connsiteY5" fmla="*/ 39005 h 321231"/>
                        <a:gd name="connsiteX6" fmla="*/ 74829 w 419435"/>
                        <a:gd name="connsiteY6" fmla="*/ 60074 h 321231"/>
                        <a:gd name="connsiteX7" fmla="*/ 73468 w 419435"/>
                        <a:gd name="connsiteY7" fmla="*/ 61352 h 321231"/>
                        <a:gd name="connsiteX8" fmla="*/ 72396 w 419435"/>
                        <a:gd name="connsiteY8" fmla="*/ 69227 h 321231"/>
                        <a:gd name="connsiteX9" fmla="*/ 42999 w 419435"/>
                        <a:gd name="connsiteY9" fmla="*/ 137793 h 321231"/>
                        <a:gd name="connsiteX10" fmla="*/ 7458 w 419435"/>
                        <a:gd name="connsiteY10" fmla="*/ 207885 h 321231"/>
                        <a:gd name="connsiteX11" fmla="*/ 57182 w 419435"/>
                        <a:gd name="connsiteY11" fmla="*/ 247013 h 321231"/>
                        <a:gd name="connsiteX12" fmla="*/ 114080 w 419435"/>
                        <a:gd name="connsiteY12" fmla="*/ 321227 h 321231"/>
                        <a:gd name="connsiteX13" fmla="*/ 140715 w 419435"/>
                        <a:gd name="connsiteY13" fmla="*/ 300612 h 321231"/>
                        <a:gd name="connsiteX14" fmla="*/ 179801 w 419435"/>
                        <a:gd name="connsiteY14" fmla="*/ 288243 h 321231"/>
                        <a:gd name="connsiteX15" fmla="*/ 218888 w 419435"/>
                        <a:gd name="connsiteY15" fmla="*/ 253238 h 321231"/>
                        <a:gd name="connsiteX16" fmla="*/ 256201 w 419435"/>
                        <a:gd name="connsiteY16" fmla="*/ 207885 h 321231"/>
                        <a:gd name="connsiteX17" fmla="*/ 288196 w 419435"/>
                        <a:gd name="connsiteY17" fmla="*/ 162531 h 321231"/>
                        <a:gd name="connsiteX18" fmla="*/ 416011 w 419435"/>
                        <a:gd name="connsiteY18" fmla="*/ 100686 h 321231"/>
                        <a:gd name="connsiteX19" fmla="*/ 366204 w 419435"/>
                        <a:gd name="connsiteY19" fmla="*/ 49313 h 32123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</a:cxnLst>
                      <a:rect l="l" t="t" r="r" b="b"/>
                      <a:pathLst>
                        <a:path w="419435" h="321231">
                          <a:moveTo>
                            <a:pt x="366204" y="49313"/>
                          </a:moveTo>
                          <a:cubicBezTo>
                            <a:pt x="334209" y="26677"/>
                            <a:pt x="309347" y="20451"/>
                            <a:pt x="284486" y="39046"/>
                          </a:cubicBezTo>
                          <a:cubicBezTo>
                            <a:pt x="259624" y="57641"/>
                            <a:pt x="279126" y="18431"/>
                            <a:pt x="259747" y="28739"/>
                          </a:cubicBezTo>
                          <a:cubicBezTo>
                            <a:pt x="240369" y="39046"/>
                            <a:pt x="186893" y="12246"/>
                            <a:pt x="179801" y="1980"/>
                          </a:cubicBezTo>
                          <a:cubicBezTo>
                            <a:pt x="175678" y="-3792"/>
                            <a:pt x="143642" y="4083"/>
                            <a:pt x="112183" y="12123"/>
                          </a:cubicBezTo>
                          <a:cubicBezTo>
                            <a:pt x="113086" y="21416"/>
                            <a:pt x="111219" y="30767"/>
                            <a:pt x="106823" y="39005"/>
                          </a:cubicBezTo>
                          <a:cubicBezTo>
                            <a:pt x="100309" y="50896"/>
                            <a:pt x="88328" y="58787"/>
                            <a:pt x="74829" y="60074"/>
                          </a:cubicBezTo>
                          <a:cubicBezTo>
                            <a:pt x="74334" y="62836"/>
                            <a:pt x="73262" y="66176"/>
                            <a:pt x="73468" y="61352"/>
                          </a:cubicBezTo>
                          <a:cubicBezTo>
                            <a:pt x="73324" y="64003"/>
                            <a:pt x="72965" y="66633"/>
                            <a:pt x="72396" y="69227"/>
                          </a:cubicBezTo>
                          <a:cubicBezTo>
                            <a:pt x="84147" y="84853"/>
                            <a:pt x="32650" y="127815"/>
                            <a:pt x="42999" y="137793"/>
                          </a:cubicBezTo>
                          <a:cubicBezTo>
                            <a:pt x="53348" y="147771"/>
                            <a:pt x="32320" y="174900"/>
                            <a:pt x="7458" y="207885"/>
                          </a:cubicBezTo>
                          <a:cubicBezTo>
                            <a:pt x="-17404" y="240869"/>
                            <a:pt x="25228" y="238766"/>
                            <a:pt x="57182" y="247013"/>
                          </a:cubicBezTo>
                          <a:cubicBezTo>
                            <a:pt x="89136" y="255259"/>
                            <a:pt x="92640" y="321227"/>
                            <a:pt x="114080" y="321227"/>
                          </a:cubicBezTo>
                          <a:cubicBezTo>
                            <a:pt x="128263" y="321227"/>
                            <a:pt x="117626" y="300612"/>
                            <a:pt x="140715" y="300612"/>
                          </a:cubicBezTo>
                          <a:cubicBezTo>
                            <a:pt x="163804" y="300612"/>
                            <a:pt x="158485" y="286223"/>
                            <a:pt x="179801" y="288243"/>
                          </a:cubicBezTo>
                          <a:cubicBezTo>
                            <a:pt x="201118" y="290263"/>
                            <a:pt x="218888" y="282058"/>
                            <a:pt x="218888" y="253238"/>
                          </a:cubicBezTo>
                          <a:cubicBezTo>
                            <a:pt x="218888" y="224418"/>
                            <a:pt x="234885" y="214152"/>
                            <a:pt x="256201" y="207885"/>
                          </a:cubicBezTo>
                          <a:cubicBezTo>
                            <a:pt x="277518" y="201618"/>
                            <a:pt x="257974" y="170777"/>
                            <a:pt x="288196" y="162531"/>
                          </a:cubicBezTo>
                          <a:cubicBezTo>
                            <a:pt x="318418" y="154285"/>
                            <a:pt x="401910" y="113055"/>
                            <a:pt x="416011" y="100686"/>
                          </a:cubicBezTo>
                          <a:cubicBezTo>
                            <a:pt x="430111" y="88317"/>
                            <a:pt x="398158" y="71948"/>
                            <a:pt x="366204" y="49313"/>
                          </a:cubicBezTo>
                          <a:close/>
                        </a:path>
                      </a:pathLst>
                    </a:custGeom>
                    <a:grpFill/>
                    <a:ln w="635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>
                      <a:defPPr>
                        <a:defRPr lang="en-US"/>
                      </a:defPPr>
                    </a:lstStyle>
                    <a:p>
                      <a:pPr marL="0" marR="0" lvl="0" indent="0" algn="l" defTabSz="1462923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 kumimoji="0" sz="2160" b="0" i="0" normalizeH="0" noProof="0">
                          <a:solidFill>
                            <a:srgbClr val="000000"/>
                          </a:solidFill>
                          <a:uLnTx/>
                          <a:uFillTx/>
                          <a:latin typeface="+mn-lt"/>
                          <a:ea typeface="+mn-ea"/>
                          <a:cs typeface="+mn-cs"/>
                        </a:defRPr>
                      </a:pPr>
                      <a:endParaRPr kumimoji="0" lang="en-US" sz="288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cs typeface="Arial" pitchFamily="34" charset="0"/>
                      </a:endParaRPr>
                    </a:p>
                  </p:txBody>
                </p:sp>
                <p:sp>
                  <p:nvSpPr>
                    <p:cNvPr id="49" name="Canada group">
                      <a:extLst>
                        <a:ext uri="{FF2B5EF4-FFF2-40B4-BE49-F238E27FC236}">
                          <a16:creationId xmlns:a16="http://schemas.microsoft.com/office/drawing/2014/main" id="{69F6FEAE-A295-0381-F47C-D85B844DDEA8}"/>
                        </a:ext>
                      </a:extLst>
                    </p:cNvPr>
                    <p:cNvSpPr/>
                    <p:nvPr>
                      <p:custDataLst>
                        <p:tags r:id="rId532"/>
                      </p:custDataLst>
                    </p:nvPr>
                  </p:nvSpPr>
                  <p:spPr>
                    <a:xfrm>
                      <a:off x="3113862" y="1241559"/>
                      <a:ext cx="247025" cy="156530"/>
                    </a:xfrm>
                    <a:custGeom>
                      <a:avLst/>
                      <a:gdLst>
                        <a:gd name="connsiteX0" fmla="*/ 233584 w 288446"/>
                        <a:gd name="connsiteY0" fmla="*/ 21373 h 182778"/>
                        <a:gd name="connsiteX1" fmla="*/ 158957 w 288446"/>
                        <a:gd name="connsiteY1" fmla="*/ 2860 h 182778"/>
                        <a:gd name="connsiteX2" fmla="*/ 171326 w 288446"/>
                        <a:gd name="connsiteY2" fmla="*/ 56460 h 182778"/>
                        <a:gd name="connsiteX3" fmla="*/ 125107 w 288446"/>
                        <a:gd name="connsiteY3" fmla="*/ 42070 h 182778"/>
                        <a:gd name="connsiteX4" fmla="*/ 110883 w 288446"/>
                        <a:gd name="connsiteY4" fmla="*/ 75055 h 182778"/>
                        <a:gd name="connsiteX5" fmla="*/ 86144 w 288446"/>
                        <a:gd name="connsiteY5" fmla="*/ 77075 h 182778"/>
                        <a:gd name="connsiteX6" fmla="*/ 20423 w 288446"/>
                        <a:gd name="connsiteY6" fmla="*/ 6983 h 182778"/>
                        <a:gd name="connsiteX7" fmla="*/ 15063 w 288446"/>
                        <a:gd name="connsiteY7" fmla="*/ 64706 h 182778"/>
                        <a:gd name="connsiteX8" fmla="*/ 79053 w 288446"/>
                        <a:gd name="connsiteY8" fmla="*/ 116161 h 182778"/>
                        <a:gd name="connsiteX9" fmla="*/ 174996 w 288446"/>
                        <a:gd name="connsiteY9" fmla="*/ 114100 h 182778"/>
                        <a:gd name="connsiteX10" fmla="*/ 166090 w 288446"/>
                        <a:gd name="connsiteY10" fmla="*/ 171823 h 182778"/>
                        <a:gd name="connsiteX11" fmla="*/ 249582 w 288446"/>
                        <a:gd name="connsiteY11" fmla="*/ 175946 h 182778"/>
                        <a:gd name="connsiteX12" fmla="*/ 283350 w 288446"/>
                        <a:gd name="connsiteY12" fmla="*/ 138838 h 182778"/>
                        <a:gd name="connsiteX13" fmla="*/ 279804 w 288446"/>
                        <a:gd name="connsiteY13" fmla="*/ 91506 h 182778"/>
                        <a:gd name="connsiteX14" fmla="*/ 233584 w 288446"/>
                        <a:gd name="connsiteY14" fmla="*/ 21373 h 18277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</a:cxnLst>
                      <a:rect l="l" t="t" r="r" b="b"/>
                      <a:pathLst>
                        <a:path w="288446" h="182778">
                          <a:moveTo>
                            <a:pt x="233584" y="21373"/>
                          </a:moveTo>
                          <a:cubicBezTo>
                            <a:pt x="231811" y="41988"/>
                            <a:pt x="190952" y="17250"/>
                            <a:pt x="158957" y="2860"/>
                          </a:cubicBezTo>
                          <a:cubicBezTo>
                            <a:pt x="126962" y="-11529"/>
                            <a:pt x="146588" y="31721"/>
                            <a:pt x="171326" y="56460"/>
                          </a:cubicBezTo>
                          <a:cubicBezTo>
                            <a:pt x="196065" y="81198"/>
                            <a:pt x="158957" y="68829"/>
                            <a:pt x="125107" y="42070"/>
                          </a:cubicBezTo>
                          <a:cubicBezTo>
                            <a:pt x="91257" y="15312"/>
                            <a:pt x="94885" y="60583"/>
                            <a:pt x="110883" y="75055"/>
                          </a:cubicBezTo>
                          <a:cubicBezTo>
                            <a:pt x="126880" y="89527"/>
                            <a:pt x="107337" y="110018"/>
                            <a:pt x="86144" y="77075"/>
                          </a:cubicBezTo>
                          <a:cubicBezTo>
                            <a:pt x="64952" y="44132"/>
                            <a:pt x="54191" y="9168"/>
                            <a:pt x="20423" y="6983"/>
                          </a:cubicBezTo>
                          <a:cubicBezTo>
                            <a:pt x="-13345" y="4798"/>
                            <a:pt x="2034" y="44956"/>
                            <a:pt x="15063" y="64706"/>
                          </a:cubicBezTo>
                          <a:cubicBezTo>
                            <a:pt x="32833" y="91464"/>
                            <a:pt x="50604" y="97690"/>
                            <a:pt x="79053" y="116161"/>
                          </a:cubicBezTo>
                          <a:cubicBezTo>
                            <a:pt x="107502" y="134633"/>
                            <a:pt x="153680" y="107915"/>
                            <a:pt x="174996" y="114100"/>
                          </a:cubicBezTo>
                          <a:cubicBezTo>
                            <a:pt x="196312" y="120284"/>
                            <a:pt x="151866" y="151207"/>
                            <a:pt x="166090" y="171823"/>
                          </a:cubicBezTo>
                          <a:cubicBezTo>
                            <a:pt x="180315" y="192438"/>
                            <a:pt x="219401" y="178007"/>
                            <a:pt x="249582" y="175946"/>
                          </a:cubicBezTo>
                          <a:cubicBezTo>
                            <a:pt x="279763" y="173884"/>
                            <a:pt x="265579" y="153310"/>
                            <a:pt x="283350" y="138838"/>
                          </a:cubicBezTo>
                          <a:cubicBezTo>
                            <a:pt x="301120" y="124366"/>
                            <a:pt x="265579" y="126469"/>
                            <a:pt x="279804" y="91506"/>
                          </a:cubicBezTo>
                          <a:cubicBezTo>
                            <a:pt x="294028" y="56542"/>
                            <a:pt x="235357" y="799"/>
                            <a:pt x="233584" y="21373"/>
                          </a:cubicBezTo>
                          <a:close/>
                        </a:path>
                      </a:pathLst>
                    </a:custGeom>
                    <a:grpFill/>
                    <a:ln w="635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>
                      <a:defPPr>
                        <a:defRPr lang="en-US"/>
                      </a:defPPr>
                    </a:lstStyle>
                    <a:p>
                      <a:pPr marL="0" marR="0" lvl="0" indent="0" algn="l" defTabSz="1462923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 kumimoji="0" sz="2160" b="0" i="0" normalizeH="0" noProof="0">
                          <a:solidFill>
                            <a:srgbClr val="000000"/>
                          </a:solidFill>
                          <a:uLnTx/>
                          <a:uFillTx/>
                          <a:latin typeface="+mn-lt"/>
                          <a:ea typeface="+mn-ea"/>
                          <a:cs typeface="+mn-cs"/>
                        </a:defRPr>
                      </a:pPr>
                      <a:endParaRPr kumimoji="0" lang="en-US" sz="288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cs typeface="Arial" pitchFamily="34" charset="0"/>
                      </a:endParaRPr>
                    </a:p>
                  </p:txBody>
                </p:sp>
                <p:sp>
                  <p:nvSpPr>
                    <p:cNvPr id="50" name="Canada group">
                      <a:extLst>
                        <a:ext uri="{FF2B5EF4-FFF2-40B4-BE49-F238E27FC236}">
                          <a16:creationId xmlns:a16="http://schemas.microsoft.com/office/drawing/2014/main" id="{CF035540-FD38-4DE5-DCE7-025ED97BE9BE}"/>
                        </a:ext>
                      </a:extLst>
                    </p:cNvPr>
                    <p:cNvSpPr/>
                    <p:nvPr>
                      <p:custDataLst>
                        <p:tags r:id="rId533"/>
                      </p:custDataLst>
                    </p:nvPr>
                  </p:nvSpPr>
                  <p:spPr>
                    <a:xfrm>
                      <a:off x="1848903" y="1457572"/>
                      <a:ext cx="2948774" cy="1916390"/>
                    </a:xfrm>
                    <a:custGeom>
                      <a:avLst/>
                      <a:gdLst>
                        <a:gd name="connsiteX0" fmla="*/ 3431447 w 3443226"/>
                        <a:gd name="connsiteY0" fmla="*/ 1634527 h 2237732"/>
                        <a:gd name="connsiteX1" fmla="*/ 3419903 w 3443226"/>
                        <a:gd name="connsiteY1" fmla="*/ 1621168 h 2237732"/>
                        <a:gd name="connsiteX2" fmla="*/ 3440229 w 3443226"/>
                        <a:gd name="connsiteY2" fmla="*/ 1603851 h 2237732"/>
                        <a:gd name="connsiteX3" fmla="*/ 3421964 w 3443226"/>
                        <a:gd name="connsiteY3" fmla="*/ 1585834 h 2237732"/>
                        <a:gd name="connsiteX4" fmla="*/ 3416192 w 3443226"/>
                        <a:gd name="connsiteY4" fmla="*/ 1563569 h 2237732"/>
                        <a:gd name="connsiteX5" fmla="*/ 3406008 w 3443226"/>
                        <a:gd name="connsiteY5" fmla="*/ 1548726 h 2237732"/>
                        <a:gd name="connsiteX6" fmla="*/ 3379909 w 3443226"/>
                        <a:gd name="connsiteY6" fmla="*/ 1563528 h 2237732"/>
                        <a:gd name="connsiteX7" fmla="*/ 3377229 w 3443226"/>
                        <a:gd name="connsiteY7" fmla="*/ 1526421 h 2237732"/>
                        <a:gd name="connsiteX8" fmla="*/ 3315053 w 3443226"/>
                        <a:gd name="connsiteY8" fmla="*/ 1543902 h 2237732"/>
                        <a:gd name="connsiteX9" fmla="*/ 3276833 w 3443226"/>
                        <a:gd name="connsiteY9" fmla="*/ 1563446 h 2237732"/>
                        <a:gd name="connsiteX10" fmla="*/ 3267102 w 3443226"/>
                        <a:gd name="connsiteY10" fmla="*/ 1544933 h 2237732"/>
                        <a:gd name="connsiteX11" fmla="*/ 3290191 w 3443226"/>
                        <a:gd name="connsiteY11" fmla="*/ 1533636 h 2237732"/>
                        <a:gd name="connsiteX12" fmla="*/ 3326598 w 3443226"/>
                        <a:gd name="connsiteY12" fmla="*/ 1518175 h 2237732"/>
                        <a:gd name="connsiteX13" fmla="*/ 3365272 w 3443226"/>
                        <a:gd name="connsiteY13" fmla="*/ 1503785 h 2237732"/>
                        <a:gd name="connsiteX14" fmla="*/ 3358634 w 3443226"/>
                        <a:gd name="connsiteY14" fmla="*/ 1492323 h 2237732"/>
                        <a:gd name="connsiteX15" fmla="*/ 3357933 w 3443226"/>
                        <a:gd name="connsiteY15" fmla="*/ 1490756 h 2237732"/>
                        <a:gd name="connsiteX16" fmla="*/ 3346224 w 3443226"/>
                        <a:gd name="connsiteY16" fmla="*/ 1478758 h 2237732"/>
                        <a:gd name="connsiteX17" fmla="*/ 3338472 w 3443226"/>
                        <a:gd name="connsiteY17" fmla="*/ 1479624 h 2237732"/>
                        <a:gd name="connsiteX18" fmla="*/ 3336287 w 3443226"/>
                        <a:gd name="connsiteY18" fmla="*/ 1479624 h 2237732"/>
                        <a:gd name="connsiteX19" fmla="*/ 3318228 w 3443226"/>
                        <a:gd name="connsiteY19" fmla="*/ 1475336 h 2237732"/>
                        <a:gd name="connsiteX20" fmla="*/ 3295881 w 3443226"/>
                        <a:gd name="connsiteY20" fmla="*/ 1481933 h 2237732"/>
                        <a:gd name="connsiteX21" fmla="*/ 3264999 w 3443226"/>
                        <a:gd name="connsiteY21" fmla="*/ 1468739 h 2237732"/>
                        <a:gd name="connsiteX22" fmla="*/ 3258156 w 3443226"/>
                        <a:gd name="connsiteY22" fmla="*/ 1459339 h 2237732"/>
                        <a:gd name="connsiteX23" fmla="*/ 3256548 w 3443226"/>
                        <a:gd name="connsiteY23" fmla="*/ 1459339 h 2237732"/>
                        <a:gd name="connsiteX24" fmla="*/ 3221254 w 3443226"/>
                        <a:gd name="connsiteY24" fmla="*/ 1440002 h 2237732"/>
                        <a:gd name="connsiteX25" fmla="*/ 3201464 w 3443226"/>
                        <a:gd name="connsiteY25" fmla="*/ 1415263 h 2237732"/>
                        <a:gd name="connsiteX26" fmla="*/ 3201464 w 3443226"/>
                        <a:gd name="connsiteY26" fmla="*/ 1415263 h 2237732"/>
                        <a:gd name="connsiteX27" fmla="*/ 3199649 w 3443226"/>
                        <a:gd name="connsiteY27" fmla="*/ 1407430 h 2237732"/>
                        <a:gd name="connsiteX28" fmla="*/ 3199649 w 3443226"/>
                        <a:gd name="connsiteY28" fmla="*/ 1407430 h 2237732"/>
                        <a:gd name="connsiteX29" fmla="*/ 3199072 w 3443226"/>
                        <a:gd name="connsiteY29" fmla="*/ 1399472 h 2237732"/>
                        <a:gd name="connsiteX30" fmla="*/ 3199072 w 3443226"/>
                        <a:gd name="connsiteY30" fmla="*/ 1399184 h 2237732"/>
                        <a:gd name="connsiteX31" fmla="*/ 3199732 w 3443226"/>
                        <a:gd name="connsiteY31" fmla="*/ 1391267 h 2237732"/>
                        <a:gd name="connsiteX32" fmla="*/ 3199732 w 3443226"/>
                        <a:gd name="connsiteY32" fmla="*/ 1391020 h 2237732"/>
                        <a:gd name="connsiteX33" fmla="*/ 3201628 w 3443226"/>
                        <a:gd name="connsiteY33" fmla="*/ 1383268 h 2237732"/>
                        <a:gd name="connsiteX34" fmla="*/ 3176395 w 3443226"/>
                        <a:gd name="connsiteY34" fmla="*/ 1369209 h 2237732"/>
                        <a:gd name="connsiteX35" fmla="*/ 3180848 w 3443226"/>
                        <a:gd name="connsiteY35" fmla="*/ 1356840 h 2237732"/>
                        <a:gd name="connsiteX36" fmla="*/ 3212802 w 3443226"/>
                        <a:gd name="connsiteY36" fmla="*/ 1336225 h 2237732"/>
                        <a:gd name="connsiteX37" fmla="*/ 3196805 w 3443226"/>
                        <a:gd name="connsiteY37" fmla="*/ 1315609 h 2237732"/>
                        <a:gd name="connsiteX38" fmla="*/ 3190537 w 3443226"/>
                        <a:gd name="connsiteY38" fmla="*/ 1302333 h 2237732"/>
                        <a:gd name="connsiteX39" fmla="*/ 3173262 w 3443226"/>
                        <a:gd name="connsiteY39" fmla="*/ 1289139 h 2237732"/>
                        <a:gd name="connsiteX40" fmla="*/ 3158955 w 3443226"/>
                        <a:gd name="connsiteY40" fmla="*/ 1279491 h 2237732"/>
                        <a:gd name="connsiteX41" fmla="*/ 3151698 w 3443226"/>
                        <a:gd name="connsiteY41" fmla="*/ 1269225 h 2237732"/>
                        <a:gd name="connsiteX42" fmla="*/ 3150338 w 3443226"/>
                        <a:gd name="connsiteY42" fmla="*/ 1268524 h 2237732"/>
                        <a:gd name="connsiteX43" fmla="*/ 3137969 w 3443226"/>
                        <a:gd name="connsiteY43" fmla="*/ 1256897 h 2237732"/>
                        <a:gd name="connsiteX44" fmla="*/ 3130918 w 3443226"/>
                        <a:gd name="connsiteY44" fmla="*/ 1243786 h 2237732"/>
                        <a:gd name="connsiteX45" fmla="*/ 3126795 w 3443226"/>
                        <a:gd name="connsiteY45" fmla="*/ 1233684 h 2237732"/>
                        <a:gd name="connsiteX46" fmla="*/ 3125352 w 3443226"/>
                        <a:gd name="connsiteY46" fmla="*/ 1222923 h 2237732"/>
                        <a:gd name="connsiteX47" fmla="*/ 3119745 w 3443226"/>
                        <a:gd name="connsiteY47" fmla="*/ 1201442 h 2237732"/>
                        <a:gd name="connsiteX48" fmla="*/ 3119745 w 3443226"/>
                        <a:gd name="connsiteY48" fmla="*/ 1200824 h 2237732"/>
                        <a:gd name="connsiteX49" fmla="*/ 3116982 w 3443226"/>
                        <a:gd name="connsiteY49" fmla="*/ 1197154 h 2237732"/>
                        <a:gd name="connsiteX50" fmla="*/ 3111004 w 3443226"/>
                        <a:gd name="connsiteY50" fmla="*/ 1180662 h 2237732"/>
                        <a:gd name="connsiteX51" fmla="*/ 3095048 w 3443226"/>
                        <a:gd name="connsiteY51" fmla="*/ 1117497 h 2237732"/>
                        <a:gd name="connsiteX52" fmla="*/ 3087338 w 3443226"/>
                        <a:gd name="connsiteY52" fmla="*/ 1101664 h 2237732"/>
                        <a:gd name="connsiteX53" fmla="*/ 3069567 w 3443226"/>
                        <a:gd name="connsiteY53" fmla="*/ 1117085 h 2237732"/>
                        <a:gd name="connsiteX54" fmla="*/ 3050890 w 3443226"/>
                        <a:gd name="connsiteY54" fmla="*/ 1148997 h 2237732"/>
                        <a:gd name="connsiteX55" fmla="*/ 3045571 w 3443226"/>
                        <a:gd name="connsiteY55" fmla="*/ 1176786 h 2237732"/>
                        <a:gd name="connsiteX56" fmla="*/ 3037614 w 3443226"/>
                        <a:gd name="connsiteY56" fmla="*/ 1202514 h 2237732"/>
                        <a:gd name="connsiteX57" fmla="*/ 3023389 w 3443226"/>
                        <a:gd name="connsiteY57" fmla="*/ 1219996 h 2237732"/>
                        <a:gd name="connsiteX58" fmla="*/ 2999393 w 3443226"/>
                        <a:gd name="connsiteY58" fmla="*/ 1224119 h 2237732"/>
                        <a:gd name="connsiteX59" fmla="*/ 2959441 w 3443226"/>
                        <a:gd name="connsiteY59" fmla="*/ 1250919 h 2237732"/>
                        <a:gd name="connsiteX60" fmla="*/ 2938083 w 3443226"/>
                        <a:gd name="connsiteY60" fmla="*/ 1230303 h 2237732"/>
                        <a:gd name="connsiteX61" fmla="*/ 2914994 w 3443226"/>
                        <a:gd name="connsiteY61" fmla="*/ 1207709 h 2237732"/>
                        <a:gd name="connsiteX62" fmla="*/ 2893678 w 3443226"/>
                        <a:gd name="connsiteY62" fmla="*/ 1191217 h 2237732"/>
                        <a:gd name="connsiteX63" fmla="*/ 2875908 w 3443226"/>
                        <a:gd name="connsiteY63" fmla="*/ 1162644 h 2237732"/>
                        <a:gd name="connsiteX64" fmla="*/ 2867950 w 3443226"/>
                        <a:gd name="connsiteY64" fmla="*/ 1152584 h 2237732"/>
                        <a:gd name="connsiteX65" fmla="*/ 2863580 w 3443226"/>
                        <a:gd name="connsiteY65" fmla="*/ 1117827 h 2237732"/>
                        <a:gd name="connsiteX66" fmla="*/ 2870218 w 3443226"/>
                        <a:gd name="connsiteY66" fmla="*/ 1103932 h 2237732"/>
                        <a:gd name="connsiteX67" fmla="*/ 2870836 w 3443226"/>
                        <a:gd name="connsiteY67" fmla="*/ 1099809 h 2237732"/>
                        <a:gd name="connsiteX68" fmla="*/ 2874712 w 3443226"/>
                        <a:gd name="connsiteY68" fmla="*/ 1090285 h 2237732"/>
                        <a:gd name="connsiteX69" fmla="*/ 2875248 w 3443226"/>
                        <a:gd name="connsiteY69" fmla="*/ 1089336 h 2237732"/>
                        <a:gd name="connsiteX70" fmla="*/ 2886586 w 3443226"/>
                        <a:gd name="connsiteY70" fmla="*/ 1067773 h 2237732"/>
                        <a:gd name="connsiteX71" fmla="*/ 2885803 w 3443226"/>
                        <a:gd name="connsiteY71" fmla="*/ 1063856 h 2237732"/>
                        <a:gd name="connsiteX72" fmla="*/ 2879495 w 3443226"/>
                        <a:gd name="connsiteY72" fmla="*/ 1063856 h 2237732"/>
                        <a:gd name="connsiteX73" fmla="*/ 2870919 w 3443226"/>
                        <a:gd name="connsiteY73" fmla="*/ 1062289 h 2237732"/>
                        <a:gd name="connsiteX74" fmla="*/ 2865229 w 3443226"/>
                        <a:gd name="connsiteY74" fmla="*/ 1065835 h 2237732"/>
                        <a:gd name="connsiteX75" fmla="*/ 2858096 w 3443226"/>
                        <a:gd name="connsiteY75" fmla="*/ 1067113 h 2237732"/>
                        <a:gd name="connsiteX76" fmla="*/ 2851788 w 3443226"/>
                        <a:gd name="connsiteY76" fmla="*/ 1069752 h 2237732"/>
                        <a:gd name="connsiteX77" fmla="*/ 2818103 w 3443226"/>
                        <a:gd name="connsiteY77" fmla="*/ 1065217 h 2237732"/>
                        <a:gd name="connsiteX78" fmla="*/ 2817361 w 3443226"/>
                        <a:gd name="connsiteY78" fmla="*/ 1064639 h 2237732"/>
                        <a:gd name="connsiteX79" fmla="*/ 2809568 w 3443226"/>
                        <a:gd name="connsiteY79" fmla="*/ 1065340 h 2237732"/>
                        <a:gd name="connsiteX80" fmla="*/ 2774811 w 3443226"/>
                        <a:gd name="connsiteY80" fmla="*/ 1046952 h 2237732"/>
                        <a:gd name="connsiteX81" fmla="*/ 2737703 w 3443226"/>
                        <a:gd name="connsiteY81" fmla="*/ 1011328 h 2237732"/>
                        <a:gd name="connsiteX82" fmla="*/ 2727767 w 3443226"/>
                        <a:gd name="connsiteY82" fmla="*/ 1004072 h 2237732"/>
                        <a:gd name="connsiteX83" fmla="*/ 2727478 w 3443226"/>
                        <a:gd name="connsiteY83" fmla="*/ 1003742 h 2237732"/>
                        <a:gd name="connsiteX84" fmla="*/ 2686247 w 3443226"/>
                        <a:gd name="connsiteY84" fmla="*/ 964820 h 2237732"/>
                        <a:gd name="connsiteX85" fmla="*/ 2671611 w 3443226"/>
                        <a:gd name="connsiteY85" fmla="*/ 973067 h 2237732"/>
                        <a:gd name="connsiteX86" fmla="*/ 2635204 w 3443226"/>
                        <a:gd name="connsiteY86" fmla="*/ 965851 h 2237732"/>
                        <a:gd name="connsiteX87" fmla="*/ 2603210 w 3443226"/>
                        <a:gd name="connsiteY87" fmla="*/ 953482 h 2237732"/>
                        <a:gd name="connsiteX88" fmla="*/ 2549899 w 3443226"/>
                        <a:gd name="connsiteY88" fmla="*/ 953482 h 2237732"/>
                        <a:gd name="connsiteX89" fmla="*/ 2533035 w 3443226"/>
                        <a:gd name="connsiteY89" fmla="*/ 987415 h 2237732"/>
                        <a:gd name="connsiteX90" fmla="*/ 2558804 w 3443226"/>
                        <a:gd name="connsiteY90" fmla="*/ 1019327 h 2237732"/>
                        <a:gd name="connsiteX91" fmla="*/ 2549033 w 3443226"/>
                        <a:gd name="connsiteY91" fmla="*/ 1041963 h 2237732"/>
                        <a:gd name="connsiteX92" fmla="*/ 2536663 w 3443226"/>
                        <a:gd name="connsiteY92" fmla="*/ 1063567 h 2237732"/>
                        <a:gd name="connsiteX93" fmla="*/ 2549033 w 3443226"/>
                        <a:gd name="connsiteY93" fmla="*/ 1089295 h 2237732"/>
                        <a:gd name="connsiteX94" fmla="*/ 2565030 w 3443226"/>
                        <a:gd name="connsiteY94" fmla="*/ 1131433 h 2237732"/>
                        <a:gd name="connsiteX95" fmla="*/ 2549033 w 3443226"/>
                        <a:gd name="connsiteY95" fmla="*/ 1154110 h 2237732"/>
                        <a:gd name="connsiteX96" fmla="*/ 2540003 w 3443226"/>
                        <a:gd name="connsiteY96" fmla="*/ 1182188 h 2237732"/>
                        <a:gd name="connsiteX97" fmla="*/ 2571792 w 3443226"/>
                        <a:gd name="connsiteY97" fmla="*/ 1249847 h 2237732"/>
                        <a:gd name="connsiteX98" fmla="*/ 2579007 w 3443226"/>
                        <a:gd name="connsiteY98" fmla="*/ 1276935 h 2237732"/>
                        <a:gd name="connsiteX99" fmla="*/ 2584573 w 3443226"/>
                        <a:gd name="connsiteY99" fmla="*/ 1285800 h 2237732"/>
                        <a:gd name="connsiteX100" fmla="*/ 2593438 w 3443226"/>
                        <a:gd name="connsiteY100" fmla="*/ 1387680 h 2237732"/>
                        <a:gd name="connsiteX101" fmla="*/ 2536581 w 3443226"/>
                        <a:gd name="connsiteY101" fmla="*/ 1452494 h 2237732"/>
                        <a:gd name="connsiteX102" fmla="*/ 2480631 w 3443226"/>
                        <a:gd name="connsiteY102" fmla="*/ 1476161 h 2237732"/>
                        <a:gd name="connsiteX103" fmla="*/ 2491269 w 3443226"/>
                        <a:gd name="connsiteY103" fmla="*/ 1521514 h 2237732"/>
                        <a:gd name="connsiteX104" fmla="*/ 2501948 w 3443226"/>
                        <a:gd name="connsiteY104" fmla="*/ 1567816 h 2237732"/>
                        <a:gd name="connsiteX105" fmla="*/ 2513492 w 3443226"/>
                        <a:gd name="connsiteY105" fmla="*/ 1623395 h 2237732"/>
                        <a:gd name="connsiteX106" fmla="*/ 2504627 w 3443226"/>
                        <a:gd name="connsiteY106" fmla="*/ 1662481 h 2237732"/>
                        <a:gd name="connsiteX107" fmla="*/ 2510812 w 3443226"/>
                        <a:gd name="connsiteY107" fmla="*/ 1686147 h 2237732"/>
                        <a:gd name="connsiteX108" fmla="*/ 2493042 w 3443226"/>
                        <a:gd name="connsiteY108" fmla="*/ 1684086 h 2237732"/>
                        <a:gd name="connsiteX109" fmla="*/ 2470860 w 3443226"/>
                        <a:gd name="connsiteY109" fmla="*/ 1712947 h 2237732"/>
                        <a:gd name="connsiteX110" fmla="*/ 2437092 w 3443226"/>
                        <a:gd name="connsiteY110" fmla="*/ 1698558 h 2237732"/>
                        <a:gd name="connsiteX111" fmla="*/ 2422868 w 3443226"/>
                        <a:gd name="connsiteY111" fmla="*/ 1666687 h 2237732"/>
                        <a:gd name="connsiteX112" fmla="*/ 2394666 w 3443226"/>
                        <a:gd name="connsiteY112" fmla="*/ 1634527 h 2237732"/>
                        <a:gd name="connsiteX113" fmla="*/ 2367124 w 3443226"/>
                        <a:gd name="connsiteY113" fmla="*/ 1593296 h 2237732"/>
                        <a:gd name="connsiteX114" fmla="*/ 2364444 w 3443226"/>
                        <a:gd name="connsiteY114" fmla="*/ 1522298 h 2237732"/>
                        <a:gd name="connsiteX115" fmla="*/ 2368897 w 3443226"/>
                        <a:gd name="connsiteY115" fmla="*/ 1485190 h 2237732"/>
                        <a:gd name="connsiteX116" fmla="*/ 2346673 w 3443226"/>
                        <a:gd name="connsiteY116" fmla="*/ 1456329 h 2237732"/>
                        <a:gd name="connsiteX117" fmla="*/ 2286271 w 3443226"/>
                        <a:gd name="connsiteY117" fmla="*/ 1452206 h 2237732"/>
                        <a:gd name="connsiteX118" fmla="*/ 2253823 w 3443226"/>
                        <a:gd name="connsiteY118" fmla="*/ 1449072 h 2237732"/>
                        <a:gd name="connsiteX119" fmla="*/ 2241124 w 3443226"/>
                        <a:gd name="connsiteY119" fmla="*/ 1446681 h 2237732"/>
                        <a:gd name="connsiteX120" fmla="*/ 2210159 w 3443226"/>
                        <a:gd name="connsiteY120" fmla="*/ 1424293 h 2237732"/>
                        <a:gd name="connsiteX121" fmla="*/ 2208675 w 3443226"/>
                        <a:gd name="connsiteY121" fmla="*/ 1424293 h 2237732"/>
                        <a:gd name="connsiteX122" fmla="*/ 2162167 w 3443226"/>
                        <a:gd name="connsiteY122" fmla="*/ 1407801 h 2237732"/>
                        <a:gd name="connsiteX123" fmla="*/ 2094137 w 3443226"/>
                        <a:gd name="connsiteY123" fmla="*/ 1353005 h 2237732"/>
                        <a:gd name="connsiteX124" fmla="*/ 2092364 w 3443226"/>
                        <a:gd name="connsiteY124" fmla="*/ 1342450 h 2237732"/>
                        <a:gd name="connsiteX125" fmla="*/ 2066842 w 3443226"/>
                        <a:gd name="connsiteY125" fmla="*/ 1339894 h 2237732"/>
                        <a:gd name="connsiteX126" fmla="*/ 2013531 w 3443226"/>
                        <a:gd name="connsiteY126" fmla="*/ 1315156 h 2237732"/>
                        <a:gd name="connsiteX127" fmla="*/ 1954036 w 3443226"/>
                        <a:gd name="connsiteY127" fmla="*/ 1335771 h 2237732"/>
                        <a:gd name="connsiteX128" fmla="*/ 1959354 w 3443226"/>
                        <a:gd name="connsiteY128" fmla="*/ 1313135 h 2237732"/>
                        <a:gd name="connsiteX129" fmla="*/ 1941584 w 3443226"/>
                        <a:gd name="connsiteY129" fmla="*/ 1254464 h 2237732"/>
                        <a:gd name="connsiteX130" fmla="*/ 1912269 w 3443226"/>
                        <a:gd name="connsiteY130" fmla="*/ 1214718 h 2237732"/>
                        <a:gd name="connsiteX131" fmla="*/ 1867864 w 3443226"/>
                        <a:gd name="connsiteY131" fmla="*/ 1202349 h 2237732"/>
                        <a:gd name="connsiteX132" fmla="*/ 1866091 w 3443226"/>
                        <a:gd name="connsiteY132" fmla="*/ 1114899 h 2237732"/>
                        <a:gd name="connsiteX133" fmla="*/ 1877059 w 3443226"/>
                        <a:gd name="connsiteY133" fmla="*/ 1082905 h 2237732"/>
                        <a:gd name="connsiteX134" fmla="*/ 1875698 w 3443226"/>
                        <a:gd name="connsiteY134" fmla="*/ 1077009 h 2237732"/>
                        <a:gd name="connsiteX135" fmla="*/ 1880398 w 3443226"/>
                        <a:gd name="connsiteY135" fmla="*/ 1050126 h 2237732"/>
                        <a:gd name="connsiteX136" fmla="*/ 1908311 w 3443226"/>
                        <a:gd name="connsiteY136" fmla="*/ 998629 h 2237732"/>
                        <a:gd name="connsiteX137" fmla="*/ 1936142 w 3443226"/>
                        <a:gd name="connsiteY137" fmla="*/ 973479 h 2237732"/>
                        <a:gd name="connsiteX138" fmla="*/ 1947686 w 3443226"/>
                        <a:gd name="connsiteY138" fmla="*/ 971376 h 2237732"/>
                        <a:gd name="connsiteX139" fmla="*/ 1954902 w 3443226"/>
                        <a:gd name="connsiteY139" fmla="*/ 954389 h 2237732"/>
                        <a:gd name="connsiteX140" fmla="*/ 1964673 w 3443226"/>
                        <a:gd name="connsiteY140" fmla="*/ 940000 h 2237732"/>
                        <a:gd name="connsiteX141" fmla="*/ 1983309 w 3443226"/>
                        <a:gd name="connsiteY141" fmla="*/ 926600 h 2237732"/>
                        <a:gd name="connsiteX142" fmla="*/ 2029529 w 3443226"/>
                        <a:gd name="connsiteY142" fmla="*/ 894729 h 2237732"/>
                        <a:gd name="connsiteX143" fmla="*/ 1971806 w 3443226"/>
                        <a:gd name="connsiteY143" fmla="*/ 868960 h 2237732"/>
                        <a:gd name="connsiteX144" fmla="*/ 1908724 w 3443226"/>
                        <a:gd name="connsiteY144" fmla="*/ 837089 h 2237732"/>
                        <a:gd name="connsiteX145" fmla="*/ 1999431 w 3443226"/>
                        <a:gd name="connsiteY145" fmla="*/ 855560 h 2237732"/>
                        <a:gd name="connsiteX146" fmla="*/ 2047423 w 3443226"/>
                        <a:gd name="connsiteY146" fmla="*/ 863806 h 2237732"/>
                        <a:gd name="connsiteX147" fmla="*/ 2057194 w 3443226"/>
                        <a:gd name="connsiteY147" fmla="*/ 823647 h 2237732"/>
                        <a:gd name="connsiteX148" fmla="*/ 2116731 w 3443226"/>
                        <a:gd name="connsiteY148" fmla="*/ 834986 h 2237732"/>
                        <a:gd name="connsiteX149" fmla="*/ 2173588 w 3443226"/>
                        <a:gd name="connsiteY149" fmla="*/ 767079 h 2237732"/>
                        <a:gd name="connsiteX150" fmla="*/ 2142500 w 3443226"/>
                        <a:gd name="connsiteY150" fmla="*/ 744444 h 2237732"/>
                        <a:gd name="connsiteX151" fmla="*/ 2073068 w 3443226"/>
                        <a:gd name="connsiteY151" fmla="*/ 717768 h 2237732"/>
                        <a:gd name="connsiteX152" fmla="*/ 2075707 w 3443226"/>
                        <a:gd name="connsiteY152" fmla="*/ 692040 h 2237732"/>
                        <a:gd name="connsiteX153" fmla="*/ 2155694 w 3443226"/>
                        <a:gd name="connsiteY153" fmla="*/ 737393 h 2237732"/>
                        <a:gd name="connsiteX154" fmla="*/ 2216097 w 3443226"/>
                        <a:gd name="connsiteY154" fmla="*/ 686968 h 2237732"/>
                        <a:gd name="connsiteX155" fmla="*/ 2193008 w 3443226"/>
                        <a:gd name="connsiteY155" fmla="*/ 660251 h 2237732"/>
                        <a:gd name="connsiteX156" fmla="*/ 2224095 w 3443226"/>
                        <a:gd name="connsiteY156" fmla="*/ 644790 h 2237732"/>
                        <a:gd name="connsiteX157" fmla="*/ 2249864 w 3443226"/>
                        <a:gd name="connsiteY157" fmla="*/ 666394 h 2237732"/>
                        <a:gd name="connsiteX158" fmla="*/ 2292497 w 3443226"/>
                        <a:gd name="connsiteY158" fmla="*/ 661282 h 2237732"/>
                        <a:gd name="connsiteX159" fmla="*/ 2270274 w 3443226"/>
                        <a:gd name="connsiteY159" fmla="*/ 628297 h 2237732"/>
                        <a:gd name="connsiteX160" fmla="*/ 2277406 w 3443226"/>
                        <a:gd name="connsiteY160" fmla="*/ 615928 h 2237732"/>
                        <a:gd name="connsiteX161" fmla="*/ 2304948 w 3443226"/>
                        <a:gd name="connsiteY161" fmla="*/ 643718 h 2237732"/>
                        <a:gd name="connsiteX162" fmla="*/ 2337562 w 3443226"/>
                        <a:gd name="connsiteY162" fmla="*/ 645614 h 2237732"/>
                        <a:gd name="connsiteX163" fmla="*/ 2372814 w 3443226"/>
                        <a:gd name="connsiteY163" fmla="*/ 603435 h 2237732"/>
                        <a:gd name="connsiteX164" fmla="*/ 2397140 w 3443226"/>
                        <a:gd name="connsiteY164" fmla="*/ 593375 h 2237732"/>
                        <a:gd name="connsiteX165" fmla="*/ 2400850 w 3443226"/>
                        <a:gd name="connsiteY165" fmla="*/ 591850 h 2237732"/>
                        <a:gd name="connsiteX166" fmla="*/ 2379534 w 3443226"/>
                        <a:gd name="connsiteY166" fmla="*/ 544929 h 2237732"/>
                        <a:gd name="connsiteX167" fmla="*/ 2366217 w 3443226"/>
                        <a:gd name="connsiteY167" fmla="*/ 511945 h 2237732"/>
                        <a:gd name="connsiteX168" fmla="*/ 2367124 w 3443226"/>
                        <a:gd name="connsiteY168" fmla="*/ 492361 h 2237732"/>
                        <a:gd name="connsiteX169" fmla="*/ 2407076 w 3443226"/>
                        <a:gd name="connsiteY169" fmla="*/ 475868 h 2237732"/>
                        <a:gd name="connsiteX170" fmla="*/ 2396439 w 3443226"/>
                        <a:gd name="connsiteY170" fmla="*/ 448120 h 2237732"/>
                        <a:gd name="connsiteX171" fmla="*/ 2383121 w 3443226"/>
                        <a:gd name="connsiteY171" fmla="*/ 427505 h 2237732"/>
                        <a:gd name="connsiteX172" fmla="*/ 2352899 w 3443226"/>
                        <a:gd name="connsiteY172" fmla="*/ 402767 h 2237732"/>
                        <a:gd name="connsiteX173" fmla="*/ 2307546 w 3443226"/>
                        <a:gd name="connsiteY173" fmla="*/ 388336 h 2237732"/>
                        <a:gd name="connsiteX174" fmla="*/ 2244463 w 3443226"/>
                        <a:gd name="connsiteY174" fmla="*/ 382193 h 2237732"/>
                        <a:gd name="connsiteX175" fmla="*/ 2248050 w 3443226"/>
                        <a:gd name="connsiteY175" fmla="*/ 426433 h 2237732"/>
                        <a:gd name="connsiteX176" fmla="*/ 2260419 w 3443226"/>
                        <a:gd name="connsiteY176" fmla="*/ 449069 h 2237732"/>
                        <a:gd name="connsiteX177" fmla="*/ 2253328 w 3443226"/>
                        <a:gd name="connsiteY177" fmla="*/ 469684 h 2237732"/>
                        <a:gd name="connsiteX178" fmla="*/ 2227559 w 3443226"/>
                        <a:gd name="connsiteY178" fmla="*/ 490299 h 2237732"/>
                        <a:gd name="connsiteX179" fmla="*/ 2208015 w 3443226"/>
                        <a:gd name="connsiteY179" fmla="*/ 536601 h 2237732"/>
                        <a:gd name="connsiteX180" fmla="*/ 2190245 w 3443226"/>
                        <a:gd name="connsiteY180" fmla="*/ 507740 h 2237732"/>
                        <a:gd name="connsiteX181" fmla="*/ 2184926 w 3443226"/>
                        <a:gd name="connsiteY181" fmla="*/ 543775 h 2237732"/>
                        <a:gd name="connsiteX182" fmla="*/ 2200017 w 3443226"/>
                        <a:gd name="connsiteY182" fmla="*/ 572636 h 2237732"/>
                        <a:gd name="connsiteX183" fmla="*/ 2171568 w 3443226"/>
                        <a:gd name="connsiteY183" fmla="*/ 595313 h 2237732"/>
                        <a:gd name="connsiteX184" fmla="*/ 2149386 w 3443226"/>
                        <a:gd name="connsiteY184" fmla="*/ 574698 h 2237732"/>
                        <a:gd name="connsiteX185" fmla="*/ 2122751 w 3443226"/>
                        <a:gd name="connsiteY185" fmla="*/ 526334 h 2237732"/>
                        <a:gd name="connsiteX186" fmla="*/ 2139614 w 3443226"/>
                        <a:gd name="connsiteY186" fmla="*/ 505719 h 2237732"/>
                        <a:gd name="connsiteX187" fmla="*/ 2138748 w 3443226"/>
                        <a:gd name="connsiteY187" fmla="*/ 474838 h 2237732"/>
                        <a:gd name="connsiteX188" fmla="*/ 2112072 w 3443226"/>
                        <a:gd name="connsiteY188" fmla="*/ 442925 h 2237732"/>
                        <a:gd name="connsiteX189" fmla="*/ 2074965 w 3443226"/>
                        <a:gd name="connsiteY189" fmla="*/ 432659 h 2237732"/>
                        <a:gd name="connsiteX190" fmla="*/ 2059874 w 3443226"/>
                        <a:gd name="connsiteY190" fmla="*/ 465643 h 2237732"/>
                        <a:gd name="connsiteX191" fmla="*/ 2042104 w 3443226"/>
                        <a:gd name="connsiteY191" fmla="*/ 502751 h 2237732"/>
                        <a:gd name="connsiteX192" fmla="*/ 2028787 w 3443226"/>
                        <a:gd name="connsiteY192" fmla="*/ 447213 h 2237732"/>
                        <a:gd name="connsiteX193" fmla="*/ 2034105 w 3443226"/>
                        <a:gd name="connsiteY193" fmla="*/ 427670 h 2237732"/>
                        <a:gd name="connsiteX194" fmla="*/ 2043877 w 3443226"/>
                        <a:gd name="connsiteY194" fmla="*/ 409158 h 2237732"/>
                        <a:gd name="connsiteX195" fmla="*/ 2003883 w 3443226"/>
                        <a:gd name="connsiteY195" fmla="*/ 390645 h 2237732"/>
                        <a:gd name="connsiteX196" fmla="*/ 1973703 w 3443226"/>
                        <a:gd name="connsiteY196" fmla="*/ 399881 h 2237732"/>
                        <a:gd name="connsiteX197" fmla="*/ 1975476 w 3443226"/>
                        <a:gd name="connsiteY197" fmla="*/ 359763 h 2237732"/>
                        <a:gd name="connsiteX198" fmla="*/ 1998565 w 3443226"/>
                        <a:gd name="connsiteY198" fmla="*/ 350487 h 2237732"/>
                        <a:gd name="connsiteX199" fmla="*/ 1973826 w 3443226"/>
                        <a:gd name="connsiteY199" fmla="*/ 320636 h 2237732"/>
                        <a:gd name="connsiteX200" fmla="*/ 1938286 w 3443226"/>
                        <a:gd name="connsiteY200" fmla="*/ 295897 h 2237732"/>
                        <a:gd name="connsiteX201" fmla="*/ 1940059 w 3443226"/>
                        <a:gd name="connsiteY201" fmla="*/ 254667 h 2237732"/>
                        <a:gd name="connsiteX202" fmla="*/ 1888521 w 3443226"/>
                        <a:gd name="connsiteY202" fmla="*/ 213437 h 2237732"/>
                        <a:gd name="connsiteX203" fmla="*/ 1878749 w 3443226"/>
                        <a:gd name="connsiteY203" fmla="*/ 192821 h 2237732"/>
                        <a:gd name="connsiteX204" fmla="*/ 1908105 w 3443226"/>
                        <a:gd name="connsiteY204" fmla="*/ 168083 h 2237732"/>
                        <a:gd name="connsiteX205" fmla="*/ 1914290 w 3443226"/>
                        <a:gd name="connsiteY205" fmla="*/ 138232 h 2237732"/>
                        <a:gd name="connsiteX206" fmla="*/ 1916970 w 3443226"/>
                        <a:gd name="connsiteY206" fmla="*/ 122812 h 2237732"/>
                        <a:gd name="connsiteX207" fmla="*/ 1979145 w 3443226"/>
                        <a:gd name="connsiteY207" fmla="*/ 128996 h 2237732"/>
                        <a:gd name="connsiteX208" fmla="*/ 2036868 w 3443226"/>
                        <a:gd name="connsiteY208" fmla="*/ 37424 h 2237732"/>
                        <a:gd name="connsiteX209" fmla="*/ 1995101 w 3443226"/>
                        <a:gd name="connsiteY209" fmla="*/ 16808 h 2237732"/>
                        <a:gd name="connsiteX210" fmla="*/ 1929339 w 3443226"/>
                        <a:gd name="connsiteY210" fmla="*/ 316 h 2237732"/>
                        <a:gd name="connsiteX211" fmla="*/ 1845847 w 3443226"/>
                        <a:gd name="connsiteY211" fmla="*/ 15736 h 2237732"/>
                        <a:gd name="connsiteX212" fmla="*/ 1856526 w 3443226"/>
                        <a:gd name="connsiteY212" fmla="*/ 43526 h 2237732"/>
                        <a:gd name="connsiteX213" fmla="*/ 1830757 w 3443226"/>
                        <a:gd name="connsiteY213" fmla="*/ 40433 h 2237732"/>
                        <a:gd name="connsiteX214" fmla="*/ 1830757 w 3443226"/>
                        <a:gd name="connsiteY214" fmla="*/ 94033 h 2237732"/>
                        <a:gd name="connsiteX215" fmla="*/ 1845847 w 3443226"/>
                        <a:gd name="connsiteY215" fmla="*/ 145489 h 2237732"/>
                        <a:gd name="connsiteX216" fmla="*/ 1852939 w 3443226"/>
                        <a:gd name="connsiteY216" fmla="*/ 199088 h 2237732"/>
                        <a:gd name="connsiteX217" fmla="*/ 1828200 w 3443226"/>
                        <a:gd name="connsiteY217" fmla="*/ 225847 h 2237732"/>
                        <a:gd name="connsiteX218" fmla="*/ 1840569 w 3443226"/>
                        <a:gd name="connsiteY218" fmla="*/ 253636 h 2237732"/>
                        <a:gd name="connsiteX219" fmla="*/ 1807585 w 3443226"/>
                        <a:gd name="connsiteY219" fmla="*/ 249513 h 2237732"/>
                        <a:gd name="connsiteX220" fmla="*/ 1799628 w 3443226"/>
                        <a:gd name="connsiteY220" fmla="*/ 299938 h 2237732"/>
                        <a:gd name="connsiteX221" fmla="*/ 1806719 w 3443226"/>
                        <a:gd name="connsiteY221" fmla="*/ 322615 h 2237732"/>
                        <a:gd name="connsiteX222" fmla="*/ 1809399 w 3443226"/>
                        <a:gd name="connsiteY222" fmla="*/ 375060 h 2237732"/>
                        <a:gd name="connsiteX223" fmla="*/ 1890211 w 3443226"/>
                        <a:gd name="connsiteY223" fmla="*/ 408044 h 2237732"/>
                        <a:gd name="connsiteX224" fmla="*/ 1889345 w 3443226"/>
                        <a:gd name="connsiteY224" fmla="*/ 431711 h 2237732"/>
                        <a:gd name="connsiteX225" fmla="*/ 1876976 w 3443226"/>
                        <a:gd name="connsiteY225" fmla="*/ 468818 h 2237732"/>
                        <a:gd name="connsiteX226" fmla="*/ 1896519 w 3443226"/>
                        <a:gd name="connsiteY226" fmla="*/ 452326 h 2237732"/>
                        <a:gd name="connsiteX227" fmla="*/ 1914290 w 3443226"/>
                        <a:gd name="connsiteY227" fmla="*/ 478054 h 2237732"/>
                        <a:gd name="connsiteX228" fmla="*/ 1886748 w 3443226"/>
                        <a:gd name="connsiteY228" fmla="*/ 505843 h 2237732"/>
                        <a:gd name="connsiteX229" fmla="*/ 1847661 w 3443226"/>
                        <a:gd name="connsiteY229" fmla="*/ 524355 h 2237732"/>
                        <a:gd name="connsiteX230" fmla="*/ 1847661 w 3443226"/>
                        <a:gd name="connsiteY230" fmla="*/ 569709 h 2237732"/>
                        <a:gd name="connsiteX231" fmla="*/ 1826345 w 3443226"/>
                        <a:gd name="connsiteY231" fmla="*/ 587232 h 2237732"/>
                        <a:gd name="connsiteX232" fmla="*/ 1805029 w 3443226"/>
                        <a:gd name="connsiteY232" fmla="*/ 549176 h 2237732"/>
                        <a:gd name="connsiteX233" fmla="*/ 1810348 w 3443226"/>
                        <a:gd name="connsiteY233" fmla="*/ 513141 h 2237732"/>
                        <a:gd name="connsiteX234" fmla="*/ 1764170 w 3443226"/>
                        <a:gd name="connsiteY234" fmla="*/ 497721 h 2237732"/>
                        <a:gd name="connsiteX235" fmla="*/ 1793484 w 3443226"/>
                        <a:gd name="connsiteY235" fmla="*/ 492567 h 2237732"/>
                        <a:gd name="connsiteX236" fmla="*/ 1814800 w 3443226"/>
                        <a:gd name="connsiteY236" fmla="*/ 474054 h 2237732"/>
                        <a:gd name="connsiteX237" fmla="*/ 1860979 w 3443226"/>
                        <a:gd name="connsiteY237" fmla="*/ 469931 h 2237732"/>
                        <a:gd name="connsiteX238" fmla="*/ 1838797 w 3443226"/>
                        <a:gd name="connsiteY238" fmla="*/ 429814 h 2237732"/>
                        <a:gd name="connsiteX239" fmla="*/ 1806802 w 3443226"/>
                        <a:gd name="connsiteY239" fmla="*/ 426722 h 2237732"/>
                        <a:gd name="connsiteX240" fmla="*/ 1839786 w 3443226"/>
                        <a:gd name="connsiteY240" fmla="*/ 419506 h 2237732"/>
                        <a:gd name="connsiteX241" fmla="*/ 1815831 w 3443226"/>
                        <a:gd name="connsiteY241" fmla="*/ 403014 h 2237732"/>
                        <a:gd name="connsiteX242" fmla="*/ 1771385 w 3443226"/>
                        <a:gd name="connsiteY242" fmla="*/ 391717 h 2237732"/>
                        <a:gd name="connsiteX243" fmla="*/ 1725207 w 3443226"/>
                        <a:gd name="connsiteY243" fmla="*/ 404086 h 2237732"/>
                        <a:gd name="connsiteX244" fmla="*/ 1684347 w 3443226"/>
                        <a:gd name="connsiteY244" fmla="*/ 435999 h 2237732"/>
                        <a:gd name="connsiteX245" fmla="*/ 1719888 w 3443226"/>
                        <a:gd name="connsiteY245" fmla="*/ 459624 h 2237732"/>
                        <a:gd name="connsiteX246" fmla="*/ 1750069 w 3443226"/>
                        <a:gd name="connsiteY246" fmla="*/ 486382 h 2237732"/>
                        <a:gd name="connsiteX247" fmla="*/ 1731391 w 3443226"/>
                        <a:gd name="connsiteY247" fmla="*/ 498751 h 2237732"/>
                        <a:gd name="connsiteX248" fmla="*/ 1715435 w 3443226"/>
                        <a:gd name="connsiteY248" fmla="*/ 511121 h 2237732"/>
                        <a:gd name="connsiteX249" fmla="*/ 1712755 w 3443226"/>
                        <a:gd name="connsiteY249" fmla="*/ 540971 h 2237732"/>
                        <a:gd name="connsiteX250" fmla="*/ 1675648 w 3443226"/>
                        <a:gd name="connsiteY250" fmla="*/ 539941 h 2237732"/>
                        <a:gd name="connsiteX251" fmla="*/ 1597310 w 3443226"/>
                        <a:gd name="connsiteY251" fmla="*/ 551238 h 2237732"/>
                        <a:gd name="connsiteX252" fmla="*/ 1534227 w 3443226"/>
                        <a:gd name="connsiteY252" fmla="*/ 533756 h 2237732"/>
                        <a:gd name="connsiteX253" fmla="*/ 1491595 w 3443226"/>
                        <a:gd name="connsiteY253" fmla="*/ 522459 h 2237732"/>
                        <a:gd name="connsiteX254" fmla="*/ 1456054 w 3443226"/>
                        <a:gd name="connsiteY254" fmla="*/ 501844 h 2237732"/>
                        <a:gd name="connsiteX255" fmla="*/ 1435439 w 3443226"/>
                        <a:gd name="connsiteY255" fmla="*/ 464736 h 2237732"/>
                        <a:gd name="connsiteX256" fmla="*/ 1369718 w 3443226"/>
                        <a:gd name="connsiteY256" fmla="*/ 467829 h 2237732"/>
                        <a:gd name="connsiteX257" fmla="*/ 1311088 w 3443226"/>
                        <a:gd name="connsiteY257" fmla="*/ 497679 h 2237732"/>
                        <a:gd name="connsiteX258" fmla="*/ 1328858 w 3443226"/>
                        <a:gd name="connsiteY258" fmla="*/ 517223 h 2237732"/>
                        <a:gd name="connsiteX259" fmla="*/ 1365966 w 3443226"/>
                        <a:gd name="connsiteY259" fmla="*/ 502792 h 2237732"/>
                        <a:gd name="connsiteX260" fmla="*/ 1419277 w 3443226"/>
                        <a:gd name="connsiteY260" fmla="*/ 485310 h 2237732"/>
                        <a:gd name="connsiteX261" fmla="*/ 1353514 w 3443226"/>
                        <a:gd name="connsiteY261" fmla="*/ 525469 h 2237732"/>
                        <a:gd name="connsiteX262" fmla="*/ 1357967 w 3443226"/>
                        <a:gd name="connsiteY262" fmla="*/ 589252 h 2237732"/>
                        <a:gd name="connsiteX263" fmla="*/ 1348195 w 3443226"/>
                        <a:gd name="connsiteY263" fmla="*/ 624216 h 2237732"/>
                        <a:gd name="connsiteX264" fmla="*/ 1323457 w 3443226"/>
                        <a:gd name="connsiteY264" fmla="*/ 611847 h 2237732"/>
                        <a:gd name="connsiteX265" fmla="*/ 1319004 w 3443226"/>
                        <a:gd name="connsiteY265" fmla="*/ 573791 h 2237732"/>
                        <a:gd name="connsiteX266" fmla="*/ 1298389 w 3443226"/>
                        <a:gd name="connsiteY266" fmla="*/ 560391 h 2237732"/>
                        <a:gd name="connsiteX267" fmla="*/ 1271754 w 3443226"/>
                        <a:gd name="connsiteY267" fmla="*/ 550124 h 2237732"/>
                        <a:gd name="connsiteX268" fmla="*/ 1236214 w 3443226"/>
                        <a:gd name="connsiteY268" fmla="*/ 539817 h 2237732"/>
                        <a:gd name="connsiteX269" fmla="*/ 1162493 w 3443226"/>
                        <a:gd name="connsiteY269" fmla="*/ 554206 h 2237732"/>
                        <a:gd name="connsiteX270" fmla="*/ 1044327 w 3443226"/>
                        <a:gd name="connsiteY270" fmla="*/ 544971 h 2237732"/>
                        <a:gd name="connsiteX271" fmla="*/ 1089680 w 3443226"/>
                        <a:gd name="connsiteY271" fmla="*/ 508976 h 2237732"/>
                        <a:gd name="connsiteX272" fmla="*/ 1074590 w 3443226"/>
                        <a:gd name="connsiteY272" fmla="*/ 473972 h 2237732"/>
                        <a:gd name="connsiteX273" fmla="*/ 1009735 w 3443226"/>
                        <a:gd name="connsiteY273" fmla="*/ 455418 h 2237732"/>
                        <a:gd name="connsiteX274" fmla="*/ 951105 w 3443226"/>
                        <a:gd name="connsiteY274" fmla="*/ 449275 h 2237732"/>
                        <a:gd name="connsiteX275" fmla="*/ 892434 w 3443226"/>
                        <a:gd name="connsiteY275" fmla="*/ 427670 h 2237732"/>
                        <a:gd name="connsiteX276" fmla="*/ 814302 w 3443226"/>
                        <a:gd name="connsiteY276" fmla="*/ 396788 h 2237732"/>
                        <a:gd name="connsiteX277" fmla="*/ 723595 w 3443226"/>
                        <a:gd name="connsiteY277" fmla="*/ 400911 h 2237732"/>
                        <a:gd name="connsiteX278" fmla="*/ 677376 w 3443226"/>
                        <a:gd name="connsiteY278" fmla="*/ 420455 h 2237732"/>
                        <a:gd name="connsiteX279" fmla="*/ 679149 w 3443226"/>
                        <a:gd name="connsiteY279" fmla="*/ 390645 h 2237732"/>
                        <a:gd name="connsiteX280" fmla="*/ 665831 w 3443226"/>
                        <a:gd name="connsiteY280" fmla="*/ 354610 h 2237732"/>
                        <a:gd name="connsiteX281" fmla="*/ 611654 w 3443226"/>
                        <a:gd name="connsiteY281" fmla="*/ 420578 h 2237732"/>
                        <a:gd name="connsiteX282" fmla="*/ 551252 w 3443226"/>
                        <a:gd name="connsiteY282" fmla="*/ 327975 h 2237732"/>
                        <a:gd name="connsiteX283" fmla="*/ 527256 w 3443226"/>
                        <a:gd name="connsiteY283" fmla="*/ 336221 h 2237732"/>
                        <a:gd name="connsiteX284" fmla="*/ 513031 w 3443226"/>
                        <a:gd name="connsiteY284" fmla="*/ 362979 h 2237732"/>
                        <a:gd name="connsiteX285" fmla="*/ 483716 w 3443226"/>
                        <a:gd name="connsiteY285" fmla="*/ 392789 h 2237732"/>
                        <a:gd name="connsiteX286" fmla="*/ 444630 w 3443226"/>
                        <a:gd name="connsiteY286" fmla="*/ 400004 h 2237732"/>
                        <a:gd name="connsiteX287" fmla="*/ 406409 w 3443226"/>
                        <a:gd name="connsiteY287" fmla="*/ 414394 h 2237732"/>
                        <a:gd name="connsiteX288" fmla="*/ 344234 w 3443226"/>
                        <a:gd name="connsiteY288" fmla="*/ 453522 h 2237732"/>
                        <a:gd name="connsiteX289" fmla="*/ 317599 w 3443226"/>
                        <a:gd name="connsiteY289" fmla="*/ 474137 h 2237732"/>
                        <a:gd name="connsiteX290" fmla="*/ 327370 w 3443226"/>
                        <a:gd name="connsiteY290" fmla="*/ 448409 h 2237732"/>
                        <a:gd name="connsiteX291" fmla="*/ 404636 w 3443226"/>
                        <a:gd name="connsiteY291" fmla="*/ 396953 h 2237732"/>
                        <a:gd name="connsiteX292" fmla="*/ 465657 w 3443226"/>
                        <a:gd name="connsiteY292" fmla="*/ 366525 h 2237732"/>
                        <a:gd name="connsiteX293" fmla="*/ 463843 w 3443226"/>
                        <a:gd name="connsiteY293" fmla="*/ 366525 h 2237732"/>
                        <a:gd name="connsiteX294" fmla="*/ 361592 w 3443226"/>
                        <a:gd name="connsiteY294" fmla="*/ 388130 h 2237732"/>
                        <a:gd name="connsiteX295" fmla="*/ 352026 w 3443226"/>
                        <a:gd name="connsiteY295" fmla="*/ 391181 h 2237732"/>
                        <a:gd name="connsiteX296" fmla="*/ 327288 w 3443226"/>
                        <a:gd name="connsiteY296" fmla="*/ 399015 h 2237732"/>
                        <a:gd name="connsiteX297" fmla="*/ 325433 w 3443226"/>
                        <a:gd name="connsiteY297" fmla="*/ 409158 h 2237732"/>
                        <a:gd name="connsiteX298" fmla="*/ 297025 w 3443226"/>
                        <a:gd name="connsiteY298" fmla="*/ 418393 h 2237732"/>
                        <a:gd name="connsiteX299" fmla="*/ 288119 w 3443226"/>
                        <a:gd name="connsiteY299" fmla="*/ 411219 h 2237732"/>
                        <a:gd name="connsiteX300" fmla="*/ 289562 w 3443226"/>
                        <a:gd name="connsiteY300" fmla="*/ 409240 h 2237732"/>
                        <a:gd name="connsiteX301" fmla="*/ 255134 w 3443226"/>
                        <a:gd name="connsiteY301" fmla="*/ 415136 h 2237732"/>
                        <a:gd name="connsiteX302" fmla="*/ 240127 w 3443226"/>
                        <a:gd name="connsiteY302" fmla="*/ 417362 h 2237732"/>
                        <a:gd name="connsiteX303" fmla="*/ 211719 w 3443226"/>
                        <a:gd name="connsiteY303" fmla="*/ 447213 h 2237732"/>
                        <a:gd name="connsiteX304" fmla="*/ 227716 w 3443226"/>
                        <a:gd name="connsiteY304" fmla="*/ 473972 h 2237732"/>
                        <a:gd name="connsiteX305" fmla="*/ 167314 w 3443226"/>
                        <a:gd name="connsiteY305" fmla="*/ 455418 h 2237732"/>
                        <a:gd name="connsiteX306" fmla="*/ 74009 w 3443226"/>
                        <a:gd name="connsiteY306" fmla="*/ 405034 h 2237732"/>
                        <a:gd name="connsiteX307" fmla="*/ 1 w 3443226"/>
                        <a:gd name="connsiteY307" fmla="*/ 398108 h 2237732"/>
                        <a:gd name="connsiteX308" fmla="*/ 1 w 3443226"/>
                        <a:gd name="connsiteY308" fmla="*/ 1109210 h 2237732"/>
                        <a:gd name="connsiteX309" fmla="*/ 21317 w 3443226"/>
                        <a:gd name="connsiteY309" fmla="*/ 1114240 h 2237732"/>
                        <a:gd name="connsiteX310" fmla="*/ 58012 w 3443226"/>
                        <a:gd name="connsiteY310" fmla="*/ 1105994 h 2237732"/>
                        <a:gd name="connsiteX311" fmla="*/ 85265 w 3443226"/>
                        <a:gd name="connsiteY311" fmla="*/ 1129289 h 2237732"/>
                        <a:gd name="connsiteX312" fmla="*/ 125547 w 3443226"/>
                        <a:gd name="connsiteY312" fmla="*/ 1175920 h 2237732"/>
                        <a:gd name="connsiteX313" fmla="*/ 156346 w 3443226"/>
                        <a:gd name="connsiteY313" fmla="*/ 1199257 h 2237732"/>
                        <a:gd name="connsiteX314" fmla="*/ 193041 w 3443226"/>
                        <a:gd name="connsiteY314" fmla="*/ 1166272 h 2237732"/>
                        <a:gd name="connsiteX315" fmla="*/ 247548 w 3443226"/>
                        <a:gd name="connsiteY315" fmla="*/ 1169035 h 2237732"/>
                        <a:gd name="connsiteX316" fmla="*/ 334132 w 3443226"/>
                        <a:gd name="connsiteY316" fmla="*/ 1282872 h 2237732"/>
                        <a:gd name="connsiteX317" fmla="*/ 405337 w 3443226"/>
                        <a:gd name="connsiteY317" fmla="*/ 1380506 h 2237732"/>
                        <a:gd name="connsiteX318" fmla="*/ 443228 w 3443226"/>
                        <a:gd name="connsiteY318" fmla="*/ 1429983 h 2237732"/>
                        <a:gd name="connsiteX319" fmla="*/ 451474 w 3443226"/>
                        <a:gd name="connsiteY319" fmla="*/ 1472450 h 2237732"/>
                        <a:gd name="connsiteX320" fmla="*/ 424138 w 3443226"/>
                        <a:gd name="connsiteY320" fmla="*/ 1494838 h 2237732"/>
                        <a:gd name="connsiteX321" fmla="*/ 441125 w 3443226"/>
                        <a:gd name="connsiteY321" fmla="*/ 1518422 h 2237732"/>
                        <a:gd name="connsiteX322" fmla="*/ 434528 w 3443226"/>
                        <a:gd name="connsiteY322" fmla="*/ 1529513 h 2237732"/>
                        <a:gd name="connsiteX323" fmla="*/ 435477 w 3443226"/>
                        <a:gd name="connsiteY323" fmla="*/ 1529513 h 2237732"/>
                        <a:gd name="connsiteX324" fmla="*/ 479305 w 3443226"/>
                        <a:gd name="connsiteY324" fmla="*/ 1569383 h 2237732"/>
                        <a:gd name="connsiteX325" fmla="*/ 482685 w 3443226"/>
                        <a:gd name="connsiteY325" fmla="*/ 1573506 h 2237732"/>
                        <a:gd name="connsiteX326" fmla="*/ 492581 w 3443226"/>
                        <a:gd name="connsiteY326" fmla="*/ 1594863 h 2237732"/>
                        <a:gd name="connsiteX327" fmla="*/ 499136 w 3443226"/>
                        <a:gd name="connsiteY327" fmla="*/ 1611891 h 2237732"/>
                        <a:gd name="connsiteX328" fmla="*/ 530843 w 3443226"/>
                        <a:gd name="connsiteY328" fmla="*/ 1636630 h 2237732"/>
                        <a:gd name="connsiteX329" fmla="*/ 533523 w 3443226"/>
                        <a:gd name="connsiteY329" fmla="*/ 1657245 h 2237732"/>
                        <a:gd name="connsiteX330" fmla="*/ 531750 w 3443226"/>
                        <a:gd name="connsiteY330" fmla="*/ 1685034 h 2237732"/>
                        <a:gd name="connsiteX331" fmla="*/ 540614 w 3443226"/>
                        <a:gd name="connsiteY331" fmla="*/ 1709772 h 2237732"/>
                        <a:gd name="connsiteX332" fmla="*/ 583247 w 3443226"/>
                        <a:gd name="connsiteY332" fmla="*/ 1728285 h 2237732"/>
                        <a:gd name="connsiteX333" fmla="*/ 610789 w 3443226"/>
                        <a:gd name="connsiteY333" fmla="*/ 1747828 h 2237732"/>
                        <a:gd name="connsiteX334" fmla="*/ 645463 w 3443226"/>
                        <a:gd name="connsiteY334" fmla="*/ 1760197 h 2237732"/>
                        <a:gd name="connsiteX335" fmla="*/ 660554 w 3443226"/>
                        <a:gd name="connsiteY335" fmla="*/ 1787945 h 2237732"/>
                        <a:gd name="connsiteX336" fmla="*/ 690734 w 3443226"/>
                        <a:gd name="connsiteY336" fmla="*/ 1793099 h 2237732"/>
                        <a:gd name="connsiteX337" fmla="*/ 714730 w 3443226"/>
                        <a:gd name="connsiteY337" fmla="*/ 1806499 h 2237732"/>
                        <a:gd name="connsiteX338" fmla="*/ 745447 w 3443226"/>
                        <a:gd name="connsiteY338" fmla="*/ 1849915 h 2237732"/>
                        <a:gd name="connsiteX339" fmla="*/ 1849640 w 3443226"/>
                        <a:gd name="connsiteY339" fmla="*/ 1842988 h 2237732"/>
                        <a:gd name="connsiteX340" fmla="*/ 1863411 w 3443226"/>
                        <a:gd name="connsiteY340" fmla="*/ 1822373 h 2237732"/>
                        <a:gd name="connsiteX341" fmla="*/ 1879904 w 3443226"/>
                        <a:gd name="connsiteY341" fmla="*/ 1858037 h 2237732"/>
                        <a:gd name="connsiteX342" fmla="*/ 1914248 w 3443226"/>
                        <a:gd name="connsiteY342" fmla="*/ 1871767 h 2237732"/>
                        <a:gd name="connsiteX343" fmla="*/ 1950985 w 3443226"/>
                        <a:gd name="connsiteY343" fmla="*/ 1873169 h 2237732"/>
                        <a:gd name="connsiteX344" fmla="*/ 1983969 w 3443226"/>
                        <a:gd name="connsiteY344" fmla="*/ 1888218 h 2237732"/>
                        <a:gd name="connsiteX345" fmla="*/ 2018314 w 3443226"/>
                        <a:gd name="connsiteY345" fmla="*/ 1895103 h 2237732"/>
                        <a:gd name="connsiteX346" fmla="*/ 2075624 w 3443226"/>
                        <a:gd name="connsiteY346" fmla="*/ 1904421 h 2237732"/>
                        <a:gd name="connsiteX347" fmla="*/ 2127863 w 3443226"/>
                        <a:gd name="connsiteY347" fmla="*/ 1847771 h 2237732"/>
                        <a:gd name="connsiteX348" fmla="*/ 2213169 w 3443226"/>
                        <a:gd name="connsiteY348" fmla="*/ 1889001 h 2237732"/>
                        <a:gd name="connsiteX349" fmla="*/ 2255802 w 3443226"/>
                        <a:gd name="connsiteY349" fmla="*/ 1924006 h 2237732"/>
                        <a:gd name="connsiteX350" fmla="*/ 2278396 w 3443226"/>
                        <a:gd name="connsiteY350" fmla="*/ 1988779 h 2237732"/>
                        <a:gd name="connsiteX351" fmla="*/ 2301238 w 3443226"/>
                        <a:gd name="connsiteY351" fmla="*/ 2007168 h 2237732"/>
                        <a:gd name="connsiteX352" fmla="*/ 2362424 w 3443226"/>
                        <a:gd name="connsiteY352" fmla="*/ 2016568 h 2237732"/>
                        <a:gd name="connsiteX353" fmla="*/ 2437051 w 3443226"/>
                        <a:gd name="connsiteY353" fmla="*/ 2039204 h 2237732"/>
                        <a:gd name="connsiteX354" fmla="*/ 2451275 w 3443226"/>
                        <a:gd name="connsiteY354" fmla="*/ 2102987 h 2237732"/>
                        <a:gd name="connsiteX355" fmla="*/ 2399737 w 3443226"/>
                        <a:gd name="connsiteY355" fmla="*/ 2088598 h 2237732"/>
                        <a:gd name="connsiteX356" fmla="*/ 2387368 w 3443226"/>
                        <a:gd name="connsiteY356" fmla="*/ 2129828 h 2237732"/>
                        <a:gd name="connsiteX357" fmla="*/ 2358919 w 3443226"/>
                        <a:gd name="connsiteY357" fmla="*/ 2201858 h 2237732"/>
                        <a:gd name="connsiteX358" fmla="*/ 2357888 w 3443226"/>
                        <a:gd name="connsiteY358" fmla="*/ 2201363 h 2237732"/>
                        <a:gd name="connsiteX359" fmla="*/ 2364361 w 3443226"/>
                        <a:gd name="connsiteY359" fmla="*/ 2237728 h 2237732"/>
                        <a:gd name="connsiteX360" fmla="*/ 2413838 w 3443226"/>
                        <a:gd name="connsiteY360" fmla="*/ 2208043 h 2237732"/>
                        <a:gd name="connsiteX361" fmla="*/ 2465335 w 3443226"/>
                        <a:gd name="connsiteY361" fmla="*/ 2214227 h 2237732"/>
                        <a:gd name="connsiteX362" fmla="*/ 2490073 w 3443226"/>
                        <a:gd name="connsiteY362" fmla="*/ 2203920 h 2237732"/>
                        <a:gd name="connsiteX363" fmla="*/ 2489455 w 3443226"/>
                        <a:gd name="connsiteY363" fmla="*/ 2208537 h 2237732"/>
                        <a:gd name="connsiteX364" fmla="*/ 2501329 w 3443226"/>
                        <a:gd name="connsiteY364" fmla="*/ 2197034 h 2237732"/>
                        <a:gd name="connsiteX365" fmla="*/ 2499061 w 3443226"/>
                        <a:gd name="connsiteY365" fmla="*/ 2178645 h 2237732"/>
                        <a:gd name="connsiteX366" fmla="*/ 2470530 w 3443226"/>
                        <a:gd name="connsiteY366" fmla="*/ 2168956 h 2237732"/>
                        <a:gd name="connsiteX367" fmla="*/ 2552248 w 3443226"/>
                        <a:gd name="connsiteY367" fmla="*/ 2131849 h 2237732"/>
                        <a:gd name="connsiteX368" fmla="*/ 2607621 w 3443226"/>
                        <a:gd name="connsiteY368" fmla="*/ 2127313 h 2237732"/>
                        <a:gd name="connsiteX369" fmla="*/ 2661221 w 3443226"/>
                        <a:gd name="connsiteY369" fmla="*/ 2080434 h 2237732"/>
                        <a:gd name="connsiteX370" fmla="*/ 2798642 w 3443226"/>
                        <a:gd name="connsiteY370" fmla="*/ 2079032 h 2237732"/>
                        <a:gd name="connsiteX371" fmla="*/ 2848366 w 3443226"/>
                        <a:gd name="connsiteY371" fmla="*/ 2018671 h 2237732"/>
                        <a:gd name="connsiteX372" fmla="*/ 2899327 w 3443226"/>
                        <a:gd name="connsiteY372" fmla="*/ 1936210 h 2237732"/>
                        <a:gd name="connsiteX373" fmla="*/ 2952596 w 3443226"/>
                        <a:gd name="connsiteY373" fmla="*/ 1954022 h 2237732"/>
                        <a:gd name="connsiteX374" fmla="*/ 2986405 w 3443226"/>
                        <a:gd name="connsiteY374" fmla="*/ 2083073 h 2237732"/>
                        <a:gd name="connsiteX375" fmla="*/ 3028419 w 3443226"/>
                        <a:gd name="connsiteY375" fmla="*/ 2062746 h 2237732"/>
                        <a:gd name="connsiteX376" fmla="*/ 3075504 w 3443226"/>
                        <a:gd name="connsiteY376" fmla="*/ 2023660 h 2237732"/>
                        <a:gd name="connsiteX377" fmla="*/ 3078143 w 3443226"/>
                        <a:gd name="connsiteY377" fmla="*/ 2043203 h 2237732"/>
                        <a:gd name="connsiteX378" fmla="*/ 3114591 w 3443226"/>
                        <a:gd name="connsiteY378" fmla="*/ 2059695 h 2237732"/>
                        <a:gd name="connsiteX379" fmla="*/ 3084410 w 3443226"/>
                        <a:gd name="connsiteY379" fmla="*/ 2068931 h 2237732"/>
                        <a:gd name="connsiteX380" fmla="*/ 3032872 w 3443226"/>
                        <a:gd name="connsiteY380" fmla="*/ 2099813 h 2237732"/>
                        <a:gd name="connsiteX381" fmla="*/ 3028419 w 3443226"/>
                        <a:gd name="connsiteY381" fmla="*/ 2151227 h 2237732"/>
                        <a:gd name="connsiteX382" fmla="*/ 3080823 w 3443226"/>
                        <a:gd name="connsiteY382" fmla="*/ 2139930 h 2237732"/>
                        <a:gd name="connsiteX383" fmla="*/ 3119044 w 3443226"/>
                        <a:gd name="connsiteY383" fmla="*/ 2101874 h 2237732"/>
                        <a:gd name="connsiteX384" fmla="*/ 3152399 w 3443226"/>
                        <a:gd name="connsiteY384" fmla="*/ 2094906 h 2237732"/>
                        <a:gd name="connsiteX385" fmla="*/ 3157388 w 3443226"/>
                        <a:gd name="connsiteY385" fmla="*/ 2089134 h 2237732"/>
                        <a:gd name="connsiteX386" fmla="*/ 3170417 w 3443226"/>
                        <a:gd name="connsiteY386" fmla="*/ 2078373 h 2237732"/>
                        <a:gd name="connsiteX387" fmla="*/ 3175942 w 3443226"/>
                        <a:gd name="connsiteY387" fmla="*/ 2073384 h 2237732"/>
                        <a:gd name="connsiteX388" fmla="*/ 3206823 w 3443226"/>
                        <a:gd name="connsiteY388" fmla="*/ 2060149 h 2237732"/>
                        <a:gd name="connsiteX389" fmla="*/ 3215069 w 3443226"/>
                        <a:gd name="connsiteY389" fmla="*/ 2060809 h 2237732"/>
                        <a:gd name="connsiteX390" fmla="*/ 3220306 w 3443226"/>
                        <a:gd name="connsiteY390" fmla="*/ 2053676 h 2237732"/>
                        <a:gd name="connsiteX391" fmla="*/ 3219605 w 3443226"/>
                        <a:gd name="connsiteY391" fmla="*/ 2049553 h 2237732"/>
                        <a:gd name="connsiteX392" fmla="*/ 3241127 w 3443226"/>
                        <a:gd name="connsiteY392" fmla="*/ 2038214 h 2237732"/>
                        <a:gd name="connsiteX393" fmla="*/ 3242776 w 3443226"/>
                        <a:gd name="connsiteY393" fmla="*/ 2037348 h 2237732"/>
                        <a:gd name="connsiteX394" fmla="*/ 3269782 w 3443226"/>
                        <a:gd name="connsiteY394" fmla="*/ 2009518 h 2237732"/>
                        <a:gd name="connsiteX395" fmla="*/ 3257825 w 3443226"/>
                        <a:gd name="connsiteY395" fmla="*/ 2008405 h 2237732"/>
                        <a:gd name="connsiteX396" fmla="*/ 3256918 w 3443226"/>
                        <a:gd name="connsiteY396" fmla="*/ 1976492 h 2237732"/>
                        <a:gd name="connsiteX397" fmla="*/ 3229376 w 3443226"/>
                        <a:gd name="connsiteY397" fmla="*/ 1995005 h 2237732"/>
                        <a:gd name="connsiteX398" fmla="*/ 3208761 w 3443226"/>
                        <a:gd name="connsiteY398" fmla="*/ 2021763 h 2237732"/>
                        <a:gd name="connsiteX399" fmla="*/ 3191898 w 3443226"/>
                        <a:gd name="connsiteY399" fmla="*/ 2041307 h 2237732"/>
                        <a:gd name="connsiteX400" fmla="*/ 3120817 w 3443226"/>
                        <a:gd name="connsiteY400" fmla="*/ 2026876 h 2237732"/>
                        <a:gd name="connsiteX401" fmla="*/ 3077277 w 3443226"/>
                        <a:gd name="connsiteY401" fmla="*/ 1985646 h 2237732"/>
                        <a:gd name="connsiteX402" fmla="*/ 3076824 w 3443226"/>
                        <a:gd name="connsiteY402" fmla="*/ 1982512 h 2237732"/>
                        <a:gd name="connsiteX403" fmla="*/ 3060332 w 3443226"/>
                        <a:gd name="connsiteY403" fmla="*/ 1947507 h 2237732"/>
                        <a:gd name="connsiteX404" fmla="*/ 3067423 w 3443226"/>
                        <a:gd name="connsiteY404" fmla="*/ 1917038 h 2237732"/>
                        <a:gd name="connsiteX405" fmla="*/ 3065898 w 3443226"/>
                        <a:gd name="connsiteY405" fmla="*/ 1915183 h 2237732"/>
                        <a:gd name="connsiteX406" fmla="*/ 3054023 w 3443226"/>
                        <a:gd name="connsiteY406" fmla="*/ 1922851 h 2237732"/>
                        <a:gd name="connsiteX407" fmla="*/ 3050436 w 3443226"/>
                        <a:gd name="connsiteY407" fmla="*/ 1904339 h 2237732"/>
                        <a:gd name="connsiteX408" fmla="*/ 3058229 w 3443226"/>
                        <a:gd name="connsiteY408" fmla="*/ 1901082 h 2237732"/>
                        <a:gd name="connsiteX409" fmla="*/ 3058229 w 3443226"/>
                        <a:gd name="connsiteY409" fmla="*/ 1900546 h 2237732"/>
                        <a:gd name="connsiteX410" fmla="*/ 3047797 w 3443226"/>
                        <a:gd name="connsiteY410" fmla="*/ 1881786 h 2237732"/>
                        <a:gd name="connsiteX411" fmla="*/ 3049447 w 3443226"/>
                        <a:gd name="connsiteY411" fmla="*/ 1853131 h 2237732"/>
                        <a:gd name="connsiteX412" fmla="*/ 3022564 w 3443226"/>
                        <a:gd name="connsiteY412" fmla="*/ 1834041 h 2237732"/>
                        <a:gd name="connsiteX413" fmla="*/ 2916437 w 3443226"/>
                        <a:gd name="connsiteY413" fmla="*/ 1877580 h 2237732"/>
                        <a:gd name="connsiteX414" fmla="*/ 2829400 w 3443226"/>
                        <a:gd name="connsiteY414" fmla="*/ 1964164 h 2237732"/>
                        <a:gd name="connsiteX415" fmla="*/ 2865806 w 3443226"/>
                        <a:gd name="connsiteY415" fmla="*/ 1915801 h 2237732"/>
                        <a:gd name="connsiteX416" fmla="*/ 2873805 w 3443226"/>
                        <a:gd name="connsiteY416" fmla="*/ 1894196 h 2237732"/>
                        <a:gd name="connsiteX417" fmla="*/ 2929755 w 3443226"/>
                        <a:gd name="connsiteY417" fmla="*/ 1833464 h 2237732"/>
                        <a:gd name="connsiteX418" fmla="*/ 2971521 w 3443226"/>
                        <a:gd name="connsiteY418" fmla="*/ 1819074 h 2237732"/>
                        <a:gd name="connsiteX419" fmla="*/ 3000836 w 3443226"/>
                        <a:gd name="connsiteY419" fmla="*/ 1777844 h 2237732"/>
                        <a:gd name="connsiteX420" fmla="*/ 3038933 w 3443226"/>
                        <a:gd name="connsiteY420" fmla="*/ 1768237 h 2237732"/>
                        <a:gd name="connsiteX421" fmla="*/ 3058270 w 3443226"/>
                        <a:gd name="connsiteY421" fmla="*/ 1763908 h 2237732"/>
                        <a:gd name="connsiteX422" fmla="*/ 3070639 w 3443226"/>
                        <a:gd name="connsiteY422" fmla="*/ 1765557 h 2237732"/>
                        <a:gd name="connsiteX423" fmla="*/ 3210823 w 3443226"/>
                        <a:gd name="connsiteY423" fmla="*/ 1762671 h 2237732"/>
                        <a:gd name="connsiteX424" fmla="*/ 3227315 w 3443226"/>
                        <a:gd name="connsiteY424" fmla="*/ 1762671 h 2237732"/>
                        <a:gd name="connsiteX425" fmla="*/ 3251558 w 3443226"/>
                        <a:gd name="connsiteY425" fmla="*/ 1763248 h 2237732"/>
                        <a:gd name="connsiteX426" fmla="*/ 3323506 w 3443226"/>
                        <a:gd name="connsiteY426" fmla="*/ 1711793 h 2237732"/>
                        <a:gd name="connsiteX427" fmla="*/ 3378590 w 3443226"/>
                        <a:gd name="connsiteY427" fmla="*/ 1693280 h 2237732"/>
                        <a:gd name="connsiteX428" fmla="*/ 3434580 w 3443226"/>
                        <a:gd name="connsiteY428" fmla="*/ 1654153 h 2237732"/>
                        <a:gd name="connsiteX429" fmla="*/ 3431447 w 3443226"/>
                        <a:gd name="connsiteY429" fmla="*/ 1634527 h 2237732"/>
                        <a:gd name="connsiteX430" fmla="*/ 945951 w 3443226"/>
                        <a:gd name="connsiteY430" fmla="*/ 674434 h 2237732"/>
                        <a:gd name="connsiteX431" fmla="*/ 890826 w 3443226"/>
                        <a:gd name="connsiteY431" fmla="*/ 707955 h 2237732"/>
                        <a:gd name="connsiteX432" fmla="*/ 863985 w 3443226"/>
                        <a:gd name="connsiteY432" fmla="*/ 726797 h 2237732"/>
                        <a:gd name="connsiteX433" fmla="*/ 851987 w 3443226"/>
                        <a:gd name="connsiteY433" fmla="*/ 751329 h 2237732"/>
                        <a:gd name="connsiteX434" fmla="*/ 801150 w 3443226"/>
                        <a:gd name="connsiteY434" fmla="*/ 777510 h 2237732"/>
                        <a:gd name="connsiteX435" fmla="*/ 830011 w 3443226"/>
                        <a:gd name="connsiteY435" fmla="*/ 720241 h 2237732"/>
                        <a:gd name="connsiteX436" fmla="*/ 782720 w 3443226"/>
                        <a:gd name="connsiteY436" fmla="*/ 753803 h 2237732"/>
                        <a:gd name="connsiteX437" fmla="*/ 746684 w 3443226"/>
                        <a:gd name="connsiteY437" fmla="*/ 767698 h 2237732"/>
                        <a:gd name="connsiteX438" fmla="*/ 728996 w 3443226"/>
                        <a:gd name="connsiteY438" fmla="*/ 750505 h 2237732"/>
                        <a:gd name="connsiteX439" fmla="*/ 751632 w 3443226"/>
                        <a:gd name="connsiteY439" fmla="*/ 723540 h 2237732"/>
                        <a:gd name="connsiteX440" fmla="*/ 753735 w 3443226"/>
                        <a:gd name="connsiteY440" fmla="*/ 694060 h 2237732"/>
                        <a:gd name="connsiteX441" fmla="*/ 797521 w 3443226"/>
                        <a:gd name="connsiteY441" fmla="*/ 686721 h 2237732"/>
                        <a:gd name="connsiteX442" fmla="*/ 747385 w 3443226"/>
                        <a:gd name="connsiteY442" fmla="*/ 666106 h 2237732"/>
                        <a:gd name="connsiteX443" fmla="*/ 669666 w 3443226"/>
                        <a:gd name="connsiteY443" fmla="*/ 680784 h 2237732"/>
                        <a:gd name="connsiteX444" fmla="*/ 775628 w 3443226"/>
                        <a:gd name="connsiteY444" fmla="*/ 644831 h 2237732"/>
                        <a:gd name="connsiteX445" fmla="*/ 874581 w 3443226"/>
                        <a:gd name="connsiteY445" fmla="*/ 622731 h 2237732"/>
                        <a:gd name="connsiteX446" fmla="*/ 856192 w 3443226"/>
                        <a:gd name="connsiteY446" fmla="*/ 664456 h 2237732"/>
                        <a:gd name="connsiteX447" fmla="*/ 924016 w 3443226"/>
                        <a:gd name="connsiteY447" fmla="*/ 653819 h 2237732"/>
                        <a:gd name="connsiteX448" fmla="*/ 945951 w 3443226"/>
                        <a:gd name="connsiteY448" fmla="*/ 674434 h 2237732"/>
                        <a:gd name="connsiteX449" fmla="*/ 1170574 w 3443226"/>
                        <a:gd name="connsiteY449" fmla="*/ 1004938 h 2237732"/>
                        <a:gd name="connsiteX450" fmla="*/ 1121098 w 3443226"/>
                        <a:gd name="connsiteY450" fmla="*/ 1030253 h 2237732"/>
                        <a:gd name="connsiteX451" fmla="*/ 1087165 w 3443226"/>
                        <a:gd name="connsiteY451" fmla="*/ 1065423 h 2237732"/>
                        <a:gd name="connsiteX452" fmla="*/ 978399 w 3443226"/>
                        <a:gd name="connsiteY452" fmla="*/ 1052353 h 2237732"/>
                        <a:gd name="connsiteX453" fmla="*/ 1019382 w 3443226"/>
                        <a:gd name="connsiteY453" fmla="*/ 1036850 h 2237732"/>
                        <a:gd name="connsiteX454" fmla="*/ 1051171 w 3443226"/>
                        <a:gd name="connsiteY454" fmla="*/ 1000815 h 2237732"/>
                        <a:gd name="connsiteX455" fmla="*/ 1038431 w 3443226"/>
                        <a:gd name="connsiteY455" fmla="*/ 957481 h 2237732"/>
                        <a:gd name="connsiteX456" fmla="*/ 1096154 w 3443226"/>
                        <a:gd name="connsiteY456" fmla="*/ 956616 h 2237732"/>
                        <a:gd name="connsiteX457" fmla="*/ 1157628 w 3443226"/>
                        <a:gd name="connsiteY457" fmla="*/ 982838 h 2237732"/>
                        <a:gd name="connsiteX458" fmla="*/ 1266394 w 3443226"/>
                        <a:gd name="connsiteY458" fmla="*/ 936206 h 2237732"/>
                        <a:gd name="connsiteX459" fmla="*/ 1170574 w 3443226"/>
                        <a:gd name="connsiteY459" fmla="*/ 1004938 h 2237732"/>
                        <a:gd name="connsiteX460" fmla="*/ 1788825 w 3443226"/>
                        <a:gd name="connsiteY460" fmla="*/ 1752858 h 2237732"/>
                        <a:gd name="connsiteX461" fmla="*/ 1755058 w 3443226"/>
                        <a:gd name="connsiteY461" fmla="*/ 1670397 h 2237732"/>
                        <a:gd name="connsiteX462" fmla="*/ 1694655 w 3443226"/>
                        <a:gd name="connsiteY462" fmla="*/ 1567321 h 2237732"/>
                        <a:gd name="connsiteX463" fmla="*/ 1744420 w 3443226"/>
                        <a:gd name="connsiteY463" fmla="*/ 1548809 h 2237732"/>
                        <a:gd name="connsiteX464" fmla="*/ 1792371 w 3443226"/>
                        <a:gd name="connsiteY464" fmla="*/ 1680499 h 2237732"/>
                        <a:gd name="connsiteX465" fmla="*/ 1788825 w 3443226"/>
                        <a:gd name="connsiteY465" fmla="*/ 1752858 h 223773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  <a:cxn ang="0">
                          <a:pos x="connsiteX81" y="connsiteY81"/>
                        </a:cxn>
                        <a:cxn ang="0">
                          <a:pos x="connsiteX82" y="connsiteY82"/>
                        </a:cxn>
                        <a:cxn ang="0">
                          <a:pos x="connsiteX83" y="connsiteY83"/>
                        </a:cxn>
                        <a:cxn ang="0">
                          <a:pos x="connsiteX84" y="connsiteY84"/>
                        </a:cxn>
                        <a:cxn ang="0">
                          <a:pos x="connsiteX85" y="connsiteY85"/>
                        </a:cxn>
                        <a:cxn ang="0">
                          <a:pos x="connsiteX86" y="connsiteY86"/>
                        </a:cxn>
                        <a:cxn ang="0">
                          <a:pos x="connsiteX87" y="connsiteY87"/>
                        </a:cxn>
                        <a:cxn ang="0">
                          <a:pos x="connsiteX88" y="connsiteY88"/>
                        </a:cxn>
                        <a:cxn ang="0">
                          <a:pos x="connsiteX89" y="connsiteY89"/>
                        </a:cxn>
                        <a:cxn ang="0">
                          <a:pos x="connsiteX90" y="connsiteY90"/>
                        </a:cxn>
                        <a:cxn ang="0">
                          <a:pos x="connsiteX91" y="connsiteY91"/>
                        </a:cxn>
                        <a:cxn ang="0">
                          <a:pos x="connsiteX92" y="connsiteY92"/>
                        </a:cxn>
                        <a:cxn ang="0">
                          <a:pos x="connsiteX93" y="connsiteY93"/>
                        </a:cxn>
                        <a:cxn ang="0">
                          <a:pos x="connsiteX94" y="connsiteY94"/>
                        </a:cxn>
                        <a:cxn ang="0">
                          <a:pos x="connsiteX95" y="connsiteY95"/>
                        </a:cxn>
                        <a:cxn ang="0">
                          <a:pos x="connsiteX96" y="connsiteY96"/>
                        </a:cxn>
                        <a:cxn ang="0">
                          <a:pos x="connsiteX97" y="connsiteY97"/>
                        </a:cxn>
                        <a:cxn ang="0">
                          <a:pos x="connsiteX98" y="connsiteY98"/>
                        </a:cxn>
                        <a:cxn ang="0">
                          <a:pos x="connsiteX99" y="connsiteY99"/>
                        </a:cxn>
                        <a:cxn ang="0">
                          <a:pos x="connsiteX100" y="connsiteY100"/>
                        </a:cxn>
                        <a:cxn ang="0">
                          <a:pos x="connsiteX101" y="connsiteY101"/>
                        </a:cxn>
                        <a:cxn ang="0">
                          <a:pos x="connsiteX102" y="connsiteY102"/>
                        </a:cxn>
                        <a:cxn ang="0">
                          <a:pos x="connsiteX103" y="connsiteY103"/>
                        </a:cxn>
                        <a:cxn ang="0">
                          <a:pos x="connsiteX104" y="connsiteY104"/>
                        </a:cxn>
                        <a:cxn ang="0">
                          <a:pos x="connsiteX105" y="connsiteY105"/>
                        </a:cxn>
                        <a:cxn ang="0">
                          <a:pos x="connsiteX106" y="connsiteY106"/>
                        </a:cxn>
                        <a:cxn ang="0">
                          <a:pos x="connsiteX107" y="connsiteY107"/>
                        </a:cxn>
                        <a:cxn ang="0">
                          <a:pos x="connsiteX108" y="connsiteY108"/>
                        </a:cxn>
                        <a:cxn ang="0">
                          <a:pos x="connsiteX109" y="connsiteY109"/>
                        </a:cxn>
                        <a:cxn ang="0">
                          <a:pos x="connsiteX110" y="connsiteY110"/>
                        </a:cxn>
                        <a:cxn ang="0">
                          <a:pos x="connsiteX111" y="connsiteY111"/>
                        </a:cxn>
                        <a:cxn ang="0">
                          <a:pos x="connsiteX112" y="connsiteY112"/>
                        </a:cxn>
                        <a:cxn ang="0">
                          <a:pos x="connsiteX113" y="connsiteY113"/>
                        </a:cxn>
                        <a:cxn ang="0">
                          <a:pos x="connsiteX114" y="connsiteY114"/>
                        </a:cxn>
                        <a:cxn ang="0">
                          <a:pos x="connsiteX115" y="connsiteY115"/>
                        </a:cxn>
                        <a:cxn ang="0">
                          <a:pos x="connsiteX116" y="connsiteY116"/>
                        </a:cxn>
                        <a:cxn ang="0">
                          <a:pos x="connsiteX117" y="connsiteY117"/>
                        </a:cxn>
                        <a:cxn ang="0">
                          <a:pos x="connsiteX118" y="connsiteY118"/>
                        </a:cxn>
                        <a:cxn ang="0">
                          <a:pos x="connsiteX119" y="connsiteY119"/>
                        </a:cxn>
                        <a:cxn ang="0">
                          <a:pos x="connsiteX120" y="connsiteY120"/>
                        </a:cxn>
                        <a:cxn ang="0">
                          <a:pos x="connsiteX121" y="connsiteY121"/>
                        </a:cxn>
                        <a:cxn ang="0">
                          <a:pos x="connsiteX122" y="connsiteY122"/>
                        </a:cxn>
                        <a:cxn ang="0">
                          <a:pos x="connsiteX123" y="connsiteY123"/>
                        </a:cxn>
                        <a:cxn ang="0">
                          <a:pos x="connsiteX124" y="connsiteY124"/>
                        </a:cxn>
                        <a:cxn ang="0">
                          <a:pos x="connsiteX125" y="connsiteY125"/>
                        </a:cxn>
                        <a:cxn ang="0">
                          <a:pos x="connsiteX126" y="connsiteY126"/>
                        </a:cxn>
                        <a:cxn ang="0">
                          <a:pos x="connsiteX127" y="connsiteY127"/>
                        </a:cxn>
                        <a:cxn ang="0">
                          <a:pos x="connsiteX128" y="connsiteY128"/>
                        </a:cxn>
                        <a:cxn ang="0">
                          <a:pos x="connsiteX129" y="connsiteY129"/>
                        </a:cxn>
                        <a:cxn ang="0">
                          <a:pos x="connsiteX130" y="connsiteY130"/>
                        </a:cxn>
                        <a:cxn ang="0">
                          <a:pos x="connsiteX131" y="connsiteY131"/>
                        </a:cxn>
                        <a:cxn ang="0">
                          <a:pos x="connsiteX132" y="connsiteY132"/>
                        </a:cxn>
                        <a:cxn ang="0">
                          <a:pos x="connsiteX133" y="connsiteY133"/>
                        </a:cxn>
                        <a:cxn ang="0">
                          <a:pos x="connsiteX134" y="connsiteY134"/>
                        </a:cxn>
                        <a:cxn ang="0">
                          <a:pos x="connsiteX135" y="connsiteY135"/>
                        </a:cxn>
                        <a:cxn ang="0">
                          <a:pos x="connsiteX136" y="connsiteY136"/>
                        </a:cxn>
                        <a:cxn ang="0">
                          <a:pos x="connsiteX137" y="connsiteY137"/>
                        </a:cxn>
                        <a:cxn ang="0">
                          <a:pos x="connsiteX138" y="connsiteY138"/>
                        </a:cxn>
                        <a:cxn ang="0">
                          <a:pos x="connsiteX139" y="connsiteY139"/>
                        </a:cxn>
                        <a:cxn ang="0">
                          <a:pos x="connsiteX140" y="connsiteY140"/>
                        </a:cxn>
                        <a:cxn ang="0">
                          <a:pos x="connsiteX141" y="connsiteY141"/>
                        </a:cxn>
                        <a:cxn ang="0">
                          <a:pos x="connsiteX142" y="connsiteY142"/>
                        </a:cxn>
                        <a:cxn ang="0">
                          <a:pos x="connsiteX143" y="connsiteY143"/>
                        </a:cxn>
                        <a:cxn ang="0">
                          <a:pos x="connsiteX144" y="connsiteY144"/>
                        </a:cxn>
                        <a:cxn ang="0">
                          <a:pos x="connsiteX145" y="connsiteY145"/>
                        </a:cxn>
                        <a:cxn ang="0">
                          <a:pos x="connsiteX146" y="connsiteY146"/>
                        </a:cxn>
                        <a:cxn ang="0">
                          <a:pos x="connsiteX147" y="connsiteY147"/>
                        </a:cxn>
                        <a:cxn ang="0">
                          <a:pos x="connsiteX148" y="connsiteY148"/>
                        </a:cxn>
                        <a:cxn ang="0">
                          <a:pos x="connsiteX149" y="connsiteY149"/>
                        </a:cxn>
                        <a:cxn ang="0">
                          <a:pos x="connsiteX150" y="connsiteY150"/>
                        </a:cxn>
                        <a:cxn ang="0">
                          <a:pos x="connsiteX151" y="connsiteY151"/>
                        </a:cxn>
                        <a:cxn ang="0">
                          <a:pos x="connsiteX152" y="connsiteY152"/>
                        </a:cxn>
                        <a:cxn ang="0">
                          <a:pos x="connsiteX153" y="connsiteY153"/>
                        </a:cxn>
                        <a:cxn ang="0">
                          <a:pos x="connsiteX154" y="connsiteY154"/>
                        </a:cxn>
                        <a:cxn ang="0">
                          <a:pos x="connsiteX155" y="connsiteY155"/>
                        </a:cxn>
                        <a:cxn ang="0">
                          <a:pos x="connsiteX156" y="connsiteY156"/>
                        </a:cxn>
                        <a:cxn ang="0">
                          <a:pos x="connsiteX157" y="connsiteY157"/>
                        </a:cxn>
                        <a:cxn ang="0">
                          <a:pos x="connsiteX158" y="connsiteY158"/>
                        </a:cxn>
                        <a:cxn ang="0">
                          <a:pos x="connsiteX159" y="connsiteY159"/>
                        </a:cxn>
                        <a:cxn ang="0">
                          <a:pos x="connsiteX160" y="connsiteY160"/>
                        </a:cxn>
                        <a:cxn ang="0">
                          <a:pos x="connsiteX161" y="connsiteY161"/>
                        </a:cxn>
                        <a:cxn ang="0">
                          <a:pos x="connsiteX162" y="connsiteY162"/>
                        </a:cxn>
                        <a:cxn ang="0">
                          <a:pos x="connsiteX163" y="connsiteY163"/>
                        </a:cxn>
                        <a:cxn ang="0">
                          <a:pos x="connsiteX164" y="connsiteY164"/>
                        </a:cxn>
                        <a:cxn ang="0">
                          <a:pos x="connsiteX165" y="connsiteY165"/>
                        </a:cxn>
                        <a:cxn ang="0">
                          <a:pos x="connsiteX166" y="connsiteY166"/>
                        </a:cxn>
                        <a:cxn ang="0">
                          <a:pos x="connsiteX167" y="connsiteY167"/>
                        </a:cxn>
                        <a:cxn ang="0">
                          <a:pos x="connsiteX168" y="connsiteY168"/>
                        </a:cxn>
                        <a:cxn ang="0">
                          <a:pos x="connsiteX169" y="connsiteY169"/>
                        </a:cxn>
                        <a:cxn ang="0">
                          <a:pos x="connsiteX170" y="connsiteY170"/>
                        </a:cxn>
                        <a:cxn ang="0">
                          <a:pos x="connsiteX171" y="connsiteY171"/>
                        </a:cxn>
                        <a:cxn ang="0">
                          <a:pos x="connsiteX172" y="connsiteY172"/>
                        </a:cxn>
                        <a:cxn ang="0">
                          <a:pos x="connsiteX173" y="connsiteY173"/>
                        </a:cxn>
                        <a:cxn ang="0">
                          <a:pos x="connsiteX174" y="connsiteY174"/>
                        </a:cxn>
                        <a:cxn ang="0">
                          <a:pos x="connsiteX175" y="connsiteY175"/>
                        </a:cxn>
                        <a:cxn ang="0">
                          <a:pos x="connsiteX176" y="connsiteY176"/>
                        </a:cxn>
                        <a:cxn ang="0">
                          <a:pos x="connsiteX177" y="connsiteY177"/>
                        </a:cxn>
                        <a:cxn ang="0">
                          <a:pos x="connsiteX178" y="connsiteY178"/>
                        </a:cxn>
                        <a:cxn ang="0">
                          <a:pos x="connsiteX179" y="connsiteY179"/>
                        </a:cxn>
                        <a:cxn ang="0">
                          <a:pos x="connsiteX180" y="connsiteY180"/>
                        </a:cxn>
                        <a:cxn ang="0">
                          <a:pos x="connsiteX181" y="connsiteY181"/>
                        </a:cxn>
                        <a:cxn ang="0">
                          <a:pos x="connsiteX182" y="connsiteY182"/>
                        </a:cxn>
                        <a:cxn ang="0">
                          <a:pos x="connsiteX183" y="connsiteY183"/>
                        </a:cxn>
                        <a:cxn ang="0">
                          <a:pos x="connsiteX184" y="connsiteY184"/>
                        </a:cxn>
                        <a:cxn ang="0">
                          <a:pos x="connsiteX185" y="connsiteY185"/>
                        </a:cxn>
                        <a:cxn ang="0">
                          <a:pos x="connsiteX186" y="connsiteY186"/>
                        </a:cxn>
                        <a:cxn ang="0">
                          <a:pos x="connsiteX187" y="connsiteY187"/>
                        </a:cxn>
                        <a:cxn ang="0">
                          <a:pos x="connsiteX188" y="connsiteY188"/>
                        </a:cxn>
                        <a:cxn ang="0">
                          <a:pos x="connsiteX189" y="connsiteY189"/>
                        </a:cxn>
                        <a:cxn ang="0">
                          <a:pos x="connsiteX190" y="connsiteY190"/>
                        </a:cxn>
                        <a:cxn ang="0">
                          <a:pos x="connsiteX191" y="connsiteY191"/>
                        </a:cxn>
                        <a:cxn ang="0">
                          <a:pos x="connsiteX192" y="connsiteY192"/>
                        </a:cxn>
                        <a:cxn ang="0">
                          <a:pos x="connsiteX193" y="connsiteY193"/>
                        </a:cxn>
                        <a:cxn ang="0">
                          <a:pos x="connsiteX194" y="connsiteY194"/>
                        </a:cxn>
                        <a:cxn ang="0">
                          <a:pos x="connsiteX195" y="connsiteY195"/>
                        </a:cxn>
                        <a:cxn ang="0">
                          <a:pos x="connsiteX196" y="connsiteY196"/>
                        </a:cxn>
                        <a:cxn ang="0">
                          <a:pos x="connsiteX197" y="connsiteY197"/>
                        </a:cxn>
                        <a:cxn ang="0">
                          <a:pos x="connsiteX198" y="connsiteY198"/>
                        </a:cxn>
                        <a:cxn ang="0">
                          <a:pos x="connsiteX199" y="connsiteY199"/>
                        </a:cxn>
                        <a:cxn ang="0">
                          <a:pos x="connsiteX200" y="connsiteY200"/>
                        </a:cxn>
                        <a:cxn ang="0">
                          <a:pos x="connsiteX201" y="connsiteY201"/>
                        </a:cxn>
                        <a:cxn ang="0">
                          <a:pos x="connsiteX202" y="connsiteY202"/>
                        </a:cxn>
                        <a:cxn ang="0">
                          <a:pos x="connsiteX203" y="connsiteY203"/>
                        </a:cxn>
                        <a:cxn ang="0">
                          <a:pos x="connsiteX204" y="connsiteY204"/>
                        </a:cxn>
                        <a:cxn ang="0">
                          <a:pos x="connsiteX205" y="connsiteY205"/>
                        </a:cxn>
                        <a:cxn ang="0">
                          <a:pos x="connsiteX206" y="connsiteY206"/>
                        </a:cxn>
                        <a:cxn ang="0">
                          <a:pos x="connsiteX207" y="connsiteY207"/>
                        </a:cxn>
                        <a:cxn ang="0">
                          <a:pos x="connsiteX208" y="connsiteY208"/>
                        </a:cxn>
                        <a:cxn ang="0">
                          <a:pos x="connsiteX209" y="connsiteY209"/>
                        </a:cxn>
                        <a:cxn ang="0">
                          <a:pos x="connsiteX210" y="connsiteY210"/>
                        </a:cxn>
                        <a:cxn ang="0">
                          <a:pos x="connsiteX211" y="connsiteY211"/>
                        </a:cxn>
                        <a:cxn ang="0">
                          <a:pos x="connsiteX212" y="connsiteY212"/>
                        </a:cxn>
                        <a:cxn ang="0">
                          <a:pos x="connsiteX213" y="connsiteY213"/>
                        </a:cxn>
                        <a:cxn ang="0">
                          <a:pos x="connsiteX214" y="connsiteY214"/>
                        </a:cxn>
                        <a:cxn ang="0">
                          <a:pos x="connsiteX215" y="connsiteY215"/>
                        </a:cxn>
                        <a:cxn ang="0">
                          <a:pos x="connsiteX216" y="connsiteY216"/>
                        </a:cxn>
                        <a:cxn ang="0">
                          <a:pos x="connsiteX217" y="connsiteY217"/>
                        </a:cxn>
                        <a:cxn ang="0">
                          <a:pos x="connsiteX218" y="connsiteY218"/>
                        </a:cxn>
                        <a:cxn ang="0">
                          <a:pos x="connsiteX219" y="connsiteY219"/>
                        </a:cxn>
                        <a:cxn ang="0">
                          <a:pos x="connsiteX220" y="connsiteY220"/>
                        </a:cxn>
                        <a:cxn ang="0">
                          <a:pos x="connsiteX221" y="connsiteY221"/>
                        </a:cxn>
                        <a:cxn ang="0">
                          <a:pos x="connsiteX222" y="connsiteY222"/>
                        </a:cxn>
                        <a:cxn ang="0">
                          <a:pos x="connsiteX223" y="connsiteY223"/>
                        </a:cxn>
                        <a:cxn ang="0">
                          <a:pos x="connsiteX224" y="connsiteY224"/>
                        </a:cxn>
                        <a:cxn ang="0">
                          <a:pos x="connsiteX225" y="connsiteY225"/>
                        </a:cxn>
                        <a:cxn ang="0">
                          <a:pos x="connsiteX226" y="connsiteY226"/>
                        </a:cxn>
                        <a:cxn ang="0">
                          <a:pos x="connsiteX227" y="connsiteY227"/>
                        </a:cxn>
                        <a:cxn ang="0">
                          <a:pos x="connsiteX228" y="connsiteY228"/>
                        </a:cxn>
                        <a:cxn ang="0">
                          <a:pos x="connsiteX229" y="connsiteY229"/>
                        </a:cxn>
                        <a:cxn ang="0">
                          <a:pos x="connsiteX230" y="connsiteY230"/>
                        </a:cxn>
                        <a:cxn ang="0">
                          <a:pos x="connsiteX231" y="connsiteY231"/>
                        </a:cxn>
                        <a:cxn ang="0">
                          <a:pos x="connsiteX232" y="connsiteY232"/>
                        </a:cxn>
                        <a:cxn ang="0">
                          <a:pos x="connsiteX233" y="connsiteY233"/>
                        </a:cxn>
                        <a:cxn ang="0">
                          <a:pos x="connsiteX234" y="connsiteY234"/>
                        </a:cxn>
                        <a:cxn ang="0">
                          <a:pos x="connsiteX235" y="connsiteY235"/>
                        </a:cxn>
                        <a:cxn ang="0">
                          <a:pos x="connsiteX236" y="connsiteY236"/>
                        </a:cxn>
                        <a:cxn ang="0">
                          <a:pos x="connsiteX237" y="connsiteY237"/>
                        </a:cxn>
                        <a:cxn ang="0">
                          <a:pos x="connsiteX238" y="connsiteY238"/>
                        </a:cxn>
                        <a:cxn ang="0">
                          <a:pos x="connsiteX239" y="connsiteY239"/>
                        </a:cxn>
                        <a:cxn ang="0">
                          <a:pos x="connsiteX240" y="connsiteY240"/>
                        </a:cxn>
                        <a:cxn ang="0">
                          <a:pos x="connsiteX241" y="connsiteY241"/>
                        </a:cxn>
                        <a:cxn ang="0">
                          <a:pos x="connsiteX242" y="connsiteY242"/>
                        </a:cxn>
                        <a:cxn ang="0">
                          <a:pos x="connsiteX243" y="connsiteY243"/>
                        </a:cxn>
                        <a:cxn ang="0">
                          <a:pos x="connsiteX244" y="connsiteY244"/>
                        </a:cxn>
                        <a:cxn ang="0">
                          <a:pos x="connsiteX245" y="connsiteY245"/>
                        </a:cxn>
                        <a:cxn ang="0">
                          <a:pos x="connsiteX246" y="connsiteY246"/>
                        </a:cxn>
                        <a:cxn ang="0">
                          <a:pos x="connsiteX247" y="connsiteY247"/>
                        </a:cxn>
                        <a:cxn ang="0">
                          <a:pos x="connsiteX248" y="connsiteY248"/>
                        </a:cxn>
                        <a:cxn ang="0">
                          <a:pos x="connsiteX249" y="connsiteY249"/>
                        </a:cxn>
                        <a:cxn ang="0">
                          <a:pos x="connsiteX250" y="connsiteY250"/>
                        </a:cxn>
                        <a:cxn ang="0">
                          <a:pos x="connsiteX251" y="connsiteY251"/>
                        </a:cxn>
                        <a:cxn ang="0">
                          <a:pos x="connsiteX252" y="connsiteY252"/>
                        </a:cxn>
                        <a:cxn ang="0">
                          <a:pos x="connsiteX253" y="connsiteY253"/>
                        </a:cxn>
                        <a:cxn ang="0">
                          <a:pos x="connsiteX254" y="connsiteY254"/>
                        </a:cxn>
                        <a:cxn ang="0">
                          <a:pos x="connsiteX255" y="connsiteY255"/>
                        </a:cxn>
                        <a:cxn ang="0">
                          <a:pos x="connsiteX256" y="connsiteY256"/>
                        </a:cxn>
                        <a:cxn ang="0">
                          <a:pos x="connsiteX257" y="connsiteY257"/>
                        </a:cxn>
                        <a:cxn ang="0">
                          <a:pos x="connsiteX258" y="connsiteY258"/>
                        </a:cxn>
                        <a:cxn ang="0">
                          <a:pos x="connsiteX259" y="connsiteY259"/>
                        </a:cxn>
                        <a:cxn ang="0">
                          <a:pos x="connsiteX260" y="connsiteY260"/>
                        </a:cxn>
                        <a:cxn ang="0">
                          <a:pos x="connsiteX261" y="connsiteY261"/>
                        </a:cxn>
                        <a:cxn ang="0">
                          <a:pos x="connsiteX262" y="connsiteY262"/>
                        </a:cxn>
                        <a:cxn ang="0">
                          <a:pos x="connsiteX263" y="connsiteY263"/>
                        </a:cxn>
                        <a:cxn ang="0">
                          <a:pos x="connsiteX264" y="connsiteY264"/>
                        </a:cxn>
                        <a:cxn ang="0">
                          <a:pos x="connsiteX265" y="connsiteY265"/>
                        </a:cxn>
                        <a:cxn ang="0">
                          <a:pos x="connsiteX266" y="connsiteY266"/>
                        </a:cxn>
                        <a:cxn ang="0">
                          <a:pos x="connsiteX267" y="connsiteY267"/>
                        </a:cxn>
                        <a:cxn ang="0">
                          <a:pos x="connsiteX268" y="connsiteY268"/>
                        </a:cxn>
                        <a:cxn ang="0">
                          <a:pos x="connsiteX269" y="connsiteY269"/>
                        </a:cxn>
                        <a:cxn ang="0">
                          <a:pos x="connsiteX270" y="connsiteY270"/>
                        </a:cxn>
                        <a:cxn ang="0">
                          <a:pos x="connsiteX271" y="connsiteY271"/>
                        </a:cxn>
                        <a:cxn ang="0">
                          <a:pos x="connsiteX272" y="connsiteY272"/>
                        </a:cxn>
                        <a:cxn ang="0">
                          <a:pos x="connsiteX273" y="connsiteY273"/>
                        </a:cxn>
                        <a:cxn ang="0">
                          <a:pos x="connsiteX274" y="connsiteY274"/>
                        </a:cxn>
                        <a:cxn ang="0">
                          <a:pos x="connsiteX275" y="connsiteY275"/>
                        </a:cxn>
                        <a:cxn ang="0">
                          <a:pos x="connsiteX276" y="connsiteY276"/>
                        </a:cxn>
                        <a:cxn ang="0">
                          <a:pos x="connsiteX277" y="connsiteY277"/>
                        </a:cxn>
                        <a:cxn ang="0">
                          <a:pos x="connsiteX278" y="connsiteY278"/>
                        </a:cxn>
                        <a:cxn ang="0">
                          <a:pos x="connsiteX279" y="connsiteY279"/>
                        </a:cxn>
                        <a:cxn ang="0">
                          <a:pos x="connsiteX280" y="connsiteY280"/>
                        </a:cxn>
                        <a:cxn ang="0">
                          <a:pos x="connsiteX281" y="connsiteY281"/>
                        </a:cxn>
                        <a:cxn ang="0">
                          <a:pos x="connsiteX282" y="connsiteY282"/>
                        </a:cxn>
                        <a:cxn ang="0">
                          <a:pos x="connsiteX283" y="connsiteY283"/>
                        </a:cxn>
                        <a:cxn ang="0">
                          <a:pos x="connsiteX284" y="connsiteY284"/>
                        </a:cxn>
                        <a:cxn ang="0">
                          <a:pos x="connsiteX285" y="connsiteY285"/>
                        </a:cxn>
                        <a:cxn ang="0">
                          <a:pos x="connsiteX286" y="connsiteY286"/>
                        </a:cxn>
                        <a:cxn ang="0">
                          <a:pos x="connsiteX287" y="connsiteY287"/>
                        </a:cxn>
                        <a:cxn ang="0">
                          <a:pos x="connsiteX288" y="connsiteY288"/>
                        </a:cxn>
                        <a:cxn ang="0">
                          <a:pos x="connsiteX289" y="connsiteY289"/>
                        </a:cxn>
                        <a:cxn ang="0">
                          <a:pos x="connsiteX290" y="connsiteY290"/>
                        </a:cxn>
                        <a:cxn ang="0">
                          <a:pos x="connsiteX291" y="connsiteY291"/>
                        </a:cxn>
                        <a:cxn ang="0">
                          <a:pos x="connsiteX292" y="connsiteY292"/>
                        </a:cxn>
                        <a:cxn ang="0">
                          <a:pos x="connsiteX293" y="connsiteY293"/>
                        </a:cxn>
                        <a:cxn ang="0">
                          <a:pos x="connsiteX294" y="connsiteY294"/>
                        </a:cxn>
                        <a:cxn ang="0">
                          <a:pos x="connsiteX295" y="connsiteY295"/>
                        </a:cxn>
                        <a:cxn ang="0">
                          <a:pos x="connsiteX296" y="connsiteY296"/>
                        </a:cxn>
                        <a:cxn ang="0">
                          <a:pos x="connsiteX297" y="connsiteY297"/>
                        </a:cxn>
                        <a:cxn ang="0">
                          <a:pos x="connsiteX298" y="connsiteY298"/>
                        </a:cxn>
                        <a:cxn ang="0">
                          <a:pos x="connsiteX299" y="connsiteY299"/>
                        </a:cxn>
                        <a:cxn ang="0">
                          <a:pos x="connsiteX300" y="connsiteY300"/>
                        </a:cxn>
                        <a:cxn ang="0">
                          <a:pos x="connsiteX301" y="connsiteY301"/>
                        </a:cxn>
                        <a:cxn ang="0">
                          <a:pos x="connsiteX302" y="connsiteY302"/>
                        </a:cxn>
                        <a:cxn ang="0">
                          <a:pos x="connsiteX303" y="connsiteY303"/>
                        </a:cxn>
                        <a:cxn ang="0">
                          <a:pos x="connsiteX304" y="connsiteY304"/>
                        </a:cxn>
                        <a:cxn ang="0">
                          <a:pos x="connsiteX305" y="connsiteY305"/>
                        </a:cxn>
                        <a:cxn ang="0">
                          <a:pos x="connsiteX306" y="connsiteY306"/>
                        </a:cxn>
                        <a:cxn ang="0">
                          <a:pos x="connsiteX307" y="connsiteY307"/>
                        </a:cxn>
                        <a:cxn ang="0">
                          <a:pos x="connsiteX308" y="connsiteY308"/>
                        </a:cxn>
                        <a:cxn ang="0">
                          <a:pos x="connsiteX309" y="connsiteY309"/>
                        </a:cxn>
                        <a:cxn ang="0">
                          <a:pos x="connsiteX310" y="connsiteY310"/>
                        </a:cxn>
                        <a:cxn ang="0">
                          <a:pos x="connsiteX311" y="connsiteY311"/>
                        </a:cxn>
                        <a:cxn ang="0">
                          <a:pos x="connsiteX312" y="connsiteY312"/>
                        </a:cxn>
                        <a:cxn ang="0">
                          <a:pos x="connsiteX313" y="connsiteY313"/>
                        </a:cxn>
                        <a:cxn ang="0">
                          <a:pos x="connsiteX314" y="connsiteY314"/>
                        </a:cxn>
                        <a:cxn ang="0">
                          <a:pos x="connsiteX315" y="connsiteY315"/>
                        </a:cxn>
                        <a:cxn ang="0">
                          <a:pos x="connsiteX316" y="connsiteY316"/>
                        </a:cxn>
                        <a:cxn ang="0">
                          <a:pos x="connsiteX317" y="connsiteY317"/>
                        </a:cxn>
                        <a:cxn ang="0">
                          <a:pos x="connsiteX318" y="connsiteY318"/>
                        </a:cxn>
                        <a:cxn ang="0">
                          <a:pos x="connsiteX319" y="connsiteY319"/>
                        </a:cxn>
                        <a:cxn ang="0">
                          <a:pos x="connsiteX320" y="connsiteY320"/>
                        </a:cxn>
                        <a:cxn ang="0">
                          <a:pos x="connsiteX321" y="connsiteY321"/>
                        </a:cxn>
                        <a:cxn ang="0">
                          <a:pos x="connsiteX322" y="connsiteY322"/>
                        </a:cxn>
                        <a:cxn ang="0">
                          <a:pos x="connsiteX323" y="connsiteY323"/>
                        </a:cxn>
                        <a:cxn ang="0">
                          <a:pos x="connsiteX324" y="connsiteY324"/>
                        </a:cxn>
                        <a:cxn ang="0">
                          <a:pos x="connsiteX325" y="connsiteY325"/>
                        </a:cxn>
                        <a:cxn ang="0">
                          <a:pos x="connsiteX326" y="connsiteY326"/>
                        </a:cxn>
                        <a:cxn ang="0">
                          <a:pos x="connsiteX327" y="connsiteY327"/>
                        </a:cxn>
                        <a:cxn ang="0">
                          <a:pos x="connsiteX328" y="connsiteY328"/>
                        </a:cxn>
                        <a:cxn ang="0">
                          <a:pos x="connsiteX329" y="connsiteY329"/>
                        </a:cxn>
                        <a:cxn ang="0">
                          <a:pos x="connsiteX330" y="connsiteY330"/>
                        </a:cxn>
                        <a:cxn ang="0">
                          <a:pos x="connsiteX331" y="connsiteY331"/>
                        </a:cxn>
                        <a:cxn ang="0">
                          <a:pos x="connsiteX332" y="connsiteY332"/>
                        </a:cxn>
                        <a:cxn ang="0">
                          <a:pos x="connsiteX333" y="connsiteY333"/>
                        </a:cxn>
                        <a:cxn ang="0">
                          <a:pos x="connsiteX334" y="connsiteY334"/>
                        </a:cxn>
                        <a:cxn ang="0">
                          <a:pos x="connsiteX335" y="connsiteY335"/>
                        </a:cxn>
                        <a:cxn ang="0">
                          <a:pos x="connsiteX336" y="connsiteY336"/>
                        </a:cxn>
                        <a:cxn ang="0">
                          <a:pos x="connsiteX337" y="connsiteY337"/>
                        </a:cxn>
                        <a:cxn ang="0">
                          <a:pos x="connsiteX338" y="connsiteY338"/>
                        </a:cxn>
                        <a:cxn ang="0">
                          <a:pos x="connsiteX339" y="connsiteY339"/>
                        </a:cxn>
                        <a:cxn ang="0">
                          <a:pos x="connsiteX340" y="connsiteY340"/>
                        </a:cxn>
                        <a:cxn ang="0">
                          <a:pos x="connsiteX341" y="connsiteY341"/>
                        </a:cxn>
                        <a:cxn ang="0">
                          <a:pos x="connsiteX342" y="connsiteY342"/>
                        </a:cxn>
                        <a:cxn ang="0">
                          <a:pos x="connsiteX343" y="connsiteY343"/>
                        </a:cxn>
                        <a:cxn ang="0">
                          <a:pos x="connsiteX344" y="connsiteY344"/>
                        </a:cxn>
                        <a:cxn ang="0">
                          <a:pos x="connsiteX345" y="connsiteY345"/>
                        </a:cxn>
                        <a:cxn ang="0">
                          <a:pos x="connsiteX346" y="connsiteY346"/>
                        </a:cxn>
                        <a:cxn ang="0">
                          <a:pos x="connsiteX347" y="connsiteY347"/>
                        </a:cxn>
                        <a:cxn ang="0">
                          <a:pos x="connsiteX348" y="connsiteY348"/>
                        </a:cxn>
                        <a:cxn ang="0">
                          <a:pos x="connsiteX349" y="connsiteY349"/>
                        </a:cxn>
                        <a:cxn ang="0">
                          <a:pos x="connsiteX350" y="connsiteY350"/>
                        </a:cxn>
                        <a:cxn ang="0">
                          <a:pos x="connsiteX351" y="connsiteY351"/>
                        </a:cxn>
                        <a:cxn ang="0">
                          <a:pos x="connsiteX352" y="connsiteY352"/>
                        </a:cxn>
                        <a:cxn ang="0">
                          <a:pos x="connsiteX353" y="connsiteY353"/>
                        </a:cxn>
                        <a:cxn ang="0">
                          <a:pos x="connsiteX354" y="connsiteY354"/>
                        </a:cxn>
                        <a:cxn ang="0">
                          <a:pos x="connsiteX355" y="connsiteY355"/>
                        </a:cxn>
                        <a:cxn ang="0">
                          <a:pos x="connsiteX356" y="connsiteY356"/>
                        </a:cxn>
                        <a:cxn ang="0">
                          <a:pos x="connsiteX357" y="connsiteY357"/>
                        </a:cxn>
                        <a:cxn ang="0">
                          <a:pos x="connsiteX358" y="connsiteY358"/>
                        </a:cxn>
                        <a:cxn ang="0">
                          <a:pos x="connsiteX359" y="connsiteY359"/>
                        </a:cxn>
                        <a:cxn ang="0">
                          <a:pos x="connsiteX360" y="connsiteY360"/>
                        </a:cxn>
                        <a:cxn ang="0">
                          <a:pos x="connsiteX361" y="connsiteY361"/>
                        </a:cxn>
                        <a:cxn ang="0">
                          <a:pos x="connsiteX362" y="connsiteY362"/>
                        </a:cxn>
                        <a:cxn ang="0">
                          <a:pos x="connsiteX363" y="connsiteY363"/>
                        </a:cxn>
                        <a:cxn ang="0">
                          <a:pos x="connsiteX364" y="connsiteY364"/>
                        </a:cxn>
                        <a:cxn ang="0">
                          <a:pos x="connsiteX365" y="connsiteY365"/>
                        </a:cxn>
                        <a:cxn ang="0">
                          <a:pos x="connsiteX366" y="connsiteY366"/>
                        </a:cxn>
                        <a:cxn ang="0">
                          <a:pos x="connsiteX367" y="connsiteY367"/>
                        </a:cxn>
                        <a:cxn ang="0">
                          <a:pos x="connsiteX368" y="connsiteY368"/>
                        </a:cxn>
                        <a:cxn ang="0">
                          <a:pos x="connsiteX369" y="connsiteY369"/>
                        </a:cxn>
                        <a:cxn ang="0">
                          <a:pos x="connsiteX370" y="connsiteY370"/>
                        </a:cxn>
                        <a:cxn ang="0">
                          <a:pos x="connsiteX371" y="connsiteY371"/>
                        </a:cxn>
                        <a:cxn ang="0">
                          <a:pos x="connsiteX372" y="connsiteY372"/>
                        </a:cxn>
                        <a:cxn ang="0">
                          <a:pos x="connsiteX373" y="connsiteY373"/>
                        </a:cxn>
                        <a:cxn ang="0">
                          <a:pos x="connsiteX374" y="connsiteY374"/>
                        </a:cxn>
                        <a:cxn ang="0">
                          <a:pos x="connsiteX375" y="connsiteY375"/>
                        </a:cxn>
                        <a:cxn ang="0">
                          <a:pos x="connsiteX376" y="connsiteY376"/>
                        </a:cxn>
                        <a:cxn ang="0">
                          <a:pos x="connsiteX377" y="connsiteY377"/>
                        </a:cxn>
                        <a:cxn ang="0">
                          <a:pos x="connsiteX378" y="connsiteY378"/>
                        </a:cxn>
                        <a:cxn ang="0">
                          <a:pos x="connsiteX379" y="connsiteY379"/>
                        </a:cxn>
                        <a:cxn ang="0">
                          <a:pos x="connsiteX380" y="connsiteY380"/>
                        </a:cxn>
                        <a:cxn ang="0">
                          <a:pos x="connsiteX381" y="connsiteY381"/>
                        </a:cxn>
                        <a:cxn ang="0">
                          <a:pos x="connsiteX382" y="connsiteY382"/>
                        </a:cxn>
                        <a:cxn ang="0">
                          <a:pos x="connsiteX383" y="connsiteY383"/>
                        </a:cxn>
                        <a:cxn ang="0">
                          <a:pos x="connsiteX384" y="connsiteY384"/>
                        </a:cxn>
                        <a:cxn ang="0">
                          <a:pos x="connsiteX385" y="connsiteY385"/>
                        </a:cxn>
                        <a:cxn ang="0">
                          <a:pos x="connsiteX386" y="connsiteY386"/>
                        </a:cxn>
                        <a:cxn ang="0">
                          <a:pos x="connsiteX387" y="connsiteY387"/>
                        </a:cxn>
                        <a:cxn ang="0">
                          <a:pos x="connsiteX388" y="connsiteY388"/>
                        </a:cxn>
                        <a:cxn ang="0">
                          <a:pos x="connsiteX389" y="connsiteY389"/>
                        </a:cxn>
                        <a:cxn ang="0">
                          <a:pos x="connsiteX390" y="connsiteY390"/>
                        </a:cxn>
                        <a:cxn ang="0">
                          <a:pos x="connsiteX391" y="connsiteY391"/>
                        </a:cxn>
                        <a:cxn ang="0">
                          <a:pos x="connsiteX392" y="connsiteY392"/>
                        </a:cxn>
                        <a:cxn ang="0">
                          <a:pos x="connsiteX393" y="connsiteY393"/>
                        </a:cxn>
                        <a:cxn ang="0">
                          <a:pos x="connsiteX394" y="connsiteY394"/>
                        </a:cxn>
                        <a:cxn ang="0">
                          <a:pos x="connsiteX395" y="connsiteY395"/>
                        </a:cxn>
                        <a:cxn ang="0">
                          <a:pos x="connsiteX396" y="connsiteY396"/>
                        </a:cxn>
                        <a:cxn ang="0">
                          <a:pos x="connsiteX397" y="connsiteY397"/>
                        </a:cxn>
                        <a:cxn ang="0">
                          <a:pos x="connsiteX398" y="connsiteY398"/>
                        </a:cxn>
                        <a:cxn ang="0">
                          <a:pos x="connsiteX399" y="connsiteY399"/>
                        </a:cxn>
                        <a:cxn ang="0">
                          <a:pos x="connsiteX400" y="connsiteY400"/>
                        </a:cxn>
                        <a:cxn ang="0">
                          <a:pos x="connsiteX401" y="connsiteY401"/>
                        </a:cxn>
                        <a:cxn ang="0">
                          <a:pos x="connsiteX402" y="connsiteY402"/>
                        </a:cxn>
                        <a:cxn ang="0">
                          <a:pos x="connsiteX403" y="connsiteY403"/>
                        </a:cxn>
                        <a:cxn ang="0">
                          <a:pos x="connsiteX404" y="connsiteY404"/>
                        </a:cxn>
                        <a:cxn ang="0">
                          <a:pos x="connsiteX405" y="connsiteY405"/>
                        </a:cxn>
                        <a:cxn ang="0">
                          <a:pos x="connsiteX406" y="connsiteY406"/>
                        </a:cxn>
                        <a:cxn ang="0">
                          <a:pos x="connsiteX407" y="connsiteY407"/>
                        </a:cxn>
                        <a:cxn ang="0">
                          <a:pos x="connsiteX408" y="connsiteY408"/>
                        </a:cxn>
                        <a:cxn ang="0">
                          <a:pos x="connsiteX409" y="connsiteY409"/>
                        </a:cxn>
                        <a:cxn ang="0">
                          <a:pos x="connsiteX410" y="connsiteY410"/>
                        </a:cxn>
                        <a:cxn ang="0">
                          <a:pos x="connsiteX411" y="connsiteY411"/>
                        </a:cxn>
                        <a:cxn ang="0">
                          <a:pos x="connsiteX412" y="connsiteY412"/>
                        </a:cxn>
                        <a:cxn ang="0">
                          <a:pos x="connsiteX413" y="connsiteY413"/>
                        </a:cxn>
                        <a:cxn ang="0">
                          <a:pos x="connsiteX414" y="connsiteY414"/>
                        </a:cxn>
                        <a:cxn ang="0">
                          <a:pos x="connsiteX415" y="connsiteY415"/>
                        </a:cxn>
                        <a:cxn ang="0">
                          <a:pos x="connsiteX416" y="connsiteY416"/>
                        </a:cxn>
                        <a:cxn ang="0">
                          <a:pos x="connsiteX417" y="connsiteY417"/>
                        </a:cxn>
                        <a:cxn ang="0">
                          <a:pos x="connsiteX418" y="connsiteY418"/>
                        </a:cxn>
                        <a:cxn ang="0">
                          <a:pos x="connsiteX419" y="connsiteY419"/>
                        </a:cxn>
                        <a:cxn ang="0">
                          <a:pos x="connsiteX420" y="connsiteY420"/>
                        </a:cxn>
                        <a:cxn ang="0">
                          <a:pos x="connsiteX421" y="connsiteY421"/>
                        </a:cxn>
                        <a:cxn ang="0">
                          <a:pos x="connsiteX422" y="connsiteY422"/>
                        </a:cxn>
                        <a:cxn ang="0">
                          <a:pos x="connsiteX423" y="connsiteY423"/>
                        </a:cxn>
                        <a:cxn ang="0">
                          <a:pos x="connsiteX424" y="connsiteY424"/>
                        </a:cxn>
                        <a:cxn ang="0">
                          <a:pos x="connsiteX425" y="connsiteY425"/>
                        </a:cxn>
                        <a:cxn ang="0">
                          <a:pos x="connsiteX426" y="connsiteY426"/>
                        </a:cxn>
                        <a:cxn ang="0">
                          <a:pos x="connsiteX427" y="connsiteY427"/>
                        </a:cxn>
                        <a:cxn ang="0">
                          <a:pos x="connsiteX428" y="connsiteY428"/>
                        </a:cxn>
                        <a:cxn ang="0">
                          <a:pos x="connsiteX429" y="connsiteY429"/>
                        </a:cxn>
                        <a:cxn ang="0">
                          <a:pos x="connsiteX430" y="connsiteY430"/>
                        </a:cxn>
                        <a:cxn ang="0">
                          <a:pos x="connsiteX431" y="connsiteY431"/>
                        </a:cxn>
                        <a:cxn ang="0">
                          <a:pos x="connsiteX432" y="connsiteY432"/>
                        </a:cxn>
                        <a:cxn ang="0">
                          <a:pos x="connsiteX433" y="connsiteY433"/>
                        </a:cxn>
                        <a:cxn ang="0">
                          <a:pos x="connsiteX434" y="connsiteY434"/>
                        </a:cxn>
                        <a:cxn ang="0">
                          <a:pos x="connsiteX435" y="connsiteY435"/>
                        </a:cxn>
                        <a:cxn ang="0">
                          <a:pos x="connsiteX436" y="connsiteY436"/>
                        </a:cxn>
                        <a:cxn ang="0">
                          <a:pos x="connsiteX437" y="connsiteY437"/>
                        </a:cxn>
                        <a:cxn ang="0">
                          <a:pos x="connsiteX438" y="connsiteY438"/>
                        </a:cxn>
                        <a:cxn ang="0">
                          <a:pos x="connsiteX439" y="connsiteY439"/>
                        </a:cxn>
                        <a:cxn ang="0">
                          <a:pos x="connsiteX440" y="connsiteY440"/>
                        </a:cxn>
                        <a:cxn ang="0">
                          <a:pos x="connsiteX441" y="connsiteY441"/>
                        </a:cxn>
                        <a:cxn ang="0">
                          <a:pos x="connsiteX442" y="connsiteY442"/>
                        </a:cxn>
                        <a:cxn ang="0">
                          <a:pos x="connsiteX443" y="connsiteY443"/>
                        </a:cxn>
                        <a:cxn ang="0">
                          <a:pos x="connsiteX444" y="connsiteY444"/>
                        </a:cxn>
                        <a:cxn ang="0">
                          <a:pos x="connsiteX445" y="connsiteY445"/>
                        </a:cxn>
                        <a:cxn ang="0">
                          <a:pos x="connsiteX446" y="connsiteY446"/>
                        </a:cxn>
                        <a:cxn ang="0">
                          <a:pos x="connsiteX447" y="connsiteY447"/>
                        </a:cxn>
                        <a:cxn ang="0">
                          <a:pos x="connsiteX448" y="connsiteY448"/>
                        </a:cxn>
                        <a:cxn ang="0">
                          <a:pos x="connsiteX449" y="connsiteY449"/>
                        </a:cxn>
                        <a:cxn ang="0">
                          <a:pos x="connsiteX450" y="connsiteY450"/>
                        </a:cxn>
                        <a:cxn ang="0">
                          <a:pos x="connsiteX451" y="connsiteY451"/>
                        </a:cxn>
                        <a:cxn ang="0">
                          <a:pos x="connsiteX452" y="connsiteY452"/>
                        </a:cxn>
                        <a:cxn ang="0">
                          <a:pos x="connsiteX453" y="connsiteY453"/>
                        </a:cxn>
                        <a:cxn ang="0">
                          <a:pos x="connsiteX454" y="connsiteY454"/>
                        </a:cxn>
                        <a:cxn ang="0">
                          <a:pos x="connsiteX455" y="connsiteY455"/>
                        </a:cxn>
                        <a:cxn ang="0">
                          <a:pos x="connsiteX456" y="connsiteY456"/>
                        </a:cxn>
                        <a:cxn ang="0">
                          <a:pos x="connsiteX457" y="connsiteY457"/>
                        </a:cxn>
                        <a:cxn ang="0">
                          <a:pos x="connsiteX458" y="connsiteY458"/>
                        </a:cxn>
                        <a:cxn ang="0">
                          <a:pos x="connsiteX459" y="connsiteY459"/>
                        </a:cxn>
                        <a:cxn ang="0">
                          <a:pos x="connsiteX460" y="connsiteY460"/>
                        </a:cxn>
                        <a:cxn ang="0">
                          <a:pos x="connsiteX461" y="connsiteY461"/>
                        </a:cxn>
                        <a:cxn ang="0">
                          <a:pos x="connsiteX462" y="connsiteY462"/>
                        </a:cxn>
                        <a:cxn ang="0">
                          <a:pos x="connsiteX463" y="connsiteY463"/>
                        </a:cxn>
                        <a:cxn ang="0">
                          <a:pos x="connsiteX464" y="connsiteY464"/>
                        </a:cxn>
                        <a:cxn ang="0">
                          <a:pos x="connsiteX465" y="connsiteY465"/>
                        </a:cxn>
                      </a:cxnLst>
                      <a:rect l="l" t="t" r="r" b="b"/>
                      <a:pathLst>
                        <a:path w="3443226" h="2237732">
                          <a:moveTo>
                            <a:pt x="3431447" y="1634527"/>
                          </a:moveTo>
                          <a:cubicBezTo>
                            <a:pt x="3419078" y="1631476"/>
                            <a:pt x="3407451" y="1622158"/>
                            <a:pt x="3419903" y="1621168"/>
                          </a:cubicBezTo>
                          <a:cubicBezTo>
                            <a:pt x="3429633" y="1620385"/>
                            <a:pt x="3435570" y="1615025"/>
                            <a:pt x="3440229" y="1603851"/>
                          </a:cubicBezTo>
                          <a:cubicBezTo>
                            <a:pt x="3432684" y="1599510"/>
                            <a:pt x="3426417" y="1593309"/>
                            <a:pt x="3421964" y="1585834"/>
                          </a:cubicBezTo>
                          <a:cubicBezTo>
                            <a:pt x="3418006" y="1579092"/>
                            <a:pt x="3416027" y="1571382"/>
                            <a:pt x="3416192" y="1563569"/>
                          </a:cubicBezTo>
                          <a:cubicBezTo>
                            <a:pt x="3412563" y="1558786"/>
                            <a:pt x="3409224" y="1553798"/>
                            <a:pt x="3406008" y="1548726"/>
                          </a:cubicBezTo>
                          <a:cubicBezTo>
                            <a:pt x="3397762" y="1552272"/>
                            <a:pt x="3390423" y="1564847"/>
                            <a:pt x="3379909" y="1563528"/>
                          </a:cubicBezTo>
                          <a:cubicBezTo>
                            <a:pt x="3363004" y="1561467"/>
                            <a:pt x="3391453" y="1536811"/>
                            <a:pt x="3377229" y="1526421"/>
                          </a:cubicBezTo>
                          <a:cubicBezTo>
                            <a:pt x="3363004" y="1516030"/>
                            <a:pt x="3336370" y="1523328"/>
                            <a:pt x="3315053" y="1543902"/>
                          </a:cubicBezTo>
                          <a:cubicBezTo>
                            <a:pt x="3293737" y="1564476"/>
                            <a:pt x="3295510" y="1542872"/>
                            <a:pt x="3276833" y="1563446"/>
                          </a:cubicBezTo>
                          <a:cubicBezTo>
                            <a:pt x="3258156" y="1584019"/>
                            <a:pt x="3258196" y="1553179"/>
                            <a:pt x="3267102" y="1544933"/>
                          </a:cubicBezTo>
                          <a:cubicBezTo>
                            <a:pt x="3276008" y="1536687"/>
                            <a:pt x="3282193" y="1545964"/>
                            <a:pt x="3290191" y="1533636"/>
                          </a:cubicBezTo>
                          <a:cubicBezTo>
                            <a:pt x="3298190" y="1521308"/>
                            <a:pt x="3306189" y="1533636"/>
                            <a:pt x="3326598" y="1518175"/>
                          </a:cubicBezTo>
                          <a:cubicBezTo>
                            <a:pt x="3342554" y="1506135"/>
                            <a:pt x="3356778" y="1507826"/>
                            <a:pt x="3365272" y="1503785"/>
                          </a:cubicBezTo>
                          <a:cubicBezTo>
                            <a:pt x="3362633" y="1500235"/>
                            <a:pt x="3360407" y="1496388"/>
                            <a:pt x="3358634" y="1492323"/>
                          </a:cubicBezTo>
                          <a:cubicBezTo>
                            <a:pt x="3358634" y="1491787"/>
                            <a:pt x="3358139" y="1491292"/>
                            <a:pt x="3357933" y="1490756"/>
                          </a:cubicBezTo>
                          <a:cubicBezTo>
                            <a:pt x="3353357" y="1487458"/>
                            <a:pt x="3349399" y="1483401"/>
                            <a:pt x="3346224" y="1478758"/>
                          </a:cubicBezTo>
                          <a:cubicBezTo>
                            <a:pt x="3343667" y="1479315"/>
                            <a:pt x="3341070" y="1479603"/>
                            <a:pt x="3338472" y="1479624"/>
                          </a:cubicBezTo>
                          <a:lnTo>
                            <a:pt x="3336287" y="1479624"/>
                          </a:lnTo>
                          <a:cubicBezTo>
                            <a:pt x="3330020" y="1479603"/>
                            <a:pt x="3323835" y="1478136"/>
                            <a:pt x="3318228" y="1475336"/>
                          </a:cubicBezTo>
                          <a:cubicBezTo>
                            <a:pt x="3311466" y="1479381"/>
                            <a:pt x="3303756" y="1481648"/>
                            <a:pt x="3295881" y="1481933"/>
                          </a:cubicBezTo>
                          <a:cubicBezTo>
                            <a:pt x="3284254" y="1481826"/>
                            <a:pt x="3273122" y="1477076"/>
                            <a:pt x="3264999" y="1468739"/>
                          </a:cubicBezTo>
                          <a:cubicBezTo>
                            <a:pt x="3262319" y="1465911"/>
                            <a:pt x="3260011" y="1462753"/>
                            <a:pt x="3258156" y="1459339"/>
                          </a:cubicBezTo>
                          <a:lnTo>
                            <a:pt x="3256548" y="1459339"/>
                          </a:lnTo>
                          <a:cubicBezTo>
                            <a:pt x="3242117" y="1459854"/>
                            <a:pt x="3228593" y="1452433"/>
                            <a:pt x="3221254" y="1440002"/>
                          </a:cubicBezTo>
                          <a:cubicBezTo>
                            <a:pt x="3211606" y="1434720"/>
                            <a:pt x="3204515" y="1425814"/>
                            <a:pt x="3201464" y="1415263"/>
                          </a:cubicBezTo>
                          <a:lnTo>
                            <a:pt x="3201464" y="1415263"/>
                          </a:lnTo>
                          <a:cubicBezTo>
                            <a:pt x="3200639" y="1412707"/>
                            <a:pt x="3200020" y="1410085"/>
                            <a:pt x="3199649" y="1407430"/>
                          </a:cubicBezTo>
                          <a:lnTo>
                            <a:pt x="3199649" y="1407430"/>
                          </a:lnTo>
                          <a:cubicBezTo>
                            <a:pt x="3199237" y="1404795"/>
                            <a:pt x="3199072" y="1402135"/>
                            <a:pt x="3199072" y="1399472"/>
                          </a:cubicBezTo>
                          <a:cubicBezTo>
                            <a:pt x="3199072" y="1399472"/>
                            <a:pt x="3199072" y="1399266"/>
                            <a:pt x="3199072" y="1399184"/>
                          </a:cubicBezTo>
                          <a:cubicBezTo>
                            <a:pt x="3199072" y="1396532"/>
                            <a:pt x="3199320" y="1393885"/>
                            <a:pt x="3199732" y="1391267"/>
                          </a:cubicBezTo>
                          <a:cubicBezTo>
                            <a:pt x="3199732" y="1391267"/>
                            <a:pt x="3199732" y="1391267"/>
                            <a:pt x="3199732" y="1391020"/>
                          </a:cubicBezTo>
                          <a:cubicBezTo>
                            <a:pt x="3200185" y="1388393"/>
                            <a:pt x="3200804" y="1385804"/>
                            <a:pt x="3201628" y="1383268"/>
                          </a:cubicBezTo>
                          <a:cubicBezTo>
                            <a:pt x="3193877" y="1377504"/>
                            <a:pt x="3185384" y="1372775"/>
                            <a:pt x="3176395" y="1369209"/>
                          </a:cubicBezTo>
                          <a:cubicBezTo>
                            <a:pt x="3153306" y="1360963"/>
                            <a:pt x="3168397" y="1346573"/>
                            <a:pt x="3180848" y="1356840"/>
                          </a:cubicBezTo>
                          <a:cubicBezTo>
                            <a:pt x="3193300" y="1367106"/>
                            <a:pt x="3207483" y="1346573"/>
                            <a:pt x="3212802" y="1336225"/>
                          </a:cubicBezTo>
                          <a:cubicBezTo>
                            <a:pt x="3218120" y="1325876"/>
                            <a:pt x="3203937" y="1316681"/>
                            <a:pt x="3196805" y="1315609"/>
                          </a:cubicBezTo>
                          <a:cubicBezTo>
                            <a:pt x="3192228" y="1314949"/>
                            <a:pt x="3190620" y="1309095"/>
                            <a:pt x="3190537" y="1302333"/>
                          </a:cubicBezTo>
                          <a:cubicBezTo>
                            <a:pt x="3183611" y="1299707"/>
                            <a:pt x="3177632" y="1295122"/>
                            <a:pt x="3173262" y="1289139"/>
                          </a:cubicBezTo>
                          <a:cubicBezTo>
                            <a:pt x="3167985" y="1286781"/>
                            <a:pt x="3163119" y="1283516"/>
                            <a:pt x="3158955" y="1279491"/>
                          </a:cubicBezTo>
                          <a:cubicBezTo>
                            <a:pt x="3155945" y="1276523"/>
                            <a:pt x="3153513" y="1273047"/>
                            <a:pt x="3151698" y="1269225"/>
                          </a:cubicBezTo>
                          <a:lnTo>
                            <a:pt x="3150338" y="1268524"/>
                          </a:lnTo>
                          <a:cubicBezTo>
                            <a:pt x="3145267" y="1265795"/>
                            <a:pt x="3141020" y="1261787"/>
                            <a:pt x="3137969" y="1256897"/>
                          </a:cubicBezTo>
                          <a:cubicBezTo>
                            <a:pt x="3134670" y="1253096"/>
                            <a:pt x="3132279" y="1248622"/>
                            <a:pt x="3130918" y="1243786"/>
                          </a:cubicBezTo>
                          <a:cubicBezTo>
                            <a:pt x="3129145" y="1240594"/>
                            <a:pt x="3127785" y="1237201"/>
                            <a:pt x="3126795" y="1233684"/>
                          </a:cubicBezTo>
                          <a:cubicBezTo>
                            <a:pt x="3126300" y="1230097"/>
                            <a:pt x="3125847" y="1226510"/>
                            <a:pt x="3125352" y="1222923"/>
                          </a:cubicBezTo>
                          <a:cubicBezTo>
                            <a:pt x="3121806" y="1216310"/>
                            <a:pt x="3119868" y="1208946"/>
                            <a:pt x="3119745" y="1201442"/>
                          </a:cubicBezTo>
                          <a:lnTo>
                            <a:pt x="3119745" y="1200824"/>
                          </a:lnTo>
                          <a:cubicBezTo>
                            <a:pt x="3118838" y="1199587"/>
                            <a:pt x="3117848" y="1198432"/>
                            <a:pt x="3116982" y="1197154"/>
                          </a:cubicBezTo>
                          <a:cubicBezTo>
                            <a:pt x="3113890" y="1192120"/>
                            <a:pt x="3111870" y="1186508"/>
                            <a:pt x="3111004" y="1180662"/>
                          </a:cubicBezTo>
                          <a:cubicBezTo>
                            <a:pt x="3089523" y="1168746"/>
                            <a:pt x="3084204" y="1138524"/>
                            <a:pt x="3095048" y="1117497"/>
                          </a:cubicBezTo>
                          <a:cubicBezTo>
                            <a:pt x="3091749" y="1112599"/>
                            <a:pt x="3089152" y="1107272"/>
                            <a:pt x="3087338" y="1101664"/>
                          </a:cubicBezTo>
                          <a:cubicBezTo>
                            <a:pt x="3082019" y="1084141"/>
                            <a:pt x="3074968" y="1092429"/>
                            <a:pt x="3069567" y="1117085"/>
                          </a:cubicBezTo>
                          <a:cubicBezTo>
                            <a:pt x="3064166" y="1141740"/>
                            <a:pt x="3045571" y="1140792"/>
                            <a:pt x="3050890" y="1148997"/>
                          </a:cubicBezTo>
                          <a:cubicBezTo>
                            <a:pt x="3061857" y="1165901"/>
                            <a:pt x="3053570" y="1166479"/>
                            <a:pt x="3045571" y="1176786"/>
                          </a:cubicBezTo>
                          <a:cubicBezTo>
                            <a:pt x="3037572" y="1187094"/>
                            <a:pt x="3050890" y="1202514"/>
                            <a:pt x="3037614" y="1202514"/>
                          </a:cubicBezTo>
                          <a:cubicBezTo>
                            <a:pt x="3024337" y="1202514"/>
                            <a:pt x="3030481" y="1234385"/>
                            <a:pt x="3023389" y="1219996"/>
                          </a:cubicBezTo>
                          <a:cubicBezTo>
                            <a:pt x="3016298" y="1205606"/>
                            <a:pt x="2999393" y="1209688"/>
                            <a:pt x="2999393" y="1224119"/>
                          </a:cubicBezTo>
                          <a:cubicBezTo>
                            <a:pt x="2999393" y="1238550"/>
                            <a:pt x="2970944" y="1251908"/>
                            <a:pt x="2959441" y="1250919"/>
                          </a:cubicBezTo>
                          <a:cubicBezTo>
                            <a:pt x="2947937" y="1249929"/>
                            <a:pt x="2947855" y="1222057"/>
                            <a:pt x="2938083" y="1230303"/>
                          </a:cubicBezTo>
                          <a:cubicBezTo>
                            <a:pt x="2928312" y="1238550"/>
                            <a:pt x="2930084" y="1206637"/>
                            <a:pt x="2914994" y="1207709"/>
                          </a:cubicBezTo>
                          <a:cubicBezTo>
                            <a:pt x="2899904" y="1208781"/>
                            <a:pt x="2889225" y="1206637"/>
                            <a:pt x="2893678" y="1191217"/>
                          </a:cubicBezTo>
                          <a:cubicBezTo>
                            <a:pt x="2897554" y="1177652"/>
                            <a:pt x="2874918" y="1170602"/>
                            <a:pt x="2875908" y="1162644"/>
                          </a:cubicBezTo>
                          <a:cubicBezTo>
                            <a:pt x="2872894" y="1159593"/>
                            <a:pt x="2870222" y="1156220"/>
                            <a:pt x="2867950" y="1152584"/>
                          </a:cubicBezTo>
                          <a:cubicBezTo>
                            <a:pt x="2862112" y="1141980"/>
                            <a:pt x="2860545" y="1129544"/>
                            <a:pt x="2863580" y="1117827"/>
                          </a:cubicBezTo>
                          <a:cubicBezTo>
                            <a:pt x="2864973" y="1112846"/>
                            <a:pt x="2867220" y="1108146"/>
                            <a:pt x="2870218" y="1103932"/>
                          </a:cubicBezTo>
                          <a:cubicBezTo>
                            <a:pt x="2870424" y="1102571"/>
                            <a:pt x="2870506" y="1101170"/>
                            <a:pt x="2870836" y="1099809"/>
                          </a:cubicBezTo>
                          <a:cubicBezTo>
                            <a:pt x="2871727" y="1096486"/>
                            <a:pt x="2873026" y="1093286"/>
                            <a:pt x="2874712" y="1090285"/>
                          </a:cubicBezTo>
                          <a:lnTo>
                            <a:pt x="2875248" y="1089336"/>
                          </a:lnTo>
                          <a:cubicBezTo>
                            <a:pt x="2879000" y="1078410"/>
                            <a:pt x="2886586" y="1075112"/>
                            <a:pt x="2886586" y="1067773"/>
                          </a:cubicBezTo>
                          <a:cubicBezTo>
                            <a:pt x="2886595" y="1066429"/>
                            <a:pt x="2886327" y="1065093"/>
                            <a:pt x="2885803" y="1063856"/>
                          </a:cubicBezTo>
                          <a:cubicBezTo>
                            <a:pt x="2883700" y="1063856"/>
                            <a:pt x="2881680" y="1063856"/>
                            <a:pt x="2879495" y="1063856"/>
                          </a:cubicBezTo>
                          <a:cubicBezTo>
                            <a:pt x="2876596" y="1063580"/>
                            <a:pt x="2873727" y="1063056"/>
                            <a:pt x="2870919" y="1062289"/>
                          </a:cubicBezTo>
                          <a:cubicBezTo>
                            <a:pt x="2868919" y="1063295"/>
                            <a:pt x="2867014" y="1064483"/>
                            <a:pt x="2865229" y="1065835"/>
                          </a:cubicBezTo>
                          <a:cubicBezTo>
                            <a:pt x="2862137" y="1068227"/>
                            <a:pt x="2859951" y="1068227"/>
                            <a:pt x="2858096" y="1067113"/>
                          </a:cubicBezTo>
                          <a:cubicBezTo>
                            <a:pt x="2856035" y="1068062"/>
                            <a:pt x="2853973" y="1069010"/>
                            <a:pt x="2851788" y="1069752"/>
                          </a:cubicBezTo>
                          <a:cubicBezTo>
                            <a:pt x="2840408" y="1072877"/>
                            <a:pt x="2828249" y="1071240"/>
                            <a:pt x="2818103" y="1065217"/>
                          </a:cubicBezTo>
                          <a:lnTo>
                            <a:pt x="2817361" y="1064639"/>
                          </a:lnTo>
                          <a:cubicBezTo>
                            <a:pt x="2814788" y="1065089"/>
                            <a:pt x="2812182" y="1065324"/>
                            <a:pt x="2809568" y="1065340"/>
                          </a:cubicBezTo>
                          <a:cubicBezTo>
                            <a:pt x="2795537" y="1065831"/>
                            <a:pt x="2782298" y="1058830"/>
                            <a:pt x="2774811" y="1046952"/>
                          </a:cubicBezTo>
                          <a:cubicBezTo>
                            <a:pt x="2753165" y="1045096"/>
                            <a:pt x="2740713" y="1029305"/>
                            <a:pt x="2737703" y="1011328"/>
                          </a:cubicBezTo>
                          <a:cubicBezTo>
                            <a:pt x="2734129" y="1009296"/>
                            <a:pt x="2730793" y="1006859"/>
                            <a:pt x="2727767" y="1004072"/>
                          </a:cubicBezTo>
                          <a:cubicBezTo>
                            <a:pt x="2727767" y="1004072"/>
                            <a:pt x="2727767" y="1003825"/>
                            <a:pt x="2727478" y="1003742"/>
                          </a:cubicBezTo>
                          <a:cubicBezTo>
                            <a:pt x="2702286" y="1003412"/>
                            <a:pt x="2688557" y="984941"/>
                            <a:pt x="2686247" y="964820"/>
                          </a:cubicBezTo>
                          <a:cubicBezTo>
                            <a:pt x="2680311" y="968036"/>
                            <a:pt x="2675033" y="971459"/>
                            <a:pt x="2671611" y="973067"/>
                          </a:cubicBezTo>
                          <a:cubicBezTo>
                            <a:pt x="2663653" y="977190"/>
                            <a:pt x="2643203" y="958636"/>
                            <a:pt x="2635204" y="965851"/>
                          </a:cubicBezTo>
                          <a:cubicBezTo>
                            <a:pt x="2627206" y="973067"/>
                            <a:pt x="2625433" y="960739"/>
                            <a:pt x="2603210" y="953482"/>
                          </a:cubicBezTo>
                          <a:cubicBezTo>
                            <a:pt x="2580986" y="946226"/>
                            <a:pt x="2551671" y="944205"/>
                            <a:pt x="2549899" y="953482"/>
                          </a:cubicBezTo>
                          <a:cubicBezTo>
                            <a:pt x="2548125" y="962759"/>
                            <a:pt x="2530396" y="965851"/>
                            <a:pt x="2533035" y="987415"/>
                          </a:cubicBezTo>
                          <a:cubicBezTo>
                            <a:pt x="2535674" y="1008978"/>
                            <a:pt x="2554351" y="1004896"/>
                            <a:pt x="2558804" y="1019327"/>
                          </a:cubicBezTo>
                          <a:cubicBezTo>
                            <a:pt x="2563257" y="1033758"/>
                            <a:pt x="2549899" y="1028604"/>
                            <a:pt x="2549033" y="1041963"/>
                          </a:cubicBezTo>
                          <a:cubicBezTo>
                            <a:pt x="2548167" y="1055321"/>
                            <a:pt x="2536663" y="1054332"/>
                            <a:pt x="2536663" y="1063567"/>
                          </a:cubicBezTo>
                          <a:cubicBezTo>
                            <a:pt x="2536663" y="1072803"/>
                            <a:pt x="2544662" y="1070783"/>
                            <a:pt x="2549033" y="1089295"/>
                          </a:cubicBezTo>
                          <a:cubicBezTo>
                            <a:pt x="2553403" y="1107808"/>
                            <a:pt x="2562350" y="1106777"/>
                            <a:pt x="2565030" y="1131433"/>
                          </a:cubicBezTo>
                          <a:cubicBezTo>
                            <a:pt x="2567710" y="1156089"/>
                            <a:pt x="2557897" y="1151017"/>
                            <a:pt x="2549033" y="1154110"/>
                          </a:cubicBezTo>
                          <a:cubicBezTo>
                            <a:pt x="2540787" y="1156955"/>
                            <a:pt x="2548455" y="1167633"/>
                            <a:pt x="2540003" y="1182188"/>
                          </a:cubicBezTo>
                          <a:cubicBezTo>
                            <a:pt x="2564741" y="1194969"/>
                            <a:pt x="2581234" y="1221315"/>
                            <a:pt x="2571792" y="1249847"/>
                          </a:cubicBezTo>
                          <a:cubicBezTo>
                            <a:pt x="2576558" y="1258076"/>
                            <a:pt x="2579048" y="1267427"/>
                            <a:pt x="2579007" y="1276935"/>
                          </a:cubicBezTo>
                          <a:cubicBezTo>
                            <a:pt x="2581077" y="1279747"/>
                            <a:pt x="2582941" y="1282711"/>
                            <a:pt x="2584573" y="1285800"/>
                          </a:cubicBezTo>
                          <a:cubicBezTo>
                            <a:pt x="2598757" y="1313589"/>
                            <a:pt x="2597891" y="1356798"/>
                            <a:pt x="2593438" y="1387680"/>
                          </a:cubicBezTo>
                          <a:cubicBezTo>
                            <a:pt x="2588985" y="1418562"/>
                            <a:pt x="2558804" y="1425736"/>
                            <a:pt x="2536581" y="1452494"/>
                          </a:cubicBezTo>
                          <a:cubicBezTo>
                            <a:pt x="2514358" y="1479253"/>
                            <a:pt x="2491227" y="1475130"/>
                            <a:pt x="2480631" y="1476161"/>
                          </a:cubicBezTo>
                          <a:cubicBezTo>
                            <a:pt x="2470035" y="1477191"/>
                            <a:pt x="2476178" y="1501888"/>
                            <a:pt x="2491269" y="1521514"/>
                          </a:cubicBezTo>
                          <a:cubicBezTo>
                            <a:pt x="2506359" y="1541140"/>
                            <a:pt x="2493949" y="1547242"/>
                            <a:pt x="2501948" y="1567816"/>
                          </a:cubicBezTo>
                          <a:cubicBezTo>
                            <a:pt x="2509946" y="1588390"/>
                            <a:pt x="2501948" y="1604923"/>
                            <a:pt x="2513492" y="1623395"/>
                          </a:cubicBezTo>
                          <a:cubicBezTo>
                            <a:pt x="2525036" y="1641866"/>
                            <a:pt x="2517945" y="1649081"/>
                            <a:pt x="2504627" y="1662481"/>
                          </a:cubicBezTo>
                          <a:cubicBezTo>
                            <a:pt x="2491310" y="1675881"/>
                            <a:pt x="2509946" y="1668666"/>
                            <a:pt x="2510812" y="1686147"/>
                          </a:cubicBezTo>
                          <a:cubicBezTo>
                            <a:pt x="2511678" y="1703629"/>
                            <a:pt x="2504627" y="1693363"/>
                            <a:pt x="2493042" y="1684086"/>
                          </a:cubicBezTo>
                          <a:cubicBezTo>
                            <a:pt x="2481456" y="1674809"/>
                            <a:pt x="2470860" y="1701568"/>
                            <a:pt x="2470860" y="1712947"/>
                          </a:cubicBezTo>
                          <a:cubicBezTo>
                            <a:pt x="2470860" y="1724327"/>
                            <a:pt x="2443318" y="1697527"/>
                            <a:pt x="2437092" y="1698558"/>
                          </a:cubicBezTo>
                          <a:cubicBezTo>
                            <a:pt x="2430866" y="1699589"/>
                            <a:pt x="2438865" y="1681076"/>
                            <a:pt x="2422868" y="1666687"/>
                          </a:cubicBezTo>
                          <a:cubicBezTo>
                            <a:pt x="2406870" y="1652297"/>
                            <a:pt x="2394666" y="1648916"/>
                            <a:pt x="2394666" y="1634527"/>
                          </a:cubicBezTo>
                          <a:cubicBezTo>
                            <a:pt x="2394666" y="1620137"/>
                            <a:pt x="2367124" y="1609789"/>
                            <a:pt x="2367124" y="1593296"/>
                          </a:cubicBezTo>
                          <a:cubicBezTo>
                            <a:pt x="2367124" y="1576804"/>
                            <a:pt x="2370670" y="1534667"/>
                            <a:pt x="2364444" y="1522298"/>
                          </a:cubicBezTo>
                          <a:cubicBezTo>
                            <a:pt x="2358218" y="1509928"/>
                            <a:pt x="2363537" y="1496570"/>
                            <a:pt x="2368897" y="1485190"/>
                          </a:cubicBezTo>
                          <a:cubicBezTo>
                            <a:pt x="2374257" y="1473811"/>
                            <a:pt x="2362671" y="1456329"/>
                            <a:pt x="2346673" y="1456329"/>
                          </a:cubicBezTo>
                          <a:cubicBezTo>
                            <a:pt x="2330676" y="1456329"/>
                            <a:pt x="2308494" y="1450144"/>
                            <a:pt x="2286271" y="1452206"/>
                          </a:cubicBezTo>
                          <a:cubicBezTo>
                            <a:pt x="2271593" y="1453566"/>
                            <a:pt x="2261244" y="1452206"/>
                            <a:pt x="2253823" y="1449072"/>
                          </a:cubicBezTo>
                          <a:cubicBezTo>
                            <a:pt x="2249510" y="1448775"/>
                            <a:pt x="2245251" y="1447971"/>
                            <a:pt x="2241124" y="1446681"/>
                          </a:cubicBezTo>
                          <a:cubicBezTo>
                            <a:pt x="2228878" y="1442323"/>
                            <a:pt x="2218138" y="1434555"/>
                            <a:pt x="2210159" y="1424293"/>
                          </a:cubicBezTo>
                          <a:lnTo>
                            <a:pt x="2208675" y="1424293"/>
                          </a:lnTo>
                          <a:cubicBezTo>
                            <a:pt x="2191255" y="1428911"/>
                            <a:pt x="2172788" y="1422359"/>
                            <a:pt x="2162167" y="1407801"/>
                          </a:cubicBezTo>
                          <a:cubicBezTo>
                            <a:pt x="2130750" y="1405656"/>
                            <a:pt x="2103043" y="1391308"/>
                            <a:pt x="2094137" y="1353005"/>
                          </a:cubicBezTo>
                          <a:cubicBezTo>
                            <a:pt x="2093436" y="1349954"/>
                            <a:pt x="2092859" y="1346285"/>
                            <a:pt x="2092364" y="1342450"/>
                          </a:cubicBezTo>
                          <a:cubicBezTo>
                            <a:pt x="2084110" y="1339927"/>
                            <a:pt x="2075435" y="1339057"/>
                            <a:pt x="2066842" y="1339894"/>
                          </a:cubicBezTo>
                          <a:cubicBezTo>
                            <a:pt x="2056164" y="1341956"/>
                            <a:pt x="2029735" y="1314166"/>
                            <a:pt x="2013531" y="1315156"/>
                          </a:cubicBezTo>
                          <a:cubicBezTo>
                            <a:pt x="1997328" y="1316145"/>
                            <a:pt x="1960262" y="1334740"/>
                            <a:pt x="1954036" y="1335771"/>
                          </a:cubicBezTo>
                          <a:cubicBezTo>
                            <a:pt x="1947810" y="1336802"/>
                            <a:pt x="1954902" y="1320351"/>
                            <a:pt x="1959354" y="1313135"/>
                          </a:cubicBezTo>
                          <a:cubicBezTo>
                            <a:pt x="1963807" y="1305920"/>
                            <a:pt x="1945996" y="1275038"/>
                            <a:pt x="1941584" y="1254464"/>
                          </a:cubicBezTo>
                          <a:cubicBezTo>
                            <a:pt x="1937172" y="1233890"/>
                            <a:pt x="1930947" y="1211461"/>
                            <a:pt x="1912269" y="1214718"/>
                          </a:cubicBezTo>
                          <a:cubicBezTo>
                            <a:pt x="1893592" y="1217976"/>
                            <a:pt x="1873183" y="1206472"/>
                            <a:pt x="1867864" y="1202349"/>
                          </a:cubicBezTo>
                          <a:cubicBezTo>
                            <a:pt x="1862545" y="1198226"/>
                            <a:pt x="1861638" y="1139555"/>
                            <a:pt x="1866091" y="1114899"/>
                          </a:cubicBezTo>
                          <a:cubicBezTo>
                            <a:pt x="1868590" y="1103870"/>
                            <a:pt x="1872267" y="1093146"/>
                            <a:pt x="1877059" y="1082905"/>
                          </a:cubicBezTo>
                          <a:cubicBezTo>
                            <a:pt x="1876564" y="1080967"/>
                            <a:pt x="1876028" y="1079070"/>
                            <a:pt x="1875698" y="1077009"/>
                          </a:cubicBezTo>
                          <a:cubicBezTo>
                            <a:pt x="1874593" y="1067781"/>
                            <a:pt x="1876226" y="1058430"/>
                            <a:pt x="1880398" y="1050126"/>
                          </a:cubicBezTo>
                          <a:cubicBezTo>
                            <a:pt x="1876275" y="1028398"/>
                            <a:pt x="1885676" y="1004319"/>
                            <a:pt x="1908311" y="998629"/>
                          </a:cubicBezTo>
                          <a:cubicBezTo>
                            <a:pt x="1912496" y="985918"/>
                            <a:pt x="1923076" y="976361"/>
                            <a:pt x="1936142" y="973479"/>
                          </a:cubicBezTo>
                          <a:cubicBezTo>
                            <a:pt x="1940265" y="972613"/>
                            <a:pt x="1943893" y="971912"/>
                            <a:pt x="1947686" y="971376"/>
                          </a:cubicBezTo>
                          <a:cubicBezTo>
                            <a:pt x="1952057" y="967995"/>
                            <a:pt x="1953129" y="962594"/>
                            <a:pt x="1954902" y="954389"/>
                          </a:cubicBezTo>
                          <a:cubicBezTo>
                            <a:pt x="1957582" y="942020"/>
                            <a:pt x="1973579" y="950266"/>
                            <a:pt x="1964673" y="940000"/>
                          </a:cubicBezTo>
                          <a:cubicBezTo>
                            <a:pt x="1955767" y="929733"/>
                            <a:pt x="1962900" y="926600"/>
                            <a:pt x="1983309" y="926600"/>
                          </a:cubicBezTo>
                          <a:cubicBezTo>
                            <a:pt x="2003718" y="926600"/>
                            <a:pt x="2033982" y="918354"/>
                            <a:pt x="2029529" y="894729"/>
                          </a:cubicBezTo>
                          <a:cubicBezTo>
                            <a:pt x="2025076" y="871104"/>
                            <a:pt x="1971806" y="888544"/>
                            <a:pt x="1971806" y="868960"/>
                          </a:cubicBezTo>
                          <a:cubicBezTo>
                            <a:pt x="1971806" y="849375"/>
                            <a:pt x="1904271" y="848344"/>
                            <a:pt x="1908724" y="837089"/>
                          </a:cubicBezTo>
                          <a:cubicBezTo>
                            <a:pt x="1913176" y="825833"/>
                            <a:pt x="1976218" y="845335"/>
                            <a:pt x="1999431" y="855560"/>
                          </a:cubicBezTo>
                          <a:cubicBezTo>
                            <a:pt x="2022643" y="865785"/>
                            <a:pt x="2028787" y="864878"/>
                            <a:pt x="2047423" y="863806"/>
                          </a:cubicBezTo>
                          <a:cubicBezTo>
                            <a:pt x="2066059" y="862734"/>
                            <a:pt x="2053648" y="834944"/>
                            <a:pt x="2057194" y="823647"/>
                          </a:cubicBezTo>
                          <a:cubicBezTo>
                            <a:pt x="2060740" y="812350"/>
                            <a:pt x="2096281" y="841129"/>
                            <a:pt x="2116731" y="834986"/>
                          </a:cubicBezTo>
                          <a:cubicBezTo>
                            <a:pt x="2137181" y="828842"/>
                            <a:pt x="2156684" y="780438"/>
                            <a:pt x="2173588" y="767079"/>
                          </a:cubicBezTo>
                          <a:cubicBezTo>
                            <a:pt x="2190492" y="753721"/>
                            <a:pt x="2175361" y="741351"/>
                            <a:pt x="2142500" y="744444"/>
                          </a:cubicBezTo>
                          <a:cubicBezTo>
                            <a:pt x="2109640" y="747536"/>
                            <a:pt x="2090880" y="733188"/>
                            <a:pt x="2073068" y="717768"/>
                          </a:cubicBezTo>
                          <a:cubicBezTo>
                            <a:pt x="2055257" y="702347"/>
                            <a:pt x="2057071" y="689978"/>
                            <a:pt x="2075707" y="692040"/>
                          </a:cubicBezTo>
                          <a:cubicBezTo>
                            <a:pt x="2094343" y="694101"/>
                            <a:pt x="2138831" y="736280"/>
                            <a:pt x="2155694" y="737393"/>
                          </a:cubicBezTo>
                          <a:cubicBezTo>
                            <a:pt x="2172557" y="738506"/>
                            <a:pt x="2201872" y="699338"/>
                            <a:pt x="2216097" y="686968"/>
                          </a:cubicBezTo>
                          <a:cubicBezTo>
                            <a:pt x="2230321" y="674599"/>
                            <a:pt x="2202779" y="669487"/>
                            <a:pt x="2193008" y="660251"/>
                          </a:cubicBezTo>
                          <a:cubicBezTo>
                            <a:pt x="2183236" y="651015"/>
                            <a:pt x="2209871" y="644790"/>
                            <a:pt x="2224095" y="644790"/>
                          </a:cubicBezTo>
                          <a:cubicBezTo>
                            <a:pt x="2238320" y="644790"/>
                            <a:pt x="2244711" y="659220"/>
                            <a:pt x="2249864" y="666394"/>
                          </a:cubicBezTo>
                          <a:cubicBezTo>
                            <a:pt x="2255018" y="673569"/>
                            <a:pt x="2280086" y="661282"/>
                            <a:pt x="2292497" y="661282"/>
                          </a:cubicBezTo>
                          <a:cubicBezTo>
                            <a:pt x="2304907" y="661282"/>
                            <a:pt x="2290724" y="637574"/>
                            <a:pt x="2270274" y="628297"/>
                          </a:cubicBezTo>
                          <a:cubicBezTo>
                            <a:pt x="2249823" y="619021"/>
                            <a:pt x="2271180" y="601539"/>
                            <a:pt x="2277406" y="615928"/>
                          </a:cubicBezTo>
                          <a:cubicBezTo>
                            <a:pt x="2283632" y="630318"/>
                            <a:pt x="2297815" y="627225"/>
                            <a:pt x="2304948" y="643718"/>
                          </a:cubicBezTo>
                          <a:cubicBezTo>
                            <a:pt x="2314885" y="666766"/>
                            <a:pt x="2321440" y="653118"/>
                            <a:pt x="2337562" y="645614"/>
                          </a:cubicBezTo>
                          <a:cubicBezTo>
                            <a:pt x="2344109" y="627918"/>
                            <a:pt x="2356561" y="613022"/>
                            <a:pt x="2372814" y="603435"/>
                          </a:cubicBezTo>
                          <a:cubicBezTo>
                            <a:pt x="2380581" y="599312"/>
                            <a:pt x="2388729" y="595944"/>
                            <a:pt x="2397140" y="593375"/>
                          </a:cubicBezTo>
                          <a:cubicBezTo>
                            <a:pt x="2398212" y="593004"/>
                            <a:pt x="2399531" y="592427"/>
                            <a:pt x="2400850" y="591850"/>
                          </a:cubicBezTo>
                          <a:cubicBezTo>
                            <a:pt x="2408602" y="573585"/>
                            <a:pt x="2392934" y="556515"/>
                            <a:pt x="2379534" y="544929"/>
                          </a:cubicBezTo>
                          <a:cubicBezTo>
                            <a:pt x="2365351" y="532560"/>
                            <a:pt x="2380441" y="520191"/>
                            <a:pt x="2366217" y="511945"/>
                          </a:cubicBezTo>
                          <a:cubicBezTo>
                            <a:pt x="2351992" y="503699"/>
                            <a:pt x="2349354" y="488238"/>
                            <a:pt x="2367124" y="492361"/>
                          </a:cubicBezTo>
                          <a:cubicBezTo>
                            <a:pt x="2384894" y="496484"/>
                            <a:pt x="2399077" y="490299"/>
                            <a:pt x="2407076" y="475868"/>
                          </a:cubicBezTo>
                          <a:cubicBezTo>
                            <a:pt x="2415075" y="461438"/>
                            <a:pt x="2380441" y="458387"/>
                            <a:pt x="2396439" y="448120"/>
                          </a:cubicBezTo>
                          <a:cubicBezTo>
                            <a:pt x="2412436" y="437854"/>
                            <a:pt x="2399077" y="427505"/>
                            <a:pt x="2383121" y="427505"/>
                          </a:cubicBezTo>
                          <a:cubicBezTo>
                            <a:pt x="2367165" y="427505"/>
                            <a:pt x="2353806" y="418228"/>
                            <a:pt x="2352899" y="402767"/>
                          </a:cubicBezTo>
                          <a:cubicBezTo>
                            <a:pt x="2351992" y="387305"/>
                            <a:pt x="2324450" y="397613"/>
                            <a:pt x="2307546" y="388336"/>
                          </a:cubicBezTo>
                          <a:cubicBezTo>
                            <a:pt x="2290641" y="379059"/>
                            <a:pt x="2253369" y="381162"/>
                            <a:pt x="2244463" y="382193"/>
                          </a:cubicBezTo>
                          <a:cubicBezTo>
                            <a:pt x="2235557" y="383224"/>
                            <a:pt x="2234692" y="425402"/>
                            <a:pt x="2248050" y="426433"/>
                          </a:cubicBezTo>
                          <a:cubicBezTo>
                            <a:pt x="2261409" y="427464"/>
                            <a:pt x="2272005" y="443915"/>
                            <a:pt x="2260419" y="449069"/>
                          </a:cubicBezTo>
                          <a:cubicBezTo>
                            <a:pt x="2248834" y="454222"/>
                            <a:pt x="2262192" y="470673"/>
                            <a:pt x="2253328" y="469684"/>
                          </a:cubicBezTo>
                          <a:cubicBezTo>
                            <a:pt x="2244463" y="468694"/>
                            <a:pt x="2230239" y="463541"/>
                            <a:pt x="2227559" y="490299"/>
                          </a:cubicBezTo>
                          <a:cubicBezTo>
                            <a:pt x="2224879" y="517058"/>
                            <a:pt x="2223106" y="527406"/>
                            <a:pt x="2208015" y="536601"/>
                          </a:cubicBezTo>
                          <a:cubicBezTo>
                            <a:pt x="2192925" y="545795"/>
                            <a:pt x="2204470" y="506750"/>
                            <a:pt x="2190245" y="507740"/>
                          </a:cubicBezTo>
                          <a:cubicBezTo>
                            <a:pt x="2176021" y="508729"/>
                            <a:pt x="2174248" y="540724"/>
                            <a:pt x="2184926" y="543775"/>
                          </a:cubicBezTo>
                          <a:cubicBezTo>
                            <a:pt x="2195605" y="546826"/>
                            <a:pt x="2197296" y="557134"/>
                            <a:pt x="2200017" y="572636"/>
                          </a:cubicBezTo>
                          <a:cubicBezTo>
                            <a:pt x="2202738" y="588139"/>
                            <a:pt x="2180473" y="576759"/>
                            <a:pt x="2171568" y="595313"/>
                          </a:cubicBezTo>
                          <a:cubicBezTo>
                            <a:pt x="2162662" y="613867"/>
                            <a:pt x="2161837" y="587067"/>
                            <a:pt x="2149386" y="574698"/>
                          </a:cubicBezTo>
                          <a:cubicBezTo>
                            <a:pt x="2136934" y="562329"/>
                            <a:pt x="2121844" y="541713"/>
                            <a:pt x="2122751" y="526334"/>
                          </a:cubicBezTo>
                          <a:cubicBezTo>
                            <a:pt x="2123493" y="512811"/>
                            <a:pt x="2129843" y="507781"/>
                            <a:pt x="2139614" y="505719"/>
                          </a:cubicBezTo>
                          <a:cubicBezTo>
                            <a:pt x="2149386" y="503658"/>
                            <a:pt x="2139614" y="493350"/>
                            <a:pt x="2138748" y="474838"/>
                          </a:cubicBezTo>
                          <a:cubicBezTo>
                            <a:pt x="2137882" y="456325"/>
                            <a:pt x="2126379" y="462468"/>
                            <a:pt x="2112072" y="442925"/>
                          </a:cubicBezTo>
                          <a:cubicBezTo>
                            <a:pt x="2097765" y="423382"/>
                            <a:pt x="2082757" y="423382"/>
                            <a:pt x="2074965" y="432659"/>
                          </a:cubicBezTo>
                          <a:cubicBezTo>
                            <a:pt x="2067172" y="441936"/>
                            <a:pt x="2072285" y="459376"/>
                            <a:pt x="2059874" y="465643"/>
                          </a:cubicBezTo>
                          <a:cubicBezTo>
                            <a:pt x="2047464" y="471910"/>
                            <a:pt x="2052742" y="500607"/>
                            <a:pt x="2042104" y="502751"/>
                          </a:cubicBezTo>
                          <a:cubicBezTo>
                            <a:pt x="2031466" y="504895"/>
                            <a:pt x="2037651" y="452367"/>
                            <a:pt x="2028787" y="447213"/>
                          </a:cubicBezTo>
                          <a:cubicBezTo>
                            <a:pt x="2019922" y="442059"/>
                            <a:pt x="2020788" y="429731"/>
                            <a:pt x="2034105" y="427670"/>
                          </a:cubicBezTo>
                          <a:cubicBezTo>
                            <a:pt x="2047423" y="425608"/>
                            <a:pt x="2055421" y="409158"/>
                            <a:pt x="2043877" y="409158"/>
                          </a:cubicBezTo>
                          <a:cubicBezTo>
                            <a:pt x="2032332" y="409158"/>
                            <a:pt x="2011882" y="394727"/>
                            <a:pt x="2003883" y="390645"/>
                          </a:cubicBezTo>
                          <a:cubicBezTo>
                            <a:pt x="1995885" y="386563"/>
                            <a:pt x="1982567" y="408127"/>
                            <a:pt x="1973703" y="399881"/>
                          </a:cubicBezTo>
                          <a:cubicBezTo>
                            <a:pt x="1964838" y="391635"/>
                            <a:pt x="1974568" y="371019"/>
                            <a:pt x="1975476" y="359763"/>
                          </a:cubicBezTo>
                          <a:cubicBezTo>
                            <a:pt x="1976383" y="348508"/>
                            <a:pt x="1989700" y="364917"/>
                            <a:pt x="1998565" y="350487"/>
                          </a:cubicBezTo>
                          <a:cubicBezTo>
                            <a:pt x="2007429" y="336056"/>
                            <a:pt x="1973826" y="336097"/>
                            <a:pt x="1973826" y="320636"/>
                          </a:cubicBezTo>
                          <a:cubicBezTo>
                            <a:pt x="1973826" y="305174"/>
                            <a:pt x="1947150" y="301093"/>
                            <a:pt x="1938286" y="295897"/>
                          </a:cubicBezTo>
                          <a:cubicBezTo>
                            <a:pt x="1929421" y="290702"/>
                            <a:pt x="1944512" y="265016"/>
                            <a:pt x="1940059" y="254667"/>
                          </a:cubicBezTo>
                          <a:cubicBezTo>
                            <a:pt x="1935606" y="244318"/>
                            <a:pt x="1902745" y="210427"/>
                            <a:pt x="1888521" y="213437"/>
                          </a:cubicBezTo>
                          <a:cubicBezTo>
                            <a:pt x="1874296" y="216446"/>
                            <a:pt x="1870750" y="191832"/>
                            <a:pt x="1878749" y="192821"/>
                          </a:cubicBezTo>
                          <a:cubicBezTo>
                            <a:pt x="1886748" y="193811"/>
                            <a:pt x="1892973" y="187709"/>
                            <a:pt x="1908105" y="168083"/>
                          </a:cubicBezTo>
                          <a:cubicBezTo>
                            <a:pt x="1923237" y="148457"/>
                            <a:pt x="1924968" y="142355"/>
                            <a:pt x="1914290" y="138232"/>
                          </a:cubicBezTo>
                          <a:cubicBezTo>
                            <a:pt x="1903611" y="134109"/>
                            <a:pt x="1898292" y="121740"/>
                            <a:pt x="1916970" y="122812"/>
                          </a:cubicBezTo>
                          <a:cubicBezTo>
                            <a:pt x="1935647" y="123884"/>
                            <a:pt x="1968466" y="138232"/>
                            <a:pt x="1979145" y="128996"/>
                          </a:cubicBezTo>
                          <a:cubicBezTo>
                            <a:pt x="1989824" y="119761"/>
                            <a:pt x="2023550" y="58905"/>
                            <a:pt x="2036868" y="37424"/>
                          </a:cubicBezTo>
                          <a:cubicBezTo>
                            <a:pt x="2050185" y="15943"/>
                            <a:pt x="2027096" y="13757"/>
                            <a:pt x="1995101" y="16808"/>
                          </a:cubicBezTo>
                          <a:cubicBezTo>
                            <a:pt x="1963107" y="19860"/>
                            <a:pt x="1956015" y="2378"/>
                            <a:pt x="1929339" y="316"/>
                          </a:cubicBezTo>
                          <a:cubicBezTo>
                            <a:pt x="1902663" y="-1745"/>
                            <a:pt x="1852939" y="6460"/>
                            <a:pt x="1845847" y="15736"/>
                          </a:cubicBezTo>
                          <a:cubicBezTo>
                            <a:pt x="1838755" y="25013"/>
                            <a:pt x="1859164" y="33218"/>
                            <a:pt x="1856526" y="43526"/>
                          </a:cubicBezTo>
                          <a:cubicBezTo>
                            <a:pt x="1853887" y="53833"/>
                            <a:pt x="1837848" y="36310"/>
                            <a:pt x="1830757" y="40433"/>
                          </a:cubicBezTo>
                          <a:cubicBezTo>
                            <a:pt x="1823665" y="44557"/>
                            <a:pt x="1833395" y="57915"/>
                            <a:pt x="1830757" y="94033"/>
                          </a:cubicBezTo>
                          <a:cubicBezTo>
                            <a:pt x="1828118" y="130151"/>
                            <a:pt x="1836982" y="132130"/>
                            <a:pt x="1845847" y="145489"/>
                          </a:cubicBezTo>
                          <a:cubicBezTo>
                            <a:pt x="1854711" y="158847"/>
                            <a:pt x="1852939" y="176370"/>
                            <a:pt x="1852939" y="199088"/>
                          </a:cubicBezTo>
                          <a:cubicBezTo>
                            <a:pt x="1852939" y="221806"/>
                            <a:pt x="1834303" y="220693"/>
                            <a:pt x="1828200" y="225847"/>
                          </a:cubicBezTo>
                          <a:cubicBezTo>
                            <a:pt x="1822098" y="231001"/>
                            <a:pt x="1844198" y="239206"/>
                            <a:pt x="1840569" y="253636"/>
                          </a:cubicBezTo>
                          <a:cubicBezTo>
                            <a:pt x="1836941" y="268067"/>
                            <a:pt x="1818346" y="245390"/>
                            <a:pt x="1807585" y="249513"/>
                          </a:cubicBezTo>
                          <a:cubicBezTo>
                            <a:pt x="1796824" y="253636"/>
                            <a:pt x="1788083" y="288641"/>
                            <a:pt x="1799628" y="299938"/>
                          </a:cubicBezTo>
                          <a:cubicBezTo>
                            <a:pt x="1811172" y="311235"/>
                            <a:pt x="1815625" y="309215"/>
                            <a:pt x="1806719" y="322615"/>
                          </a:cubicBezTo>
                          <a:cubicBezTo>
                            <a:pt x="1797814" y="336015"/>
                            <a:pt x="1788083" y="355599"/>
                            <a:pt x="1809399" y="375060"/>
                          </a:cubicBezTo>
                          <a:cubicBezTo>
                            <a:pt x="1830715" y="394521"/>
                            <a:pt x="1869802" y="392542"/>
                            <a:pt x="1890211" y="408044"/>
                          </a:cubicBezTo>
                          <a:cubicBezTo>
                            <a:pt x="1910620" y="423547"/>
                            <a:pt x="1881346" y="414188"/>
                            <a:pt x="1889345" y="431711"/>
                          </a:cubicBezTo>
                          <a:cubicBezTo>
                            <a:pt x="1897344" y="449234"/>
                            <a:pt x="1876028" y="455336"/>
                            <a:pt x="1876976" y="468818"/>
                          </a:cubicBezTo>
                          <a:cubicBezTo>
                            <a:pt x="1877924" y="482300"/>
                            <a:pt x="1885882" y="475003"/>
                            <a:pt x="1896519" y="452326"/>
                          </a:cubicBezTo>
                          <a:cubicBezTo>
                            <a:pt x="1907157" y="429649"/>
                            <a:pt x="1915197" y="458469"/>
                            <a:pt x="1914290" y="478054"/>
                          </a:cubicBezTo>
                          <a:cubicBezTo>
                            <a:pt x="1913383" y="497638"/>
                            <a:pt x="1898292" y="486300"/>
                            <a:pt x="1886748" y="505843"/>
                          </a:cubicBezTo>
                          <a:cubicBezTo>
                            <a:pt x="1875203" y="525386"/>
                            <a:pt x="1864524" y="528437"/>
                            <a:pt x="1847661" y="524355"/>
                          </a:cubicBezTo>
                          <a:cubicBezTo>
                            <a:pt x="1830798" y="520274"/>
                            <a:pt x="1840569" y="552103"/>
                            <a:pt x="1847661" y="569709"/>
                          </a:cubicBezTo>
                          <a:cubicBezTo>
                            <a:pt x="1854753" y="587314"/>
                            <a:pt x="1845888" y="593375"/>
                            <a:pt x="1826345" y="587232"/>
                          </a:cubicBezTo>
                          <a:cubicBezTo>
                            <a:pt x="1806802" y="581088"/>
                            <a:pt x="1795257" y="566617"/>
                            <a:pt x="1805029" y="549176"/>
                          </a:cubicBezTo>
                          <a:cubicBezTo>
                            <a:pt x="1814800" y="531736"/>
                            <a:pt x="1821892" y="511079"/>
                            <a:pt x="1810348" y="513141"/>
                          </a:cubicBezTo>
                          <a:cubicBezTo>
                            <a:pt x="1798803" y="515202"/>
                            <a:pt x="1772127" y="512151"/>
                            <a:pt x="1764170" y="497721"/>
                          </a:cubicBezTo>
                          <a:cubicBezTo>
                            <a:pt x="1756212" y="483290"/>
                            <a:pt x="1769488" y="489475"/>
                            <a:pt x="1793484" y="492567"/>
                          </a:cubicBezTo>
                          <a:cubicBezTo>
                            <a:pt x="1817481" y="495659"/>
                            <a:pt x="1797030" y="474054"/>
                            <a:pt x="1814800" y="474054"/>
                          </a:cubicBezTo>
                          <a:cubicBezTo>
                            <a:pt x="1832571" y="474054"/>
                            <a:pt x="1845888" y="485351"/>
                            <a:pt x="1860979" y="469931"/>
                          </a:cubicBezTo>
                          <a:cubicBezTo>
                            <a:pt x="1876069" y="454511"/>
                            <a:pt x="1851207" y="424578"/>
                            <a:pt x="1838797" y="429814"/>
                          </a:cubicBezTo>
                          <a:cubicBezTo>
                            <a:pt x="1826386" y="435050"/>
                            <a:pt x="1806802" y="441111"/>
                            <a:pt x="1806802" y="426722"/>
                          </a:cubicBezTo>
                          <a:cubicBezTo>
                            <a:pt x="1806802" y="412332"/>
                            <a:pt x="1828118" y="422599"/>
                            <a:pt x="1839786" y="419506"/>
                          </a:cubicBezTo>
                          <a:cubicBezTo>
                            <a:pt x="1851454" y="416414"/>
                            <a:pt x="1833560" y="397902"/>
                            <a:pt x="1815831" y="403014"/>
                          </a:cubicBezTo>
                          <a:cubicBezTo>
                            <a:pt x="1798102" y="408127"/>
                            <a:pt x="1785609" y="409199"/>
                            <a:pt x="1771385" y="391717"/>
                          </a:cubicBezTo>
                          <a:cubicBezTo>
                            <a:pt x="1757160" y="374235"/>
                            <a:pt x="1731391" y="363928"/>
                            <a:pt x="1725207" y="404086"/>
                          </a:cubicBezTo>
                          <a:cubicBezTo>
                            <a:pt x="1719022" y="444245"/>
                            <a:pt x="1694119" y="422599"/>
                            <a:pt x="1684347" y="435999"/>
                          </a:cubicBezTo>
                          <a:cubicBezTo>
                            <a:pt x="1674576" y="449398"/>
                            <a:pt x="1695892" y="458593"/>
                            <a:pt x="1719888" y="459624"/>
                          </a:cubicBezTo>
                          <a:cubicBezTo>
                            <a:pt x="1743884" y="460654"/>
                            <a:pt x="1761613" y="486382"/>
                            <a:pt x="1750069" y="486382"/>
                          </a:cubicBezTo>
                          <a:cubicBezTo>
                            <a:pt x="1738524" y="486382"/>
                            <a:pt x="1743843" y="505967"/>
                            <a:pt x="1731391" y="498751"/>
                          </a:cubicBezTo>
                          <a:cubicBezTo>
                            <a:pt x="1718940" y="491536"/>
                            <a:pt x="1706653" y="498751"/>
                            <a:pt x="1715435" y="511121"/>
                          </a:cubicBezTo>
                          <a:cubicBezTo>
                            <a:pt x="1724217" y="523490"/>
                            <a:pt x="1711848" y="528602"/>
                            <a:pt x="1712755" y="540971"/>
                          </a:cubicBezTo>
                          <a:cubicBezTo>
                            <a:pt x="1713662" y="553340"/>
                            <a:pt x="1694119" y="542002"/>
                            <a:pt x="1675648" y="539941"/>
                          </a:cubicBezTo>
                          <a:cubicBezTo>
                            <a:pt x="1657176" y="537879"/>
                            <a:pt x="1622337" y="545094"/>
                            <a:pt x="1597310" y="551238"/>
                          </a:cubicBezTo>
                          <a:cubicBezTo>
                            <a:pt x="1572283" y="557381"/>
                            <a:pt x="1544906" y="547115"/>
                            <a:pt x="1534227" y="533756"/>
                          </a:cubicBezTo>
                          <a:cubicBezTo>
                            <a:pt x="1523548" y="520397"/>
                            <a:pt x="1509489" y="522459"/>
                            <a:pt x="1491595" y="522459"/>
                          </a:cubicBezTo>
                          <a:cubicBezTo>
                            <a:pt x="1473701" y="522459"/>
                            <a:pt x="1479226" y="502874"/>
                            <a:pt x="1456054" y="501844"/>
                          </a:cubicBezTo>
                          <a:cubicBezTo>
                            <a:pt x="1432883" y="500813"/>
                            <a:pt x="1438284" y="478177"/>
                            <a:pt x="1435439" y="464736"/>
                          </a:cubicBezTo>
                          <a:cubicBezTo>
                            <a:pt x="1432594" y="451295"/>
                            <a:pt x="1386581" y="455459"/>
                            <a:pt x="1369718" y="467829"/>
                          </a:cubicBezTo>
                          <a:cubicBezTo>
                            <a:pt x="1352854" y="480198"/>
                            <a:pt x="1319953" y="475044"/>
                            <a:pt x="1311088" y="497679"/>
                          </a:cubicBezTo>
                          <a:cubicBezTo>
                            <a:pt x="1302223" y="520315"/>
                            <a:pt x="1319087" y="517223"/>
                            <a:pt x="1328858" y="517223"/>
                          </a:cubicBezTo>
                          <a:cubicBezTo>
                            <a:pt x="1342464" y="517223"/>
                            <a:pt x="1341227" y="498710"/>
                            <a:pt x="1365966" y="502792"/>
                          </a:cubicBezTo>
                          <a:cubicBezTo>
                            <a:pt x="1390704" y="506874"/>
                            <a:pt x="1408598" y="472982"/>
                            <a:pt x="1419277" y="485310"/>
                          </a:cubicBezTo>
                          <a:cubicBezTo>
                            <a:pt x="1429955" y="497638"/>
                            <a:pt x="1376603" y="521346"/>
                            <a:pt x="1353514" y="525469"/>
                          </a:cubicBezTo>
                          <a:cubicBezTo>
                            <a:pt x="1330425" y="529592"/>
                            <a:pt x="1335744" y="551155"/>
                            <a:pt x="1357967" y="589252"/>
                          </a:cubicBezTo>
                          <a:cubicBezTo>
                            <a:pt x="1380190" y="627349"/>
                            <a:pt x="1348195" y="605744"/>
                            <a:pt x="1348195" y="624216"/>
                          </a:cubicBezTo>
                          <a:cubicBezTo>
                            <a:pt x="1348195" y="642687"/>
                            <a:pt x="1306429" y="618072"/>
                            <a:pt x="1323457" y="611847"/>
                          </a:cubicBezTo>
                          <a:cubicBezTo>
                            <a:pt x="1340485" y="605621"/>
                            <a:pt x="1332322" y="586119"/>
                            <a:pt x="1319004" y="573791"/>
                          </a:cubicBezTo>
                          <a:cubicBezTo>
                            <a:pt x="1305687" y="561463"/>
                            <a:pt x="1296781" y="573791"/>
                            <a:pt x="1298389" y="560391"/>
                          </a:cubicBezTo>
                          <a:cubicBezTo>
                            <a:pt x="1299997" y="546991"/>
                            <a:pt x="1284164" y="561422"/>
                            <a:pt x="1271754" y="550124"/>
                          </a:cubicBezTo>
                          <a:cubicBezTo>
                            <a:pt x="1259344" y="538827"/>
                            <a:pt x="1253077" y="529509"/>
                            <a:pt x="1236214" y="539817"/>
                          </a:cubicBezTo>
                          <a:cubicBezTo>
                            <a:pt x="1219350" y="550124"/>
                            <a:pt x="1199807" y="547032"/>
                            <a:pt x="1162493" y="554206"/>
                          </a:cubicBezTo>
                          <a:cubicBezTo>
                            <a:pt x="1125180" y="561380"/>
                            <a:pt x="1056779" y="559360"/>
                            <a:pt x="1044327" y="544971"/>
                          </a:cubicBezTo>
                          <a:cubicBezTo>
                            <a:pt x="1031875" y="530581"/>
                            <a:pt x="1076322" y="504853"/>
                            <a:pt x="1089680" y="508976"/>
                          </a:cubicBezTo>
                          <a:cubicBezTo>
                            <a:pt x="1103039" y="513099"/>
                            <a:pt x="1094999" y="492484"/>
                            <a:pt x="1074590" y="473972"/>
                          </a:cubicBezTo>
                          <a:cubicBezTo>
                            <a:pt x="1054181" y="455459"/>
                            <a:pt x="1008621" y="444121"/>
                            <a:pt x="1009735" y="455418"/>
                          </a:cubicBezTo>
                          <a:cubicBezTo>
                            <a:pt x="1010848" y="466715"/>
                            <a:pt x="983965" y="456490"/>
                            <a:pt x="951105" y="449275"/>
                          </a:cubicBezTo>
                          <a:cubicBezTo>
                            <a:pt x="918244" y="442059"/>
                            <a:pt x="913791" y="428660"/>
                            <a:pt x="892434" y="427670"/>
                          </a:cubicBezTo>
                          <a:cubicBezTo>
                            <a:pt x="871819" y="426639"/>
                            <a:pt x="839164" y="419424"/>
                            <a:pt x="814302" y="396788"/>
                          </a:cubicBezTo>
                          <a:cubicBezTo>
                            <a:pt x="789440" y="374153"/>
                            <a:pt x="730769" y="380296"/>
                            <a:pt x="723595" y="400911"/>
                          </a:cubicBezTo>
                          <a:cubicBezTo>
                            <a:pt x="716421" y="421527"/>
                            <a:pt x="696919" y="420455"/>
                            <a:pt x="677376" y="420455"/>
                          </a:cubicBezTo>
                          <a:cubicBezTo>
                            <a:pt x="657832" y="420455"/>
                            <a:pt x="686199" y="395016"/>
                            <a:pt x="679149" y="390645"/>
                          </a:cubicBezTo>
                          <a:cubicBezTo>
                            <a:pt x="669789" y="384832"/>
                            <a:pt x="680056" y="356671"/>
                            <a:pt x="665831" y="354610"/>
                          </a:cubicBezTo>
                          <a:cubicBezTo>
                            <a:pt x="651607" y="352548"/>
                            <a:pt x="638289" y="422516"/>
                            <a:pt x="611654" y="420578"/>
                          </a:cubicBezTo>
                          <a:cubicBezTo>
                            <a:pt x="585019" y="418640"/>
                            <a:pt x="573434" y="346363"/>
                            <a:pt x="551252" y="327975"/>
                          </a:cubicBezTo>
                          <a:cubicBezTo>
                            <a:pt x="529070" y="309586"/>
                            <a:pt x="508578" y="308432"/>
                            <a:pt x="527256" y="336221"/>
                          </a:cubicBezTo>
                          <a:cubicBezTo>
                            <a:pt x="545933" y="364010"/>
                            <a:pt x="511258" y="344467"/>
                            <a:pt x="513031" y="362979"/>
                          </a:cubicBezTo>
                          <a:cubicBezTo>
                            <a:pt x="514804" y="381492"/>
                            <a:pt x="482850" y="403097"/>
                            <a:pt x="483716" y="392789"/>
                          </a:cubicBezTo>
                          <a:cubicBezTo>
                            <a:pt x="484582" y="382481"/>
                            <a:pt x="465946" y="371184"/>
                            <a:pt x="444630" y="400004"/>
                          </a:cubicBezTo>
                          <a:cubicBezTo>
                            <a:pt x="423314" y="428824"/>
                            <a:pt x="408223" y="424743"/>
                            <a:pt x="406409" y="414394"/>
                          </a:cubicBezTo>
                          <a:cubicBezTo>
                            <a:pt x="404595" y="404045"/>
                            <a:pt x="341595" y="441152"/>
                            <a:pt x="344234" y="453522"/>
                          </a:cubicBezTo>
                          <a:cubicBezTo>
                            <a:pt x="346872" y="465891"/>
                            <a:pt x="334462" y="475126"/>
                            <a:pt x="317599" y="474137"/>
                          </a:cubicBezTo>
                          <a:cubicBezTo>
                            <a:pt x="300736" y="473147"/>
                            <a:pt x="314053" y="456655"/>
                            <a:pt x="327370" y="448409"/>
                          </a:cubicBezTo>
                          <a:cubicBezTo>
                            <a:pt x="342337" y="439173"/>
                            <a:pt x="383320" y="401076"/>
                            <a:pt x="404636" y="396953"/>
                          </a:cubicBezTo>
                          <a:cubicBezTo>
                            <a:pt x="423314" y="393366"/>
                            <a:pt x="456999" y="377905"/>
                            <a:pt x="465657" y="366525"/>
                          </a:cubicBezTo>
                          <a:cubicBezTo>
                            <a:pt x="465039" y="366525"/>
                            <a:pt x="464462" y="366525"/>
                            <a:pt x="463843" y="366525"/>
                          </a:cubicBezTo>
                          <a:cubicBezTo>
                            <a:pt x="428220" y="367638"/>
                            <a:pt x="394823" y="377493"/>
                            <a:pt x="361592" y="388130"/>
                          </a:cubicBezTo>
                          <a:cubicBezTo>
                            <a:pt x="358376" y="389326"/>
                            <a:pt x="355160" y="390315"/>
                            <a:pt x="352026" y="391181"/>
                          </a:cubicBezTo>
                          <a:cubicBezTo>
                            <a:pt x="343780" y="393820"/>
                            <a:pt x="335534" y="396458"/>
                            <a:pt x="327288" y="399015"/>
                          </a:cubicBezTo>
                          <a:cubicBezTo>
                            <a:pt x="324039" y="401344"/>
                            <a:pt x="323218" y="405830"/>
                            <a:pt x="325433" y="409158"/>
                          </a:cubicBezTo>
                          <a:cubicBezTo>
                            <a:pt x="332524" y="425650"/>
                            <a:pt x="303209" y="407055"/>
                            <a:pt x="297025" y="418393"/>
                          </a:cubicBezTo>
                          <a:cubicBezTo>
                            <a:pt x="290840" y="429731"/>
                            <a:pt x="279213" y="417362"/>
                            <a:pt x="288119" y="411219"/>
                          </a:cubicBezTo>
                          <a:cubicBezTo>
                            <a:pt x="288824" y="410753"/>
                            <a:pt x="289335" y="410052"/>
                            <a:pt x="289562" y="409240"/>
                          </a:cubicBezTo>
                          <a:cubicBezTo>
                            <a:pt x="278215" y="411895"/>
                            <a:pt x="266720" y="413866"/>
                            <a:pt x="255134" y="415136"/>
                          </a:cubicBezTo>
                          <a:cubicBezTo>
                            <a:pt x="250298" y="416740"/>
                            <a:pt x="245219" y="417490"/>
                            <a:pt x="240127" y="417362"/>
                          </a:cubicBezTo>
                          <a:cubicBezTo>
                            <a:pt x="218810" y="417362"/>
                            <a:pt x="197494" y="434844"/>
                            <a:pt x="211719" y="447213"/>
                          </a:cubicBezTo>
                          <a:cubicBezTo>
                            <a:pt x="225943" y="459582"/>
                            <a:pt x="234808" y="465726"/>
                            <a:pt x="227716" y="473972"/>
                          </a:cubicBezTo>
                          <a:cubicBezTo>
                            <a:pt x="220625" y="482218"/>
                            <a:pt x="198401" y="452367"/>
                            <a:pt x="167314" y="455418"/>
                          </a:cubicBezTo>
                          <a:cubicBezTo>
                            <a:pt x="136226" y="458469"/>
                            <a:pt x="74009" y="415342"/>
                            <a:pt x="74009" y="405034"/>
                          </a:cubicBezTo>
                          <a:cubicBezTo>
                            <a:pt x="74009" y="396788"/>
                            <a:pt x="30305" y="401860"/>
                            <a:pt x="1" y="398108"/>
                          </a:cubicBezTo>
                          <a:lnTo>
                            <a:pt x="1" y="1109210"/>
                          </a:lnTo>
                          <a:cubicBezTo>
                            <a:pt x="1" y="1109210"/>
                            <a:pt x="15379" y="1122486"/>
                            <a:pt x="21317" y="1114240"/>
                          </a:cubicBezTo>
                          <a:cubicBezTo>
                            <a:pt x="27254" y="1105994"/>
                            <a:pt x="37809" y="1117002"/>
                            <a:pt x="58012" y="1105994"/>
                          </a:cubicBezTo>
                          <a:cubicBezTo>
                            <a:pt x="78215" y="1094985"/>
                            <a:pt x="85265" y="1118363"/>
                            <a:pt x="85265" y="1129289"/>
                          </a:cubicBezTo>
                          <a:cubicBezTo>
                            <a:pt x="85265" y="1140215"/>
                            <a:pt x="113673" y="1158150"/>
                            <a:pt x="125547" y="1175920"/>
                          </a:cubicBezTo>
                          <a:cubicBezTo>
                            <a:pt x="137422" y="1193691"/>
                            <a:pt x="143318" y="1208905"/>
                            <a:pt x="156346" y="1199257"/>
                          </a:cubicBezTo>
                          <a:cubicBezTo>
                            <a:pt x="169375" y="1189609"/>
                            <a:pt x="193041" y="1184167"/>
                            <a:pt x="193041" y="1166272"/>
                          </a:cubicBezTo>
                          <a:cubicBezTo>
                            <a:pt x="193041" y="1148379"/>
                            <a:pt x="247548" y="1145657"/>
                            <a:pt x="247548" y="1169035"/>
                          </a:cubicBezTo>
                          <a:cubicBezTo>
                            <a:pt x="247548" y="1192413"/>
                            <a:pt x="303209" y="1219790"/>
                            <a:pt x="334132" y="1282872"/>
                          </a:cubicBezTo>
                          <a:cubicBezTo>
                            <a:pt x="365055" y="1345955"/>
                            <a:pt x="360313" y="1359891"/>
                            <a:pt x="405337" y="1380506"/>
                          </a:cubicBezTo>
                          <a:cubicBezTo>
                            <a:pt x="450361" y="1401121"/>
                            <a:pt x="449165" y="1412047"/>
                            <a:pt x="443228" y="1429983"/>
                          </a:cubicBezTo>
                          <a:cubicBezTo>
                            <a:pt x="437291" y="1447918"/>
                            <a:pt x="470481" y="1457360"/>
                            <a:pt x="451474" y="1472450"/>
                          </a:cubicBezTo>
                          <a:cubicBezTo>
                            <a:pt x="444217" y="1478264"/>
                            <a:pt x="433992" y="1486674"/>
                            <a:pt x="424138" y="1494838"/>
                          </a:cubicBezTo>
                          <a:cubicBezTo>
                            <a:pt x="425004" y="1503909"/>
                            <a:pt x="432054" y="1509722"/>
                            <a:pt x="441125" y="1518422"/>
                          </a:cubicBezTo>
                          <a:cubicBezTo>
                            <a:pt x="447145" y="1524235"/>
                            <a:pt x="440136" y="1526668"/>
                            <a:pt x="434528" y="1529513"/>
                          </a:cubicBezTo>
                          <a:lnTo>
                            <a:pt x="435477" y="1529513"/>
                          </a:lnTo>
                          <a:cubicBezTo>
                            <a:pt x="455556" y="1529513"/>
                            <a:pt x="478274" y="1547448"/>
                            <a:pt x="479305" y="1569383"/>
                          </a:cubicBezTo>
                          <a:cubicBezTo>
                            <a:pt x="480834" y="1570368"/>
                            <a:pt x="482018" y="1571811"/>
                            <a:pt x="482685" y="1573506"/>
                          </a:cubicBezTo>
                          <a:cubicBezTo>
                            <a:pt x="487942" y="1579542"/>
                            <a:pt x="491377" y="1586951"/>
                            <a:pt x="492581" y="1594863"/>
                          </a:cubicBezTo>
                          <a:cubicBezTo>
                            <a:pt x="495801" y="1600083"/>
                            <a:pt x="498027" y="1605859"/>
                            <a:pt x="499136" y="1611891"/>
                          </a:cubicBezTo>
                          <a:cubicBezTo>
                            <a:pt x="507383" y="1604470"/>
                            <a:pt x="523215" y="1631847"/>
                            <a:pt x="530843" y="1636630"/>
                          </a:cubicBezTo>
                          <a:cubicBezTo>
                            <a:pt x="538470" y="1641412"/>
                            <a:pt x="546840" y="1657245"/>
                            <a:pt x="533523" y="1657245"/>
                          </a:cubicBezTo>
                          <a:cubicBezTo>
                            <a:pt x="520205" y="1657245"/>
                            <a:pt x="521978" y="1684003"/>
                            <a:pt x="531750" y="1685034"/>
                          </a:cubicBezTo>
                          <a:cubicBezTo>
                            <a:pt x="541521" y="1686065"/>
                            <a:pt x="540614" y="1700496"/>
                            <a:pt x="540614" y="1709772"/>
                          </a:cubicBezTo>
                          <a:cubicBezTo>
                            <a:pt x="540614" y="1719049"/>
                            <a:pt x="571702" y="1732408"/>
                            <a:pt x="583247" y="1728285"/>
                          </a:cubicBezTo>
                          <a:cubicBezTo>
                            <a:pt x="594791" y="1724162"/>
                            <a:pt x="605470" y="1736531"/>
                            <a:pt x="610789" y="1747828"/>
                          </a:cubicBezTo>
                          <a:cubicBezTo>
                            <a:pt x="616107" y="1759125"/>
                            <a:pt x="637465" y="1767371"/>
                            <a:pt x="645463" y="1760197"/>
                          </a:cubicBezTo>
                          <a:cubicBezTo>
                            <a:pt x="653462" y="1753023"/>
                            <a:pt x="658781" y="1773556"/>
                            <a:pt x="660554" y="1787945"/>
                          </a:cubicBezTo>
                          <a:cubicBezTo>
                            <a:pt x="662327" y="1802335"/>
                            <a:pt x="680097" y="1794130"/>
                            <a:pt x="690734" y="1793099"/>
                          </a:cubicBezTo>
                          <a:cubicBezTo>
                            <a:pt x="701372" y="1792068"/>
                            <a:pt x="707639" y="1809591"/>
                            <a:pt x="714730" y="1806499"/>
                          </a:cubicBezTo>
                          <a:cubicBezTo>
                            <a:pt x="730398" y="1799655"/>
                            <a:pt x="735098" y="1831237"/>
                            <a:pt x="745447" y="1849915"/>
                          </a:cubicBezTo>
                          <a:lnTo>
                            <a:pt x="1849640" y="1842988"/>
                          </a:lnTo>
                          <a:cubicBezTo>
                            <a:pt x="1849640" y="1842988"/>
                            <a:pt x="1850382" y="1811282"/>
                            <a:pt x="1863411" y="1822373"/>
                          </a:cubicBezTo>
                          <a:cubicBezTo>
                            <a:pt x="1876440" y="1833464"/>
                            <a:pt x="1864607" y="1851234"/>
                            <a:pt x="1879904" y="1858037"/>
                          </a:cubicBezTo>
                          <a:cubicBezTo>
                            <a:pt x="1895200" y="1864840"/>
                            <a:pt x="1906002" y="1875890"/>
                            <a:pt x="1914248" y="1871767"/>
                          </a:cubicBezTo>
                          <a:cubicBezTo>
                            <a:pt x="1922494" y="1867644"/>
                            <a:pt x="1936760" y="1853914"/>
                            <a:pt x="1950985" y="1873169"/>
                          </a:cubicBezTo>
                          <a:cubicBezTo>
                            <a:pt x="1965209" y="1892423"/>
                            <a:pt x="1975723" y="1875890"/>
                            <a:pt x="1983969" y="1888218"/>
                          </a:cubicBezTo>
                          <a:cubicBezTo>
                            <a:pt x="1992215" y="1900546"/>
                            <a:pt x="2007677" y="1910194"/>
                            <a:pt x="2018314" y="1895103"/>
                          </a:cubicBezTo>
                          <a:cubicBezTo>
                            <a:pt x="2026972" y="1882734"/>
                            <a:pt x="2059751" y="1897660"/>
                            <a:pt x="2075624" y="1904421"/>
                          </a:cubicBezTo>
                          <a:cubicBezTo>
                            <a:pt x="2095085" y="1886321"/>
                            <a:pt x="2110464" y="1847771"/>
                            <a:pt x="2127863" y="1847771"/>
                          </a:cubicBezTo>
                          <a:cubicBezTo>
                            <a:pt x="2150994" y="1847771"/>
                            <a:pt x="2209623" y="1853914"/>
                            <a:pt x="2213169" y="1889001"/>
                          </a:cubicBezTo>
                          <a:cubicBezTo>
                            <a:pt x="2216715" y="1924088"/>
                            <a:pt x="2252256" y="1891063"/>
                            <a:pt x="2255802" y="1924006"/>
                          </a:cubicBezTo>
                          <a:cubicBezTo>
                            <a:pt x="2258853" y="1951960"/>
                            <a:pt x="2282313" y="1973977"/>
                            <a:pt x="2278396" y="1988779"/>
                          </a:cubicBezTo>
                          <a:cubicBezTo>
                            <a:pt x="2286337" y="1994489"/>
                            <a:pt x="2293964" y="2000629"/>
                            <a:pt x="2301238" y="2007168"/>
                          </a:cubicBezTo>
                          <a:cubicBezTo>
                            <a:pt x="2312493" y="2002797"/>
                            <a:pt x="2342468" y="2008364"/>
                            <a:pt x="2362424" y="2016568"/>
                          </a:cubicBezTo>
                          <a:cubicBezTo>
                            <a:pt x="2387162" y="2026835"/>
                            <a:pt x="2424640" y="2004199"/>
                            <a:pt x="2437051" y="2039204"/>
                          </a:cubicBezTo>
                          <a:cubicBezTo>
                            <a:pt x="2449461" y="2074208"/>
                            <a:pt x="2478281" y="2100596"/>
                            <a:pt x="2451275" y="2102987"/>
                          </a:cubicBezTo>
                          <a:cubicBezTo>
                            <a:pt x="2428145" y="2105090"/>
                            <a:pt x="2397964" y="2068024"/>
                            <a:pt x="2399737" y="2088598"/>
                          </a:cubicBezTo>
                          <a:cubicBezTo>
                            <a:pt x="2401510" y="2109172"/>
                            <a:pt x="2387368" y="2098906"/>
                            <a:pt x="2387368" y="2129828"/>
                          </a:cubicBezTo>
                          <a:cubicBezTo>
                            <a:pt x="2387368" y="2160751"/>
                            <a:pt x="2369598" y="2204043"/>
                            <a:pt x="2358919" y="2201858"/>
                          </a:cubicBezTo>
                          <a:cubicBezTo>
                            <a:pt x="2358556" y="2201743"/>
                            <a:pt x="2358206" y="2201574"/>
                            <a:pt x="2357888" y="2201363"/>
                          </a:cubicBezTo>
                          <a:cubicBezTo>
                            <a:pt x="2356074" y="2213031"/>
                            <a:pt x="2355950" y="2228204"/>
                            <a:pt x="2364361" y="2237728"/>
                          </a:cubicBezTo>
                          <a:cubicBezTo>
                            <a:pt x="2377926" y="2226349"/>
                            <a:pt x="2397346" y="2206765"/>
                            <a:pt x="2413838" y="2208043"/>
                          </a:cubicBezTo>
                          <a:cubicBezTo>
                            <a:pt x="2440473" y="2210104"/>
                            <a:pt x="2447565" y="2228658"/>
                            <a:pt x="2465335" y="2214227"/>
                          </a:cubicBezTo>
                          <a:cubicBezTo>
                            <a:pt x="2483105" y="2199797"/>
                            <a:pt x="2486692" y="2193612"/>
                            <a:pt x="2490073" y="2203920"/>
                          </a:cubicBezTo>
                          <a:cubicBezTo>
                            <a:pt x="2490444" y="2205482"/>
                            <a:pt x="2490222" y="2207127"/>
                            <a:pt x="2489455" y="2208537"/>
                          </a:cubicBezTo>
                          <a:cubicBezTo>
                            <a:pt x="2496216" y="2204414"/>
                            <a:pt x="2500999" y="2200291"/>
                            <a:pt x="2501329" y="2197034"/>
                          </a:cubicBezTo>
                          <a:cubicBezTo>
                            <a:pt x="2501527" y="2190825"/>
                            <a:pt x="2500764" y="2184620"/>
                            <a:pt x="2499061" y="2178645"/>
                          </a:cubicBezTo>
                          <a:cubicBezTo>
                            <a:pt x="2481250" y="2181655"/>
                            <a:pt x="2475436" y="2183222"/>
                            <a:pt x="2470530" y="2168956"/>
                          </a:cubicBezTo>
                          <a:cubicBezTo>
                            <a:pt x="2463397" y="2148341"/>
                            <a:pt x="2523841" y="2127726"/>
                            <a:pt x="2552248" y="2131849"/>
                          </a:cubicBezTo>
                          <a:cubicBezTo>
                            <a:pt x="2579213" y="2135724"/>
                            <a:pt x="2598138" y="2113831"/>
                            <a:pt x="2607621" y="2127313"/>
                          </a:cubicBezTo>
                          <a:cubicBezTo>
                            <a:pt x="2624690" y="2109502"/>
                            <a:pt x="2653840" y="2080434"/>
                            <a:pt x="2661221" y="2080434"/>
                          </a:cubicBezTo>
                          <a:cubicBezTo>
                            <a:pt x="2671899" y="2080434"/>
                            <a:pt x="2798642" y="2079032"/>
                            <a:pt x="2798642" y="2079032"/>
                          </a:cubicBezTo>
                          <a:cubicBezTo>
                            <a:pt x="2798642" y="2079032"/>
                            <a:pt x="2842470" y="2047491"/>
                            <a:pt x="2848366" y="2018671"/>
                          </a:cubicBezTo>
                          <a:cubicBezTo>
                            <a:pt x="2854262" y="1989851"/>
                            <a:pt x="2882711" y="1921244"/>
                            <a:pt x="2899327" y="1936210"/>
                          </a:cubicBezTo>
                          <a:cubicBezTo>
                            <a:pt x="2915942" y="1951177"/>
                            <a:pt x="2951442" y="1940333"/>
                            <a:pt x="2952596" y="1954022"/>
                          </a:cubicBezTo>
                          <a:cubicBezTo>
                            <a:pt x="2953710" y="1966721"/>
                            <a:pt x="2940805" y="2013352"/>
                            <a:pt x="2986405" y="2083073"/>
                          </a:cubicBezTo>
                          <a:cubicBezTo>
                            <a:pt x="3002403" y="2071322"/>
                            <a:pt x="3018977" y="2062169"/>
                            <a:pt x="3028419" y="2062746"/>
                          </a:cubicBezTo>
                          <a:cubicBezTo>
                            <a:pt x="3044417" y="2063777"/>
                            <a:pt x="3068372" y="2039080"/>
                            <a:pt x="3075504" y="2023660"/>
                          </a:cubicBezTo>
                          <a:cubicBezTo>
                            <a:pt x="3082637" y="2008240"/>
                            <a:pt x="3092368" y="2038091"/>
                            <a:pt x="3078143" y="2043203"/>
                          </a:cubicBezTo>
                          <a:cubicBezTo>
                            <a:pt x="3063919" y="2048316"/>
                            <a:pt x="3089729" y="2060685"/>
                            <a:pt x="3114591" y="2059695"/>
                          </a:cubicBezTo>
                          <a:cubicBezTo>
                            <a:pt x="3139453" y="2058706"/>
                            <a:pt x="3103046" y="2069962"/>
                            <a:pt x="3084410" y="2068931"/>
                          </a:cubicBezTo>
                          <a:cubicBezTo>
                            <a:pt x="3065774" y="2067900"/>
                            <a:pt x="3057734" y="2070992"/>
                            <a:pt x="3032872" y="2099813"/>
                          </a:cubicBezTo>
                          <a:cubicBezTo>
                            <a:pt x="3008010" y="2128633"/>
                            <a:pt x="3014195" y="2136920"/>
                            <a:pt x="3028419" y="2151227"/>
                          </a:cubicBezTo>
                          <a:cubicBezTo>
                            <a:pt x="3042644" y="2165534"/>
                            <a:pt x="3061404" y="2159473"/>
                            <a:pt x="3080823" y="2139930"/>
                          </a:cubicBezTo>
                          <a:cubicBezTo>
                            <a:pt x="3100243" y="2120387"/>
                            <a:pt x="3099501" y="2100844"/>
                            <a:pt x="3119044" y="2101874"/>
                          </a:cubicBezTo>
                          <a:cubicBezTo>
                            <a:pt x="3126630" y="2102245"/>
                            <a:pt x="3138917" y="2099235"/>
                            <a:pt x="3152399" y="2094906"/>
                          </a:cubicBezTo>
                          <a:cubicBezTo>
                            <a:pt x="3153760" y="2092754"/>
                            <a:pt x="3155450" y="2090808"/>
                            <a:pt x="3157388" y="2089134"/>
                          </a:cubicBezTo>
                          <a:lnTo>
                            <a:pt x="3170417" y="2078373"/>
                          </a:lnTo>
                          <a:cubicBezTo>
                            <a:pt x="3172272" y="2076682"/>
                            <a:pt x="3174210" y="2075157"/>
                            <a:pt x="3175942" y="2073384"/>
                          </a:cubicBezTo>
                          <a:cubicBezTo>
                            <a:pt x="3184147" y="2065150"/>
                            <a:pt x="3195197" y="2060404"/>
                            <a:pt x="3206823" y="2060149"/>
                          </a:cubicBezTo>
                          <a:cubicBezTo>
                            <a:pt x="3209586" y="2060021"/>
                            <a:pt x="3212348" y="2060244"/>
                            <a:pt x="3215069" y="2060809"/>
                          </a:cubicBezTo>
                          <a:cubicBezTo>
                            <a:pt x="3216636" y="2058306"/>
                            <a:pt x="3218409" y="2055923"/>
                            <a:pt x="3220306" y="2053676"/>
                          </a:cubicBezTo>
                          <a:cubicBezTo>
                            <a:pt x="3219852" y="2052344"/>
                            <a:pt x="3219646" y="2050954"/>
                            <a:pt x="3219605" y="2049553"/>
                          </a:cubicBezTo>
                          <a:cubicBezTo>
                            <a:pt x="3219605" y="2043863"/>
                            <a:pt x="3229500" y="2041018"/>
                            <a:pt x="3241127" y="2038214"/>
                          </a:cubicBezTo>
                          <a:cubicBezTo>
                            <a:pt x="3241663" y="2037926"/>
                            <a:pt x="3242199" y="2037596"/>
                            <a:pt x="3242776" y="2037348"/>
                          </a:cubicBezTo>
                          <a:cubicBezTo>
                            <a:pt x="3247147" y="2024497"/>
                            <a:pt x="3257084" y="2014284"/>
                            <a:pt x="3269782" y="2009518"/>
                          </a:cubicBezTo>
                          <a:cubicBezTo>
                            <a:pt x="3265948" y="2008170"/>
                            <a:pt x="3261825" y="2007786"/>
                            <a:pt x="3257825" y="2008405"/>
                          </a:cubicBezTo>
                          <a:cubicBezTo>
                            <a:pt x="3245456" y="2010466"/>
                            <a:pt x="3255145" y="1987789"/>
                            <a:pt x="3256918" y="1976492"/>
                          </a:cubicBezTo>
                          <a:cubicBezTo>
                            <a:pt x="3258692" y="1965195"/>
                            <a:pt x="3230284" y="1981646"/>
                            <a:pt x="3229376" y="1995005"/>
                          </a:cubicBezTo>
                          <a:cubicBezTo>
                            <a:pt x="3228469" y="2008364"/>
                            <a:pt x="3208761" y="2013517"/>
                            <a:pt x="3208761" y="2021763"/>
                          </a:cubicBezTo>
                          <a:cubicBezTo>
                            <a:pt x="3208761" y="2045801"/>
                            <a:pt x="3206081" y="2033102"/>
                            <a:pt x="3191898" y="2041307"/>
                          </a:cubicBezTo>
                          <a:cubicBezTo>
                            <a:pt x="3177715" y="2049511"/>
                            <a:pt x="3122590" y="2041307"/>
                            <a:pt x="3120817" y="2026876"/>
                          </a:cubicBezTo>
                          <a:cubicBezTo>
                            <a:pt x="3119044" y="2012445"/>
                            <a:pt x="3079050" y="2005312"/>
                            <a:pt x="3077277" y="1985646"/>
                          </a:cubicBezTo>
                          <a:cubicBezTo>
                            <a:pt x="3077195" y="1984594"/>
                            <a:pt x="3077030" y="1983547"/>
                            <a:pt x="3076824" y="1982512"/>
                          </a:cubicBezTo>
                          <a:cubicBezTo>
                            <a:pt x="3065898" y="1974270"/>
                            <a:pt x="3059713" y="1961179"/>
                            <a:pt x="3060332" y="1947507"/>
                          </a:cubicBezTo>
                          <a:cubicBezTo>
                            <a:pt x="3061362" y="1937088"/>
                            <a:pt x="3063754" y="1926851"/>
                            <a:pt x="3067423" y="1917038"/>
                          </a:cubicBezTo>
                          <a:cubicBezTo>
                            <a:pt x="3066887" y="1916461"/>
                            <a:pt x="3066434" y="1915801"/>
                            <a:pt x="3065898" y="1915183"/>
                          </a:cubicBezTo>
                          <a:cubicBezTo>
                            <a:pt x="3061280" y="1916543"/>
                            <a:pt x="3057157" y="1919207"/>
                            <a:pt x="3054023" y="1922851"/>
                          </a:cubicBezTo>
                          <a:cubicBezTo>
                            <a:pt x="3038892" y="1939344"/>
                            <a:pt x="3030027" y="1913616"/>
                            <a:pt x="3050436" y="1904339"/>
                          </a:cubicBezTo>
                          <a:cubicBezTo>
                            <a:pt x="3052828" y="1903267"/>
                            <a:pt x="3055466" y="1902195"/>
                            <a:pt x="3058229" y="1901082"/>
                          </a:cubicBezTo>
                          <a:lnTo>
                            <a:pt x="3058229" y="1900546"/>
                          </a:lnTo>
                          <a:cubicBezTo>
                            <a:pt x="3053487" y="1895074"/>
                            <a:pt x="3049941" y="1888688"/>
                            <a:pt x="3047797" y="1881786"/>
                          </a:cubicBezTo>
                          <a:cubicBezTo>
                            <a:pt x="3045324" y="1872299"/>
                            <a:pt x="3045901" y="1862271"/>
                            <a:pt x="3049447" y="1853131"/>
                          </a:cubicBezTo>
                          <a:cubicBezTo>
                            <a:pt x="3038088" y="1851098"/>
                            <a:pt x="3028230" y="1844097"/>
                            <a:pt x="3022564" y="1834041"/>
                          </a:cubicBezTo>
                          <a:cubicBezTo>
                            <a:pt x="2981334" y="1843565"/>
                            <a:pt x="2934125" y="1865871"/>
                            <a:pt x="2916437" y="1877580"/>
                          </a:cubicBezTo>
                          <a:cubicBezTo>
                            <a:pt x="2885350" y="1898196"/>
                            <a:pt x="2846345" y="1964164"/>
                            <a:pt x="2829400" y="1964164"/>
                          </a:cubicBezTo>
                          <a:cubicBezTo>
                            <a:pt x="2812454" y="1964164"/>
                            <a:pt x="2858673" y="1929160"/>
                            <a:pt x="2865806" y="1915801"/>
                          </a:cubicBezTo>
                          <a:cubicBezTo>
                            <a:pt x="2872939" y="1902443"/>
                            <a:pt x="2864033" y="1889043"/>
                            <a:pt x="2873805" y="1894196"/>
                          </a:cubicBezTo>
                          <a:cubicBezTo>
                            <a:pt x="2883577" y="1899350"/>
                            <a:pt x="2910912" y="1849956"/>
                            <a:pt x="2929755" y="1833464"/>
                          </a:cubicBezTo>
                          <a:cubicBezTo>
                            <a:pt x="2948597" y="1816972"/>
                            <a:pt x="2968841" y="1832474"/>
                            <a:pt x="2971521" y="1819074"/>
                          </a:cubicBezTo>
                          <a:cubicBezTo>
                            <a:pt x="2974201" y="1805674"/>
                            <a:pt x="2983066" y="1796439"/>
                            <a:pt x="3000836" y="1777844"/>
                          </a:cubicBezTo>
                          <a:cubicBezTo>
                            <a:pt x="3004959" y="1773721"/>
                            <a:pt x="3019183" y="1770505"/>
                            <a:pt x="3038933" y="1768237"/>
                          </a:cubicBezTo>
                          <a:cubicBezTo>
                            <a:pt x="3044952" y="1765310"/>
                            <a:pt x="3051591" y="1763825"/>
                            <a:pt x="3058270" y="1763908"/>
                          </a:cubicBezTo>
                          <a:cubicBezTo>
                            <a:pt x="3062434" y="1763883"/>
                            <a:pt x="3066598" y="1764440"/>
                            <a:pt x="3070639" y="1765557"/>
                          </a:cubicBezTo>
                          <a:cubicBezTo>
                            <a:pt x="3115993" y="1762712"/>
                            <a:pt x="3172684" y="1762382"/>
                            <a:pt x="3210823" y="1762671"/>
                          </a:cubicBezTo>
                          <a:cubicBezTo>
                            <a:pt x="3216265" y="1761574"/>
                            <a:pt x="3221873" y="1761574"/>
                            <a:pt x="3227315" y="1762671"/>
                          </a:cubicBezTo>
                          <a:cubicBezTo>
                            <a:pt x="3239684" y="1762671"/>
                            <a:pt x="3248178" y="1763042"/>
                            <a:pt x="3251558" y="1763248"/>
                          </a:cubicBezTo>
                          <a:cubicBezTo>
                            <a:pt x="3272174" y="1764238"/>
                            <a:pt x="3311961" y="1732367"/>
                            <a:pt x="3323506" y="1711793"/>
                          </a:cubicBezTo>
                          <a:cubicBezTo>
                            <a:pt x="3335050" y="1691219"/>
                            <a:pt x="3350182" y="1691177"/>
                            <a:pt x="3378590" y="1693280"/>
                          </a:cubicBezTo>
                          <a:cubicBezTo>
                            <a:pt x="3406997" y="1695383"/>
                            <a:pt x="3420356" y="1665491"/>
                            <a:pt x="3434580" y="1654153"/>
                          </a:cubicBezTo>
                          <a:cubicBezTo>
                            <a:pt x="3448805" y="1642814"/>
                            <a:pt x="3443857" y="1637660"/>
                            <a:pt x="3431447" y="1634527"/>
                          </a:cubicBezTo>
                          <a:close/>
                          <a:moveTo>
                            <a:pt x="945951" y="674434"/>
                          </a:moveTo>
                          <a:cubicBezTo>
                            <a:pt x="922615" y="707955"/>
                            <a:pt x="914863" y="712861"/>
                            <a:pt x="890826" y="707955"/>
                          </a:cubicBezTo>
                          <a:cubicBezTo>
                            <a:pt x="866788" y="703048"/>
                            <a:pt x="851987" y="716984"/>
                            <a:pt x="863985" y="726797"/>
                          </a:cubicBezTo>
                          <a:cubicBezTo>
                            <a:pt x="875983" y="736610"/>
                            <a:pt x="876725" y="744815"/>
                            <a:pt x="851987" y="751329"/>
                          </a:cubicBezTo>
                          <a:cubicBezTo>
                            <a:pt x="827248" y="757844"/>
                            <a:pt x="811045" y="779943"/>
                            <a:pt x="801150" y="777510"/>
                          </a:cubicBezTo>
                          <a:cubicBezTo>
                            <a:pt x="791254" y="775078"/>
                            <a:pt x="843535" y="731703"/>
                            <a:pt x="830011" y="720241"/>
                          </a:cubicBezTo>
                          <a:cubicBezTo>
                            <a:pt x="816487" y="708779"/>
                            <a:pt x="783420" y="739908"/>
                            <a:pt x="782720" y="753803"/>
                          </a:cubicBezTo>
                          <a:cubicBezTo>
                            <a:pt x="782019" y="767698"/>
                            <a:pt x="760084" y="768522"/>
                            <a:pt x="746684" y="767698"/>
                          </a:cubicBezTo>
                          <a:cubicBezTo>
                            <a:pt x="733284" y="766873"/>
                            <a:pt x="715596" y="752112"/>
                            <a:pt x="728996" y="750505"/>
                          </a:cubicBezTo>
                          <a:cubicBezTo>
                            <a:pt x="742396" y="748897"/>
                            <a:pt x="733119" y="731703"/>
                            <a:pt x="751632" y="723540"/>
                          </a:cubicBezTo>
                          <a:cubicBezTo>
                            <a:pt x="770144" y="715376"/>
                            <a:pt x="748045" y="702925"/>
                            <a:pt x="753735" y="694060"/>
                          </a:cubicBezTo>
                          <a:cubicBezTo>
                            <a:pt x="759424" y="685195"/>
                            <a:pt x="796820" y="703090"/>
                            <a:pt x="797521" y="686721"/>
                          </a:cubicBezTo>
                          <a:cubicBezTo>
                            <a:pt x="798222" y="670353"/>
                            <a:pt x="760084" y="656417"/>
                            <a:pt x="747385" y="666106"/>
                          </a:cubicBezTo>
                          <a:cubicBezTo>
                            <a:pt x="734686" y="675795"/>
                            <a:pt x="705000" y="698802"/>
                            <a:pt x="669666" y="680784"/>
                          </a:cubicBezTo>
                          <a:cubicBezTo>
                            <a:pt x="658533" y="675135"/>
                            <a:pt x="758682" y="662849"/>
                            <a:pt x="775628" y="644831"/>
                          </a:cubicBezTo>
                          <a:cubicBezTo>
                            <a:pt x="792574" y="626813"/>
                            <a:pt x="868850" y="606363"/>
                            <a:pt x="874581" y="622731"/>
                          </a:cubicBezTo>
                          <a:cubicBezTo>
                            <a:pt x="880312" y="639100"/>
                            <a:pt x="833598" y="649737"/>
                            <a:pt x="856192" y="664456"/>
                          </a:cubicBezTo>
                          <a:cubicBezTo>
                            <a:pt x="878787" y="679176"/>
                            <a:pt x="915523" y="669363"/>
                            <a:pt x="924016" y="653819"/>
                          </a:cubicBezTo>
                          <a:cubicBezTo>
                            <a:pt x="932510" y="638275"/>
                            <a:pt x="969246" y="640873"/>
                            <a:pt x="945951" y="674434"/>
                          </a:cubicBezTo>
                          <a:close/>
                          <a:moveTo>
                            <a:pt x="1170574" y="1004938"/>
                          </a:moveTo>
                          <a:cubicBezTo>
                            <a:pt x="1143033" y="1032727"/>
                            <a:pt x="1145135" y="1025553"/>
                            <a:pt x="1121098" y="1030253"/>
                          </a:cubicBezTo>
                          <a:cubicBezTo>
                            <a:pt x="1097061" y="1034953"/>
                            <a:pt x="1116150" y="1062990"/>
                            <a:pt x="1087165" y="1065423"/>
                          </a:cubicBezTo>
                          <a:cubicBezTo>
                            <a:pt x="1058180" y="1067855"/>
                            <a:pt x="988212" y="1071195"/>
                            <a:pt x="978399" y="1052353"/>
                          </a:cubicBezTo>
                          <a:cubicBezTo>
                            <a:pt x="975101" y="1046086"/>
                            <a:pt x="1016538" y="1050704"/>
                            <a:pt x="1019382" y="1036850"/>
                          </a:cubicBezTo>
                          <a:cubicBezTo>
                            <a:pt x="1022227" y="1022997"/>
                            <a:pt x="1033483" y="1000815"/>
                            <a:pt x="1051171" y="1000815"/>
                          </a:cubicBezTo>
                          <a:cubicBezTo>
                            <a:pt x="1068859" y="1000815"/>
                            <a:pt x="1067416" y="973850"/>
                            <a:pt x="1038431" y="957481"/>
                          </a:cubicBezTo>
                          <a:cubicBezTo>
                            <a:pt x="1009446" y="941113"/>
                            <a:pt x="1080115" y="930434"/>
                            <a:pt x="1096154" y="956616"/>
                          </a:cubicBezTo>
                          <a:cubicBezTo>
                            <a:pt x="1112192" y="982797"/>
                            <a:pt x="1141507" y="1001639"/>
                            <a:pt x="1157628" y="982838"/>
                          </a:cubicBezTo>
                          <a:cubicBezTo>
                            <a:pt x="1173749" y="964037"/>
                            <a:pt x="1266394" y="911633"/>
                            <a:pt x="1266394" y="936206"/>
                          </a:cubicBezTo>
                          <a:cubicBezTo>
                            <a:pt x="1266394" y="960780"/>
                            <a:pt x="1198116" y="977107"/>
                            <a:pt x="1170574" y="1004938"/>
                          </a:cubicBezTo>
                          <a:close/>
                          <a:moveTo>
                            <a:pt x="1788825" y="1752858"/>
                          </a:moveTo>
                          <a:cubicBezTo>
                            <a:pt x="1769406" y="1755332"/>
                            <a:pt x="1790598" y="1693198"/>
                            <a:pt x="1755058" y="1670397"/>
                          </a:cubicBezTo>
                          <a:cubicBezTo>
                            <a:pt x="1713291" y="1643804"/>
                            <a:pt x="1694655" y="1594286"/>
                            <a:pt x="1694655" y="1567321"/>
                          </a:cubicBezTo>
                          <a:cubicBezTo>
                            <a:pt x="1694655" y="1540357"/>
                            <a:pt x="1730196" y="1528235"/>
                            <a:pt x="1744420" y="1548809"/>
                          </a:cubicBezTo>
                          <a:cubicBezTo>
                            <a:pt x="1758645" y="1569383"/>
                            <a:pt x="1779961" y="1653740"/>
                            <a:pt x="1792371" y="1680499"/>
                          </a:cubicBezTo>
                          <a:cubicBezTo>
                            <a:pt x="1804781" y="1707257"/>
                            <a:pt x="1804823" y="1750797"/>
                            <a:pt x="1788825" y="1752858"/>
                          </a:cubicBezTo>
                          <a:close/>
                        </a:path>
                      </a:pathLst>
                    </a:custGeom>
                    <a:grpFill/>
                    <a:ln w="6350" cap="flat">
                      <a:solidFill>
                        <a:schemeClr val="bg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>
                      <a:defPPr>
                        <a:defRPr lang="en-US"/>
                      </a:defPPr>
                    </a:lstStyle>
                    <a:p>
                      <a:pPr marL="0" marR="0" lvl="0" indent="0" algn="l" defTabSz="1462923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 kumimoji="0" sz="2160" b="0" i="0" normalizeH="0" noProof="0">
                          <a:solidFill>
                            <a:srgbClr val="000000"/>
                          </a:solidFill>
                          <a:uLnTx/>
                          <a:uFillTx/>
                          <a:latin typeface="+mn-lt"/>
                          <a:ea typeface="+mn-ea"/>
                          <a:cs typeface="+mn-cs"/>
                        </a:defRPr>
                      </a:pPr>
                      <a:endParaRPr kumimoji="0" lang="en-US" sz="288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cs typeface="Arial" pitchFamily="34" charset="0"/>
                      </a:endParaRPr>
                    </a:p>
                  </p:txBody>
                </p:sp>
                <p:sp>
                  <p:nvSpPr>
                    <p:cNvPr id="51" name="Canada group">
                      <a:extLst>
                        <a:ext uri="{FF2B5EF4-FFF2-40B4-BE49-F238E27FC236}">
                          <a16:creationId xmlns:a16="http://schemas.microsoft.com/office/drawing/2014/main" id="{A2DEA148-2A8A-49BA-0E5E-6C16EF4E9EC2}"/>
                        </a:ext>
                      </a:extLst>
                    </p:cNvPr>
                    <p:cNvSpPr/>
                    <p:nvPr>
                      <p:custDataLst>
                        <p:tags r:id="rId534"/>
                      </p:custDataLst>
                    </p:nvPr>
                  </p:nvSpPr>
                  <p:spPr>
                    <a:xfrm>
                      <a:off x="2504285" y="1180102"/>
                      <a:ext cx="232072" cy="148511"/>
                    </a:xfrm>
                    <a:custGeom>
                      <a:avLst/>
                      <a:gdLst>
                        <a:gd name="connsiteX0" fmla="*/ 268411 w 270985"/>
                        <a:gd name="connsiteY0" fmla="*/ 27289 h 173414"/>
                        <a:gd name="connsiteX1" fmla="*/ 236457 w 270985"/>
                        <a:gd name="connsiteY1" fmla="*/ 6674 h 173414"/>
                        <a:gd name="connsiteX2" fmla="*/ 211719 w 270985"/>
                        <a:gd name="connsiteY2" fmla="*/ 25187 h 173414"/>
                        <a:gd name="connsiteX3" fmla="*/ 158449 w 270985"/>
                        <a:gd name="connsiteY3" fmla="*/ 19002 h 173414"/>
                        <a:gd name="connsiteX4" fmla="*/ 86914 w 270985"/>
                        <a:gd name="connsiteY4" fmla="*/ 61387 h 173414"/>
                        <a:gd name="connsiteX5" fmla="*/ 87615 w 270985"/>
                        <a:gd name="connsiteY5" fmla="*/ 68479 h 173414"/>
                        <a:gd name="connsiteX6" fmla="*/ 43911 w 270985"/>
                        <a:gd name="connsiteY6" fmla="*/ 113585 h 173414"/>
                        <a:gd name="connsiteX7" fmla="*/ 14679 w 270985"/>
                        <a:gd name="connsiteY7" fmla="*/ 110946 h 173414"/>
                        <a:gd name="connsiteX8" fmla="*/ 1 w 270985"/>
                        <a:gd name="connsiteY8" fmla="*/ 159433 h 173414"/>
                        <a:gd name="connsiteX9" fmla="*/ 18059 w 270985"/>
                        <a:gd name="connsiteY9" fmla="*/ 158938 h 173414"/>
                        <a:gd name="connsiteX10" fmla="*/ 50054 w 270985"/>
                        <a:gd name="connsiteY10" fmla="*/ 136303 h 173414"/>
                        <a:gd name="connsiteX11" fmla="*/ 78503 w 270985"/>
                        <a:gd name="connsiteY11" fmla="*/ 173410 h 173414"/>
                        <a:gd name="connsiteX12" fmla="*/ 112230 w 270985"/>
                        <a:gd name="connsiteY12" fmla="*/ 138447 h 173414"/>
                        <a:gd name="connsiteX13" fmla="*/ 138865 w 270985"/>
                        <a:gd name="connsiteY13" fmla="*/ 117831 h 173414"/>
                        <a:gd name="connsiteX14" fmla="*/ 161995 w 270985"/>
                        <a:gd name="connsiteY14" fmla="*/ 74622 h 173414"/>
                        <a:gd name="connsiteX15" fmla="*/ 174364 w 270985"/>
                        <a:gd name="connsiteY15" fmla="*/ 115852 h 173414"/>
                        <a:gd name="connsiteX16" fmla="*/ 211472 w 270985"/>
                        <a:gd name="connsiteY16" fmla="*/ 105545 h 173414"/>
                        <a:gd name="connsiteX17" fmla="*/ 243466 w 270985"/>
                        <a:gd name="connsiteY17" fmla="*/ 87032 h 173414"/>
                        <a:gd name="connsiteX18" fmla="*/ 243466 w 270985"/>
                        <a:gd name="connsiteY18" fmla="*/ 52069 h 173414"/>
                        <a:gd name="connsiteX19" fmla="*/ 268411 w 270985"/>
                        <a:gd name="connsiteY19" fmla="*/ 27289 h 17341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</a:cxnLst>
                      <a:rect l="l" t="t" r="r" b="b"/>
                      <a:pathLst>
                        <a:path w="270985" h="173414">
                          <a:moveTo>
                            <a:pt x="268411" y="27289"/>
                          </a:moveTo>
                          <a:cubicBezTo>
                            <a:pt x="279090" y="14920"/>
                            <a:pt x="254228" y="25228"/>
                            <a:pt x="236457" y="6674"/>
                          </a:cubicBezTo>
                          <a:cubicBezTo>
                            <a:pt x="218687" y="-11880"/>
                            <a:pt x="211719" y="12817"/>
                            <a:pt x="211719" y="25187"/>
                          </a:cubicBezTo>
                          <a:cubicBezTo>
                            <a:pt x="211719" y="37556"/>
                            <a:pt x="177992" y="27248"/>
                            <a:pt x="158449" y="19002"/>
                          </a:cubicBezTo>
                          <a:cubicBezTo>
                            <a:pt x="138906" y="10756"/>
                            <a:pt x="114786" y="44606"/>
                            <a:pt x="86914" y="61387"/>
                          </a:cubicBezTo>
                          <a:cubicBezTo>
                            <a:pt x="87318" y="63729"/>
                            <a:pt x="87553" y="66100"/>
                            <a:pt x="87615" y="68479"/>
                          </a:cubicBezTo>
                          <a:cubicBezTo>
                            <a:pt x="87615" y="90661"/>
                            <a:pt x="67371" y="116636"/>
                            <a:pt x="43911" y="113585"/>
                          </a:cubicBezTo>
                          <a:cubicBezTo>
                            <a:pt x="34139" y="112307"/>
                            <a:pt x="24409" y="111482"/>
                            <a:pt x="14679" y="110946"/>
                          </a:cubicBezTo>
                          <a:cubicBezTo>
                            <a:pt x="14035" y="128102"/>
                            <a:pt x="8981" y="144800"/>
                            <a:pt x="1" y="159433"/>
                          </a:cubicBezTo>
                          <a:cubicBezTo>
                            <a:pt x="5550" y="156233"/>
                            <a:pt x="12341" y="156048"/>
                            <a:pt x="18059" y="158938"/>
                          </a:cubicBezTo>
                          <a:cubicBezTo>
                            <a:pt x="37273" y="166360"/>
                            <a:pt x="41149" y="146569"/>
                            <a:pt x="50054" y="136303"/>
                          </a:cubicBezTo>
                          <a:cubicBezTo>
                            <a:pt x="58960" y="126036"/>
                            <a:pt x="55373" y="173410"/>
                            <a:pt x="78503" y="173410"/>
                          </a:cubicBezTo>
                          <a:cubicBezTo>
                            <a:pt x="98005" y="173410"/>
                            <a:pt x="94501" y="123933"/>
                            <a:pt x="112230" y="138447"/>
                          </a:cubicBezTo>
                          <a:cubicBezTo>
                            <a:pt x="129959" y="152960"/>
                            <a:pt x="135319" y="132262"/>
                            <a:pt x="138865" y="117831"/>
                          </a:cubicBezTo>
                          <a:cubicBezTo>
                            <a:pt x="142411" y="103401"/>
                            <a:pt x="142452" y="78745"/>
                            <a:pt x="161995" y="74622"/>
                          </a:cubicBezTo>
                          <a:cubicBezTo>
                            <a:pt x="181538" y="70499"/>
                            <a:pt x="165541" y="97257"/>
                            <a:pt x="174364" y="115852"/>
                          </a:cubicBezTo>
                          <a:cubicBezTo>
                            <a:pt x="187269" y="142817"/>
                            <a:pt x="209864" y="117914"/>
                            <a:pt x="211472" y="105545"/>
                          </a:cubicBezTo>
                          <a:cubicBezTo>
                            <a:pt x="213080" y="93176"/>
                            <a:pt x="245239" y="101422"/>
                            <a:pt x="243466" y="87032"/>
                          </a:cubicBezTo>
                          <a:cubicBezTo>
                            <a:pt x="241693" y="72643"/>
                            <a:pt x="252331" y="68520"/>
                            <a:pt x="243466" y="52069"/>
                          </a:cubicBezTo>
                          <a:cubicBezTo>
                            <a:pt x="234602" y="35618"/>
                            <a:pt x="257773" y="39617"/>
                            <a:pt x="268411" y="27289"/>
                          </a:cubicBezTo>
                          <a:close/>
                        </a:path>
                      </a:pathLst>
                    </a:custGeom>
                    <a:grpFill/>
                    <a:ln w="635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>
                      <a:defPPr>
                        <a:defRPr lang="en-US"/>
                      </a:defPPr>
                    </a:lstStyle>
                    <a:p>
                      <a:pPr marL="0" marR="0" lvl="0" indent="0" algn="l" defTabSz="1462923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 kumimoji="0" sz="2160" b="0" i="0" normalizeH="0" noProof="0">
                          <a:solidFill>
                            <a:srgbClr val="000000"/>
                          </a:solidFill>
                          <a:uLnTx/>
                          <a:uFillTx/>
                          <a:latin typeface="+mn-lt"/>
                          <a:ea typeface="+mn-ea"/>
                          <a:cs typeface="+mn-cs"/>
                        </a:defRPr>
                      </a:pPr>
                      <a:endParaRPr kumimoji="0" lang="en-US" sz="288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cs typeface="Arial" pitchFamily="34" charset="0"/>
                      </a:endParaRPr>
                    </a:p>
                  </p:txBody>
                </p:sp>
                <p:sp>
                  <p:nvSpPr>
                    <p:cNvPr id="52" name="Canada group">
                      <a:extLst>
                        <a:ext uri="{FF2B5EF4-FFF2-40B4-BE49-F238E27FC236}">
                          <a16:creationId xmlns:a16="http://schemas.microsoft.com/office/drawing/2014/main" id="{407A5087-A0A0-F92B-BA66-C305AEF3649C}"/>
                        </a:ext>
                      </a:extLst>
                    </p:cNvPr>
                    <p:cNvSpPr/>
                    <p:nvPr>
                      <p:custDataLst>
                        <p:tags r:id="rId535"/>
                      </p:custDataLst>
                    </p:nvPr>
                  </p:nvSpPr>
                  <p:spPr>
                    <a:xfrm>
                      <a:off x="3075448" y="1018689"/>
                      <a:ext cx="224593" cy="138278"/>
                    </a:xfrm>
                    <a:custGeom>
                      <a:avLst/>
                      <a:gdLst>
                        <a:gd name="connsiteX0" fmla="*/ 241124 w 262253"/>
                        <a:gd name="connsiteY0" fmla="*/ 94345 h 161464"/>
                        <a:gd name="connsiteX1" fmla="*/ 193173 w 262253"/>
                        <a:gd name="connsiteY1" fmla="*/ 61361 h 161464"/>
                        <a:gd name="connsiteX2" fmla="*/ 150500 w 262253"/>
                        <a:gd name="connsiteY2" fmla="*/ 28376 h 161464"/>
                        <a:gd name="connsiteX3" fmla="*/ 123865 w 262253"/>
                        <a:gd name="connsiteY3" fmla="*/ 24253 h 161464"/>
                        <a:gd name="connsiteX4" fmla="*/ 27592 w 262253"/>
                        <a:gd name="connsiteY4" fmla="*/ 1329 h 161464"/>
                        <a:gd name="connsiteX5" fmla="*/ 4420 w 262253"/>
                        <a:gd name="connsiteY5" fmla="*/ 16419 h 161464"/>
                        <a:gd name="connsiteX6" fmla="*/ 297 w 262253"/>
                        <a:gd name="connsiteY6" fmla="*/ 17327 h 161464"/>
                        <a:gd name="connsiteX7" fmla="*/ 35137 w 262253"/>
                        <a:gd name="connsiteY7" fmla="*/ 55135 h 161464"/>
                        <a:gd name="connsiteX8" fmla="*/ 88448 w 262253"/>
                        <a:gd name="connsiteY8" fmla="*/ 83996 h 161464"/>
                        <a:gd name="connsiteX9" fmla="*/ 24499 w 262253"/>
                        <a:gd name="connsiteY9" fmla="*/ 96365 h 161464"/>
                        <a:gd name="connsiteX10" fmla="*/ 75996 w 262253"/>
                        <a:gd name="connsiteY10" fmla="*/ 112858 h 161464"/>
                        <a:gd name="connsiteX11" fmla="*/ 182618 w 262253"/>
                        <a:gd name="connsiteY11" fmla="*/ 135493 h 161464"/>
                        <a:gd name="connsiteX12" fmla="*/ 257245 w 262253"/>
                        <a:gd name="connsiteY12" fmla="*/ 145801 h 161464"/>
                        <a:gd name="connsiteX13" fmla="*/ 241124 w 262253"/>
                        <a:gd name="connsiteY13" fmla="*/ 94345 h 16146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</a:cxnLst>
                      <a:rect l="l" t="t" r="r" b="b"/>
                      <a:pathLst>
                        <a:path w="262253" h="161464">
                          <a:moveTo>
                            <a:pt x="241124" y="94345"/>
                          </a:moveTo>
                          <a:cubicBezTo>
                            <a:pt x="249989" y="73730"/>
                            <a:pt x="212675" y="61361"/>
                            <a:pt x="193173" y="61361"/>
                          </a:cubicBezTo>
                          <a:cubicBezTo>
                            <a:pt x="173671" y="61361"/>
                            <a:pt x="166497" y="20130"/>
                            <a:pt x="150500" y="28376"/>
                          </a:cubicBezTo>
                          <a:cubicBezTo>
                            <a:pt x="134502" y="36622"/>
                            <a:pt x="123865" y="51012"/>
                            <a:pt x="123865" y="24253"/>
                          </a:cubicBezTo>
                          <a:cubicBezTo>
                            <a:pt x="123865" y="2525"/>
                            <a:pt x="62844" y="-2918"/>
                            <a:pt x="27592" y="1329"/>
                          </a:cubicBezTo>
                          <a:cubicBezTo>
                            <a:pt x="21889" y="8932"/>
                            <a:pt x="13680" y="14280"/>
                            <a:pt x="4420" y="16419"/>
                          </a:cubicBezTo>
                          <a:cubicBezTo>
                            <a:pt x="2977" y="16791"/>
                            <a:pt x="1575" y="16997"/>
                            <a:pt x="297" y="17327"/>
                          </a:cubicBezTo>
                          <a:cubicBezTo>
                            <a:pt x="-2754" y="36416"/>
                            <a:pt x="18356" y="68081"/>
                            <a:pt x="35137" y="55135"/>
                          </a:cubicBezTo>
                          <a:cubicBezTo>
                            <a:pt x="56453" y="38643"/>
                            <a:pt x="95539" y="65401"/>
                            <a:pt x="88448" y="83996"/>
                          </a:cubicBezTo>
                          <a:cubicBezTo>
                            <a:pt x="81356" y="102591"/>
                            <a:pt x="19840" y="80286"/>
                            <a:pt x="24499" y="96365"/>
                          </a:cubicBezTo>
                          <a:cubicBezTo>
                            <a:pt x="26272" y="102550"/>
                            <a:pt x="33364" y="127247"/>
                            <a:pt x="75996" y="112858"/>
                          </a:cubicBezTo>
                          <a:cubicBezTo>
                            <a:pt x="118629" y="98468"/>
                            <a:pt x="154334" y="108734"/>
                            <a:pt x="182618" y="135493"/>
                          </a:cubicBezTo>
                          <a:cubicBezTo>
                            <a:pt x="210902" y="162252"/>
                            <a:pt x="237702" y="172601"/>
                            <a:pt x="257245" y="145801"/>
                          </a:cubicBezTo>
                          <a:cubicBezTo>
                            <a:pt x="276789" y="119001"/>
                            <a:pt x="232218" y="114919"/>
                            <a:pt x="241124" y="94345"/>
                          </a:cubicBezTo>
                          <a:close/>
                        </a:path>
                      </a:pathLst>
                    </a:custGeom>
                    <a:grpFill/>
                    <a:ln w="6350" cap="flat">
                      <a:solidFill>
                        <a:schemeClr val="bg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>
                      <a:defPPr>
                        <a:defRPr lang="en-US"/>
                      </a:defPPr>
                    </a:lstStyle>
                    <a:p>
                      <a:pPr marL="0" marR="0" lvl="0" indent="0" algn="l" defTabSz="1462923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 kumimoji="0" sz="2160" b="0" i="0" normalizeH="0" noProof="0">
                          <a:solidFill>
                            <a:srgbClr val="000000"/>
                          </a:solidFill>
                          <a:uLnTx/>
                          <a:uFillTx/>
                          <a:latin typeface="+mn-lt"/>
                          <a:ea typeface="+mn-ea"/>
                          <a:cs typeface="+mn-cs"/>
                        </a:defRPr>
                      </a:pPr>
                      <a:endParaRPr kumimoji="0" lang="en-US" sz="288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cs typeface="Arial" pitchFamily="34" charset="0"/>
                      </a:endParaRPr>
                    </a:p>
                  </p:txBody>
                </p:sp>
                <p:sp>
                  <p:nvSpPr>
                    <p:cNvPr id="53" name="Canada group">
                      <a:extLst>
                        <a:ext uri="{FF2B5EF4-FFF2-40B4-BE49-F238E27FC236}">
                          <a16:creationId xmlns:a16="http://schemas.microsoft.com/office/drawing/2014/main" id="{11C13142-5834-FDEA-799A-4F03C6496D26}"/>
                        </a:ext>
                      </a:extLst>
                    </p:cNvPr>
                    <p:cNvSpPr/>
                    <p:nvPr>
                      <p:custDataLst>
                        <p:tags r:id="rId536"/>
                      </p:custDataLst>
                    </p:nvPr>
                  </p:nvSpPr>
                  <p:spPr>
                    <a:xfrm>
                      <a:off x="2669553" y="1248921"/>
                      <a:ext cx="406560" cy="195706"/>
                    </a:xfrm>
                    <a:custGeom>
                      <a:avLst/>
                      <a:gdLst>
                        <a:gd name="connsiteX0" fmla="*/ 459246 w 474732"/>
                        <a:gd name="connsiteY0" fmla="*/ 70376 h 228522"/>
                        <a:gd name="connsiteX1" fmla="*/ 414799 w 474732"/>
                        <a:gd name="connsiteY1" fmla="*/ 88889 h 228522"/>
                        <a:gd name="connsiteX2" fmla="*/ 368621 w 474732"/>
                        <a:gd name="connsiteY2" fmla="*/ 45720 h 228522"/>
                        <a:gd name="connsiteX3" fmla="*/ 361612 w 474732"/>
                        <a:gd name="connsiteY3" fmla="*/ 32609 h 228522"/>
                        <a:gd name="connsiteX4" fmla="*/ 344130 w 474732"/>
                        <a:gd name="connsiteY4" fmla="*/ 20034 h 228522"/>
                        <a:gd name="connsiteX5" fmla="*/ 331019 w 474732"/>
                        <a:gd name="connsiteY5" fmla="*/ 2016 h 228522"/>
                        <a:gd name="connsiteX6" fmla="*/ 329617 w 474732"/>
                        <a:gd name="connsiteY6" fmla="*/ -4 h 228522"/>
                        <a:gd name="connsiteX7" fmla="*/ 297540 w 474732"/>
                        <a:gd name="connsiteY7" fmla="*/ 47741 h 228522"/>
                        <a:gd name="connsiteX8" fmla="*/ 301086 w 474732"/>
                        <a:gd name="connsiteY8" fmla="*/ 78622 h 228522"/>
                        <a:gd name="connsiteX9" fmla="*/ 331307 w 474732"/>
                        <a:gd name="connsiteY9" fmla="*/ 113586 h 228522"/>
                        <a:gd name="connsiteX10" fmla="*/ 238910 w 474732"/>
                        <a:gd name="connsiteY10" fmla="*/ 95073 h 228522"/>
                        <a:gd name="connsiteX11" fmla="*/ 144740 w 474732"/>
                        <a:gd name="connsiteY11" fmla="*/ 45597 h 228522"/>
                        <a:gd name="connsiteX12" fmla="*/ 102107 w 474732"/>
                        <a:gd name="connsiteY12" fmla="*/ 18838 h 228522"/>
                        <a:gd name="connsiteX13" fmla="*/ 59434 w 474732"/>
                        <a:gd name="connsiteY13" fmla="*/ 47699 h 228522"/>
                        <a:gd name="connsiteX14" fmla="*/ 64794 w 474732"/>
                        <a:gd name="connsiteY14" fmla="*/ 78581 h 228522"/>
                        <a:gd name="connsiteX15" fmla="*/ 61248 w 474732"/>
                        <a:gd name="connsiteY15" fmla="*/ 86827 h 228522"/>
                        <a:gd name="connsiteX16" fmla="*/ 31026 w 474732"/>
                        <a:gd name="connsiteY16" fmla="*/ 117667 h 228522"/>
                        <a:gd name="connsiteX17" fmla="*/ 71885 w 474732"/>
                        <a:gd name="connsiteY17" fmla="*/ 117667 h 228522"/>
                        <a:gd name="connsiteX18" fmla="*/ 804 w 474732"/>
                        <a:gd name="connsiteY18" fmla="*/ 144426 h 228522"/>
                        <a:gd name="connsiteX19" fmla="*/ 52342 w 474732"/>
                        <a:gd name="connsiteY19" fmla="*/ 160918 h 228522"/>
                        <a:gd name="connsiteX20" fmla="*/ 107426 w 474732"/>
                        <a:gd name="connsiteY20" fmla="*/ 154775 h 228522"/>
                        <a:gd name="connsiteX21" fmla="*/ 139421 w 474732"/>
                        <a:gd name="connsiteY21" fmla="*/ 140344 h 228522"/>
                        <a:gd name="connsiteX22" fmla="*/ 215821 w 474732"/>
                        <a:gd name="connsiteY22" fmla="*/ 146529 h 228522"/>
                        <a:gd name="connsiteX23" fmla="*/ 157191 w 474732"/>
                        <a:gd name="connsiteY23" fmla="*/ 183636 h 228522"/>
                        <a:gd name="connsiteX24" fmla="*/ 155418 w 474732"/>
                        <a:gd name="connsiteY24" fmla="*/ 226846 h 228522"/>
                        <a:gd name="connsiteX25" fmla="*/ 297540 w 474732"/>
                        <a:gd name="connsiteY25" fmla="*/ 175431 h 228522"/>
                        <a:gd name="connsiteX26" fmla="*/ 354397 w 474732"/>
                        <a:gd name="connsiteY26" fmla="*/ 171308 h 228522"/>
                        <a:gd name="connsiteX27" fmla="*/ 445104 w 474732"/>
                        <a:gd name="connsiteY27" fmla="*/ 165124 h 228522"/>
                        <a:gd name="connsiteX28" fmla="*/ 459246 w 474732"/>
                        <a:gd name="connsiteY28" fmla="*/ 70376 h 22852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</a:cxnLst>
                      <a:rect l="l" t="t" r="r" b="b"/>
                      <a:pathLst>
                        <a:path w="474732" h="228522">
                          <a:moveTo>
                            <a:pt x="459246" y="70376"/>
                          </a:moveTo>
                          <a:cubicBezTo>
                            <a:pt x="434507" y="58007"/>
                            <a:pt x="434507" y="84807"/>
                            <a:pt x="414799" y="88889"/>
                          </a:cubicBezTo>
                          <a:cubicBezTo>
                            <a:pt x="395091" y="92970"/>
                            <a:pt x="384619" y="64150"/>
                            <a:pt x="368621" y="45720"/>
                          </a:cubicBezTo>
                          <a:cubicBezTo>
                            <a:pt x="365446" y="41853"/>
                            <a:pt x="363063" y="37396"/>
                            <a:pt x="361612" y="32609"/>
                          </a:cubicBezTo>
                          <a:cubicBezTo>
                            <a:pt x="354611" y="30354"/>
                            <a:pt x="348496" y="25955"/>
                            <a:pt x="344130" y="20034"/>
                          </a:cubicBezTo>
                          <a:cubicBezTo>
                            <a:pt x="339595" y="14179"/>
                            <a:pt x="335513" y="7871"/>
                            <a:pt x="331019" y="2016"/>
                          </a:cubicBezTo>
                          <a:cubicBezTo>
                            <a:pt x="330483" y="1356"/>
                            <a:pt x="330071" y="655"/>
                            <a:pt x="329617" y="-4"/>
                          </a:cubicBezTo>
                          <a:cubicBezTo>
                            <a:pt x="305167" y="11458"/>
                            <a:pt x="271441" y="44195"/>
                            <a:pt x="297540" y="47741"/>
                          </a:cubicBezTo>
                          <a:cubicBezTo>
                            <a:pt x="327762" y="51864"/>
                            <a:pt x="317083" y="70376"/>
                            <a:pt x="301086" y="78622"/>
                          </a:cubicBezTo>
                          <a:cubicBezTo>
                            <a:pt x="285088" y="86868"/>
                            <a:pt x="338399" y="101258"/>
                            <a:pt x="331307" y="113586"/>
                          </a:cubicBezTo>
                          <a:cubicBezTo>
                            <a:pt x="324216" y="125914"/>
                            <a:pt x="242456" y="115647"/>
                            <a:pt x="238910" y="95073"/>
                          </a:cubicBezTo>
                          <a:cubicBezTo>
                            <a:pt x="235364" y="74499"/>
                            <a:pt x="171416" y="37351"/>
                            <a:pt x="144740" y="45597"/>
                          </a:cubicBezTo>
                          <a:cubicBezTo>
                            <a:pt x="118064" y="53843"/>
                            <a:pt x="128742" y="20858"/>
                            <a:pt x="102107" y="18838"/>
                          </a:cubicBezTo>
                          <a:cubicBezTo>
                            <a:pt x="75472" y="16818"/>
                            <a:pt x="84337" y="45597"/>
                            <a:pt x="59434" y="47699"/>
                          </a:cubicBezTo>
                          <a:cubicBezTo>
                            <a:pt x="34531" y="49802"/>
                            <a:pt x="36345" y="78581"/>
                            <a:pt x="64794" y="78581"/>
                          </a:cubicBezTo>
                          <a:cubicBezTo>
                            <a:pt x="93243" y="78581"/>
                            <a:pt x="102107" y="88847"/>
                            <a:pt x="61248" y="86827"/>
                          </a:cubicBezTo>
                          <a:cubicBezTo>
                            <a:pt x="20389" y="84807"/>
                            <a:pt x="2618" y="125914"/>
                            <a:pt x="31026" y="117667"/>
                          </a:cubicBezTo>
                          <a:cubicBezTo>
                            <a:pt x="59434" y="109421"/>
                            <a:pt x="93201" y="109421"/>
                            <a:pt x="71885" y="117667"/>
                          </a:cubicBezTo>
                          <a:cubicBezTo>
                            <a:pt x="50569" y="125914"/>
                            <a:pt x="-7483" y="131562"/>
                            <a:pt x="804" y="144426"/>
                          </a:cubicBezTo>
                          <a:cubicBezTo>
                            <a:pt x="6164" y="152672"/>
                            <a:pt x="29253" y="150611"/>
                            <a:pt x="52342" y="160918"/>
                          </a:cubicBezTo>
                          <a:cubicBezTo>
                            <a:pt x="75431" y="171226"/>
                            <a:pt x="89656" y="177410"/>
                            <a:pt x="107426" y="154775"/>
                          </a:cubicBezTo>
                          <a:cubicBezTo>
                            <a:pt x="125196" y="132139"/>
                            <a:pt x="148286" y="109421"/>
                            <a:pt x="139421" y="140344"/>
                          </a:cubicBezTo>
                          <a:cubicBezTo>
                            <a:pt x="130557" y="171267"/>
                            <a:pt x="167829" y="148590"/>
                            <a:pt x="215821" y="146529"/>
                          </a:cubicBezTo>
                          <a:cubicBezTo>
                            <a:pt x="263813" y="144467"/>
                            <a:pt x="206915" y="179513"/>
                            <a:pt x="157191" y="183636"/>
                          </a:cubicBezTo>
                          <a:cubicBezTo>
                            <a:pt x="107467" y="187759"/>
                            <a:pt x="116332" y="216621"/>
                            <a:pt x="155418" y="226846"/>
                          </a:cubicBezTo>
                          <a:cubicBezTo>
                            <a:pt x="194505" y="237071"/>
                            <a:pt x="277996" y="197984"/>
                            <a:pt x="297540" y="175431"/>
                          </a:cubicBezTo>
                          <a:cubicBezTo>
                            <a:pt x="317083" y="152878"/>
                            <a:pt x="334853" y="187801"/>
                            <a:pt x="354397" y="171308"/>
                          </a:cubicBezTo>
                          <a:cubicBezTo>
                            <a:pt x="373940" y="154816"/>
                            <a:pt x="411253" y="173370"/>
                            <a:pt x="445104" y="165124"/>
                          </a:cubicBezTo>
                          <a:cubicBezTo>
                            <a:pt x="478954" y="156878"/>
                            <a:pt x="483984" y="82745"/>
                            <a:pt x="459246" y="70376"/>
                          </a:cubicBezTo>
                          <a:close/>
                        </a:path>
                      </a:pathLst>
                    </a:custGeom>
                    <a:grpFill/>
                    <a:ln w="635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>
                      <a:defPPr>
                        <a:defRPr lang="en-US"/>
                      </a:defPPr>
                    </a:lstStyle>
                    <a:p>
                      <a:pPr marL="0" marR="0" lvl="0" indent="0" algn="l" defTabSz="1462923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 kumimoji="0" sz="2160" b="0" i="0" normalizeH="0" noProof="0">
                          <a:solidFill>
                            <a:srgbClr val="000000"/>
                          </a:solidFill>
                          <a:uLnTx/>
                          <a:uFillTx/>
                          <a:latin typeface="+mn-lt"/>
                          <a:ea typeface="+mn-ea"/>
                          <a:cs typeface="+mn-cs"/>
                        </a:defRPr>
                      </a:pPr>
                      <a:endParaRPr kumimoji="0" lang="en-US" sz="288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cs typeface="Arial" pitchFamily="34" charset="0"/>
                      </a:endParaRPr>
                    </a:p>
                  </p:txBody>
                </p:sp>
                <p:sp>
                  <p:nvSpPr>
                    <p:cNvPr id="54" name="Canada group">
                      <a:extLst>
                        <a:ext uri="{FF2B5EF4-FFF2-40B4-BE49-F238E27FC236}">
                          <a16:creationId xmlns:a16="http://schemas.microsoft.com/office/drawing/2014/main" id="{E9ABD7A4-9A57-6A6D-C130-AD9F8922FCF0}"/>
                        </a:ext>
                      </a:extLst>
                    </p:cNvPr>
                    <p:cNvSpPr/>
                    <p:nvPr>
                      <p:custDataLst>
                        <p:tags r:id="rId537"/>
                      </p:custDataLst>
                    </p:nvPr>
                  </p:nvSpPr>
                  <p:spPr>
                    <a:xfrm>
                      <a:off x="2817978" y="1137265"/>
                      <a:ext cx="118302" cy="68311"/>
                    </a:xfrm>
                    <a:custGeom>
                      <a:avLst/>
                      <a:gdLst>
                        <a:gd name="connsiteX0" fmla="*/ 126001 w 138139"/>
                        <a:gd name="connsiteY0" fmla="*/ 19671 h 79765"/>
                        <a:gd name="connsiteX1" fmla="*/ 101263 w 138139"/>
                        <a:gd name="connsiteY1" fmla="*/ 1158 h 79765"/>
                        <a:gd name="connsiteX2" fmla="*/ 1 w 138139"/>
                        <a:gd name="connsiteY2" fmla="*/ 38266 h 79765"/>
                        <a:gd name="connsiteX3" fmla="*/ 53270 w 138139"/>
                        <a:gd name="connsiteY3" fmla="*/ 79496 h 79765"/>
                        <a:gd name="connsiteX4" fmla="*/ 110127 w 138139"/>
                        <a:gd name="connsiteY4" fmla="*/ 38266 h 79765"/>
                        <a:gd name="connsiteX5" fmla="*/ 126001 w 138139"/>
                        <a:gd name="connsiteY5" fmla="*/ 19671 h 7976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38139" h="79765">
                          <a:moveTo>
                            <a:pt x="126001" y="19671"/>
                          </a:moveTo>
                          <a:cubicBezTo>
                            <a:pt x="149090" y="15548"/>
                            <a:pt x="138370" y="-5068"/>
                            <a:pt x="101263" y="1158"/>
                          </a:cubicBezTo>
                          <a:cubicBezTo>
                            <a:pt x="64155" y="7384"/>
                            <a:pt x="1" y="7260"/>
                            <a:pt x="1" y="38266"/>
                          </a:cubicBezTo>
                          <a:cubicBezTo>
                            <a:pt x="1" y="63004"/>
                            <a:pt x="12370" y="75373"/>
                            <a:pt x="53270" y="79496"/>
                          </a:cubicBezTo>
                          <a:cubicBezTo>
                            <a:pt x="94171" y="83619"/>
                            <a:pt x="129670" y="38266"/>
                            <a:pt x="110127" y="38266"/>
                          </a:cubicBezTo>
                          <a:cubicBezTo>
                            <a:pt x="90584" y="38266"/>
                            <a:pt x="102912" y="23794"/>
                            <a:pt x="126001" y="19671"/>
                          </a:cubicBezTo>
                          <a:close/>
                        </a:path>
                      </a:pathLst>
                    </a:custGeom>
                    <a:grpFill/>
                    <a:ln w="635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>
                      <a:defPPr>
                        <a:defRPr lang="en-US"/>
                      </a:defPPr>
                    </a:lstStyle>
                    <a:p>
                      <a:pPr marL="0" marR="0" lvl="0" indent="0" algn="l" defTabSz="1462923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 kumimoji="0" sz="2160" b="0" i="0" normalizeH="0" noProof="0">
                          <a:solidFill>
                            <a:srgbClr val="000000"/>
                          </a:solidFill>
                          <a:uLnTx/>
                          <a:uFillTx/>
                          <a:latin typeface="+mn-lt"/>
                          <a:ea typeface="+mn-ea"/>
                          <a:cs typeface="+mn-cs"/>
                        </a:defRPr>
                      </a:pPr>
                      <a:endParaRPr kumimoji="0" lang="en-US" sz="288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cs typeface="Arial" pitchFamily="34" charset="0"/>
                      </a:endParaRPr>
                    </a:p>
                  </p:txBody>
                </p:sp>
              </p:grpSp>
            </p:grpSp>
          </p:grp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0F4667B4-74CC-8D2A-9D06-92E9950DF945}"/>
                </a:ext>
              </a:extLst>
            </p:cNvPr>
            <p:cNvGrpSpPr/>
            <p:nvPr>
              <p:custDataLst>
                <p:tags r:id="rId176"/>
              </p:custDataLst>
            </p:nvPr>
          </p:nvGrpSpPr>
          <p:grpSpPr>
            <a:xfrm>
              <a:off x="6368300" y="2170239"/>
              <a:ext cx="1718763" cy="1977995"/>
              <a:chOff x="6368299" y="2170239"/>
              <a:chExt cx="1718763" cy="1977995"/>
            </a:xfrm>
          </p:grpSpPr>
          <p:sp>
            <p:nvSpPr>
              <p:cNvPr id="56" name="Freeform: Shape 55">
                <a:extLst>
                  <a:ext uri="{FF2B5EF4-FFF2-40B4-BE49-F238E27FC236}">
                    <a16:creationId xmlns:a16="http://schemas.microsoft.com/office/drawing/2014/main" id="{39061F98-8B8C-68F3-45A9-EBD5688A293D}"/>
                  </a:ext>
                </a:extLst>
              </p:cNvPr>
              <p:cNvSpPr/>
              <p:nvPr>
                <p:custDataLst>
                  <p:tags r:id="rId474"/>
                </p:custDataLst>
              </p:nvPr>
            </p:nvSpPr>
            <p:spPr>
              <a:xfrm>
                <a:off x="7259248" y="3712062"/>
                <a:ext cx="121970" cy="134467"/>
              </a:xfrm>
              <a:custGeom>
                <a:avLst/>
                <a:gdLst>
                  <a:gd name="connsiteX0" fmla="*/ 106228 w 142422"/>
                  <a:gd name="connsiteY0" fmla="*/ 142458 h 157015"/>
                  <a:gd name="connsiteX1" fmla="*/ 136492 w 142422"/>
                  <a:gd name="connsiteY1" fmla="*/ 90796 h 157015"/>
                  <a:gd name="connsiteX2" fmla="*/ 141522 w 142422"/>
                  <a:gd name="connsiteY2" fmla="*/ 28950 h 157015"/>
                  <a:gd name="connsiteX3" fmla="*/ 105362 w 142422"/>
                  <a:gd name="connsiteY3" fmla="*/ 7758 h 157015"/>
                  <a:gd name="connsiteX4" fmla="*/ 43517 w 142422"/>
                  <a:gd name="connsiteY4" fmla="*/ 625 h 157015"/>
                  <a:gd name="connsiteX5" fmla="*/ 17871 w 142422"/>
                  <a:gd name="connsiteY5" fmla="*/ 6768 h 157015"/>
                  <a:gd name="connsiteX6" fmla="*/ 183 w 142422"/>
                  <a:gd name="connsiteY6" fmla="*/ 19137 h 157015"/>
                  <a:gd name="connsiteX7" fmla="*/ 18737 w 142422"/>
                  <a:gd name="connsiteY7" fmla="*/ 50885 h 157015"/>
                  <a:gd name="connsiteX8" fmla="*/ 51474 w 142422"/>
                  <a:gd name="connsiteY8" fmla="*/ 96980 h 157015"/>
                  <a:gd name="connsiteX9" fmla="*/ 84046 w 142422"/>
                  <a:gd name="connsiteY9" fmla="*/ 139407 h 157015"/>
                  <a:gd name="connsiteX10" fmla="*/ 104661 w 142422"/>
                  <a:gd name="connsiteY10" fmla="*/ 157012 h 157015"/>
                  <a:gd name="connsiteX11" fmla="*/ 106228 w 142422"/>
                  <a:gd name="connsiteY11" fmla="*/ 142458 h 1570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42422" h="157015">
                    <a:moveTo>
                      <a:pt x="106228" y="142458"/>
                    </a:moveTo>
                    <a:cubicBezTo>
                      <a:pt x="104661" y="133222"/>
                      <a:pt x="130101" y="90796"/>
                      <a:pt x="136492" y="90796"/>
                    </a:cubicBezTo>
                    <a:cubicBezTo>
                      <a:pt x="141769" y="90796"/>
                      <a:pt x="143748" y="50060"/>
                      <a:pt x="141522" y="28950"/>
                    </a:cubicBezTo>
                    <a:cubicBezTo>
                      <a:pt x="130678" y="19974"/>
                      <a:pt x="118474" y="12817"/>
                      <a:pt x="105362" y="7758"/>
                    </a:cubicBezTo>
                    <a:cubicBezTo>
                      <a:pt x="105362" y="7758"/>
                      <a:pt x="52340" y="4706"/>
                      <a:pt x="43517" y="625"/>
                    </a:cubicBezTo>
                    <a:cubicBezTo>
                      <a:pt x="34693" y="-3457"/>
                      <a:pt x="25829" y="13942"/>
                      <a:pt x="17871" y="6768"/>
                    </a:cubicBezTo>
                    <a:cubicBezTo>
                      <a:pt x="9914" y="-406"/>
                      <a:pt x="-1589" y="8788"/>
                      <a:pt x="183" y="19137"/>
                    </a:cubicBezTo>
                    <a:cubicBezTo>
                      <a:pt x="1957" y="29486"/>
                      <a:pt x="18737" y="35629"/>
                      <a:pt x="18737" y="50885"/>
                    </a:cubicBezTo>
                    <a:cubicBezTo>
                      <a:pt x="18737" y="66140"/>
                      <a:pt x="52381" y="88817"/>
                      <a:pt x="51474" y="96980"/>
                    </a:cubicBezTo>
                    <a:cubicBezTo>
                      <a:pt x="50856" y="102753"/>
                      <a:pt x="71636" y="118338"/>
                      <a:pt x="84046" y="139407"/>
                    </a:cubicBezTo>
                    <a:cubicBezTo>
                      <a:pt x="91261" y="144874"/>
                      <a:pt x="98147" y="150753"/>
                      <a:pt x="104661" y="157012"/>
                    </a:cubicBezTo>
                    <a:cubicBezTo>
                      <a:pt x="105857" y="152258"/>
                      <a:pt x="106393" y="147360"/>
                      <a:pt x="106228" y="142458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</a:lstStyle>
              <a:p>
                <a:pPr marL="0" marR="0" lvl="0" indent="0" algn="l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832CBF3A-ED2D-9230-2B5F-E3ACCB385055}"/>
                  </a:ext>
                </a:extLst>
              </p:cNvPr>
              <p:cNvSpPr/>
              <p:nvPr>
                <p:custDataLst>
                  <p:tags r:id="rId475"/>
                </p:custDataLst>
              </p:nvPr>
            </p:nvSpPr>
            <p:spPr>
              <a:xfrm>
                <a:off x="7196871" y="3645936"/>
                <a:ext cx="183539" cy="185446"/>
              </a:xfrm>
              <a:custGeom>
                <a:avLst/>
                <a:gdLst>
                  <a:gd name="connsiteX0" fmla="*/ 124269 w 214315"/>
                  <a:gd name="connsiteY0" fmla="*/ 174030 h 216542"/>
                  <a:gd name="connsiteX1" fmla="*/ 91532 w 214315"/>
                  <a:gd name="connsiteY1" fmla="*/ 127934 h 216542"/>
                  <a:gd name="connsiteX2" fmla="*/ 72978 w 214315"/>
                  <a:gd name="connsiteY2" fmla="*/ 96187 h 216542"/>
                  <a:gd name="connsiteX3" fmla="*/ 90666 w 214315"/>
                  <a:gd name="connsiteY3" fmla="*/ 83817 h 216542"/>
                  <a:gd name="connsiteX4" fmla="*/ 116311 w 214315"/>
                  <a:gd name="connsiteY4" fmla="*/ 77674 h 216542"/>
                  <a:gd name="connsiteX5" fmla="*/ 178157 w 214315"/>
                  <a:gd name="connsiteY5" fmla="*/ 84807 h 216542"/>
                  <a:gd name="connsiteX6" fmla="*/ 214316 w 214315"/>
                  <a:gd name="connsiteY6" fmla="*/ 105999 h 216542"/>
                  <a:gd name="connsiteX7" fmla="*/ 212461 w 214315"/>
                  <a:gd name="connsiteY7" fmla="*/ 96022 h 216542"/>
                  <a:gd name="connsiteX8" fmla="*/ 199721 w 214315"/>
                  <a:gd name="connsiteY8" fmla="*/ 63037 h 216542"/>
                  <a:gd name="connsiteX9" fmla="*/ 189290 w 214315"/>
                  <a:gd name="connsiteY9" fmla="*/ 34959 h 216542"/>
                  <a:gd name="connsiteX10" fmla="*/ 175436 w 214315"/>
                  <a:gd name="connsiteY10" fmla="*/ 39618 h 216542"/>
                  <a:gd name="connsiteX11" fmla="*/ 134205 w 214315"/>
                  <a:gd name="connsiteY11" fmla="*/ 28857 h 216542"/>
                  <a:gd name="connsiteX12" fmla="*/ 100933 w 214315"/>
                  <a:gd name="connsiteY12" fmla="*/ -4 h 216542"/>
                  <a:gd name="connsiteX13" fmla="*/ 76937 w 214315"/>
                  <a:gd name="connsiteY13" fmla="*/ 18591 h 216542"/>
                  <a:gd name="connsiteX14" fmla="*/ 67165 w 214315"/>
                  <a:gd name="connsiteY14" fmla="*/ 41226 h 216542"/>
                  <a:gd name="connsiteX15" fmla="*/ 52982 w 214315"/>
                  <a:gd name="connsiteY15" fmla="*/ 61841 h 216542"/>
                  <a:gd name="connsiteX16" fmla="*/ 28243 w 214315"/>
                  <a:gd name="connsiteY16" fmla="*/ 60811 h 216542"/>
                  <a:gd name="connsiteX17" fmla="*/ 1 w 214315"/>
                  <a:gd name="connsiteY17" fmla="*/ 67119 h 216542"/>
                  <a:gd name="connsiteX18" fmla="*/ 7216 w 214315"/>
                  <a:gd name="connsiteY18" fmla="*/ 86910 h 216542"/>
                  <a:gd name="connsiteX19" fmla="*/ 38015 w 214315"/>
                  <a:gd name="connsiteY19" fmla="*/ 102000 h 216542"/>
                  <a:gd name="connsiteX20" fmla="*/ 73514 w 214315"/>
                  <a:gd name="connsiteY20" fmla="*/ 167144 h 216542"/>
                  <a:gd name="connsiteX21" fmla="*/ 105468 w 214315"/>
                  <a:gd name="connsiteY21" fmla="*/ 187058 h 216542"/>
                  <a:gd name="connsiteX22" fmla="*/ 139895 w 214315"/>
                  <a:gd name="connsiteY22" fmla="*/ 208292 h 216542"/>
                  <a:gd name="connsiteX23" fmla="*/ 156718 w 214315"/>
                  <a:gd name="connsiteY23" fmla="*/ 216538 h 216542"/>
                  <a:gd name="connsiteX24" fmla="*/ 124269 w 214315"/>
                  <a:gd name="connsiteY24" fmla="*/ 174030 h 2165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14312" h="216542">
                    <a:moveTo>
                      <a:pt x="124269" y="174030"/>
                    </a:moveTo>
                    <a:cubicBezTo>
                      <a:pt x="125176" y="165784"/>
                      <a:pt x="91532" y="143272"/>
                      <a:pt x="91532" y="127934"/>
                    </a:cubicBezTo>
                    <a:cubicBezTo>
                      <a:pt x="91532" y="112596"/>
                      <a:pt x="74751" y="106412"/>
                      <a:pt x="72978" y="96187"/>
                    </a:cubicBezTo>
                    <a:cubicBezTo>
                      <a:pt x="71206" y="85961"/>
                      <a:pt x="82709" y="76767"/>
                      <a:pt x="90666" y="83817"/>
                    </a:cubicBezTo>
                    <a:cubicBezTo>
                      <a:pt x="98624" y="90868"/>
                      <a:pt x="107488" y="73592"/>
                      <a:pt x="116311" y="77674"/>
                    </a:cubicBezTo>
                    <a:cubicBezTo>
                      <a:pt x="125135" y="81756"/>
                      <a:pt x="178157" y="84807"/>
                      <a:pt x="178157" y="84807"/>
                    </a:cubicBezTo>
                    <a:cubicBezTo>
                      <a:pt x="191269" y="89866"/>
                      <a:pt x="203473" y="97024"/>
                      <a:pt x="214316" y="105999"/>
                    </a:cubicBezTo>
                    <a:cubicBezTo>
                      <a:pt x="214069" y="102614"/>
                      <a:pt x="213451" y="99266"/>
                      <a:pt x="212461" y="96022"/>
                    </a:cubicBezTo>
                    <a:cubicBezTo>
                      <a:pt x="207720" y="83117"/>
                      <a:pt x="212461" y="68397"/>
                      <a:pt x="199721" y="63037"/>
                    </a:cubicBezTo>
                    <a:cubicBezTo>
                      <a:pt x="193165" y="60192"/>
                      <a:pt x="190444" y="47040"/>
                      <a:pt x="189290" y="34959"/>
                    </a:cubicBezTo>
                    <a:cubicBezTo>
                      <a:pt x="183270" y="37062"/>
                      <a:pt x="178198" y="38794"/>
                      <a:pt x="175436" y="39618"/>
                    </a:cubicBezTo>
                    <a:cubicBezTo>
                      <a:pt x="164840" y="42669"/>
                      <a:pt x="142451" y="41144"/>
                      <a:pt x="134205" y="28857"/>
                    </a:cubicBezTo>
                    <a:cubicBezTo>
                      <a:pt x="128310" y="19745"/>
                      <a:pt x="109921" y="6345"/>
                      <a:pt x="100933" y="-4"/>
                    </a:cubicBezTo>
                    <a:cubicBezTo>
                      <a:pt x="97222" y="3748"/>
                      <a:pt x="83121" y="17766"/>
                      <a:pt x="76937" y="18591"/>
                    </a:cubicBezTo>
                    <a:cubicBezTo>
                      <a:pt x="69845" y="19622"/>
                      <a:pt x="74298" y="41226"/>
                      <a:pt x="67165" y="41226"/>
                    </a:cubicBezTo>
                    <a:cubicBezTo>
                      <a:pt x="60032" y="41226"/>
                      <a:pt x="54796" y="55657"/>
                      <a:pt x="52982" y="61841"/>
                    </a:cubicBezTo>
                    <a:cubicBezTo>
                      <a:pt x="51168" y="68026"/>
                      <a:pt x="35211" y="57718"/>
                      <a:pt x="28243" y="60811"/>
                    </a:cubicBezTo>
                    <a:cubicBezTo>
                      <a:pt x="19008" y="63652"/>
                      <a:pt x="9566" y="65758"/>
                      <a:pt x="1" y="67119"/>
                    </a:cubicBezTo>
                    <a:cubicBezTo>
                      <a:pt x="1237" y="76478"/>
                      <a:pt x="742" y="86910"/>
                      <a:pt x="7216" y="86910"/>
                    </a:cubicBezTo>
                    <a:cubicBezTo>
                      <a:pt x="17853" y="86910"/>
                      <a:pt x="37438" y="85549"/>
                      <a:pt x="38015" y="102000"/>
                    </a:cubicBezTo>
                    <a:cubicBezTo>
                      <a:pt x="38592" y="118451"/>
                      <a:pt x="64073" y="154816"/>
                      <a:pt x="73514" y="167144"/>
                    </a:cubicBezTo>
                    <a:cubicBezTo>
                      <a:pt x="82956" y="179472"/>
                      <a:pt x="104313" y="176792"/>
                      <a:pt x="105468" y="187058"/>
                    </a:cubicBezTo>
                    <a:cubicBezTo>
                      <a:pt x="106622" y="197325"/>
                      <a:pt x="121960" y="206931"/>
                      <a:pt x="139895" y="208292"/>
                    </a:cubicBezTo>
                    <a:cubicBezTo>
                      <a:pt x="146121" y="209579"/>
                      <a:pt x="151893" y="212415"/>
                      <a:pt x="156718" y="216538"/>
                    </a:cubicBezTo>
                    <a:cubicBezTo>
                      <a:pt x="144431" y="195387"/>
                      <a:pt x="123651" y="179802"/>
                      <a:pt x="124269" y="174030"/>
                    </a:cubicBezTo>
                    <a:close/>
                  </a:path>
                </a:pathLst>
              </a:custGeom>
              <a:solidFill>
                <a:srgbClr val="5F249F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</a:lstStyle>
              <a:p>
                <a:pPr marL="0" marR="0" lvl="0" indent="0" algn="l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BA1625A8-65BE-932B-ABBD-C6EF92D6D855}"/>
                  </a:ext>
                </a:extLst>
              </p:cNvPr>
              <p:cNvSpPr/>
              <p:nvPr>
                <p:custDataLst>
                  <p:tags r:id="rId476"/>
                </p:custDataLst>
              </p:nvPr>
            </p:nvSpPr>
            <p:spPr>
              <a:xfrm>
                <a:off x="7374868" y="3839751"/>
                <a:ext cx="62321" cy="145687"/>
              </a:xfrm>
              <a:custGeom>
                <a:avLst/>
                <a:gdLst>
                  <a:gd name="connsiteX0" fmla="*/ 47910 w 72771"/>
                  <a:gd name="connsiteY0" fmla="*/ 145086 h 170116"/>
                  <a:gd name="connsiteX1" fmla="*/ 57682 w 72771"/>
                  <a:gd name="connsiteY1" fmla="*/ 127604 h 170116"/>
                  <a:gd name="connsiteX2" fmla="*/ 71906 w 72771"/>
                  <a:gd name="connsiteY2" fmla="*/ 100887 h 170116"/>
                  <a:gd name="connsiteX3" fmla="*/ 72772 w 72771"/>
                  <a:gd name="connsiteY3" fmla="*/ 99608 h 170116"/>
                  <a:gd name="connsiteX4" fmla="*/ 49600 w 72771"/>
                  <a:gd name="connsiteY4" fmla="*/ 70747 h 170116"/>
                  <a:gd name="connsiteX5" fmla="*/ 53930 w 72771"/>
                  <a:gd name="connsiteY5" fmla="*/ 22590 h 170116"/>
                  <a:gd name="connsiteX6" fmla="*/ 19214 w 72771"/>
                  <a:gd name="connsiteY6" fmla="*/ -4 h 170116"/>
                  <a:gd name="connsiteX7" fmla="*/ 1 w 72771"/>
                  <a:gd name="connsiteY7" fmla="*/ 33228 h 170116"/>
                  <a:gd name="connsiteX8" fmla="*/ 10885 w 72771"/>
                  <a:gd name="connsiteY8" fmla="*/ 62089 h 170116"/>
                  <a:gd name="connsiteX9" fmla="*/ 9690 w 72771"/>
                  <a:gd name="connsiteY9" fmla="*/ 130655 h 170116"/>
                  <a:gd name="connsiteX10" fmla="*/ 36407 w 72771"/>
                  <a:gd name="connsiteY10" fmla="*/ 170113 h 170116"/>
                  <a:gd name="connsiteX11" fmla="*/ 47910 w 72771"/>
                  <a:gd name="connsiteY11" fmla="*/ 145086 h 170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2771" h="170116">
                    <a:moveTo>
                      <a:pt x="47910" y="145086"/>
                    </a:moveTo>
                    <a:cubicBezTo>
                      <a:pt x="56774" y="143066"/>
                      <a:pt x="51456" y="134819"/>
                      <a:pt x="57682" y="127604"/>
                    </a:cubicBezTo>
                    <a:cubicBezTo>
                      <a:pt x="64031" y="119663"/>
                      <a:pt x="68855" y="110601"/>
                      <a:pt x="71906" y="100887"/>
                    </a:cubicBezTo>
                    <a:cubicBezTo>
                      <a:pt x="72030" y="100371"/>
                      <a:pt x="72318" y="99914"/>
                      <a:pt x="72772" y="99608"/>
                    </a:cubicBezTo>
                    <a:cubicBezTo>
                      <a:pt x="60733" y="89095"/>
                      <a:pt x="52157" y="81550"/>
                      <a:pt x="49600" y="70747"/>
                    </a:cubicBezTo>
                    <a:cubicBezTo>
                      <a:pt x="47044" y="59945"/>
                      <a:pt x="49600" y="38258"/>
                      <a:pt x="53930" y="22590"/>
                    </a:cubicBezTo>
                    <a:cubicBezTo>
                      <a:pt x="47044" y="16941"/>
                      <a:pt x="25893" y="-4"/>
                      <a:pt x="19214" y="-4"/>
                    </a:cubicBezTo>
                    <a:cubicBezTo>
                      <a:pt x="12534" y="-4"/>
                      <a:pt x="2721" y="16941"/>
                      <a:pt x="1" y="33228"/>
                    </a:cubicBezTo>
                    <a:cubicBezTo>
                      <a:pt x="15544" y="42793"/>
                      <a:pt x="21646" y="49720"/>
                      <a:pt x="10885" y="62089"/>
                    </a:cubicBezTo>
                    <a:cubicBezTo>
                      <a:pt x="124" y="74458"/>
                      <a:pt x="-2721" y="119028"/>
                      <a:pt x="9690" y="130655"/>
                    </a:cubicBezTo>
                    <a:cubicBezTo>
                      <a:pt x="22100" y="142282"/>
                      <a:pt x="24945" y="163639"/>
                      <a:pt x="36407" y="170113"/>
                    </a:cubicBezTo>
                    <a:cubicBezTo>
                      <a:pt x="39623" y="159187"/>
                      <a:pt x="42055" y="146611"/>
                      <a:pt x="47910" y="145086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</a:lstStyle>
              <a:p>
                <a:pPr marL="0" marR="0" lvl="0" indent="0" algn="l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AC179A07-59CE-BF58-29DF-0349DA8C6C42}"/>
                  </a:ext>
                </a:extLst>
              </p:cNvPr>
              <p:cNvSpPr/>
              <p:nvPr>
                <p:custDataLst>
                  <p:tags r:id="rId477"/>
                </p:custDataLst>
              </p:nvPr>
            </p:nvSpPr>
            <p:spPr>
              <a:xfrm>
                <a:off x="7058352" y="3518397"/>
                <a:ext cx="252181" cy="133046"/>
              </a:xfrm>
              <a:custGeom>
                <a:avLst/>
                <a:gdLst>
                  <a:gd name="connsiteX0" fmla="*/ 248579 w 294467"/>
                  <a:gd name="connsiteY0" fmla="*/ 13808 h 155356"/>
                  <a:gd name="connsiteX1" fmla="*/ 211471 w 294467"/>
                  <a:gd name="connsiteY1" fmla="*/ -4 h 155356"/>
                  <a:gd name="connsiteX2" fmla="*/ 204833 w 294467"/>
                  <a:gd name="connsiteY2" fmla="*/ 21436 h 155356"/>
                  <a:gd name="connsiteX3" fmla="*/ 169952 w 294467"/>
                  <a:gd name="connsiteY3" fmla="*/ 23909 h 155356"/>
                  <a:gd name="connsiteX4" fmla="*/ 148265 w 294467"/>
                  <a:gd name="connsiteY4" fmla="*/ 41020 h 155356"/>
                  <a:gd name="connsiteX5" fmla="*/ 132268 w 294467"/>
                  <a:gd name="connsiteY5" fmla="*/ 69881 h 155356"/>
                  <a:gd name="connsiteX6" fmla="*/ 116270 w 294467"/>
                  <a:gd name="connsiteY6" fmla="*/ 83281 h 155356"/>
                  <a:gd name="connsiteX7" fmla="*/ 75411 w 294467"/>
                  <a:gd name="connsiteY7" fmla="*/ 92517 h 155356"/>
                  <a:gd name="connsiteX8" fmla="*/ 52322 w 294467"/>
                  <a:gd name="connsiteY8" fmla="*/ 94578 h 155356"/>
                  <a:gd name="connsiteX9" fmla="*/ 28326 w 294467"/>
                  <a:gd name="connsiteY9" fmla="*/ 98702 h 155356"/>
                  <a:gd name="connsiteX10" fmla="*/ 5237 w 294467"/>
                  <a:gd name="connsiteY10" fmla="*/ 91486 h 155356"/>
                  <a:gd name="connsiteX11" fmla="*/ 784 w 294467"/>
                  <a:gd name="connsiteY11" fmla="*/ 116224 h 155356"/>
                  <a:gd name="connsiteX12" fmla="*/ 21399 w 294467"/>
                  <a:gd name="connsiteY12" fmla="*/ 128594 h 155356"/>
                  <a:gd name="connsiteX13" fmla="*/ 46137 w 294467"/>
                  <a:gd name="connsiteY13" fmla="*/ 134778 h 155356"/>
                  <a:gd name="connsiteX14" fmla="*/ 70875 w 294467"/>
                  <a:gd name="connsiteY14" fmla="*/ 125501 h 155356"/>
                  <a:gd name="connsiteX15" fmla="*/ 102870 w 294467"/>
                  <a:gd name="connsiteY15" fmla="*/ 120348 h 155356"/>
                  <a:gd name="connsiteX16" fmla="*/ 110869 w 294467"/>
                  <a:gd name="connsiteY16" fmla="*/ 139932 h 155356"/>
                  <a:gd name="connsiteX17" fmla="*/ 147275 w 294467"/>
                  <a:gd name="connsiteY17" fmla="*/ 146075 h 155356"/>
                  <a:gd name="connsiteX18" fmla="*/ 191722 w 294467"/>
                  <a:gd name="connsiteY18" fmla="*/ 155352 h 155356"/>
                  <a:gd name="connsiteX19" fmla="*/ 226314 w 294467"/>
                  <a:gd name="connsiteY19" fmla="*/ 140921 h 155356"/>
                  <a:gd name="connsiteX20" fmla="*/ 253897 w 294467"/>
                  <a:gd name="connsiteY20" fmla="*/ 130655 h 155356"/>
                  <a:gd name="connsiteX21" fmla="*/ 253897 w 294467"/>
                  <a:gd name="connsiteY21" fmla="*/ 130655 h 155356"/>
                  <a:gd name="connsiteX22" fmla="*/ 260412 w 294467"/>
                  <a:gd name="connsiteY22" fmla="*/ 119688 h 155356"/>
                  <a:gd name="connsiteX23" fmla="*/ 266885 w 294467"/>
                  <a:gd name="connsiteY23" fmla="*/ 99320 h 155356"/>
                  <a:gd name="connsiteX24" fmla="*/ 271544 w 294467"/>
                  <a:gd name="connsiteY24" fmla="*/ 81055 h 155356"/>
                  <a:gd name="connsiteX25" fmla="*/ 289108 w 294467"/>
                  <a:gd name="connsiteY25" fmla="*/ 69304 h 155356"/>
                  <a:gd name="connsiteX26" fmla="*/ 294468 w 294467"/>
                  <a:gd name="connsiteY26" fmla="*/ 56935 h 155356"/>
                  <a:gd name="connsiteX27" fmla="*/ 278760 w 294467"/>
                  <a:gd name="connsiteY27" fmla="*/ 18343 h 155356"/>
                  <a:gd name="connsiteX28" fmla="*/ 248579 w 294467"/>
                  <a:gd name="connsiteY28" fmla="*/ 13808 h 1553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294467" h="155356">
                    <a:moveTo>
                      <a:pt x="248579" y="13808"/>
                    </a:moveTo>
                    <a:cubicBezTo>
                      <a:pt x="237983" y="-4"/>
                      <a:pt x="211471" y="-4"/>
                      <a:pt x="211471" y="-4"/>
                    </a:cubicBezTo>
                    <a:cubicBezTo>
                      <a:pt x="210069" y="7364"/>
                      <a:pt x="207843" y="14554"/>
                      <a:pt x="204833" y="21436"/>
                    </a:cubicBezTo>
                    <a:cubicBezTo>
                      <a:pt x="201494" y="27868"/>
                      <a:pt x="182280" y="27785"/>
                      <a:pt x="169952" y="23909"/>
                    </a:cubicBezTo>
                    <a:cubicBezTo>
                      <a:pt x="166489" y="29187"/>
                      <a:pt x="150492" y="33351"/>
                      <a:pt x="148265" y="41020"/>
                    </a:cubicBezTo>
                    <a:cubicBezTo>
                      <a:pt x="145585" y="50256"/>
                      <a:pt x="126042" y="45143"/>
                      <a:pt x="132268" y="69881"/>
                    </a:cubicBezTo>
                    <a:cubicBezTo>
                      <a:pt x="138493" y="94620"/>
                      <a:pt x="122496" y="86374"/>
                      <a:pt x="116270" y="83281"/>
                    </a:cubicBezTo>
                    <a:cubicBezTo>
                      <a:pt x="110044" y="80189"/>
                      <a:pt x="82503" y="84312"/>
                      <a:pt x="75411" y="92517"/>
                    </a:cubicBezTo>
                    <a:cubicBezTo>
                      <a:pt x="68319" y="100722"/>
                      <a:pt x="58547" y="98702"/>
                      <a:pt x="52322" y="94578"/>
                    </a:cubicBezTo>
                    <a:cubicBezTo>
                      <a:pt x="46096" y="90455"/>
                      <a:pt x="33644" y="88435"/>
                      <a:pt x="28326" y="98702"/>
                    </a:cubicBezTo>
                    <a:cubicBezTo>
                      <a:pt x="23007" y="108968"/>
                      <a:pt x="13235" y="90455"/>
                      <a:pt x="5237" y="91486"/>
                    </a:cubicBezTo>
                    <a:cubicBezTo>
                      <a:pt x="-2762" y="92517"/>
                      <a:pt x="784" y="112101"/>
                      <a:pt x="784" y="116224"/>
                    </a:cubicBezTo>
                    <a:cubicBezTo>
                      <a:pt x="784" y="120348"/>
                      <a:pt x="13153" y="132717"/>
                      <a:pt x="21399" y="128594"/>
                    </a:cubicBezTo>
                    <a:cubicBezTo>
                      <a:pt x="29645" y="124471"/>
                      <a:pt x="39128" y="129624"/>
                      <a:pt x="46137" y="134778"/>
                    </a:cubicBezTo>
                    <a:cubicBezTo>
                      <a:pt x="53147" y="139932"/>
                      <a:pt x="66752" y="130655"/>
                      <a:pt x="70875" y="125501"/>
                    </a:cubicBezTo>
                    <a:cubicBezTo>
                      <a:pt x="74998" y="120348"/>
                      <a:pt x="100231" y="120348"/>
                      <a:pt x="102870" y="120348"/>
                    </a:cubicBezTo>
                    <a:cubicBezTo>
                      <a:pt x="105509" y="120348"/>
                      <a:pt x="106416" y="136840"/>
                      <a:pt x="110869" y="139932"/>
                    </a:cubicBezTo>
                    <a:cubicBezTo>
                      <a:pt x="115322" y="143024"/>
                      <a:pt x="132185" y="145086"/>
                      <a:pt x="147275" y="146075"/>
                    </a:cubicBezTo>
                    <a:cubicBezTo>
                      <a:pt x="162366" y="147065"/>
                      <a:pt x="184383" y="155352"/>
                      <a:pt x="191722" y="155352"/>
                    </a:cubicBezTo>
                    <a:cubicBezTo>
                      <a:pt x="199061" y="155352"/>
                      <a:pt x="210358" y="140921"/>
                      <a:pt x="226314" y="140921"/>
                    </a:cubicBezTo>
                    <a:cubicBezTo>
                      <a:pt x="242271" y="140921"/>
                      <a:pt x="251053" y="129624"/>
                      <a:pt x="253897" y="130655"/>
                    </a:cubicBezTo>
                    <a:lnTo>
                      <a:pt x="253897" y="130655"/>
                    </a:lnTo>
                    <a:cubicBezTo>
                      <a:pt x="255052" y="124883"/>
                      <a:pt x="256948" y="120265"/>
                      <a:pt x="260412" y="119688"/>
                    </a:cubicBezTo>
                    <a:cubicBezTo>
                      <a:pt x="266885" y="118657"/>
                      <a:pt x="262226" y="105752"/>
                      <a:pt x="266885" y="99320"/>
                    </a:cubicBezTo>
                    <a:cubicBezTo>
                      <a:pt x="271544" y="92888"/>
                      <a:pt x="263174" y="80024"/>
                      <a:pt x="271544" y="81055"/>
                    </a:cubicBezTo>
                    <a:cubicBezTo>
                      <a:pt x="279914" y="82086"/>
                      <a:pt x="289108" y="83240"/>
                      <a:pt x="289108" y="69304"/>
                    </a:cubicBezTo>
                    <a:cubicBezTo>
                      <a:pt x="289273" y="64649"/>
                      <a:pt x="291170" y="60229"/>
                      <a:pt x="294468" y="56935"/>
                    </a:cubicBezTo>
                    <a:cubicBezTo>
                      <a:pt x="287789" y="44714"/>
                      <a:pt x="282512" y="31764"/>
                      <a:pt x="278760" y="18343"/>
                    </a:cubicBezTo>
                    <a:cubicBezTo>
                      <a:pt x="278760" y="18343"/>
                      <a:pt x="259175" y="27579"/>
                      <a:pt x="248579" y="13808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</a:lstStyle>
              <a:p>
                <a:pPr marL="0" marR="0" lvl="0" indent="0" algn="l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B34DC102-B59B-8C6D-109E-A12712821D3E}"/>
                  </a:ext>
                </a:extLst>
              </p:cNvPr>
              <p:cNvSpPr/>
              <p:nvPr>
                <p:custDataLst>
                  <p:tags r:id="rId478"/>
                </p:custDataLst>
              </p:nvPr>
            </p:nvSpPr>
            <p:spPr>
              <a:xfrm>
                <a:off x="7275931" y="3536717"/>
                <a:ext cx="221424" cy="144356"/>
              </a:xfrm>
              <a:custGeom>
                <a:avLst/>
                <a:gdLst>
                  <a:gd name="connsiteX0" fmla="*/ 251383 w 258553"/>
                  <a:gd name="connsiteY0" fmla="*/ 30927 h 168562"/>
                  <a:gd name="connsiteX1" fmla="*/ 241982 w 258553"/>
                  <a:gd name="connsiteY1" fmla="*/ 24289 h 168562"/>
                  <a:gd name="connsiteX2" fmla="*/ 216790 w 258553"/>
                  <a:gd name="connsiteY2" fmla="*/ 13816 h 168562"/>
                  <a:gd name="connsiteX3" fmla="*/ 179683 w 258553"/>
                  <a:gd name="connsiteY3" fmla="*/ 45 h 168562"/>
                  <a:gd name="connsiteX4" fmla="*/ 142575 w 258553"/>
                  <a:gd name="connsiteY4" fmla="*/ 27628 h 168562"/>
                  <a:gd name="connsiteX5" fmla="*/ 100231 w 258553"/>
                  <a:gd name="connsiteY5" fmla="*/ 42925 h 168562"/>
                  <a:gd name="connsiteX6" fmla="*/ 46013 w 258553"/>
                  <a:gd name="connsiteY6" fmla="*/ 42925 h 168562"/>
                  <a:gd name="connsiteX7" fmla="*/ 40571 w 258553"/>
                  <a:gd name="connsiteY7" fmla="*/ 35586 h 168562"/>
                  <a:gd name="connsiteX8" fmla="*/ 35211 w 258553"/>
                  <a:gd name="connsiteY8" fmla="*/ 47955 h 168562"/>
                  <a:gd name="connsiteX9" fmla="*/ 17647 w 258553"/>
                  <a:gd name="connsiteY9" fmla="*/ 59705 h 168562"/>
                  <a:gd name="connsiteX10" fmla="*/ 12988 w 258553"/>
                  <a:gd name="connsiteY10" fmla="*/ 77971 h 168562"/>
                  <a:gd name="connsiteX11" fmla="*/ 6515 w 258553"/>
                  <a:gd name="connsiteY11" fmla="*/ 98339 h 168562"/>
                  <a:gd name="connsiteX12" fmla="*/ 1 w 258553"/>
                  <a:gd name="connsiteY12" fmla="*/ 109306 h 168562"/>
                  <a:gd name="connsiteX13" fmla="*/ 9648 w 258553"/>
                  <a:gd name="connsiteY13" fmla="*/ 126623 h 168562"/>
                  <a:gd name="connsiteX14" fmla="*/ 8741 w 258553"/>
                  <a:gd name="connsiteY14" fmla="*/ 127571 h 168562"/>
                  <a:gd name="connsiteX15" fmla="*/ 42014 w 258553"/>
                  <a:gd name="connsiteY15" fmla="*/ 156432 h 168562"/>
                  <a:gd name="connsiteX16" fmla="*/ 83245 w 258553"/>
                  <a:gd name="connsiteY16" fmla="*/ 167193 h 168562"/>
                  <a:gd name="connsiteX17" fmla="*/ 138823 w 258553"/>
                  <a:gd name="connsiteY17" fmla="*/ 147279 h 168562"/>
                  <a:gd name="connsiteX18" fmla="*/ 156016 w 258553"/>
                  <a:gd name="connsiteY18" fmla="*/ 153381 h 168562"/>
                  <a:gd name="connsiteX19" fmla="*/ 167314 w 258553"/>
                  <a:gd name="connsiteY19" fmla="*/ 155525 h 168562"/>
                  <a:gd name="connsiteX20" fmla="*/ 191062 w 258553"/>
                  <a:gd name="connsiteY20" fmla="*/ 136023 h 168562"/>
                  <a:gd name="connsiteX21" fmla="*/ 227510 w 258553"/>
                  <a:gd name="connsiteY21" fmla="*/ 65931 h 168562"/>
                  <a:gd name="connsiteX22" fmla="*/ 254145 w 258553"/>
                  <a:gd name="connsiteY22" fmla="*/ 46388 h 168562"/>
                  <a:gd name="connsiteX23" fmla="*/ 251383 w 258553"/>
                  <a:gd name="connsiteY23" fmla="*/ 30927 h 168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258553" h="168562">
                    <a:moveTo>
                      <a:pt x="251383" y="30927"/>
                    </a:moveTo>
                    <a:cubicBezTo>
                      <a:pt x="247837" y="29389"/>
                      <a:pt x="244621" y="27129"/>
                      <a:pt x="241982" y="24289"/>
                    </a:cubicBezTo>
                    <a:cubicBezTo>
                      <a:pt x="230809" y="21444"/>
                      <a:pt x="220089" y="17651"/>
                      <a:pt x="216790" y="13816"/>
                    </a:cubicBezTo>
                    <a:cubicBezTo>
                      <a:pt x="210193" y="6188"/>
                      <a:pt x="183806" y="1447"/>
                      <a:pt x="179683" y="45"/>
                    </a:cubicBezTo>
                    <a:cubicBezTo>
                      <a:pt x="175560" y="-1357"/>
                      <a:pt x="150574" y="27628"/>
                      <a:pt x="142575" y="27628"/>
                    </a:cubicBezTo>
                    <a:cubicBezTo>
                      <a:pt x="134577" y="27628"/>
                      <a:pt x="100231" y="32205"/>
                      <a:pt x="100231" y="42925"/>
                    </a:cubicBezTo>
                    <a:cubicBezTo>
                      <a:pt x="100231" y="53645"/>
                      <a:pt x="57929" y="55294"/>
                      <a:pt x="46013" y="42925"/>
                    </a:cubicBezTo>
                    <a:cubicBezTo>
                      <a:pt x="43952" y="40678"/>
                      <a:pt x="42138" y="38220"/>
                      <a:pt x="40571" y="35586"/>
                    </a:cubicBezTo>
                    <a:cubicBezTo>
                      <a:pt x="37272" y="38880"/>
                      <a:pt x="35376" y="43300"/>
                      <a:pt x="35211" y="47955"/>
                    </a:cubicBezTo>
                    <a:cubicBezTo>
                      <a:pt x="35211" y="61891"/>
                      <a:pt x="25934" y="60777"/>
                      <a:pt x="17647" y="59705"/>
                    </a:cubicBezTo>
                    <a:cubicBezTo>
                      <a:pt x="9360" y="58634"/>
                      <a:pt x="17647" y="71539"/>
                      <a:pt x="12988" y="77971"/>
                    </a:cubicBezTo>
                    <a:cubicBezTo>
                      <a:pt x="8329" y="84403"/>
                      <a:pt x="12988" y="97308"/>
                      <a:pt x="6515" y="98339"/>
                    </a:cubicBezTo>
                    <a:cubicBezTo>
                      <a:pt x="3052" y="98916"/>
                      <a:pt x="1155" y="103533"/>
                      <a:pt x="1" y="109306"/>
                    </a:cubicBezTo>
                    <a:cubicBezTo>
                      <a:pt x="2804" y="110831"/>
                      <a:pt x="9648" y="126623"/>
                      <a:pt x="9648" y="126623"/>
                    </a:cubicBezTo>
                    <a:lnTo>
                      <a:pt x="8741" y="127571"/>
                    </a:lnTo>
                    <a:cubicBezTo>
                      <a:pt x="17729" y="133797"/>
                      <a:pt x="36118" y="147197"/>
                      <a:pt x="42014" y="156432"/>
                    </a:cubicBezTo>
                    <a:cubicBezTo>
                      <a:pt x="49972" y="168801"/>
                      <a:pt x="72442" y="170245"/>
                      <a:pt x="83245" y="167193"/>
                    </a:cubicBezTo>
                    <a:cubicBezTo>
                      <a:pt x="94047" y="164142"/>
                      <a:pt x="138823" y="147279"/>
                      <a:pt x="138823" y="147279"/>
                    </a:cubicBezTo>
                    <a:cubicBezTo>
                      <a:pt x="144390" y="149724"/>
                      <a:pt x="150162" y="151761"/>
                      <a:pt x="156016" y="153381"/>
                    </a:cubicBezTo>
                    <a:cubicBezTo>
                      <a:pt x="157583" y="153752"/>
                      <a:pt x="161789" y="154535"/>
                      <a:pt x="167314" y="155525"/>
                    </a:cubicBezTo>
                    <a:cubicBezTo>
                      <a:pt x="170530" y="151650"/>
                      <a:pt x="180466" y="148351"/>
                      <a:pt x="191062" y="136023"/>
                    </a:cubicBezTo>
                    <a:cubicBezTo>
                      <a:pt x="203431" y="121592"/>
                      <a:pt x="222150" y="70054"/>
                      <a:pt x="227510" y="65931"/>
                    </a:cubicBezTo>
                    <a:cubicBezTo>
                      <a:pt x="232870" y="61808"/>
                      <a:pt x="247053" y="52573"/>
                      <a:pt x="254145" y="46388"/>
                    </a:cubicBezTo>
                    <a:cubicBezTo>
                      <a:pt x="261237" y="40203"/>
                      <a:pt x="259381" y="34019"/>
                      <a:pt x="251383" y="3092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</a:lstStyle>
              <a:p>
                <a:pPr marL="0" marR="0" lvl="0" indent="0" algn="l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906153D3-4787-D8CD-A4B1-CCCF826D86FD}"/>
                  </a:ext>
                </a:extLst>
              </p:cNvPr>
              <p:cNvSpPr/>
              <p:nvPr>
                <p:custDataLst>
                  <p:tags r:id="rId479"/>
                </p:custDataLst>
              </p:nvPr>
            </p:nvSpPr>
            <p:spPr>
              <a:xfrm>
                <a:off x="7150198" y="3414481"/>
                <a:ext cx="211673" cy="127680"/>
              </a:xfrm>
              <a:custGeom>
                <a:avLst/>
                <a:gdLst>
                  <a:gd name="connsiteX0" fmla="*/ 233974 w 247166"/>
                  <a:gd name="connsiteY0" fmla="*/ 67696 h 149089"/>
                  <a:gd name="connsiteX1" fmla="*/ 207462 w 247166"/>
                  <a:gd name="connsiteY1" fmla="*/ 60027 h 149089"/>
                  <a:gd name="connsiteX2" fmla="*/ 196908 w 247166"/>
                  <a:gd name="connsiteY2" fmla="*/ 43164 h 149089"/>
                  <a:gd name="connsiteX3" fmla="*/ 174437 w 247166"/>
                  <a:gd name="connsiteY3" fmla="*/ 47741 h 149089"/>
                  <a:gd name="connsiteX4" fmla="*/ 153203 w 247166"/>
                  <a:gd name="connsiteY4" fmla="*/ 37021 h 149089"/>
                  <a:gd name="connsiteX5" fmla="*/ 126775 w 247166"/>
                  <a:gd name="connsiteY5" fmla="*/ 15540 h 149089"/>
                  <a:gd name="connsiteX6" fmla="*/ 103603 w 247166"/>
                  <a:gd name="connsiteY6" fmla="*/ -4 h 149089"/>
                  <a:gd name="connsiteX7" fmla="*/ 101500 w 247166"/>
                  <a:gd name="connsiteY7" fmla="*/ 4902 h 149089"/>
                  <a:gd name="connsiteX8" fmla="*/ 80184 w 247166"/>
                  <a:gd name="connsiteY8" fmla="*/ 5974 h 149089"/>
                  <a:gd name="connsiteX9" fmla="*/ 47200 w 247166"/>
                  <a:gd name="connsiteY9" fmla="*/ 23456 h 149089"/>
                  <a:gd name="connsiteX10" fmla="*/ 5433 w 247166"/>
                  <a:gd name="connsiteY10" fmla="*/ 41968 h 149089"/>
                  <a:gd name="connsiteX11" fmla="*/ 8072 w 247166"/>
                  <a:gd name="connsiteY11" fmla="*/ 66707 h 149089"/>
                  <a:gd name="connsiteX12" fmla="*/ 21431 w 247166"/>
                  <a:gd name="connsiteY12" fmla="*/ 105793 h 149089"/>
                  <a:gd name="connsiteX13" fmla="*/ 63197 w 247166"/>
                  <a:gd name="connsiteY13" fmla="*/ 141829 h 149089"/>
                  <a:gd name="connsiteX14" fmla="*/ 62661 w 247166"/>
                  <a:gd name="connsiteY14" fmla="*/ 145292 h 149089"/>
                  <a:gd name="connsiteX15" fmla="*/ 97542 w 247166"/>
                  <a:gd name="connsiteY15" fmla="*/ 142818 h 149089"/>
                  <a:gd name="connsiteX16" fmla="*/ 104180 w 247166"/>
                  <a:gd name="connsiteY16" fmla="*/ 121378 h 149089"/>
                  <a:gd name="connsiteX17" fmla="*/ 141287 w 247166"/>
                  <a:gd name="connsiteY17" fmla="*/ 135190 h 149089"/>
                  <a:gd name="connsiteX18" fmla="*/ 171757 w 247166"/>
                  <a:gd name="connsiteY18" fmla="*/ 139767 h 149089"/>
                  <a:gd name="connsiteX19" fmla="*/ 174602 w 247166"/>
                  <a:gd name="connsiteY19" fmla="*/ 149085 h 149089"/>
                  <a:gd name="connsiteX20" fmla="*/ 185734 w 247166"/>
                  <a:gd name="connsiteY20" fmla="*/ 134077 h 149089"/>
                  <a:gd name="connsiteX21" fmla="*/ 223955 w 247166"/>
                  <a:gd name="connsiteY21" fmla="*/ 111978 h 149089"/>
                  <a:gd name="connsiteX22" fmla="*/ 247167 w 247166"/>
                  <a:gd name="connsiteY22" fmla="*/ 89837 h 149089"/>
                  <a:gd name="connsiteX23" fmla="*/ 233974 w 247166"/>
                  <a:gd name="connsiteY23" fmla="*/ 67696 h 149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247166" h="149089">
                    <a:moveTo>
                      <a:pt x="233974" y="67696"/>
                    </a:moveTo>
                    <a:cubicBezTo>
                      <a:pt x="227294" y="63120"/>
                      <a:pt x="208823" y="66129"/>
                      <a:pt x="207462" y="60027"/>
                    </a:cubicBezTo>
                    <a:cubicBezTo>
                      <a:pt x="206102" y="53925"/>
                      <a:pt x="204865" y="43164"/>
                      <a:pt x="196908" y="43164"/>
                    </a:cubicBezTo>
                    <a:cubicBezTo>
                      <a:pt x="188950" y="43164"/>
                      <a:pt x="178395" y="37062"/>
                      <a:pt x="174437" y="47741"/>
                    </a:cubicBezTo>
                    <a:cubicBezTo>
                      <a:pt x="170479" y="58419"/>
                      <a:pt x="154564" y="44690"/>
                      <a:pt x="153203" y="37021"/>
                    </a:cubicBezTo>
                    <a:cubicBezTo>
                      <a:pt x="151842" y="29352"/>
                      <a:pt x="145287" y="23250"/>
                      <a:pt x="126775" y="15540"/>
                    </a:cubicBezTo>
                    <a:cubicBezTo>
                      <a:pt x="118322" y="11512"/>
                      <a:pt x="110529" y="6275"/>
                      <a:pt x="103603" y="-4"/>
                    </a:cubicBezTo>
                    <a:cubicBezTo>
                      <a:pt x="103067" y="1699"/>
                      <a:pt x="102366" y="3344"/>
                      <a:pt x="101500" y="4902"/>
                    </a:cubicBezTo>
                    <a:cubicBezTo>
                      <a:pt x="97954" y="11128"/>
                      <a:pt x="85503" y="-210"/>
                      <a:pt x="80184" y="5974"/>
                    </a:cubicBezTo>
                    <a:cubicBezTo>
                      <a:pt x="74865" y="12159"/>
                      <a:pt x="57095" y="13148"/>
                      <a:pt x="47200" y="23456"/>
                    </a:cubicBezTo>
                    <a:cubicBezTo>
                      <a:pt x="37304" y="33764"/>
                      <a:pt x="16978" y="38876"/>
                      <a:pt x="5433" y="41968"/>
                    </a:cubicBezTo>
                    <a:cubicBezTo>
                      <a:pt x="-6112" y="45061"/>
                      <a:pt x="3660" y="57389"/>
                      <a:pt x="8072" y="66707"/>
                    </a:cubicBezTo>
                    <a:cubicBezTo>
                      <a:pt x="12483" y="76025"/>
                      <a:pt x="12566" y="98619"/>
                      <a:pt x="21431" y="105793"/>
                    </a:cubicBezTo>
                    <a:cubicBezTo>
                      <a:pt x="30295" y="112967"/>
                      <a:pt x="59610" y="134655"/>
                      <a:pt x="63197" y="141829"/>
                    </a:cubicBezTo>
                    <a:cubicBezTo>
                      <a:pt x="63692" y="142991"/>
                      <a:pt x="63485" y="144331"/>
                      <a:pt x="62661" y="145292"/>
                    </a:cubicBezTo>
                    <a:cubicBezTo>
                      <a:pt x="75030" y="149168"/>
                      <a:pt x="94202" y="149415"/>
                      <a:pt x="97542" y="142818"/>
                    </a:cubicBezTo>
                    <a:cubicBezTo>
                      <a:pt x="100552" y="135937"/>
                      <a:pt x="102778" y="128746"/>
                      <a:pt x="104180" y="121378"/>
                    </a:cubicBezTo>
                    <a:cubicBezTo>
                      <a:pt x="104180" y="121378"/>
                      <a:pt x="130609" y="121378"/>
                      <a:pt x="141287" y="135190"/>
                    </a:cubicBezTo>
                    <a:cubicBezTo>
                      <a:pt x="151966" y="149003"/>
                      <a:pt x="171757" y="139767"/>
                      <a:pt x="171757" y="139767"/>
                    </a:cubicBezTo>
                    <a:cubicBezTo>
                      <a:pt x="171757" y="139767"/>
                      <a:pt x="172829" y="143643"/>
                      <a:pt x="174602" y="149085"/>
                    </a:cubicBezTo>
                    <a:cubicBezTo>
                      <a:pt x="177488" y="141540"/>
                      <a:pt x="181199" y="134861"/>
                      <a:pt x="185734" y="134077"/>
                    </a:cubicBezTo>
                    <a:cubicBezTo>
                      <a:pt x="196908" y="132263"/>
                      <a:pt x="212823" y="130408"/>
                      <a:pt x="223955" y="111978"/>
                    </a:cubicBezTo>
                    <a:cubicBezTo>
                      <a:pt x="229974" y="102994"/>
                      <a:pt x="237890" y="95436"/>
                      <a:pt x="247167" y="89837"/>
                    </a:cubicBezTo>
                    <a:cubicBezTo>
                      <a:pt x="241848" y="82209"/>
                      <a:pt x="239128" y="71283"/>
                      <a:pt x="233974" y="67696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</a:lstStyle>
              <a:p>
                <a:pPr marL="0" marR="0" lvl="0" indent="0" algn="l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0AB407F7-CCA5-FE4E-C6E4-64870DA954A3}"/>
                  </a:ext>
                </a:extLst>
              </p:cNvPr>
              <p:cNvSpPr/>
              <p:nvPr>
                <p:custDataLst>
                  <p:tags r:id="rId480"/>
                </p:custDataLst>
              </p:nvPr>
            </p:nvSpPr>
            <p:spPr>
              <a:xfrm>
                <a:off x="7299762" y="3491387"/>
                <a:ext cx="192332" cy="89532"/>
              </a:xfrm>
              <a:custGeom>
                <a:avLst/>
                <a:gdLst>
                  <a:gd name="connsiteX0" fmla="*/ 166489 w 224582"/>
                  <a:gd name="connsiteY0" fmla="*/ 10097 h 104545"/>
                  <a:gd name="connsiteX1" fmla="*/ 136061 w 224582"/>
                  <a:gd name="connsiteY1" fmla="*/ 7005 h 104545"/>
                  <a:gd name="connsiteX2" fmla="*/ 101674 w 224582"/>
                  <a:gd name="connsiteY2" fmla="*/ 2387 h 104545"/>
                  <a:gd name="connsiteX3" fmla="*/ 77844 w 224582"/>
                  <a:gd name="connsiteY3" fmla="*/ 5479 h 104545"/>
                  <a:gd name="connsiteX4" fmla="*/ 72566 w 224582"/>
                  <a:gd name="connsiteY4" fmla="*/ -4 h 104545"/>
                  <a:gd name="connsiteX5" fmla="*/ 49353 w 224582"/>
                  <a:gd name="connsiteY5" fmla="*/ 22137 h 104545"/>
                  <a:gd name="connsiteX6" fmla="*/ 11133 w 224582"/>
                  <a:gd name="connsiteY6" fmla="*/ 44236 h 104545"/>
                  <a:gd name="connsiteX7" fmla="*/ 1 w 224582"/>
                  <a:gd name="connsiteY7" fmla="*/ 59244 h 104545"/>
                  <a:gd name="connsiteX8" fmla="*/ 18307 w 224582"/>
                  <a:gd name="connsiteY8" fmla="*/ 95857 h 104545"/>
                  <a:gd name="connsiteX9" fmla="*/ 72525 w 224582"/>
                  <a:gd name="connsiteY9" fmla="*/ 95857 h 104545"/>
                  <a:gd name="connsiteX10" fmla="*/ 114869 w 224582"/>
                  <a:gd name="connsiteY10" fmla="*/ 80560 h 104545"/>
                  <a:gd name="connsiteX11" fmla="*/ 151976 w 224582"/>
                  <a:gd name="connsiteY11" fmla="*/ 52977 h 104545"/>
                  <a:gd name="connsiteX12" fmla="*/ 189083 w 224582"/>
                  <a:gd name="connsiteY12" fmla="*/ 66748 h 104545"/>
                  <a:gd name="connsiteX13" fmla="*/ 214275 w 224582"/>
                  <a:gd name="connsiteY13" fmla="*/ 77220 h 104545"/>
                  <a:gd name="connsiteX14" fmla="*/ 206029 w 224582"/>
                  <a:gd name="connsiteY14" fmla="*/ 61223 h 104545"/>
                  <a:gd name="connsiteX15" fmla="*/ 223800 w 224582"/>
                  <a:gd name="connsiteY15" fmla="*/ 27290 h 104545"/>
                  <a:gd name="connsiteX16" fmla="*/ 224583 w 224582"/>
                  <a:gd name="connsiteY16" fmla="*/ 25847 h 104545"/>
                  <a:gd name="connsiteX17" fmla="*/ 201123 w 224582"/>
                  <a:gd name="connsiteY17" fmla="*/ 19250 h 104545"/>
                  <a:gd name="connsiteX18" fmla="*/ 166489 w 224582"/>
                  <a:gd name="connsiteY18" fmla="*/ 10097 h 1045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24581" h="104545">
                    <a:moveTo>
                      <a:pt x="166489" y="10097"/>
                    </a:moveTo>
                    <a:cubicBezTo>
                      <a:pt x="153254" y="11582"/>
                      <a:pt x="146616" y="2387"/>
                      <a:pt x="136061" y="7005"/>
                    </a:cubicBezTo>
                    <a:cubicBezTo>
                      <a:pt x="125506" y="11623"/>
                      <a:pt x="108272" y="7005"/>
                      <a:pt x="101674" y="2387"/>
                    </a:cubicBezTo>
                    <a:cubicBezTo>
                      <a:pt x="95078" y="-2231"/>
                      <a:pt x="87120" y="11582"/>
                      <a:pt x="77844" y="5479"/>
                    </a:cubicBezTo>
                    <a:cubicBezTo>
                      <a:pt x="75741" y="3999"/>
                      <a:pt x="73968" y="2140"/>
                      <a:pt x="72566" y="-4"/>
                    </a:cubicBezTo>
                    <a:cubicBezTo>
                      <a:pt x="63289" y="5595"/>
                      <a:pt x="55373" y="13152"/>
                      <a:pt x="49353" y="22137"/>
                    </a:cubicBezTo>
                    <a:cubicBezTo>
                      <a:pt x="38221" y="40566"/>
                      <a:pt x="22306" y="42422"/>
                      <a:pt x="11133" y="44236"/>
                    </a:cubicBezTo>
                    <a:cubicBezTo>
                      <a:pt x="6597" y="45019"/>
                      <a:pt x="2886" y="51699"/>
                      <a:pt x="1" y="59244"/>
                    </a:cubicBezTo>
                    <a:cubicBezTo>
                      <a:pt x="3670" y="70129"/>
                      <a:pt x="10349" y="87693"/>
                      <a:pt x="18307" y="95857"/>
                    </a:cubicBezTo>
                    <a:cubicBezTo>
                      <a:pt x="30222" y="108226"/>
                      <a:pt x="72525" y="106618"/>
                      <a:pt x="72525" y="95857"/>
                    </a:cubicBezTo>
                    <a:cubicBezTo>
                      <a:pt x="72525" y="85095"/>
                      <a:pt x="106911" y="80560"/>
                      <a:pt x="114869" y="80560"/>
                    </a:cubicBezTo>
                    <a:cubicBezTo>
                      <a:pt x="122826" y="80560"/>
                      <a:pt x="147853" y="51410"/>
                      <a:pt x="151976" y="52977"/>
                    </a:cubicBezTo>
                    <a:cubicBezTo>
                      <a:pt x="156099" y="54544"/>
                      <a:pt x="182404" y="59120"/>
                      <a:pt x="189083" y="66748"/>
                    </a:cubicBezTo>
                    <a:cubicBezTo>
                      <a:pt x="192381" y="70582"/>
                      <a:pt x="203102" y="74375"/>
                      <a:pt x="214275" y="77220"/>
                    </a:cubicBezTo>
                    <a:cubicBezTo>
                      <a:pt x="209699" y="73035"/>
                      <a:pt x="206771" y="67366"/>
                      <a:pt x="206029" y="61223"/>
                    </a:cubicBezTo>
                    <a:cubicBezTo>
                      <a:pt x="206029" y="52977"/>
                      <a:pt x="219388" y="31413"/>
                      <a:pt x="223800" y="27290"/>
                    </a:cubicBezTo>
                    <a:cubicBezTo>
                      <a:pt x="224129" y="26857"/>
                      <a:pt x="224418" y="26371"/>
                      <a:pt x="224583" y="25847"/>
                    </a:cubicBezTo>
                    <a:cubicBezTo>
                      <a:pt x="214399" y="24074"/>
                      <a:pt x="203225" y="21724"/>
                      <a:pt x="201123" y="19250"/>
                    </a:cubicBezTo>
                    <a:cubicBezTo>
                      <a:pt x="196917" y="14633"/>
                      <a:pt x="179683" y="8530"/>
                      <a:pt x="166489" y="1009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</a:lstStyle>
              <a:p>
                <a:pPr marL="0" marR="0" lvl="0" indent="0" algn="l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DC8DED37-A606-DC04-DC63-ED1E138EFD6C}"/>
                  </a:ext>
                </a:extLst>
              </p:cNvPr>
              <p:cNvSpPr/>
              <p:nvPr>
                <p:custDataLst>
                  <p:tags r:id="rId481"/>
                </p:custDataLst>
              </p:nvPr>
            </p:nvSpPr>
            <p:spPr>
              <a:xfrm>
                <a:off x="6396064" y="3873509"/>
                <a:ext cx="114628" cy="233866"/>
              </a:xfrm>
              <a:custGeom>
                <a:avLst/>
                <a:gdLst>
                  <a:gd name="connsiteX0" fmla="*/ 130475 w 133848"/>
                  <a:gd name="connsiteY0" fmla="*/ 28156 h 273081"/>
                  <a:gd name="connsiteX1" fmla="*/ 120374 w 133848"/>
                  <a:gd name="connsiteY1" fmla="*/ 9767 h 273081"/>
                  <a:gd name="connsiteX2" fmla="*/ 95882 w 133848"/>
                  <a:gd name="connsiteY2" fmla="*/ 4778 h 273081"/>
                  <a:gd name="connsiteX3" fmla="*/ 80009 w 133848"/>
                  <a:gd name="connsiteY3" fmla="*/ 4778 h 273081"/>
                  <a:gd name="connsiteX4" fmla="*/ 59146 w 133848"/>
                  <a:gd name="connsiteY4" fmla="*/ 3748 h 273081"/>
                  <a:gd name="connsiteX5" fmla="*/ 59146 w 133848"/>
                  <a:gd name="connsiteY5" fmla="*/ 4407 h 273081"/>
                  <a:gd name="connsiteX6" fmla="*/ 59394 w 133848"/>
                  <a:gd name="connsiteY6" fmla="*/ 34959 h 273081"/>
                  <a:gd name="connsiteX7" fmla="*/ 52549 w 133848"/>
                  <a:gd name="connsiteY7" fmla="*/ 52688 h 273081"/>
                  <a:gd name="connsiteX8" fmla="*/ 34490 w 133848"/>
                  <a:gd name="connsiteY8" fmla="*/ 70005 h 273081"/>
                  <a:gd name="connsiteX9" fmla="*/ 35604 w 133848"/>
                  <a:gd name="connsiteY9" fmla="*/ 83982 h 273081"/>
                  <a:gd name="connsiteX10" fmla="*/ 18163 w 133848"/>
                  <a:gd name="connsiteY10" fmla="*/ 119646 h 273081"/>
                  <a:gd name="connsiteX11" fmla="*/ 6495 w 133848"/>
                  <a:gd name="connsiteY11" fmla="*/ 144385 h 273081"/>
                  <a:gd name="connsiteX12" fmla="*/ 21874 w 133848"/>
                  <a:gd name="connsiteY12" fmla="*/ 184832 h 273081"/>
                  <a:gd name="connsiteX13" fmla="*/ 27234 w 133848"/>
                  <a:gd name="connsiteY13" fmla="*/ 263706 h 273081"/>
                  <a:gd name="connsiteX14" fmla="*/ 58033 w 133848"/>
                  <a:gd name="connsiteY14" fmla="*/ 272653 h 273081"/>
                  <a:gd name="connsiteX15" fmla="*/ 89987 w 133848"/>
                  <a:gd name="connsiteY15" fmla="*/ 265355 h 273081"/>
                  <a:gd name="connsiteX16" fmla="*/ 84214 w 133848"/>
                  <a:gd name="connsiteY16" fmla="*/ 250223 h 273081"/>
                  <a:gd name="connsiteX17" fmla="*/ 100047 w 133848"/>
                  <a:gd name="connsiteY17" fmla="*/ 221857 h 273081"/>
                  <a:gd name="connsiteX18" fmla="*/ 91389 w 133848"/>
                  <a:gd name="connsiteY18" fmla="*/ 198520 h 273081"/>
                  <a:gd name="connsiteX19" fmla="*/ 101490 w 133848"/>
                  <a:gd name="connsiteY19" fmla="*/ 173452 h 273081"/>
                  <a:gd name="connsiteX20" fmla="*/ 89946 w 133848"/>
                  <a:gd name="connsiteY20" fmla="*/ 148384 h 273081"/>
                  <a:gd name="connsiteX21" fmla="*/ 100047 w 133848"/>
                  <a:gd name="connsiteY21" fmla="*/ 130036 h 273081"/>
                  <a:gd name="connsiteX22" fmla="*/ 107221 w 133848"/>
                  <a:gd name="connsiteY22" fmla="*/ 98330 h 273081"/>
                  <a:gd name="connsiteX23" fmla="*/ 104335 w 133848"/>
                  <a:gd name="connsiteY23" fmla="*/ 54956 h 273081"/>
                  <a:gd name="connsiteX24" fmla="*/ 130475 w 133848"/>
                  <a:gd name="connsiteY24" fmla="*/ 28156 h 2730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33848" h="273081">
                    <a:moveTo>
                      <a:pt x="130475" y="28156"/>
                    </a:moveTo>
                    <a:cubicBezTo>
                      <a:pt x="141978" y="14756"/>
                      <a:pt x="120374" y="19910"/>
                      <a:pt x="120374" y="9767"/>
                    </a:cubicBezTo>
                    <a:cubicBezTo>
                      <a:pt x="120374" y="-375"/>
                      <a:pt x="105943" y="-3591"/>
                      <a:pt x="95882" y="4778"/>
                    </a:cubicBezTo>
                    <a:cubicBezTo>
                      <a:pt x="85822" y="13148"/>
                      <a:pt x="88667" y="4778"/>
                      <a:pt x="80009" y="4778"/>
                    </a:cubicBezTo>
                    <a:cubicBezTo>
                      <a:pt x="73907" y="4778"/>
                      <a:pt x="64300" y="6345"/>
                      <a:pt x="59146" y="3748"/>
                    </a:cubicBezTo>
                    <a:cubicBezTo>
                      <a:pt x="59146" y="3954"/>
                      <a:pt x="59146" y="4201"/>
                      <a:pt x="59146" y="4407"/>
                    </a:cubicBezTo>
                    <a:cubicBezTo>
                      <a:pt x="61455" y="14451"/>
                      <a:pt x="61538" y="24878"/>
                      <a:pt x="59394" y="34959"/>
                    </a:cubicBezTo>
                    <a:cubicBezTo>
                      <a:pt x="57786" y="41102"/>
                      <a:pt x="55477" y="47052"/>
                      <a:pt x="52549" y="52688"/>
                    </a:cubicBezTo>
                    <a:cubicBezTo>
                      <a:pt x="48591" y="60274"/>
                      <a:pt x="42242" y="66356"/>
                      <a:pt x="34490" y="70005"/>
                    </a:cubicBezTo>
                    <a:cubicBezTo>
                      <a:pt x="34903" y="74664"/>
                      <a:pt x="35315" y="79323"/>
                      <a:pt x="35604" y="83982"/>
                    </a:cubicBezTo>
                    <a:cubicBezTo>
                      <a:pt x="36057" y="98025"/>
                      <a:pt x="29502" y="111375"/>
                      <a:pt x="18163" y="119646"/>
                    </a:cubicBezTo>
                    <a:cubicBezTo>
                      <a:pt x="15401" y="128383"/>
                      <a:pt x="11484" y="136708"/>
                      <a:pt x="6495" y="144385"/>
                    </a:cubicBezTo>
                    <a:cubicBezTo>
                      <a:pt x="-8925" y="165000"/>
                      <a:pt x="5918" y="170442"/>
                      <a:pt x="21874" y="184832"/>
                    </a:cubicBezTo>
                    <a:cubicBezTo>
                      <a:pt x="37830" y="199221"/>
                      <a:pt x="27234" y="251378"/>
                      <a:pt x="27234" y="263706"/>
                    </a:cubicBezTo>
                    <a:cubicBezTo>
                      <a:pt x="27234" y="276034"/>
                      <a:pt x="41417" y="272653"/>
                      <a:pt x="58033" y="272653"/>
                    </a:cubicBezTo>
                    <a:cubicBezTo>
                      <a:pt x="67887" y="272653"/>
                      <a:pt x="79061" y="267581"/>
                      <a:pt x="89987" y="265355"/>
                    </a:cubicBezTo>
                    <a:cubicBezTo>
                      <a:pt x="86977" y="260787"/>
                      <a:pt x="85039" y="255624"/>
                      <a:pt x="84214" y="250223"/>
                    </a:cubicBezTo>
                    <a:cubicBezTo>
                      <a:pt x="84214" y="240204"/>
                      <a:pt x="84214" y="225196"/>
                      <a:pt x="100047" y="221857"/>
                    </a:cubicBezTo>
                    <a:cubicBezTo>
                      <a:pt x="115879" y="218517"/>
                      <a:pt x="95718" y="203509"/>
                      <a:pt x="91389" y="198520"/>
                    </a:cubicBezTo>
                    <a:cubicBezTo>
                      <a:pt x="87059" y="193531"/>
                      <a:pt x="92831" y="173452"/>
                      <a:pt x="101490" y="173452"/>
                    </a:cubicBezTo>
                    <a:cubicBezTo>
                      <a:pt x="110149" y="173452"/>
                      <a:pt x="101490" y="161784"/>
                      <a:pt x="89946" y="148384"/>
                    </a:cubicBezTo>
                    <a:cubicBezTo>
                      <a:pt x="78401" y="134984"/>
                      <a:pt x="89946" y="130036"/>
                      <a:pt x="100047" y="130036"/>
                    </a:cubicBezTo>
                    <a:cubicBezTo>
                      <a:pt x="110149" y="130036"/>
                      <a:pt x="97161" y="110040"/>
                      <a:pt x="107221" y="98330"/>
                    </a:cubicBezTo>
                    <a:cubicBezTo>
                      <a:pt x="117281" y="86621"/>
                      <a:pt x="104335" y="64975"/>
                      <a:pt x="104335" y="54956"/>
                    </a:cubicBezTo>
                    <a:cubicBezTo>
                      <a:pt x="104335" y="44937"/>
                      <a:pt x="118930" y="41473"/>
                      <a:pt x="130475" y="28156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</a:lstStyle>
              <a:p>
                <a:pPr marL="0" marR="0" lvl="0" indent="0" algn="l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A7D2B463-11A7-B9E6-4BE6-EE07E8613BE1}"/>
                  </a:ext>
                </a:extLst>
              </p:cNvPr>
              <p:cNvSpPr/>
              <p:nvPr>
                <p:custDataLst>
                  <p:tags r:id="rId482"/>
                </p:custDataLst>
              </p:nvPr>
            </p:nvSpPr>
            <p:spPr>
              <a:xfrm>
                <a:off x="6926018" y="3462821"/>
                <a:ext cx="22730" cy="36686"/>
              </a:xfrm>
              <a:custGeom>
                <a:avLst/>
                <a:gdLst>
                  <a:gd name="connsiteX0" fmla="*/ 14133 w 26542"/>
                  <a:gd name="connsiteY0" fmla="*/ -4 h 42838"/>
                  <a:gd name="connsiteX1" fmla="*/ 115 w 26542"/>
                  <a:gd name="connsiteY1" fmla="*/ 39371 h 42838"/>
                  <a:gd name="connsiteX2" fmla="*/ 26543 w 26542"/>
                  <a:gd name="connsiteY2" fmla="*/ 42834 h 42838"/>
                  <a:gd name="connsiteX3" fmla="*/ 13886 w 26542"/>
                  <a:gd name="connsiteY3" fmla="*/ 4366 h 42838"/>
                  <a:gd name="connsiteX4" fmla="*/ 14133 w 26542"/>
                  <a:gd name="connsiteY4" fmla="*/ -4 h 428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542" h="42838">
                    <a:moveTo>
                      <a:pt x="14133" y="-4"/>
                    </a:moveTo>
                    <a:cubicBezTo>
                      <a:pt x="6217" y="5108"/>
                      <a:pt x="-999" y="16117"/>
                      <a:pt x="115" y="39371"/>
                    </a:cubicBezTo>
                    <a:cubicBezTo>
                      <a:pt x="9062" y="39111"/>
                      <a:pt x="17968" y="40278"/>
                      <a:pt x="26543" y="42834"/>
                    </a:cubicBezTo>
                    <a:cubicBezTo>
                      <a:pt x="24647" y="17477"/>
                      <a:pt x="16071" y="9603"/>
                      <a:pt x="13886" y="4366"/>
                    </a:cubicBezTo>
                    <a:cubicBezTo>
                      <a:pt x="13309" y="2948"/>
                      <a:pt x="13391" y="1336"/>
                      <a:pt x="14133" y="-4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</a:lstStyle>
              <a:p>
                <a:pPr marL="0" marR="0" lvl="0" indent="0" algn="l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74CA10E6-D456-0E21-2898-24F825EFB57A}"/>
                  </a:ext>
                </a:extLst>
              </p:cNvPr>
              <p:cNvSpPr/>
              <p:nvPr>
                <p:custDataLst>
                  <p:tags r:id="rId483"/>
                </p:custDataLst>
              </p:nvPr>
            </p:nvSpPr>
            <p:spPr>
              <a:xfrm>
                <a:off x="6812808" y="3390560"/>
                <a:ext cx="132407" cy="106681"/>
              </a:xfrm>
              <a:custGeom>
                <a:avLst/>
                <a:gdLst>
                  <a:gd name="connsiteX0" fmla="*/ 5072 w 154609"/>
                  <a:gd name="connsiteY0" fmla="*/ 32834 h 124569"/>
                  <a:gd name="connsiteX1" fmla="*/ 19297 w 154609"/>
                  <a:gd name="connsiteY1" fmla="*/ 50357 h 124569"/>
                  <a:gd name="connsiteX2" fmla="*/ 39912 w 154609"/>
                  <a:gd name="connsiteY2" fmla="*/ 64746 h 124569"/>
                  <a:gd name="connsiteX3" fmla="*/ 64650 w 154609"/>
                  <a:gd name="connsiteY3" fmla="*/ 82228 h 124569"/>
                  <a:gd name="connsiteX4" fmla="*/ 76194 w 154609"/>
                  <a:gd name="connsiteY4" fmla="*/ 97690 h 124569"/>
                  <a:gd name="connsiteX5" fmla="*/ 93965 w 154609"/>
                  <a:gd name="connsiteY5" fmla="*/ 87382 h 124569"/>
                  <a:gd name="connsiteX6" fmla="*/ 105509 w 154609"/>
                  <a:gd name="connsiteY6" fmla="*/ 108987 h 124569"/>
                  <a:gd name="connsiteX7" fmla="*/ 126124 w 154609"/>
                  <a:gd name="connsiteY7" fmla="*/ 124407 h 124569"/>
                  <a:gd name="connsiteX8" fmla="*/ 132515 w 154609"/>
                  <a:gd name="connsiteY8" fmla="*/ 123747 h 124569"/>
                  <a:gd name="connsiteX9" fmla="*/ 146534 w 154609"/>
                  <a:gd name="connsiteY9" fmla="*/ 84372 h 124569"/>
                  <a:gd name="connsiteX10" fmla="*/ 154532 w 154609"/>
                  <a:gd name="connsiteY10" fmla="*/ 70931 h 124569"/>
                  <a:gd name="connsiteX11" fmla="*/ 143854 w 154609"/>
                  <a:gd name="connsiteY11" fmla="*/ 42070 h 124569"/>
                  <a:gd name="connsiteX12" fmla="*/ 143854 w 154609"/>
                  <a:gd name="connsiteY12" fmla="*/ 40585 h 124569"/>
                  <a:gd name="connsiteX13" fmla="*/ 135072 w 154609"/>
                  <a:gd name="connsiteY13" fmla="*/ 31762 h 124569"/>
                  <a:gd name="connsiteX14" fmla="*/ 106210 w 154609"/>
                  <a:gd name="connsiteY14" fmla="*/ 8755 h 124569"/>
                  <a:gd name="connsiteX15" fmla="*/ 79039 w 154609"/>
                  <a:gd name="connsiteY15" fmla="*/ 4632 h 124569"/>
                  <a:gd name="connsiteX16" fmla="*/ 41025 w 154609"/>
                  <a:gd name="connsiteY16" fmla="*/ 19269 h 124569"/>
                  <a:gd name="connsiteX17" fmla="*/ 26759 w 154609"/>
                  <a:gd name="connsiteY17" fmla="*/ 13456 h 124569"/>
                  <a:gd name="connsiteX18" fmla="*/ 1 w 154609"/>
                  <a:gd name="connsiteY18" fmla="*/ 26732 h 124569"/>
                  <a:gd name="connsiteX19" fmla="*/ 5072 w 154609"/>
                  <a:gd name="connsiteY19" fmla="*/ 32834 h 1245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54609" h="124569">
                    <a:moveTo>
                      <a:pt x="5072" y="32834"/>
                    </a:moveTo>
                    <a:cubicBezTo>
                      <a:pt x="5979" y="40049"/>
                      <a:pt x="15750" y="57572"/>
                      <a:pt x="19297" y="50357"/>
                    </a:cubicBezTo>
                    <a:cubicBezTo>
                      <a:pt x="22842" y="43142"/>
                      <a:pt x="31666" y="59634"/>
                      <a:pt x="39912" y="64746"/>
                    </a:cubicBezTo>
                    <a:cubicBezTo>
                      <a:pt x="48158" y="69859"/>
                      <a:pt x="63866" y="76085"/>
                      <a:pt x="64650" y="82228"/>
                    </a:cubicBezTo>
                    <a:cubicBezTo>
                      <a:pt x="65433" y="88372"/>
                      <a:pt x="68196" y="101813"/>
                      <a:pt x="76194" y="97690"/>
                    </a:cubicBezTo>
                    <a:cubicBezTo>
                      <a:pt x="84193" y="93566"/>
                      <a:pt x="93965" y="79136"/>
                      <a:pt x="93965" y="87382"/>
                    </a:cubicBezTo>
                    <a:cubicBezTo>
                      <a:pt x="93965" y="95628"/>
                      <a:pt x="96645" y="111089"/>
                      <a:pt x="105509" y="108987"/>
                    </a:cubicBezTo>
                    <a:cubicBezTo>
                      <a:pt x="114374" y="106884"/>
                      <a:pt x="117054" y="126510"/>
                      <a:pt x="126124" y="124407"/>
                    </a:cubicBezTo>
                    <a:cubicBezTo>
                      <a:pt x="128227" y="124032"/>
                      <a:pt x="130371" y="123813"/>
                      <a:pt x="132515" y="123747"/>
                    </a:cubicBezTo>
                    <a:cubicBezTo>
                      <a:pt x="131402" y="100493"/>
                      <a:pt x="138617" y="89485"/>
                      <a:pt x="146534" y="84372"/>
                    </a:cubicBezTo>
                    <a:cubicBezTo>
                      <a:pt x="148348" y="80249"/>
                      <a:pt x="153667" y="76126"/>
                      <a:pt x="154532" y="70931"/>
                    </a:cubicBezTo>
                    <a:cubicBezTo>
                      <a:pt x="155728" y="64087"/>
                      <a:pt x="142699" y="50316"/>
                      <a:pt x="143854" y="42070"/>
                    </a:cubicBezTo>
                    <a:cubicBezTo>
                      <a:pt x="143854" y="41616"/>
                      <a:pt x="143854" y="41039"/>
                      <a:pt x="143854" y="40585"/>
                    </a:cubicBezTo>
                    <a:cubicBezTo>
                      <a:pt x="140720" y="37844"/>
                      <a:pt x="137793" y="34896"/>
                      <a:pt x="135072" y="31762"/>
                    </a:cubicBezTo>
                    <a:cubicBezTo>
                      <a:pt x="124228" y="19187"/>
                      <a:pt x="113343" y="17125"/>
                      <a:pt x="106210" y="8755"/>
                    </a:cubicBezTo>
                    <a:cubicBezTo>
                      <a:pt x="99077" y="386"/>
                      <a:pt x="86296" y="-3861"/>
                      <a:pt x="79039" y="4632"/>
                    </a:cubicBezTo>
                    <a:cubicBezTo>
                      <a:pt x="71783" y="13126"/>
                      <a:pt x="51910" y="19269"/>
                      <a:pt x="41025" y="19269"/>
                    </a:cubicBezTo>
                    <a:cubicBezTo>
                      <a:pt x="35953" y="18189"/>
                      <a:pt x="31130" y="16218"/>
                      <a:pt x="26759" y="13456"/>
                    </a:cubicBezTo>
                    <a:cubicBezTo>
                      <a:pt x="18678" y="19401"/>
                      <a:pt x="9607" y="23895"/>
                      <a:pt x="1" y="26732"/>
                    </a:cubicBezTo>
                    <a:cubicBezTo>
                      <a:pt x="1732" y="29577"/>
                      <a:pt x="4660" y="28092"/>
                      <a:pt x="5072" y="32834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</a:lstStyle>
              <a:p>
                <a:pPr marL="0" marR="0" lvl="0" indent="0" algn="l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E013896E-D59B-9A5D-C8FB-D662B199538C}"/>
                  </a:ext>
                </a:extLst>
              </p:cNvPr>
              <p:cNvSpPr/>
              <p:nvPr>
                <p:custDataLst>
                  <p:tags r:id="rId484"/>
                </p:custDataLst>
              </p:nvPr>
            </p:nvSpPr>
            <p:spPr>
              <a:xfrm>
                <a:off x="7633088" y="3545184"/>
                <a:ext cx="106140" cy="152621"/>
              </a:xfrm>
              <a:custGeom>
                <a:avLst/>
                <a:gdLst>
                  <a:gd name="connsiteX0" fmla="*/ 89635 w 123938"/>
                  <a:gd name="connsiteY0" fmla="*/ 45407 h 178213"/>
                  <a:gd name="connsiteX1" fmla="*/ 61186 w 123938"/>
                  <a:gd name="connsiteY1" fmla="*/ 20668 h 178213"/>
                  <a:gd name="connsiteX2" fmla="*/ 29191 w 123938"/>
                  <a:gd name="connsiteY2" fmla="*/ 53 h 178213"/>
                  <a:gd name="connsiteX3" fmla="*/ 1 w 123938"/>
                  <a:gd name="connsiteY3" fmla="*/ 8629 h 178213"/>
                  <a:gd name="connsiteX4" fmla="*/ 26388 w 123938"/>
                  <a:gd name="connsiteY4" fmla="*/ 60950 h 178213"/>
                  <a:gd name="connsiteX5" fmla="*/ 51744 w 123938"/>
                  <a:gd name="connsiteY5" fmla="*/ 125929 h 178213"/>
                  <a:gd name="connsiteX6" fmla="*/ 58671 w 123938"/>
                  <a:gd name="connsiteY6" fmla="*/ 178210 h 178213"/>
                  <a:gd name="connsiteX7" fmla="*/ 81307 w 123938"/>
                  <a:gd name="connsiteY7" fmla="*/ 137227 h 178213"/>
                  <a:gd name="connsiteX8" fmla="*/ 96686 w 123938"/>
                  <a:gd name="connsiteY8" fmla="*/ 116611 h 178213"/>
                  <a:gd name="connsiteX9" fmla="*/ 123939 w 123938"/>
                  <a:gd name="connsiteY9" fmla="*/ 122095 h 178213"/>
                  <a:gd name="connsiteX10" fmla="*/ 114497 w 123938"/>
                  <a:gd name="connsiteY10" fmla="*/ 91914 h 178213"/>
                  <a:gd name="connsiteX11" fmla="*/ 89635 w 123938"/>
                  <a:gd name="connsiteY11" fmla="*/ 45407 h 178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23938" h="178213">
                    <a:moveTo>
                      <a:pt x="89635" y="45407"/>
                    </a:moveTo>
                    <a:cubicBezTo>
                      <a:pt x="86502" y="31883"/>
                      <a:pt x="74998" y="21909"/>
                      <a:pt x="61186" y="20668"/>
                    </a:cubicBezTo>
                    <a:cubicBezTo>
                      <a:pt x="52940" y="20668"/>
                      <a:pt x="38675" y="-1266"/>
                      <a:pt x="29191" y="53"/>
                    </a:cubicBezTo>
                    <a:cubicBezTo>
                      <a:pt x="19255" y="2098"/>
                      <a:pt x="9483" y="4963"/>
                      <a:pt x="1" y="8629"/>
                    </a:cubicBezTo>
                    <a:cubicBezTo>
                      <a:pt x="10308" y="31141"/>
                      <a:pt x="21316" y="53982"/>
                      <a:pt x="26388" y="60950"/>
                    </a:cubicBezTo>
                    <a:cubicBezTo>
                      <a:pt x="37231" y="75628"/>
                      <a:pt x="60774" y="115457"/>
                      <a:pt x="51744" y="125929"/>
                    </a:cubicBezTo>
                    <a:cubicBezTo>
                      <a:pt x="44653" y="134176"/>
                      <a:pt x="47621" y="167820"/>
                      <a:pt x="58671" y="178210"/>
                    </a:cubicBezTo>
                    <a:cubicBezTo>
                      <a:pt x="63825" y="170417"/>
                      <a:pt x="81307" y="144937"/>
                      <a:pt x="81307" y="137227"/>
                    </a:cubicBezTo>
                    <a:cubicBezTo>
                      <a:pt x="81307" y="129517"/>
                      <a:pt x="82502" y="112488"/>
                      <a:pt x="96686" y="116611"/>
                    </a:cubicBezTo>
                    <a:cubicBezTo>
                      <a:pt x="110869" y="120734"/>
                      <a:pt x="123939" y="127620"/>
                      <a:pt x="123939" y="122095"/>
                    </a:cubicBezTo>
                    <a:cubicBezTo>
                      <a:pt x="123939" y="116570"/>
                      <a:pt x="120393" y="98800"/>
                      <a:pt x="114497" y="91914"/>
                    </a:cubicBezTo>
                    <a:cubicBezTo>
                      <a:pt x="103489" y="78024"/>
                      <a:pt x="95078" y="62274"/>
                      <a:pt x="89635" y="45407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</a:lstStyle>
              <a:p>
                <a:pPr marL="0" marR="0" lvl="0" indent="0" algn="l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EA2F3F2B-9974-514C-95D5-E62A8637AD66}"/>
                  </a:ext>
                </a:extLst>
              </p:cNvPr>
              <p:cNvSpPr/>
              <p:nvPr>
                <p:custDataLst>
                  <p:tags r:id="rId485"/>
                </p:custDataLst>
              </p:nvPr>
            </p:nvSpPr>
            <p:spPr>
              <a:xfrm>
                <a:off x="7416228" y="3848684"/>
                <a:ext cx="92276" cy="76481"/>
              </a:xfrm>
              <a:custGeom>
                <a:avLst/>
                <a:gdLst>
                  <a:gd name="connsiteX0" fmla="*/ 24476 w 107750"/>
                  <a:gd name="connsiteY0" fmla="*/ 89301 h 89305"/>
                  <a:gd name="connsiteX1" fmla="*/ 24476 w 107750"/>
                  <a:gd name="connsiteY1" fmla="*/ 89301 h 89305"/>
                  <a:gd name="connsiteX2" fmla="*/ 26001 w 107750"/>
                  <a:gd name="connsiteY2" fmla="*/ 88476 h 89305"/>
                  <a:gd name="connsiteX3" fmla="*/ 26331 w 107750"/>
                  <a:gd name="connsiteY3" fmla="*/ 88476 h 89305"/>
                  <a:gd name="connsiteX4" fmla="*/ 28557 w 107750"/>
                  <a:gd name="connsiteY4" fmla="*/ 88146 h 89305"/>
                  <a:gd name="connsiteX5" fmla="*/ 28888 w 107750"/>
                  <a:gd name="connsiteY5" fmla="*/ 88146 h 89305"/>
                  <a:gd name="connsiteX6" fmla="*/ 41752 w 107750"/>
                  <a:gd name="connsiteY6" fmla="*/ 87858 h 89305"/>
                  <a:gd name="connsiteX7" fmla="*/ 42700 w 107750"/>
                  <a:gd name="connsiteY7" fmla="*/ 87858 h 89305"/>
                  <a:gd name="connsiteX8" fmla="*/ 45875 w 107750"/>
                  <a:gd name="connsiteY8" fmla="*/ 87611 h 89305"/>
                  <a:gd name="connsiteX9" fmla="*/ 47111 w 107750"/>
                  <a:gd name="connsiteY9" fmla="*/ 87611 h 89305"/>
                  <a:gd name="connsiteX10" fmla="*/ 51234 w 107750"/>
                  <a:gd name="connsiteY10" fmla="*/ 86786 h 89305"/>
                  <a:gd name="connsiteX11" fmla="*/ 69871 w 107750"/>
                  <a:gd name="connsiteY11" fmla="*/ 73386 h 89305"/>
                  <a:gd name="connsiteX12" fmla="*/ 106978 w 107750"/>
                  <a:gd name="connsiteY12" fmla="*/ 53513 h 89305"/>
                  <a:gd name="connsiteX13" fmla="*/ 107720 w 107750"/>
                  <a:gd name="connsiteY13" fmla="*/ 51410 h 89305"/>
                  <a:gd name="connsiteX14" fmla="*/ 99845 w 107750"/>
                  <a:gd name="connsiteY14" fmla="*/ 38422 h 89305"/>
                  <a:gd name="connsiteX15" fmla="*/ 77663 w 107750"/>
                  <a:gd name="connsiteY15" fmla="*/ 8572 h 89305"/>
                  <a:gd name="connsiteX16" fmla="*/ 76756 w 107750"/>
                  <a:gd name="connsiteY16" fmla="*/ 5397 h 89305"/>
                  <a:gd name="connsiteX17" fmla="*/ 76756 w 107750"/>
                  <a:gd name="connsiteY17" fmla="*/ 5026 h 89305"/>
                  <a:gd name="connsiteX18" fmla="*/ 76756 w 107750"/>
                  <a:gd name="connsiteY18" fmla="*/ -4 h 89305"/>
                  <a:gd name="connsiteX19" fmla="*/ 7778 w 107750"/>
                  <a:gd name="connsiteY19" fmla="*/ 14591 h 89305"/>
                  <a:gd name="connsiteX20" fmla="*/ 5386 w 107750"/>
                  <a:gd name="connsiteY20" fmla="*/ 12653 h 89305"/>
                  <a:gd name="connsiteX21" fmla="*/ 1057 w 107750"/>
                  <a:gd name="connsiteY21" fmla="*/ 60811 h 89305"/>
                  <a:gd name="connsiteX22" fmla="*/ 24476 w 107750"/>
                  <a:gd name="connsiteY22" fmla="*/ 89301 h 893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07750" h="89305">
                    <a:moveTo>
                      <a:pt x="24476" y="89301"/>
                    </a:moveTo>
                    <a:lnTo>
                      <a:pt x="24476" y="89301"/>
                    </a:lnTo>
                    <a:cubicBezTo>
                      <a:pt x="24930" y="88913"/>
                      <a:pt x="25424" y="88633"/>
                      <a:pt x="26001" y="88476"/>
                    </a:cubicBezTo>
                    <a:cubicBezTo>
                      <a:pt x="26001" y="88476"/>
                      <a:pt x="26001" y="88476"/>
                      <a:pt x="26331" y="88476"/>
                    </a:cubicBezTo>
                    <a:cubicBezTo>
                      <a:pt x="27073" y="88311"/>
                      <a:pt x="27816" y="88200"/>
                      <a:pt x="28557" y="88146"/>
                    </a:cubicBezTo>
                    <a:lnTo>
                      <a:pt x="28888" y="88146"/>
                    </a:lnTo>
                    <a:cubicBezTo>
                      <a:pt x="32351" y="87775"/>
                      <a:pt x="37134" y="88146"/>
                      <a:pt x="41752" y="87858"/>
                    </a:cubicBezTo>
                    <a:lnTo>
                      <a:pt x="42700" y="87858"/>
                    </a:lnTo>
                    <a:cubicBezTo>
                      <a:pt x="43772" y="87858"/>
                      <a:pt x="44803" y="87858"/>
                      <a:pt x="45875" y="87611"/>
                    </a:cubicBezTo>
                    <a:lnTo>
                      <a:pt x="47111" y="87611"/>
                    </a:lnTo>
                    <a:cubicBezTo>
                      <a:pt x="48513" y="87429"/>
                      <a:pt x="49874" y="87157"/>
                      <a:pt x="51234" y="86786"/>
                    </a:cubicBezTo>
                    <a:cubicBezTo>
                      <a:pt x="61872" y="83694"/>
                      <a:pt x="64552" y="70294"/>
                      <a:pt x="69871" y="73386"/>
                    </a:cubicBezTo>
                    <a:cubicBezTo>
                      <a:pt x="75189" y="76478"/>
                      <a:pt x="103639" y="59697"/>
                      <a:pt x="106978" y="53513"/>
                    </a:cubicBezTo>
                    <a:cubicBezTo>
                      <a:pt x="107391" y="52882"/>
                      <a:pt x="107638" y="52160"/>
                      <a:pt x="107720" y="51410"/>
                    </a:cubicBezTo>
                    <a:cubicBezTo>
                      <a:pt x="108298" y="46668"/>
                      <a:pt x="100670" y="43865"/>
                      <a:pt x="99845" y="38422"/>
                    </a:cubicBezTo>
                    <a:cubicBezTo>
                      <a:pt x="98979" y="32279"/>
                      <a:pt x="80343" y="11664"/>
                      <a:pt x="77663" y="8572"/>
                    </a:cubicBezTo>
                    <a:cubicBezTo>
                      <a:pt x="77086" y="7619"/>
                      <a:pt x="76756" y="6518"/>
                      <a:pt x="76756" y="5397"/>
                    </a:cubicBezTo>
                    <a:cubicBezTo>
                      <a:pt x="76756" y="5397"/>
                      <a:pt x="76756" y="5150"/>
                      <a:pt x="76756" y="5026"/>
                    </a:cubicBezTo>
                    <a:cubicBezTo>
                      <a:pt x="76674" y="3352"/>
                      <a:pt x="76674" y="1670"/>
                      <a:pt x="76756" y="-4"/>
                    </a:cubicBezTo>
                    <a:cubicBezTo>
                      <a:pt x="48967" y="4655"/>
                      <a:pt x="7778" y="14591"/>
                      <a:pt x="7778" y="14591"/>
                    </a:cubicBezTo>
                    <a:lnTo>
                      <a:pt x="5386" y="12653"/>
                    </a:lnTo>
                    <a:cubicBezTo>
                      <a:pt x="1263" y="28321"/>
                      <a:pt x="-1664" y="49761"/>
                      <a:pt x="1057" y="60811"/>
                    </a:cubicBezTo>
                    <a:cubicBezTo>
                      <a:pt x="3778" y="71860"/>
                      <a:pt x="12437" y="78787"/>
                      <a:pt x="24476" y="89301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</a:lstStyle>
              <a:p>
                <a:pPr marL="0" marR="0" lvl="0" indent="0" algn="l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78E56594-8A20-26B3-93BE-B5CC2E6B7050}"/>
                  </a:ext>
                </a:extLst>
              </p:cNvPr>
              <p:cNvSpPr/>
              <p:nvPr>
                <p:custDataLst>
                  <p:tags r:id="rId486"/>
                </p:custDataLst>
              </p:nvPr>
            </p:nvSpPr>
            <p:spPr>
              <a:xfrm>
                <a:off x="7510280" y="3130204"/>
                <a:ext cx="321318" cy="265150"/>
              </a:xfrm>
              <a:custGeom>
                <a:avLst/>
                <a:gdLst>
                  <a:gd name="connsiteX0" fmla="*/ 352645 w 375197"/>
                  <a:gd name="connsiteY0" fmla="*/ 153744 h 309611"/>
                  <a:gd name="connsiteX1" fmla="*/ 329555 w 375197"/>
                  <a:gd name="connsiteY1" fmla="*/ 128016 h 309611"/>
                  <a:gd name="connsiteX2" fmla="*/ 310878 w 375197"/>
                  <a:gd name="connsiteY2" fmla="*/ 99155 h 309611"/>
                  <a:gd name="connsiteX3" fmla="*/ 306425 w 375197"/>
                  <a:gd name="connsiteY3" fmla="*/ 66171 h 309611"/>
                  <a:gd name="connsiteX4" fmla="*/ 302879 w 375197"/>
                  <a:gd name="connsiteY4" fmla="*/ 34300 h 309611"/>
                  <a:gd name="connsiteX5" fmla="*/ 265772 w 375197"/>
                  <a:gd name="connsiteY5" fmla="*/ 21930 h 309611"/>
                  <a:gd name="connsiteX6" fmla="*/ 244415 w 375197"/>
                  <a:gd name="connsiteY6" fmla="*/ 21930 h 309611"/>
                  <a:gd name="connsiteX7" fmla="*/ 223800 w 375197"/>
                  <a:gd name="connsiteY7" fmla="*/ 10592 h 309611"/>
                  <a:gd name="connsiteX8" fmla="*/ 202442 w 375197"/>
                  <a:gd name="connsiteY8" fmla="*/ 3377 h 309611"/>
                  <a:gd name="connsiteX9" fmla="*/ 200422 w 375197"/>
                  <a:gd name="connsiteY9" fmla="*/ -4 h 309611"/>
                  <a:gd name="connsiteX10" fmla="*/ 188053 w 375197"/>
                  <a:gd name="connsiteY10" fmla="*/ 5768 h 309611"/>
                  <a:gd name="connsiteX11" fmla="*/ 172632 w 375197"/>
                  <a:gd name="connsiteY11" fmla="*/ 22260 h 309611"/>
                  <a:gd name="connsiteX12" fmla="*/ 145420 w 375197"/>
                  <a:gd name="connsiteY12" fmla="*/ 26383 h 309611"/>
                  <a:gd name="connsiteX13" fmla="*/ 134741 w 375197"/>
                  <a:gd name="connsiteY13" fmla="*/ 51122 h 309611"/>
                  <a:gd name="connsiteX14" fmla="*/ 130000 w 375197"/>
                  <a:gd name="connsiteY14" fmla="*/ 68975 h 309611"/>
                  <a:gd name="connsiteX15" fmla="*/ 116971 w 375197"/>
                  <a:gd name="connsiteY15" fmla="*/ 81344 h 309611"/>
                  <a:gd name="connsiteX16" fmla="*/ 96810 w 375197"/>
                  <a:gd name="connsiteY16" fmla="*/ 103278 h 309611"/>
                  <a:gd name="connsiteX17" fmla="*/ 90913 w 375197"/>
                  <a:gd name="connsiteY17" fmla="*/ 125254 h 309611"/>
                  <a:gd name="connsiteX18" fmla="*/ 64856 w 375197"/>
                  <a:gd name="connsiteY18" fmla="*/ 134819 h 309611"/>
                  <a:gd name="connsiteX19" fmla="*/ 44694 w 375197"/>
                  <a:gd name="connsiteY19" fmla="*/ 145828 h 309611"/>
                  <a:gd name="connsiteX20" fmla="*/ 15379 w 375197"/>
                  <a:gd name="connsiteY20" fmla="*/ 143395 h 309611"/>
                  <a:gd name="connsiteX21" fmla="*/ 15091 w 375197"/>
                  <a:gd name="connsiteY21" fmla="*/ 147518 h 309611"/>
                  <a:gd name="connsiteX22" fmla="*/ 21316 w 375197"/>
                  <a:gd name="connsiteY22" fmla="*/ 182482 h 309611"/>
                  <a:gd name="connsiteX23" fmla="*/ 23089 w 375197"/>
                  <a:gd name="connsiteY23" fmla="*/ 222640 h 309611"/>
                  <a:gd name="connsiteX24" fmla="*/ 1 w 375197"/>
                  <a:gd name="connsiteY24" fmla="*/ 246307 h 309611"/>
                  <a:gd name="connsiteX25" fmla="*/ 13318 w 375197"/>
                  <a:gd name="connsiteY25" fmla="*/ 269932 h 309611"/>
                  <a:gd name="connsiteX26" fmla="*/ 12617 w 375197"/>
                  <a:gd name="connsiteY26" fmla="*/ 295412 h 309611"/>
                  <a:gd name="connsiteX27" fmla="*/ 34057 w 375197"/>
                  <a:gd name="connsiteY27" fmla="*/ 289846 h 309611"/>
                  <a:gd name="connsiteX28" fmla="*/ 60114 w 375197"/>
                  <a:gd name="connsiteY28" fmla="*/ 271993 h 309611"/>
                  <a:gd name="connsiteX29" fmla="*/ 128804 w 375197"/>
                  <a:gd name="connsiteY29" fmla="*/ 281600 h 309611"/>
                  <a:gd name="connsiteX30" fmla="*/ 165541 w 375197"/>
                  <a:gd name="connsiteY30" fmla="*/ 288485 h 309611"/>
                  <a:gd name="connsiteX31" fmla="*/ 192753 w 375197"/>
                  <a:gd name="connsiteY31" fmla="*/ 292609 h 309611"/>
                  <a:gd name="connsiteX32" fmla="*/ 218852 w 375197"/>
                  <a:gd name="connsiteY32" fmla="*/ 295412 h 309611"/>
                  <a:gd name="connsiteX33" fmla="*/ 244910 w 375197"/>
                  <a:gd name="connsiteY33" fmla="*/ 304978 h 309611"/>
                  <a:gd name="connsiteX34" fmla="*/ 281604 w 375197"/>
                  <a:gd name="connsiteY34" fmla="*/ 307740 h 309611"/>
                  <a:gd name="connsiteX35" fmla="*/ 288696 w 375197"/>
                  <a:gd name="connsiteY35" fmla="*/ 292609 h 309611"/>
                  <a:gd name="connsiteX36" fmla="*/ 312445 w 375197"/>
                  <a:gd name="connsiteY36" fmla="*/ 262469 h 309611"/>
                  <a:gd name="connsiteX37" fmla="*/ 338173 w 375197"/>
                  <a:gd name="connsiteY37" fmla="*/ 256449 h 309611"/>
                  <a:gd name="connsiteX38" fmla="*/ 332235 w 375197"/>
                  <a:gd name="connsiteY38" fmla="*/ 237071 h 309611"/>
                  <a:gd name="connsiteX39" fmla="*/ 326051 w 375197"/>
                  <a:gd name="connsiteY39" fmla="*/ 193861 h 309611"/>
                  <a:gd name="connsiteX40" fmla="*/ 354459 w 375197"/>
                  <a:gd name="connsiteY40" fmla="*/ 198974 h 309611"/>
                  <a:gd name="connsiteX41" fmla="*/ 375074 w 375197"/>
                  <a:gd name="connsiteY41" fmla="*/ 177411 h 309611"/>
                  <a:gd name="connsiteX42" fmla="*/ 352645 w 375197"/>
                  <a:gd name="connsiteY42" fmla="*/ 153744 h 3096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</a:cxnLst>
                <a:rect l="l" t="t" r="r" b="b"/>
                <a:pathLst>
                  <a:path w="375197" h="309611">
                    <a:moveTo>
                      <a:pt x="352645" y="153744"/>
                    </a:moveTo>
                    <a:cubicBezTo>
                      <a:pt x="345511" y="151683"/>
                      <a:pt x="341100" y="133129"/>
                      <a:pt x="329555" y="128016"/>
                    </a:cubicBezTo>
                    <a:cubicBezTo>
                      <a:pt x="318011" y="122904"/>
                      <a:pt x="320650" y="106370"/>
                      <a:pt x="310878" y="99155"/>
                    </a:cubicBezTo>
                    <a:cubicBezTo>
                      <a:pt x="301107" y="91940"/>
                      <a:pt x="307332" y="77550"/>
                      <a:pt x="306425" y="66171"/>
                    </a:cubicBezTo>
                    <a:cubicBezTo>
                      <a:pt x="305518" y="54791"/>
                      <a:pt x="308239" y="37309"/>
                      <a:pt x="302879" y="34300"/>
                    </a:cubicBezTo>
                    <a:cubicBezTo>
                      <a:pt x="297520" y="31290"/>
                      <a:pt x="275338" y="16818"/>
                      <a:pt x="265772" y="21930"/>
                    </a:cubicBezTo>
                    <a:cubicBezTo>
                      <a:pt x="256207" y="27043"/>
                      <a:pt x="248868" y="31166"/>
                      <a:pt x="244415" y="21930"/>
                    </a:cubicBezTo>
                    <a:cubicBezTo>
                      <a:pt x="239962" y="12695"/>
                      <a:pt x="233777" y="7500"/>
                      <a:pt x="223800" y="10592"/>
                    </a:cubicBezTo>
                    <a:cubicBezTo>
                      <a:pt x="213822" y="13684"/>
                      <a:pt x="207802" y="8531"/>
                      <a:pt x="202442" y="3377"/>
                    </a:cubicBezTo>
                    <a:cubicBezTo>
                      <a:pt x="201576" y="2379"/>
                      <a:pt x="200875" y="1237"/>
                      <a:pt x="200422" y="-4"/>
                    </a:cubicBezTo>
                    <a:cubicBezTo>
                      <a:pt x="195886" y="932"/>
                      <a:pt x="191681" y="2907"/>
                      <a:pt x="188053" y="5768"/>
                    </a:cubicBezTo>
                    <a:cubicBezTo>
                      <a:pt x="182115" y="11293"/>
                      <a:pt x="180961" y="22260"/>
                      <a:pt x="172632" y="22260"/>
                    </a:cubicBezTo>
                    <a:cubicBezTo>
                      <a:pt x="164304" y="22260"/>
                      <a:pt x="154903" y="18137"/>
                      <a:pt x="145420" y="26383"/>
                    </a:cubicBezTo>
                    <a:cubicBezTo>
                      <a:pt x="135937" y="34629"/>
                      <a:pt x="133546" y="44236"/>
                      <a:pt x="134741" y="51122"/>
                    </a:cubicBezTo>
                    <a:cubicBezTo>
                      <a:pt x="135937" y="58007"/>
                      <a:pt x="137133" y="68975"/>
                      <a:pt x="130000" y="68975"/>
                    </a:cubicBezTo>
                    <a:cubicBezTo>
                      <a:pt x="122867" y="68975"/>
                      <a:pt x="124104" y="78622"/>
                      <a:pt x="116971" y="81344"/>
                    </a:cubicBezTo>
                    <a:cubicBezTo>
                      <a:pt x="109839" y="84065"/>
                      <a:pt x="98047" y="96434"/>
                      <a:pt x="96810" y="103278"/>
                    </a:cubicBezTo>
                    <a:cubicBezTo>
                      <a:pt x="95572" y="110122"/>
                      <a:pt x="95655" y="125254"/>
                      <a:pt x="90913" y="125254"/>
                    </a:cubicBezTo>
                    <a:cubicBezTo>
                      <a:pt x="86172" y="125254"/>
                      <a:pt x="69598" y="127975"/>
                      <a:pt x="64856" y="134819"/>
                    </a:cubicBezTo>
                    <a:cubicBezTo>
                      <a:pt x="60114" y="141664"/>
                      <a:pt x="54219" y="148549"/>
                      <a:pt x="44694" y="145828"/>
                    </a:cubicBezTo>
                    <a:cubicBezTo>
                      <a:pt x="35005" y="144171"/>
                      <a:pt x="25192" y="143354"/>
                      <a:pt x="15379" y="143395"/>
                    </a:cubicBezTo>
                    <a:cubicBezTo>
                      <a:pt x="15586" y="144772"/>
                      <a:pt x="15503" y="146182"/>
                      <a:pt x="15091" y="147518"/>
                    </a:cubicBezTo>
                    <a:cubicBezTo>
                      <a:pt x="10679" y="161908"/>
                      <a:pt x="14184" y="175308"/>
                      <a:pt x="21316" y="182482"/>
                    </a:cubicBezTo>
                    <a:cubicBezTo>
                      <a:pt x="28450" y="189656"/>
                      <a:pt x="31088" y="218517"/>
                      <a:pt x="23089" y="222640"/>
                    </a:cubicBezTo>
                    <a:cubicBezTo>
                      <a:pt x="15091" y="226763"/>
                      <a:pt x="1" y="239132"/>
                      <a:pt x="1" y="246307"/>
                    </a:cubicBezTo>
                    <a:cubicBezTo>
                      <a:pt x="1" y="253481"/>
                      <a:pt x="15998" y="259665"/>
                      <a:pt x="13318" y="269932"/>
                    </a:cubicBezTo>
                    <a:cubicBezTo>
                      <a:pt x="11875" y="278347"/>
                      <a:pt x="11627" y="286931"/>
                      <a:pt x="12617" y="295412"/>
                    </a:cubicBezTo>
                    <a:cubicBezTo>
                      <a:pt x="20162" y="295783"/>
                      <a:pt x="27625" y="297350"/>
                      <a:pt x="34057" y="289846"/>
                    </a:cubicBezTo>
                    <a:cubicBezTo>
                      <a:pt x="41148" y="281600"/>
                      <a:pt x="44694" y="271993"/>
                      <a:pt x="60114" y="271993"/>
                    </a:cubicBezTo>
                    <a:cubicBezTo>
                      <a:pt x="75534" y="271993"/>
                      <a:pt x="121713" y="271993"/>
                      <a:pt x="128804" y="281600"/>
                    </a:cubicBezTo>
                    <a:cubicBezTo>
                      <a:pt x="135896" y="291207"/>
                      <a:pt x="154903" y="283002"/>
                      <a:pt x="165541" y="288485"/>
                    </a:cubicBezTo>
                    <a:cubicBezTo>
                      <a:pt x="176178" y="293969"/>
                      <a:pt x="191598" y="299494"/>
                      <a:pt x="192753" y="292609"/>
                    </a:cubicBezTo>
                    <a:cubicBezTo>
                      <a:pt x="193907" y="285723"/>
                      <a:pt x="208214" y="302256"/>
                      <a:pt x="218852" y="295412"/>
                    </a:cubicBezTo>
                    <a:cubicBezTo>
                      <a:pt x="229489" y="288568"/>
                      <a:pt x="238972" y="309101"/>
                      <a:pt x="244910" y="304978"/>
                    </a:cubicBezTo>
                    <a:cubicBezTo>
                      <a:pt x="250846" y="300855"/>
                      <a:pt x="275709" y="300855"/>
                      <a:pt x="281604" y="307740"/>
                    </a:cubicBezTo>
                    <a:cubicBezTo>
                      <a:pt x="287500" y="314625"/>
                      <a:pt x="288696" y="300855"/>
                      <a:pt x="288696" y="292609"/>
                    </a:cubicBezTo>
                    <a:cubicBezTo>
                      <a:pt x="288696" y="284362"/>
                      <a:pt x="312445" y="262469"/>
                      <a:pt x="312445" y="262469"/>
                    </a:cubicBezTo>
                    <a:cubicBezTo>
                      <a:pt x="321309" y="261925"/>
                      <a:pt x="330009" y="259888"/>
                      <a:pt x="338173" y="256449"/>
                    </a:cubicBezTo>
                    <a:cubicBezTo>
                      <a:pt x="335163" y="250347"/>
                      <a:pt x="333184" y="243804"/>
                      <a:pt x="332235" y="237071"/>
                    </a:cubicBezTo>
                    <a:cubicBezTo>
                      <a:pt x="327824" y="214435"/>
                      <a:pt x="320691" y="201077"/>
                      <a:pt x="326051" y="193861"/>
                    </a:cubicBezTo>
                    <a:cubicBezTo>
                      <a:pt x="331411" y="186646"/>
                      <a:pt x="346666" y="203097"/>
                      <a:pt x="354459" y="198974"/>
                    </a:cubicBezTo>
                    <a:cubicBezTo>
                      <a:pt x="362251" y="194851"/>
                      <a:pt x="376682" y="186605"/>
                      <a:pt x="375074" y="177411"/>
                    </a:cubicBezTo>
                    <a:cubicBezTo>
                      <a:pt x="373466" y="168216"/>
                      <a:pt x="359778" y="155765"/>
                      <a:pt x="352645" y="153744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</a:lstStyle>
              <a:p>
                <a:pPr marL="0" marR="0" lvl="0" indent="0" algn="l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97300833-F233-ADE7-799A-509EFF8B9C77}"/>
                  </a:ext>
                </a:extLst>
              </p:cNvPr>
              <p:cNvSpPr/>
              <p:nvPr>
                <p:custDataLst>
                  <p:tags r:id="rId487"/>
                </p:custDataLst>
              </p:nvPr>
            </p:nvSpPr>
            <p:spPr>
              <a:xfrm>
                <a:off x="7432829" y="3023571"/>
                <a:ext cx="249054" cy="137914"/>
              </a:xfrm>
              <a:custGeom>
                <a:avLst/>
                <a:gdLst>
                  <a:gd name="connsiteX0" fmla="*/ 95467 w 290816"/>
                  <a:gd name="connsiteY0" fmla="*/ 112302 h 161040"/>
                  <a:gd name="connsiteX1" fmla="*/ 146181 w 290816"/>
                  <a:gd name="connsiteY1" fmla="*/ 112302 h 161040"/>
                  <a:gd name="connsiteX2" fmla="*/ 169723 w 290816"/>
                  <a:gd name="connsiteY2" fmla="*/ 122774 h 161040"/>
                  <a:gd name="connsiteX3" fmla="*/ 207738 w 290816"/>
                  <a:gd name="connsiteY3" fmla="*/ 145905 h 161040"/>
                  <a:gd name="connsiteX4" fmla="*/ 228023 w 290816"/>
                  <a:gd name="connsiteY4" fmla="*/ 161036 h 161040"/>
                  <a:gd name="connsiteX5" fmla="*/ 235816 w 290816"/>
                  <a:gd name="connsiteY5" fmla="*/ 151017 h 161040"/>
                  <a:gd name="connsiteX6" fmla="*/ 263028 w 290816"/>
                  <a:gd name="connsiteY6" fmla="*/ 146894 h 161040"/>
                  <a:gd name="connsiteX7" fmla="*/ 278448 w 290816"/>
                  <a:gd name="connsiteY7" fmla="*/ 130402 h 161040"/>
                  <a:gd name="connsiteX8" fmla="*/ 290817 w 290816"/>
                  <a:gd name="connsiteY8" fmla="*/ 124630 h 161040"/>
                  <a:gd name="connsiteX9" fmla="*/ 282200 w 290816"/>
                  <a:gd name="connsiteY9" fmla="*/ 96139 h 161040"/>
                  <a:gd name="connsiteX10" fmla="*/ 269831 w 290816"/>
                  <a:gd name="connsiteY10" fmla="*/ 69381 h 161040"/>
                  <a:gd name="connsiteX11" fmla="*/ 265378 w 290816"/>
                  <a:gd name="connsiteY11" fmla="*/ 43653 h 161040"/>
                  <a:gd name="connsiteX12" fmla="*/ 258616 w 290816"/>
                  <a:gd name="connsiteY12" fmla="*/ 31820 h 161040"/>
                  <a:gd name="connsiteX13" fmla="*/ 220396 w 290816"/>
                  <a:gd name="connsiteY13" fmla="*/ 28934 h 161040"/>
                  <a:gd name="connsiteX14" fmla="*/ 180113 w 290816"/>
                  <a:gd name="connsiteY14" fmla="*/ 1474 h 161040"/>
                  <a:gd name="connsiteX15" fmla="*/ 136986 w 290816"/>
                  <a:gd name="connsiteY15" fmla="*/ 2217 h 161040"/>
                  <a:gd name="connsiteX16" fmla="*/ 133358 w 290816"/>
                  <a:gd name="connsiteY16" fmla="*/ 48147 h 161040"/>
                  <a:gd name="connsiteX17" fmla="*/ 100786 w 290816"/>
                  <a:gd name="connsiteY17" fmla="*/ 65959 h 161040"/>
                  <a:gd name="connsiteX18" fmla="*/ 65245 w 290816"/>
                  <a:gd name="connsiteY18" fmla="*/ 17925 h 161040"/>
                  <a:gd name="connsiteX19" fmla="*/ 26736 w 290816"/>
                  <a:gd name="connsiteY19" fmla="*/ 38541 h 161040"/>
                  <a:gd name="connsiteX20" fmla="*/ 10738 w 290816"/>
                  <a:gd name="connsiteY20" fmla="*/ 75648 h 161040"/>
                  <a:gd name="connsiteX21" fmla="*/ 4801 w 290816"/>
                  <a:gd name="connsiteY21" fmla="*/ 119558 h 161040"/>
                  <a:gd name="connsiteX22" fmla="*/ 5791 w 290816"/>
                  <a:gd name="connsiteY22" fmla="*/ 121991 h 161040"/>
                  <a:gd name="connsiteX23" fmla="*/ 37538 w 290816"/>
                  <a:gd name="connsiteY23" fmla="*/ 112384 h 161040"/>
                  <a:gd name="connsiteX24" fmla="*/ 95467 w 290816"/>
                  <a:gd name="connsiteY24" fmla="*/ 112302 h 1610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90816" h="161040">
                    <a:moveTo>
                      <a:pt x="95467" y="112302"/>
                    </a:moveTo>
                    <a:cubicBezTo>
                      <a:pt x="106311" y="112302"/>
                      <a:pt x="131709" y="118610"/>
                      <a:pt x="146181" y="112302"/>
                    </a:cubicBezTo>
                    <a:cubicBezTo>
                      <a:pt x="160653" y="105994"/>
                      <a:pt x="160653" y="124918"/>
                      <a:pt x="169723" y="122774"/>
                    </a:cubicBezTo>
                    <a:cubicBezTo>
                      <a:pt x="178794" y="120630"/>
                      <a:pt x="196853" y="135391"/>
                      <a:pt x="207738" y="145905"/>
                    </a:cubicBezTo>
                    <a:cubicBezTo>
                      <a:pt x="214046" y="151529"/>
                      <a:pt x="220849" y="156592"/>
                      <a:pt x="228023" y="161036"/>
                    </a:cubicBezTo>
                    <a:cubicBezTo>
                      <a:pt x="229920" y="157202"/>
                      <a:pt x="232558" y="153792"/>
                      <a:pt x="235816" y="151017"/>
                    </a:cubicBezTo>
                    <a:cubicBezTo>
                      <a:pt x="245298" y="142771"/>
                      <a:pt x="254740" y="146894"/>
                      <a:pt x="263028" y="146894"/>
                    </a:cubicBezTo>
                    <a:cubicBezTo>
                      <a:pt x="271315" y="146894"/>
                      <a:pt x="272511" y="135927"/>
                      <a:pt x="278448" y="130402"/>
                    </a:cubicBezTo>
                    <a:cubicBezTo>
                      <a:pt x="282076" y="127541"/>
                      <a:pt x="286282" y="125566"/>
                      <a:pt x="290817" y="124630"/>
                    </a:cubicBezTo>
                    <a:cubicBezTo>
                      <a:pt x="287642" y="117043"/>
                      <a:pt x="287477" y="102242"/>
                      <a:pt x="282200" y="96139"/>
                    </a:cubicBezTo>
                    <a:cubicBezTo>
                      <a:pt x="275974" y="88924"/>
                      <a:pt x="267109" y="76555"/>
                      <a:pt x="269831" y="69381"/>
                    </a:cubicBezTo>
                    <a:cubicBezTo>
                      <a:pt x="273170" y="60636"/>
                      <a:pt x="271439" y="50770"/>
                      <a:pt x="265378" y="43653"/>
                    </a:cubicBezTo>
                    <a:cubicBezTo>
                      <a:pt x="262368" y="40190"/>
                      <a:pt x="260059" y="36170"/>
                      <a:pt x="258616" y="31820"/>
                    </a:cubicBezTo>
                    <a:cubicBezTo>
                      <a:pt x="244185" y="29676"/>
                      <a:pt x="224766" y="27243"/>
                      <a:pt x="220396" y="28934"/>
                    </a:cubicBezTo>
                    <a:cubicBezTo>
                      <a:pt x="213304" y="31696"/>
                      <a:pt x="184855" y="5598"/>
                      <a:pt x="180113" y="1474"/>
                    </a:cubicBezTo>
                    <a:cubicBezTo>
                      <a:pt x="177021" y="-1206"/>
                      <a:pt x="155952" y="196"/>
                      <a:pt x="136986" y="2217"/>
                    </a:cubicBezTo>
                    <a:cubicBezTo>
                      <a:pt x="126060" y="16235"/>
                      <a:pt x="133935" y="26584"/>
                      <a:pt x="133358" y="48147"/>
                    </a:cubicBezTo>
                    <a:cubicBezTo>
                      <a:pt x="132781" y="69711"/>
                      <a:pt x="112001" y="65959"/>
                      <a:pt x="100786" y="65959"/>
                    </a:cubicBezTo>
                    <a:cubicBezTo>
                      <a:pt x="89571" y="65959"/>
                      <a:pt x="71141" y="26872"/>
                      <a:pt x="65245" y="17925"/>
                    </a:cubicBezTo>
                    <a:cubicBezTo>
                      <a:pt x="59349" y="8978"/>
                      <a:pt x="40507" y="28934"/>
                      <a:pt x="26736" y="38541"/>
                    </a:cubicBezTo>
                    <a:cubicBezTo>
                      <a:pt x="12965" y="48147"/>
                      <a:pt x="20221" y="66701"/>
                      <a:pt x="10738" y="75648"/>
                    </a:cubicBezTo>
                    <a:cubicBezTo>
                      <a:pt x="1256" y="84595"/>
                      <a:pt x="-4682" y="99644"/>
                      <a:pt x="4801" y="119558"/>
                    </a:cubicBezTo>
                    <a:cubicBezTo>
                      <a:pt x="5172" y="120342"/>
                      <a:pt x="5461" y="121208"/>
                      <a:pt x="5791" y="121991"/>
                    </a:cubicBezTo>
                    <a:cubicBezTo>
                      <a:pt x="17665" y="120919"/>
                      <a:pt x="30282" y="118363"/>
                      <a:pt x="37538" y="112384"/>
                    </a:cubicBezTo>
                    <a:cubicBezTo>
                      <a:pt x="50196" y="101829"/>
                      <a:pt x="84665" y="112302"/>
                      <a:pt x="95467" y="11230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</a:lstStyle>
              <a:p>
                <a:pPr marL="0" marR="0" lvl="0" indent="0" algn="l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EF508443-8076-3659-02F4-B172954452FD}"/>
                  </a:ext>
                </a:extLst>
              </p:cNvPr>
              <p:cNvSpPr/>
              <p:nvPr>
                <p:custDataLst>
                  <p:tags r:id="rId488"/>
                </p:custDataLst>
              </p:nvPr>
            </p:nvSpPr>
            <p:spPr>
              <a:xfrm>
                <a:off x="7431649" y="3115800"/>
                <a:ext cx="196457" cy="139886"/>
              </a:xfrm>
              <a:custGeom>
                <a:avLst/>
                <a:gdLst>
                  <a:gd name="connsiteX0" fmla="*/ 29598 w 229399"/>
                  <a:gd name="connsiteY0" fmla="*/ 80020 h 163343"/>
                  <a:gd name="connsiteX1" fmla="*/ 53594 w 229399"/>
                  <a:gd name="connsiteY1" fmla="*/ 90327 h 163343"/>
                  <a:gd name="connsiteX2" fmla="*/ 75776 w 229399"/>
                  <a:gd name="connsiteY2" fmla="*/ 105706 h 163343"/>
                  <a:gd name="connsiteX3" fmla="*/ 75776 w 229399"/>
                  <a:gd name="connsiteY3" fmla="*/ 138690 h 163343"/>
                  <a:gd name="connsiteX4" fmla="*/ 107152 w 229399"/>
                  <a:gd name="connsiteY4" fmla="*/ 160295 h 163343"/>
                  <a:gd name="connsiteX5" fmla="*/ 136467 w 229399"/>
                  <a:gd name="connsiteY5" fmla="*/ 162728 h 163343"/>
                  <a:gd name="connsiteX6" fmla="*/ 156628 w 229399"/>
                  <a:gd name="connsiteY6" fmla="*/ 151719 h 163343"/>
                  <a:gd name="connsiteX7" fmla="*/ 182686 w 229399"/>
                  <a:gd name="connsiteY7" fmla="*/ 142154 h 163343"/>
                  <a:gd name="connsiteX8" fmla="*/ 188582 w 229399"/>
                  <a:gd name="connsiteY8" fmla="*/ 120178 h 163343"/>
                  <a:gd name="connsiteX9" fmla="*/ 208744 w 229399"/>
                  <a:gd name="connsiteY9" fmla="*/ 98243 h 163343"/>
                  <a:gd name="connsiteX10" fmla="*/ 221773 w 229399"/>
                  <a:gd name="connsiteY10" fmla="*/ 85874 h 163343"/>
                  <a:gd name="connsiteX11" fmla="*/ 226514 w 229399"/>
                  <a:gd name="connsiteY11" fmla="*/ 68022 h 163343"/>
                  <a:gd name="connsiteX12" fmla="*/ 229400 w 229399"/>
                  <a:gd name="connsiteY12" fmla="*/ 53385 h 163343"/>
                  <a:gd name="connsiteX13" fmla="*/ 209115 w 229399"/>
                  <a:gd name="connsiteY13" fmla="*/ 38253 h 163343"/>
                  <a:gd name="connsiteX14" fmla="*/ 171100 w 229399"/>
                  <a:gd name="connsiteY14" fmla="*/ 15123 h 163343"/>
                  <a:gd name="connsiteX15" fmla="*/ 147558 w 229399"/>
                  <a:gd name="connsiteY15" fmla="*/ 4650 h 163343"/>
                  <a:gd name="connsiteX16" fmla="*/ 96844 w 229399"/>
                  <a:gd name="connsiteY16" fmla="*/ 4650 h 163343"/>
                  <a:gd name="connsiteX17" fmla="*/ 39122 w 229399"/>
                  <a:gd name="connsiteY17" fmla="*/ 4650 h 163343"/>
                  <a:gd name="connsiteX18" fmla="*/ 7374 w 229399"/>
                  <a:gd name="connsiteY18" fmla="*/ 14257 h 163343"/>
                  <a:gd name="connsiteX19" fmla="*/ 3457 w 229399"/>
                  <a:gd name="connsiteY19" fmla="*/ 64599 h 163343"/>
                  <a:gd name="connsiteX20" fmla="*/ 5477 w 229399"/>
                  <a:gd name="connsiteY20" fmla="*/ 77505 h 163343"/>
                  <a:gd name="connsiteX21" fmla="*/ 29598 w 229399"/>
                  <a:gd name="connsiteY21" fmla="*/ 80020 h 1633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29399" h="163343">
                    <a:moveTo>
                      <a:pt x="29598" y="80020"/>
                    </a:moveTo>
                    <a:cubicBezTo>
                      <a:pt x="34009" y="87235"/>
                      <a:pt x="48233" y="93420"/>
                      <a:pt x="53594" y="90327"/>
                    </a:cubicBezTo>
                    <a:cubicBezTo>
                      <a:pt x="58954" y="87235"/>
                      <a:pt x="75776" y="97501"/>
                      <a:pt x="75776" y="105706"/>
                    </a:cubicBezTo>
                    <a:cubicBezTo>
                      <a:pt x="75776" y="113911"/>
                      <a:pt x="71323" y="138690"/>
                      <a:pt x="75776" y="138690"/>
                    </a:cubicBezTo>
                    <a:cubicBezTo>
                      <a:pt x="80228" y="138690"/>
                      <a:pt x="105379" y="147885"/>
                      <a:pt x="107152" y="160295"/>
                    </a:cubicBezTo>
                    <a:cubicBezTo>
                      <a:pt x="116965" y="160254"/>
                      <a:pt x="126778" y="161071"/>
                      <a:pt x="136467" y="162728"/>
                    </a:cubicBezTo>
                    <a:cubicBezTo>
                      <a:pt x="145991" y="165449"/>
                      <a:pt x="151887" y="158605"/>
                      <a:pt x="156628" y="151719"/>
                    </a:cubicBezTo>
                    <a:cubicBezTo>
                      <a:pt x="161370" y="144834"/>
                      <a:pt x="177945" y="142154"/>
                      <a:pt x="182686" y="142154"/>
                    </a:cubicBezTo>
                    <a:cubicBezTo>
                      <a:pt x="187427" y="142154"/>
                      <a:pt x="187427" y="127063"/>
                      <a:pt x="188582" y="120178"/>
                    </a:cubicBezTo>
                    <a:cubicBezTo>
                      <a:pt x="189737" y="113293"/>
                      <a:pt x="201652" y="101006"/>
                      <a:pt x="208744" y="98243"/>
                    </a:cubicBezTo>
                    <a:cubicBezTo>
                      <a:pt x="215835" y="95481"/>
                      <a:pt x="214681" y="85874"/>
                      <a:pt x="221773" y="85874"/>
                    </a:cubicBezTo>
                    <a:cubicBezTo>
                      <a:pt x="228864" y="85874"/>
                      <a:pt x="227668" y="74907"/>
                      <a:pt x="226514" y="68022"/>
                    </a:cubicBezTo>
                    <a:cubicBezTo>
                      <a:pt x="225896" y="62958"/>
                      <a:pt x="226885" y="57825"/>
                      <a:pt x="229400" y="53385"/>
                    </a:cubicBezTo>
                    <a:cubicBezTo>
                      <a:pt x="222226" y="48940"/>
                      <a:pt x="215423" y="43877"/>
                      <a:pt x="209115" y="38253"/>
                    </a:cubicBezTo>
                    <a:cubicBezTo>
                      <a:pt x="198230" y="27739"/>
                      <a:pt x="180253" y="13020"/>
                      <a:pt x="171100" y="15123"/>
                    </a:cubicBezTo>
                    <a:cubicBezTo>
                      <a:pt x="161947" y="17226"/>
                      <a:pt x="162030" y="-1658"/>
                      <a:pt x="147558" y="4650"/>
                    </a:cubicBezTo>
                    <a:cubicBezTo>
                      <a:pt x="133086" y="10959"/>
                      <a:pt x="107688" y="4650"/>
                      <a:pt x="96844" y="4650"/>
                    </a:cubicBezTo>
                    <a:cubicBezTo>
                      <a:pt x="86001" y="4650"/>
                      <a:pt x="51491" y="-5822"/>
                      <a:pt x="39122" y="4650"/>
                    </a:cubicBezTo>
                    <a:cubicBezTo>
                      <a:pt x="31865" y="10629"/>
                      <a:pt x="19249" y="13185"/>
                      <a:pt x="7374" y="14257"/>
                    </a:cubicBezTo>
                    <a:cubicBezTo>
                      <a:pt x="15620" y="33429"/>
                      <a:pt x="12528" y="52766"/>
                      <a:pt x="3457" y="64599"/>
                    </a:cubicBezTo>
                    <a:cubicBezTo>
                      <a:pt x="-3016" y="72846"/>
                      <a:pt x="736" y="74206"/>
                      <a:pt x="5477" y="77505"/>
                    </a:cubicBezTo>
                    <a:cubicBezTo>
                      <a:pt x="15002" y="76391"/>
                      <a:pt x="26010" y="74247"/>
                      <a:pt x="29598" y="8002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</a:lstStyle>
              <a:p>
                <a:pPr marL="0" marR="0" lvl="0" indent="0" algn="l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0565FEFD-6EEA-F07F-6F66-692EF5AEA68D}"/>
                  </a:ext>
                </a:extLst>
              </p:cNvPr>
              <p:cNvSpPr/>
              <p:nvPr>
                <p:custDataLst>
                  <p:tags r:id="rId489"/>
                </p:custDataLst>
              </p:nvPr>
            </p:nvSpPr>
            <p:spPr>
              <a:xfrm>
                <a:off x="7435776" y="2248074"/>
                <a:ext cx="359120" cy="659080"/>
              </a:xfrm>
              <a:custGeom>
                <a:avLst/>
                <a:gdLst>
                  <a:gd name="connsiteX0" fmla="*/ 406491 w 419337"/>
                  <a:gd name="connsiteY0" fmla="*/ 543480 h 769594"/>
                  <a:gd name="connsiteX1" fmla="*/ 355531 w 419337"/>
                  <a:gd name="connsiteY1" fmla="*/ 498126 h 769594"/>
                  <a:gd name="connsiteX2" fmla="*/ 380269 w 419337"/>
                  <a:gd name="connsiteY2" fmla="*/ 472027 h 769594"/>
                  <a:gd name="connsiteX3" fmla="*/ 358953 w 419337"/>
                  <a:gd name="connsiteY3" fmla="*/ 447289 h 769594"/>
                  <a:gd name="connsiteX4" fmla="*/ 364890 w 419337"/>
                  <a:gd name="connsiteY4" fmla="*/ 423952 h 769594"/>
                  <a:gd name="connsiteX5" fmla="*/ 344770 w 419337"/>
                  <a:gd name="connsiteY5" fmla="*/ 408862 h 769594"/>
                  <a:gd name="connsiteX6" fmla="*/ 354211 w 419337"/>
                  <a:gd name="connsiteY6" fmla="*/ 395174 h 769594"/>
                  <a:gd name="connsiteX7" fmla="*/ 348315 w 419337"/>
                  <a:gd name="connsiteY7" fmla="*/ 359468 h 769594"/>
                  <a:gd name="connsiteX8" fmla="*/ 361344 w 419337"/>
                  <a:gd name="connsiteY8" fmla="*/ 332050 h 769594"/>
                  <a:gd name="connsiteX9" fmla="*/ 323412 w 419337"/>
                  <a:gd name="connsiteY9" fmla="*/ 261958 h 769594"/>
                  <a:gd name="connsiteX10" fmla="*/ 335286 w 419337"/>
                  <a:gd name="connsiteY10" fmla="*/ 234540 h 769594"/>
                  <a:gd name="connsiteX11" fmla="*/ 360025 w 419337"/>
                  <a:gd name="connsiteY11" fmla="*/ 200236 h 769594"/>
                  <a:gd name="connsiteX12" fmla="*/ 331576 w 419337"/>
                  <a:gd name="connsiteY12" fmla="*/ 165932 h 769594"/>
                  <a:gd name="connsiteX13" fmla="*/ 306837 w 419337"/>
                  <a:gd name="connsiteY13" fmla="*/ 149440 h 769594"/>
                  <a:gd name="connsiteX14" fmla="*/ 300900 w 419337"/>
                  <a:gd name="connsiteY14" fmla="*/ 123382 h 769594"/>
                  <a:gd name="connsiteX15" fmla="*/ 306837 w 419337"/>
                  <a:gd name="connsiteY15" fmla="*/ 98644 h 769594"/>
                  <a:gd name="connsiteX16" fmla="*/ 322175 w 419337"/>
                  <a:gd name="connsiteY16" fmla="*/ 84956 h 769594"/>
                  <a:gd name="connsiteX17" fmla="*/ 331040 w 419337"/>
                  <a:gd name="connsiteY17" fmla="*/ 68051 h 769594"/>
                  <a:gd name="connsiteX18" fmla="*/ 331040 w 419337"/>
                  <a:gd name="connsiteY18" fmla="*/ 42200 h 769594"/>
                  <a:gd name="connsiteX19" fmla="*/ 289191 w 419337"/>
                  <a:gd name="connsiteY19" fmla="*/ 9215 h 769594"/>
                  <a:gd name="connsiteX20" fmla="*/ 256825 w 419337"/>
                  <a:gd name="connsiteY20" fmla="*/ 9215 h 769594"/>
                  <a:gd name="connsiteX21" fmla="*/ 216873 w 419337"/>
                  <a:gd name="connsiteY21" fmla="*/ 20265 h 769594"/>
                  <a:gd name="connsiteX22" fmla="*/ 192134 w 419337"/>
                  <a:gd name="connsiteY22" fmla="*/ 51105 h 769594"/>
                  <a:gd name="connsiteX23" fmla="*/ 184507 w 419337"/>
                  <a:gd name="connsiteY23" fmla="*/ 90810 h 769594"/>
                  <a:gd name="connsiteX24" fmla="*/ 167396 w 419337"/>
                  <a:gd name="connsiteY24" fmla="*/ 117239 h 769594"/>
                  <a:gd name="connsiteX25" fmla="*/ 144554 w 419337"/>
                  <a:gd name="connsiteY25" fmla="*/ 110601 h 769594"/>
                  <a:gd name="connsiteX26" fmla="*/ 114085 w 419337"/>
                  <a:gd name="connsiteY26" fmla="*/ 108375 h 769594"/>
                  <a:gd name="connsiteX27" fmla="*/ 70339 w 419337"/>
                  <a:gd name="connsiteY27" fmla="*/ 106189 h 769594"/>
                  <a:gd name="connsiteX28" fmla="*/ 26553 w 419337"/>
                  <a:gd name="connsiteY28" fmla="*/ 68711 h 769594"/>
                  <a:gd name="connsiteX29" fmla="*/ 1 w 419337"/>
                  <a:gd name="connsiteY29" fmla="*/ 91346 h 769594"/>
                  <a:gd name="connsiteX30" fmla="*/ 43705 w 419337"/>
                  <a:gd name="connsiteY30" fmla="*/ 128248 h 769594"/>
                  <a:gd name="connsiteX31" fmla="*/ 100809 w 419337"/>
                  <a:gd name="connsiteY31" fmla="*/ 167911 h 769594"/>
                  <a:gd name="connsiteX32" fmla="*/ 102664 w 419337"/>
                  <a:gd name="connsiteY32" fmla="*/ 212028 h 769594"/>
                  <a:gd name="connsiteX33" fmla="*/ 112230 w 419337"/>
                  <a:gd name="connsiteY33" fmla="*/ 253877 h 769594"/>
                  <a:gd name="connsiteX34" fmla="*/ 110292 w 419337"/>
                  <a:gd name="connsiteY34" fmla="*/ 293541 h 769594"/>
                  <a:gd name="connsiteX35" fmla="*/ 117961 w 419337"/>
                  <a:gd name="connsiteY35" fmla="*/ 317743 h 769594"/>
                  <a:gd name="connsiteX36" fmla="*/ 123568 w 419337"/>
                  <a:gd name="connsiteY36" fmla="*/ 340626 h 769594"/>
                  <a:gd name="connsiteX37" fmla="*/ 155810 w 419337"/>
                  <a:gd name="connsiteY37" fmla="*/ 356005 h 769594"/>
                  <a:gd name="connsiteX38" fmla="*/ 169994 w 419337"/>
                  <a:gd name="connsiteY38" fmla="*/ 391628 h 769594"/>
                  <a:gd name="connsiteX39" fmla="*/ 162902 w 419337"/>
                  <a:gd name="connsiteY39" fmla="*/ 408120 h 769594"/>
                  <a:gd name="connsiteX40" fmla="*/ 140967 w 419337"/>
                  <a:gd name="connsiteY40" fmla="*/ 428735 h 769594"/>
                  <a:gd name="connsiteX41" fmla="*/ 100108 w 419337"/>
                  <a:gd name="connsiteY41" fmla="*/ 475367 h 769594"/>
                  <a:gd name="connsiteX42" fmla="*/ 76400 w 419337"/>
                  <a:gd name="connsiteY42" fmla="*/ 496642 h 769594"/>
                  <a:gd name="connsiteX43" fmla="*/ 59125 w 419337"/>
                  <a:gd name="connsiteY43" fmla="*/ 507939 h 769594"/>
                  <a:gd name="connsiteX44" fmla="*/ 55579 w 419337"/>
                  <a:gd name="connsiteY44" fmla="*/ 516185 h 769594"/>
                  <a:gd name="connsiteX45" fmla="*/ 55126 w 419337"/>
                  <a:gd name="connsiteY45" fmla="*/ 521875 h 769594"/>
                  <a:gd name="connsiteX46" fmla="*/ 28779 w 419337"/>
                  <a:gd name="connsiteY46" fmla="*/ 537625 h 769594"/>
                  <a:gd name="connsiteX47" fmla="*/ 23460 w 419337"/>
                  <a:gd name="connsiteY47" fmla="*/ 538779 h 769594"/>
                  <a:gd name="connsiteX48" fmla="*/ 9483 w 419337"/>
                  <a:gd name="connsiteY48" fmla="*/ 567146 h 769594"/>
                  <a:gd name="connsiteX49" fmla="*/ 10679 w 419337"/>
                  <a:gd name="connsiteY49" fmla="*/ 593904 h 769594"/>
                  <a:gd name="connsiteX50" fmla="*/ 14802 w 419337"/>
                  <a:gd name="connsiteY50" fmla="*/ 626147 h 769594"/>
                  <a:gd name="connsiteX51" fmla="*/ 21935 w 419337"/>
                  <a:gd name="connsiteY51" fmla="*/ 678262 h 769594"/>
                  <a:gd name="connsiteX52" fmla="*/ 11256 w 419337"/>
                  <a:gd name="connsiteY52" fmla="*/ 726296 h 769594"/>
                  <a:gd name="connsiteX53" fmla="*/ 48611 w 419337"/>
                  <a:gd name="connsiteY53" fmla="*/ 743447 h 769594"/>
                  <a:gd name="connsiteX54" fmla="*/ 72896 w 419337"/>
                  <a:gd name="connsiteY54" fmla="*/ 758538 h 769594"/>
                  <a:gd name="connsiteX55" fmla="*/ 116724 w 419337"/>
                  <a:gd name="connsiteY55" fmla="*/ 769505 h 769594"/>
                  <a:gd name="connsiteX56" fmla="*/ 241116 w 419337"/>
                  <a:gd name="connsiteY56" fmla="*/ 736521 h 769594"/>
                  <a:gd name="connsiteX57" fmla="*/ 276986 w 419337"/>
                  <a:gd name="connsiteY57" fmla="*/ 731779 h 769594"/>
                  <a:gd name="connsiteX58" fmla="*/ 296159 w 419337"/>
                  <a:gd name="connsiteY58" fmla="*/ 703578 h 769594"/>
                  <a:gd name="connsiteX59" fmla="*/ 357716 w 419337"/>
                  <a:gd name="connsiteY59" fmla="*/ 645855 h 769594"/>
                  <a:gd name="connsiteX60" fmla="*/ 416964 w 419337"/>
                  <a:gd name="connsiteY60" fmla="*/ 579886 h 769594"/>
                  <a:gd name="connsiteX61" fmla="*/ 406491 w 419337"/>
                  <a:gd name="connsiteY61" fmla="*/ 543480 h 7695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419336" h="769594">
                    <a:moveTo>
                      <a:pt x="406491" y="543480"/>
                    </a:moveTo>
                    <a:cubicBezTo>
                      <a:pt x="391071" y="522864"/>
                      <a:pt x="356767" y="509176"/>
                      <a:pt x="355531" y="498126"/>
                    </a:cubicBezTo>
                    <a:cubicBezTo>
                      <a:pt x="354294" y="487076"/>
                      <a:pt x="381629" y="485757"/>
                      <a:pt x="380269" y="472027"/>
                    </a:cubicBezTo>
                    <a:cubicBezTo>
                      <a:pt x="378908" y="458298"/>
                      <a:pt x="364931" y="458339"/>
                      <a:pt x="358953" y="447289"/>
                    </a:cubicBezTo>
                    <a:cubicBezTo>
                      <a:pt x="352974" y="436239"/>
                      <a:pt x="366085" y="429436"/>
                      <a:pt x="364890" y="423952"/>
                    </a:cubicBezTo>
                    <a:cubicBezTo>
                      <a:pt x="363694" y="418469"/>
                      <a:pt x="345924" y="415706"/>
                      <a:pt x="344770" y="408862"/>
                    </a:cubicBezTo>
                    <a:cubicBezTo>
                      <a:pt x="343615" y="402018"/>
                      <a:pt x="356644" y="403379"/>
                      <a:pt x="354211" y="395174"/>
                    </a:cubicBezTo>
                    <a:cubicBezTo>
                      <a:pt x="351779" y="386969"/>
                      <a:pt x="340028" y="371837"/>
                      <a:pt x="348315" y="359468"/>
                    </a:cubicBezTo>
                    <a:cubicBezTo>
                      <a:pt x="356603" y="347099"/>
                      <a:pt x="374414" y="359468"/>
                      <a:pt x="361344" y="332050"/>
                    </a:cubicBezTo>
                    <a:cubicBezTo>
                      <a:pt x="348274" y="304632"/>
                      <a:pt x="328359" y="270204"/>
                      <a:pt x="323412" y="261958"/>
                    </a:cubicBezTo>
                    <a:cubicBezTo>
                      <a:pt x="318465" y="253712"/>
                      <a:pt x="328195" y="239982"/>
                      <a:pt x="335286" y="234540"/>
                    </a:cubicBezTo>
                    <a:cubicBezTo>
                      <a:pt x="342378" y="229097"/>
                      <a:pt x="360025" y="208482"/>
                      <a:pt x="360025" y="200236"/>
                    </a:cubicBezTo>
                    <a:cubicBezTo>
                      <a:pt x="360025" y="191990"/>
                      <a:pt x="337513" y="170014"/>
                      <a:pt x="331576" y="165932"/>
                    </a:cubicBezTo>
                    <a:cubicBezTo>
                      <a:pt x="325639" y="161851"/>
                      <a:pt x="312610" y="163211"/>
                      <a:pt x="306837" y="149440"/>
                    </a:cubicBezTo>
                    <a:cubicBezTo>
                      <a:pt x="301065" y="135669"/>
                      <a:pt x="295004" y="131670"/>
                      <a:pt x="300900" y="123382"/>
                    </a:cubicBezTo>
                    <a:cubicBezTo>
                      <a:pt x="306796" y="115095"/>
                      <a:pt x="306837" y="106890"/>
                      <a:pt x="306837" y="98644"/>
                    </a:cubicBezTo>
                    <a:cubicBezTo>
                      <a:pt x="306837" y="90398"/>
                      <a:pt x="319866" y="97284"/>
                      <a:pt x="322175" y="84956"/>
                    </a:cubicBezTo>
                    <a:cubicBezTo>
                      <a:pt x="323701" y="78676"/>
                      <a:pt x="326752" y="72871"/>
                      <a:pt x="331040" y="68051"/>
                    </a:cubicBezTo>
                    <a:cubicBezTo>
                      <a:pt x="331534" y="59442"/>
                      <a:pt x="331534" y="50809"/>
                      <a:pt x="331040" y="42200"/>
                    </a:cubicBezTo>
                    <a:cubicBezTo>
                      <a:pt x="329143" y="28965"/>
                      <a:pt x="296777" y="24553"/>
                      <a:pt x="289191" y="9215"/>
                    </a:cubicBezTo>
                    <a:cubicBezTo>
                      <a:pt x="281604" y="-6122"/>
                      <a:pt x="262556" y="392"/>
                      <a:pt x="256825" y="9215"/>
                    </a:cubicBezTo>
                    <a:cubicBezTo>
                      <a:pt x="251094" y="18039"/>
                      <a:pt x="216873" y="7030"/>
                      <a:pt x="216873" y="20265"/>
                    </a:cubicBezTo>
                    <a:cubicBezTo>
                      <a:pt x="216873" y="33500"/>
                      <a:pt x="192134" y="35685"/>
                      <a:pt x="192134" y="51105"/>
                    </a:cubicBezTo>
                    <a:cubicBezTo>
                      <a:pt x="192134" y="66526"/>
                      <a:pt x="203555" y="92996"/>
                      <a:pt x="184507" y="90810"/>
                    </a:cubicBezTo>
                    <a:cubicBezTo>
                      <a:pt x="165458" y="88625"/>
                      <a:pt x="178817" y="99593"/>
                      <a:pt x="167396" y="117239"/>
                    </a:cubicBezTo>
                    <a:cubicBezTo>
                      <a:pt x="155975" y="134886"/>
                      <a:pt x="155975" y="106189"/>
                      <a:pt x="144554" y="110601"/>
                    </a:cubicBezTo>
                    <a:cubicBezTo>
                      <a:pt x="133133" y="115013"/>
                      <a:pt x="119816" y="97366"/>
                      <a:pt x="114085" y="108375"/>
                    </a:cubicBezTo>
                    <a:cubicBezTo>
                      <a:pt x="108354" y="119383"/>
                      <a:pt x="89347" y="110601"/>
                      <a:pt x="70339" y="106189"/>
                    </a:cubicBezTo>
                    <a:cubicBezTo>
                      <a:pt x="51332" y="101778"/>
                      <a:pt x="41808" y="70979"/>
                      <a:pt x="26553" y="68711"/>
                    </a:cubicBezTo>
                    <a:cubicBezTo>
                      <a:pt x="16451" y="67309"/>
                      <a:pt x="5649" y="76627"/>
                      <a:pt x="1" y="91346"/>
                    </a:cubicBezTo>
                    <a:cubicBezTo>
                      <a:pt x="14761" y="102396"/>
                      <a:pt x="24409" y="118105"/>
                      <a:pt x="43705" y="128248"/>
                    </a:cubicBezTo>
                    <a:cubicBezTo>
                      <a:pt x="64608" y="139256"/>
                      <a:pt x="102664" y="152450"/>
                      <a:pt x="100809" y="167911"/>
                    </a:cubicBezTo>
                    <a:cubicBezTo>
                      <a:pt x="98954" y="183373"/>
                      <a:pt x="93181" y="205390"/>
                      <a:pt x="102664" y="212028"/>
                    </a:cubicBezTo>
                    <a:cubicBezTo>
                      <a:pt x="112147" y="218666"/>
                      <a:pt x="100809" y="247239"/>
                      <a:pt x="112230" y="253877"/>
                    </a:cubicBezTo>
                    <a:cubicBezTo>
                      <a:pt x="123651" y="260515"/>
                      <a:pt x="119816" y="293541"/>
                      <a:pt x="110292" y="293541"/>
                    </a:cubicBezTo>
                    <a:cubicBezTo>
                      <a:pt x="100768" y="293541"/>
                      <a:pt x="112230" y="311187"/>
                      <a:pt x="117961" y="317743"/>
                    </a:cubicBezTo>
                    <a:cubicBezTo>
                      <a:pt x="120517" y="320794"/>
                      <a:pt x="122620" y="329741"/>
                      <a:pt x="123568" y="340626"/>
                    </a:cubicBezTo>
                    <a:cubicBezTo>
                      <a:pt x="135236" y="343924"/>
                      <a:pt x="145626" y="350727"/>
                      <a:pt x="155810" y="356005"/>
                    </a:cubicBezTo>
                    <a:cubicBezTo>
                      <a:pt x="171808" y="364251"/>
                      <a:pt x="169416" y="377238"/>
                      <a:pt x="169994" y="391628"/>
                    </a:cubicBezTo>
                    <a:cubicBezTo>
                      <a:pt x="170571" y="406017"/>
                      <a:pt x="171189" y="414263"/>
                      <a:pt x="162902" y="408120"/>
                    </a:cubicBezTo>
                    <a:cubicBezTo>
                      <a:pt x="154615" y="401977"/>
                      <a:pt x="145709" y="408120"/>
                      <a:pt x="140967" y="428735"/>
                    </a:cubicBezTo>
                    <a:cubicBezTo>
                      <a:pt x="136226" y="449350"/>
                      <a:pt x="113755" y="474089"/>
                      <a:pt x="100108" y="475367"/>
                    </a:cubicBezTo>
                    <a:cubicBezTo>
                      <a:pt x="86461" y="476645"/>
                      <a:pt x="87739" y="493220"/>
                      <a:pt x="76400" y="496642"/>
                    </a:cubicBezTo>
                    <a:cubicBezTo>
                      <a:pt x="69556" y="498439"/>
                      <a:pt x="63495" y="502402"/>
                      <a:pt x="59125" y="507939"/>
                    </a:cubicBezTo>
                    <a:cubicBezTo>
                      <a:pt x="58218" y="510792"/>
                      <a:pt x="57022" y="513555"/>
                      <a:pt x="55579" y="516185"/>
                    </a:cubicBezTo>
                    <a:cubicBezTo>
                      <a:pt x="55208" y="518057"/>
                      <a:pt x="55043" y="519966"/>
                      <a:pt x="55126" y="521875"/>
                    </a:cubicBezTo>
                    <a:cubicBezTo>
                      <a:pt x="55662" y="535687"/>
                      <a:pt x="39994" y="537501"/>
                      <a:pt x="28779" y="537625"/>
                    </a:cubicBezTo>
                    <a:cubicBezTo>
                      <a:pt x="27047" y="538132"/>
                      <a:pt x="25275" y="538516"/>
                      <a:pt x="23460" y="538779"/>
                    </a:cubicBezTo>
                    <a:cubicBezTo>
                      <a:pt x="16451" y="543521"/>
                      <a:pt x="17235" y="561786"/>
                      <a:pt x="9483" y="567146"/>
                    </a:cubicBezTo>
                    <a:cubicBezTo>
                      <a:pt x="619" y="573331"/>
                      <a:pt x="2392" y="581535"/>
                      <a:pt x="10679" y="593904"/>
                    </a:cubicBezTo>
                    <a:cubicBezTo>
                      <a:pt x="18966" y="606274"/>
                      <a:pt x="11875" y="617241"/>
                      <a:pt x="14802" y="626147"/>
                    </a:cubicBezTo>
                    <a:cubicBezTo>
                      <a:pt x="17729" y="635053"/>
                      <a:pt x="30841" y="655626"/>
                      <a:pt x="21935" y="678262"/>
                    </a:cubicBezTo>
                    <a:cubicBezTo>
                      <a:pt x="13029" y="700898"/>
                      <a:pt x="3588" y="729058"/>
                      <a:pt x="11256" y="726296"/>
                    </a:cubicBezTo>
                    <a:cubicBezTo>
                      <a:pt x="18925" y="723533"/>
                      <a:pt x="36736" y="744849"/>
                      <a:pt x="48611" y="743447"/>
                    </a:cubicBezTo>
                    <a:cubicBezTo>
                      <a:pt x="60485" y="742046"/>
                      <a:pt x="61640" y="762620"/>
                      <a:pt x="72896" y="758538"/>
                    </a:cubicBezTo>
                    <a:cubicBezTo>
                      <a:pt x="84152" y="754456"/>
                      <a:pt x="84110" y="770907"/>
                      <a:pt x="116724" y="769505"/>
                    </a:cubicBezTo>
                    <a:cubicBezTo>
                      <a:pt x="149337" y="768103"/>
                      <a:pt x="215017" y="736521"/>
                      <a:pt x="241116" y="736521"/>
                    </a:cubicBezTo>
                    <a:cubicBezTo>
                      <a:pt x="253238" y="736636"/>
                      <a:pt x="265318" y="735036"/>
                      <a:pt x="276986" y="731779"/>
                    </a:cubicBezTo>
                    <a:cubicBezTo>
                      <a:pt x="282511" y="721826"/>
                      <a:pt x="288943" y="712388"/>
                      <a:pt x="296159" y="703578"/>
                    </a:cubicBezTo>
                    <a:cubicBezTo>
                      <a:pt x="312651" y="684364"/>
                      <a:pt x="348274" y="670593"/>
                      <a:pt x="357716" y="645855"/>
                    </a:cubicBezTo>
                    <a:cubicBezTo>
                      <a:pt x="367157" y="621117"/>
                      <a:pt x="409831" y="602068"/>
                      <a:pt x="416964" y="579886"/>
                    </a:cubicBezTo>
                    <a:cubicBezTo>
                      <a:pt x="420675" y="569537"/>
                      <a:pt x="421870" y="564054"/>
                      <a:pt x="406491" y="54348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</a:lstStyle>
              <a:p>
                <a:pPr marL="0" marR="0" lvl="0" indent="0" algn="l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D58C8116-0C86-9B38-7EE9-5F2DB4A5D314}"/>
                  </a:ext>
                </a:extLst>
              </p:cNvPr>
              <p:cNvSpPr/>
              <p:nvPr>
                <p:custDataLst>
                  <p:tags r:id="rId490"/>
                </p:custDataLst>
              </p:nvPr>
            </p:nvSpPr>
            <p:spPr>
              <a:xfrm>
                <a:off x="6560555" y="3413422"/>
                <a:ext cx="446900" cy="438272"/>
              </a:xfrm>
              <a:custGeom>
                <a:avLst/>
                <a:gdLst>
                  <a:gd name="connsiteX0" fmla="*/ 471962 w 521837"/>
                  <a:gd name="connsiteY0" fmla="*/ 236658 h 511762"/>
                  <a:gd name="connsiteX1" fmla="*/ 492577 w 521837"/>
                  <a:gd name="connsiteY1" fmla="*/ 217074 h 511762"/>
                  <a:gd name="connsiteX2" fmla="*/ 501442 w 521837"/>
                  <a:gd name="connsiteY2" fmla="*/ 182111 h 511762"/>
                  <a:gd name="connsiteX3" fmla="*/ 517439 w 521837"/>
                  <a:gd name="connsiteY3" fmla="*/ 144055 h 511762"/>
                  <a:gd name="connsiteX4" fmla="*/ 509440 w 521837"/>
                  <a:gd name="connsiteY4" fmla="*/ 128594 h 511762"/>
                  <a:gd name="connsiteX5" fmla="*/ 488124 w 521837"/>
                  <a:gd name="connsiteY5" fmla="*/ 120348 h 511762"/>
                  <a:gd name="connsiteX6" fmla="*/ 462355 w 521837"/>
                  <a:gd name="connsiteY6" fmla="*/ 105917 h 511762"/>
                  <a:gd name="connsiteX7" fmla="*/ 420630 w 521837"/>
                  <a:gd name="connsiteY7" fmla="*/ 97671 h 511762"/>
                  <a:gd name="connsiteX8" fmla="*/ 400014 w 521837"/>
                  <a:gd name="connsiteY8" fmla="*/ 82251 h 511762"/>
                  <a:gd name="connsiteX9" fmla="*/ 388470 w 521837"/>
                  <a:gd name="connsiteY9" fmla="*/ 60646 h 511762"/>
                  <a:gd name="connsiteX10" fmla="*/ 370700 w 521837"/>
                  <a:gd name="connsiteY10" fmla="*/ 70953 h 511762"/>
                  <a:gd name="connsiteX11" fmla="*/ 359155 w 521837"/>
                  <a:gd name="connsiteY11" fmla="*/ 55492 h 511762"/>
                  <a:gd name="connsiteX12" fmla="*/ 334417 w 521837"/>
                  <a:gd name="connsiteY12" fmla="*/ 38010 h 511762"/>
                  <a:gd name="connsiteX13" fmla="*/ 313802 w 521837"/>
                  <a:gd name="connsiteY13" fmla="*/ 23621 h 511762"/>
                  <a:gd name="connsiteX14" fmla="*/ 299577 w 521837"/>
                  <a:gd name="connsiteY14" fmla="*/ 6098 h 511762"/>
                  <a:gd name="connsiteX15" fmla="*/ 294423 w 521837"/>
                  <a:gd name="connsiteY15" fmla="*/ -4 h 511762"/>
                  <a:gd name="connsiteX16" fmla="*/ 285394 w 521837"/>
                  <a:gd name="connsiteY16" fmla="*/ 985 h 511762"/>
                  <a:gd name="connsiteX17" fmla="*/ 261109 w 521837"/>
                  <a:gd name="connsiteY17" fmla="*/ 40814 h 511762"/>
                  <a:gd name="connsiteX18" fmla="*/ 219631 w 521837"/>
                  <a:gd name="connsiteY18" fmla="*/ 73015 h 511762"/>
                  <a:gd name="connsiteX19" fmla="*/ 193574 w 521837"/>
                  <a:gd name="connsiteY19" fmla="*/ 105999 h 511762"/>
                  <a:gd name="connsiteX20" fmla="*/ 143231 w 521837"/>
                  <a:gd name="connsiteY20" fmla="*/ 86167 h 511762"/>
                  <a:gd name="connsiteX21" fmla="*/ 120142 w 521837"/>
                  <a:gd name="connsiteY21" fmla="*/ 103979 h 511762"/>
                  <a:gd name="connsiteX22" fmla="*/ 125461 w 521837"/>
                  <a:gd name="connsiteY22" fmla="*/ 153455 h 511762"/>
                  <a:gd name="connsiteX23" fmla="*/ 90498 w 521837"/>
                  <a:gd name="connsiteY23" fmla="*/ 151353 h 511762"/>
                  <a:gd name="connsiteX24" fmla="*/ 66254 w 521837"/>
                  <a:gd name="connsiteY24" fmla="*/ 137705 h 511762"/>
                  <a:gd name="connsiteX25" fmla="*/ 27168 w 521837"/>
                  <a:gd name="connsiteY25" fmla="*/ 142447 h 511762"/>
                  <a:gd name="connsiteX26" fmla="*/ 2429 w 521837"/>
                  <a:gd name="connsiteY26" fmla="*/ 164423 h 511762"/>
                  <a:gd name="connsiteX27" fmla="*/ 7130 w 521837"/>
                  <a:gd name="connsiteY27" fmla="*/ 193284 h 511762"/>
                  <a:gd name="connsiteX28" fmla="*/ 30012 w 521837"/>
                  <a:gd name="connsiteY28" fmla="*/ 202272 h 511762"/>
                  <a:gd name="connsiteX29" fmla="*/ 79489 w 521837"/>
                  <a:gd name="connsiteY29" fmla="*/ 219837 h 511762"/>
                  <a:gd name="connsiteX30" fmla="*/ 95404 w 521837"/>
                  <a:gd name="connsiteY30" fmla="*/ 223960 h 511762"/>
                  <a:gd name="connsiteX31" fmla="*/ 108391 w 521837"/>
                  <a:gd name="connsiteY31" fmla="*/ 244575 h 511762"/>
                  <a:gd name="connsiteX32" fmla="*/ 108680 w 521837"/>
                  <a:gd name="connsiteY32" fmla="*/ 246925 h 511762"/>
                  <a:gd name="connsiteX33" fmla="*/ 119565 w 521837"/>
                  <a:gd name="connsiteY33" fmla="*/ 260490 h 511762"/>
                  <a:gd name="connsiteX34" fmla="*/ 127811 w 521837"/>
                  <a:gd name="connsiteY34" fmla="*/ 278508 h 511762"/>
                  <a:gd name="connsiteX35" fmla="*/ 139850 w 521837"/>
                  <a:gd name="connsiteY35" fmla="*/ 284321 h 511762"/>
                  <a:gd name="connsiteX36" fmla="*/ 150529 w 521837"/>
                  <a:gd name="connsiteY36" fmla="*/ 320686 h 511762"/>
                  <a:gd name="connsiteX37" fmla="*/ 151354 w 521837"/>
                  <a:gd name="connsiteY37" fmla="*/ 334993 h 511762"/>
                  <a:gd name="connsiteX38" fmla="*/ 157868 w 521837"/>
                  <a:gd name="connsiteY38" fmla="*/ 355609 h 511762"/>
                  <a:gd name="connsiteX39" fmla="*/ 143437 w 521837"/>
                  <a:gd name="connsiteY39" fmla="*/ 402405 h 511762"/>
                  <a:gd name="connsiteX40" fmla="*/ 125626 w 521837"/>
                  <a:gd name="connsiteY40" fmla="*/ 459798 h 511762"/>
                  <a:gd name="connsiteX41" fmla="*/ 123276 w 521837"/>
                  <a:gd name="connsiteY41" fmla="*/ 460334 h 511762"/>
                  <a:gd name="connsiteX42" fmla="*/ 146035 w 521837"/>
                  <a:gd name="connsiteY42" fmla="*/ 473404 h 511762"/>
                  <a:gd name="connsiteX43" fmla="*/ 184957 w 521837"/>
                  <a:gd name="connsiteY43" fmla="*/ 495132 h 511762"/>
                  <a:gd name="connsiteX44" fmla="*/ 216663 w 521837"/>
                  <a:gd name="connsiteY44" fmla="*/ 491752 h 511762"/>
                  <a:gd name="connsiteX45" fmla="*/ 235381 w 521837"/>
                  <a:gd name="connsiteY45" fmla="*/ 496782 h 511762"/>
                  <a:gd name="connsiteX46" fmla="*/ 282962 w 521837"/>
                  <a:gd name="connsiteY46" fmla="*/ 510140 h 511762"/>
                  <a:gd name="connsiteX47" fmla="*/ 324192 w 521837"/>
                  <a:gd name="connsiteY47" fmla="*/ 511542 h 511762"/>
                  <a:gd name="connsiteX48" fmla="*/ 321800 w 521837"/>
                  <a:gd name="connsiteY48" fmla="*/ 499626 h 511762"/>
                  <a:gd name="connsiteX49" fmla="*/ 354785 w 521837"/>
                  <a:gd name="connsiteY49" fmla="*/ 453613 h 511762"/>
                  <a:gd name="connsiteX50" fmla="*/ 428258 w 521837"/>
                  <a:gd name="connsiteY50" fmla="*/ 472126 h 511762"/>
                  <a:gd name="connsiteX51" fmla="*/ 474436 w 521837"/>
                  <a:gd name="connsiteY51" fmla="*/ 454314 h 511762"/>
                  <a:gd name="connsiteX52" fmla="*/ 499545 w 521837"/>
                  <a:gd name="connsiteY52" fmla="*/ 435389 h 511762"/>
                  <a:gd name="connsiteX53" fmla="*/ 504039 w 521837"/>
                  <a:gd name="connsiteY53" fmla="*/ 419681 h 511762"/>
                  <a:gd name="connsiteX54" fmla="*/ 485403 w 521837"/>
                  <a:gd name="connsiteY54" fmla="*/ 412465 h 511762"/>
                  <a:gd name="connsiteX55" fmla="*/ 476497 w 521837"/>
                  <a:gd name="connsiteY55" fmla="*/ 389830 h 511762"/>
                  <a:gd name="connsiteX56" fmla="*/ 464952 w 521837"/>
                  <a:gd name="connsiteY56" fmla="*/ 366164 h 511762"/>
                  <a:gd name="connsiteX57" fmla="*/ 472951 w 521837"/>
                  <a:gd name="connsiteY57" fmla="*/ 354825 h 511762"/>
                  <a:gd name="connsiteX58" fmla="*/ 480950 w 521837"/>
                  <a:gd name="connsiteY58" fmla="*/ 336354 h 511762"/>
                  <a:gd name="connsiteX59" fmla="*/ 476497 w 521837"/>
                  <a:gd name="connsiteY59" fmla="*/ 313677 h 511762"/>
                  <a:gd name="connsiteX60" fmla="*/ 469406 w 521837"/>
                  <a:gd name="connsiteY60" fmla="*/ 291041 h 511762"/>
                  <a:gd name="connsiteX61" fmla="*/ 451635 w 521837"/>
                  <a:gd name="connsiteY61" fmla="*/ 288980 h 511762"/>
                  <a:gd name="connsiteX62" fmla="*/ 446275 w 521837"/>
                  <a:gd name="connsiteY62" fmla="*/ 273560 h 511762"/>
                  <a:gd name="connsiteX63" fmla="*/ 471962 w 521837"/>
                  <a:gd name="connsiteY63" fmla="*/ 236658 h 511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21837" h="511762">
                    <a:moveTo>
                      <a:pt x="471962" y="236658"/>
                    </a:moveTo>
                    <a:cubicBezTo>
                      <a:pt x="473734" y="226351"/>
                      <a:pt x="484331" y="217074"/>
                      <a:pt x="492577" y="217074"/>
                    </a:cubicBezTo>
                    <a:cubicBezTo>
                      <a:pt x="500823" y="217074"/>
                      <a:pt x="498803" y="195469"/>
                      <a:pt x="501442" y="182111"/>
                    </a:cubicBezTo>
                    <a:cubicBezTo>
                      <a:pt x="504080" y="168752"/>
                      <a:pt x="505894" y="155352"/>
                      <a:pt x="517439" y="144055"/>
                    </a:cubicBezTo>
                    <a:cubicBezTo>
                      <a:pt x="528983" y="132758"/>
                      <a:pt x="514759" y="127563"/>
                      <a:pt x="509440" y="128594"/>
                    </a:cubicBezTo>
                    <a:cubicBezTo>
                      <a:pt x="504121" y="129624"/>
                      <a:pt x="499669" y="120348"/>
                      <a:pt x="488124" y="120348"/>
                    </a:cubicBezTo>
                    <a:cubicBezTo>
                      <a:pt x="477610" y="120323"/>
                      <a:pt x="467880" y="114864"/>
                      <a:pt x="462355" y="105917"/>
                    </a:cubicBezTo>
                    <a:cubicBezTo>
                      <a:pt x="457036" y="97671"/>
                      <a:pt x="429370" y="95651"/>
                      <a:pt x="420630" y="97671"/>
                    </a:cubicBezTo>
                    <a:cubicBezTo>
                      <a:pt x="411889" y="99691"/>
                      <a:pt x="409044" y="80189"/>
                      <a:pt x="400014" y="82251"/>
                    </a:cubicBezTo>
                    <a:cubicBezTo>
                      <a:pt x="390985" y="84312"/>
                      <a:pt x="388470" y="68892"/>
                      <a:pt x="388470" y="60646"/>
                    </a:cubicBezTo>
                    <a:cubicBezTo>
                      <a:pt x="388470" y="52400"/>
                      <a:pt x="378699" y="66830"/>
                      <a:pt x="370700" y="70953"/>
                    </a:cubicBezTo>
                    <a:cubicBezTo>
                      <a:pt x="362701" y="75077"/>
                      <a:pt x="360021" y="61677"/>
                      <a:pt x="359155" y="55492"/>
                    </a:cubicBezTo>
                    <a:cubicBezTo>
                      <a:pt x="358289" y="49308"/>
                      <a:pt x="342250" y="43123"/>
                      <a:pt x="334417" y="38010"/>
                    </a:cubicBezTo>
                    <a:cubicBezTo>
                      <a:pt x="326583" y="32898"/>
                      <a:pt x="317512" y="16405"/>
                      <a:pt x="313802" y="23621"/>
                    </a:cubicBezTo>
                    <a:cubicBezTo>
                      <a:pt x="310091" y="30836"/>
                      <a:pt x="300484" y="13313"/>
                      <a:pt x="299577" y="6098"/>
                    </a:cubicBezTo>
                    <a:cubicBezTo>
                      <a:pt x="299000" y="1356"/>
                      <a:pt x="296238" y="2841"/>
                      <a:pt x="294423" y="-4"/>
                    </a:cubicBezTo>
                    <a:cubicBezTo>
                      <a:pt x="291496" y="771"/>
                      <a:pt x="288445" y="1105"/>
                      <a:pt x="285394" y="985"/>
                    </a:cubicBezTo>
                    <a:cubicBezTo>
                      <a:pt x="271169" y="284"/>
                      <a:pt x="258718" y="13354"/>
                      <a:pt x="261109" y="40814"/>
                    </a:cubicBezTo>
                    <a:cubicBezTo>
                      <a:pt x="263500" y="68273"/>
                      <a:pt x="243916" y="70953"/>
                      <a:pt x="219631" y="73015"/>
                    </a:cubicBezTo>
                    <a:cubicBezTo>
                      <a:pt x="195347" y="75077"/>
                      <a:pt x="203675" y="97011"/>
                      <a:pt x="193574" y="105999"/>
                    </a:cubicBezTo>
                    <a:cubicBezTo>
                      <a:pt x="183472" y="114988"/>
                      <a:pt x="147973" y="101217"/>
                      <a:pt x="143231" y="86167"/>
                    </a:cubicBezTo>
                    <a:cubicBezTo>
                      <a:pt x="138490" y="71118"/>
                      <a:pt x="106536" y="86167"/>
                      <a:pt x="120142" y="103979"/>
                    </a:cubicBezTo>
                    <a:cubicBezTo>
                      <a:pt x="133748" y="121790"/>
                      <a:pt x="133171" y="146487"/>
                      <a:pt x="125461" y="153455"/>
                    </a:cubicBezTo>
                    <a:cubicBezTo>
                      <a:pt x="117751" y="160423"/>
                      <a:pt x="101176" y="142447"/>
                      <a:pt x="90498" y="151353"/>
                    </a:cubicBezTo>
                    <a:cubicBezTo>
                      <a:pt x="79819" y="160259"/>
                      <a:pt x="79283" y="143107"/>
                      <a:pt x="66254" y="137705"/>
                    </a:cubicBezTo>
                    <a:cubicBezTo>
                      <a:pt x="53225" y="132304"/>
                      <a:pt x="47865" y="144509"/>
                      <a:pt x="27168" y="142447"/>
                    </a:cubicBezTo>
                    <a:cubicBezTo>
                      <a:pt x="6470" y="140385"/>
                      <a:pt x="-5405" y="154115"/>
                      <a:pt x="2429" y="164423"/>
                    </a:cubicBezTo>
                    <a:cubicBezTo>
                      <a:pt x="10263" y="174731"/>
                      <a:pt x="1233" y="184296"/>
                      <a:pt x="7130" y="193284"/>
                    </a:cubicBezTo>
                    <a:cubicBezTo>
                      <a:pt x="10263" y="197943"/>
                      <a:pt x="19251" y="199799"/>
                      <a:pt x="30012" y="202272"/>
                    </a:cubicBezTo>
                    <a:cubicBezTo>
                      <a:pt x="48566" y="195915"/>
                      <a:pt x="69099" y="203192"/>
                      <a:pt x="79489" y="219837"/>
                    </a:cubicBezTo>
                    <a:cubicBezTo>
                      <a:pt x="85632" y="220166"/>
                      <a:pt x="89632" y="219012"/>
                      <a:pt x="95404" y="223960"/>
                    </a:cubicBezTo>
                    <a:cubicBezTo>
                      <a:pt x="105464" y="232824"/>
                      <a:pt x="107773" y="227341"/>
                      <a:pt x="108391" y="244575"/>
                    </a:cubicBezTo>
                    <a:cubicBezTo>
                      <a:pt x="108391" y="245358"/>
                      <a:pt x="108391" y="246142"/>
                      <a:pt x="108680" y="246925"/>
                    </a:cubicBezTo>
                    <a:cubicBezTo>
                      <a:pt x="113133" y="250702"/>
                      <a:pt x="116844" y="255307"/>
                      <a:pt x="119565" y="260490"/>
                    </a:cubicBezTo>
                    <a:cubicBezTo>
                      <a:pt x="122657" y="266340"/>
                      <a:pt x="125378" y="272356"/>
                      <a:pt x="127811" y="278508"/>
                    </a:cubicBezTo>
                    <a:cubicBezTo>
                      <a:pt x="131522" y="281023"/>
                      <a:pt x="135563" y="282981"/>
                      <a:pt x="139850" y="284321"/>
                    </a:cubicBezTo>
                    <a:cubicBezTo>
                      <a:pt x="159393" y="290506"/>
                      <a:pt x="144592" y="305596"/>
                      <a:pt x="150529" y="320686"/>
                    </a:cubicBezTo>
                    <a:cubicBezTo>
                      <a:pt x="152014" y="325308"/>
                      <a:pt x="152302" y="330231"/>
                      <a:pt x="151354" y="334993"/>
                    </a:cubicBezTo>
                    <a:cubicBezTo>
                      <a:pt x="154198" y="341636"/>
                      <a:pt x="156384" y="348542"/>
                      <a:pt x="157868" y="355609"/>
                    </a:cubicBezTo>
                    <a:cubicBezTo>
                      <a:pt x="161661" y="372661"/>
                      <a:pt x="156178" y="390448"/>
                      <a:pt x="143437" y="402405"/>
                    </a:cubicBezTo>
                    <a:cubicBezTo>
                      <a:pt x="140139" y="426442"/>
                      <a:pt x="132181" y="456005"/>
                      <a:pt x="125626" y="459798"/>
                    </a:cubicBezTo>
                    <a:cubicBezTo>
                      <a:pt x="124884" y="460095"/>
                      <a:pt x="124100" y="460276"/>
                      <a:pt x="123276" y="460334"/>
                    </a:cubicBezTo>
                    <a:cubicBezTo>
                      <a:pt x="132140" y="465447"/>
                      <a:pt x="141500" y="469941"/>
                      <a:pt x="146035" y="473404"/>
                    </a:cubicBezTo>
                    <a:cubicBezTo>
                      <a:pt x="154693" y="480125"/>
                      <a:pt x="173412" y="486763"/>
                      <a:pt x="184957" y="495132"/>
                    </a:cubicBezTo>
                    <a:cubicBezTo>
                      <a:pt x="196501" y="503502"/>
                      <a:pt x="216663" y="501812"/>
                      <a:pt x="216663" y="491752"/>
                    </a:cubicBezTo>
                    <a:cubicBezTo>
                      <a:pt x="216663" y="481691"/>
                      <a:pt x="228166" y="488494"/>
                      <a:pt x="235381" y="496782"/>
                    </a:cubicBezTo>
                    <a:cubicBezTo>
                      <a:pt x="242597" y="505069"/>
                      <a:pt x="270015" y="506801"/>
                      <a:pt x="282962" y="510140"/>
                    </a:cubicBezTo>
                    <a:cubicBezTo>
                      <a:pt x="293887" y="512944"/>
                      <a:pt x="309843" y="511171"/>
                      <a:pt x="324192" y="511542"/>
                    </a:cubicBezTo>
                    <a:cubicBezTo>
                      <a:pt x="323615" y="507530"/>
                      <a:pt x="322831" y="503552"/>
                      <a:pt x="321800" y="499626"/>
                    </a:cubicBezTo>
                    <a:cubicBezTo>
                      <a:pt x="314668" y="472827"/>
                      <a:pt x="335365" y="457077"/>
                      <a:pt x="354785" y="453613"/>
                    </a:cubicBezTo>
                    <a:cubicBezTo>
                      <a:pt x="374204" y="450150"/>
                      <a:pt x="416961" y="463921"/>
                      <a:pt x="428258" y="472126"/>
                    </a:cubicBezTo>
                    <a:cubicBezTo>
                      <a:pt x="439555" y="480331"/>
                      <a:pt x="454892" y="478310"/>
                      <a:pt x="474436" y="454314"/>
                    </a:cubicBezTo>
                    <a:cubicBezTo>
                      <a:pt x="484290" y="442151"/>
                      <a:pt x="492371" y="437822"/>
                      <a:pt x="499545" y="435389"/>
                    </a:cubicBezTo>
                    <a:cubicBezTo>
                      <a:pt x="500493" y="430009"/>
                      <a:pt x="501978" y="424744"/>
                      <a:pt x="504039" y="419681"/>
                    </a:cubicBezTo>
                    <a:cubicBezTo>
                      <a:pt x="506719" y="411434"/>
                      <a:pt x="494268" y="413455"/>
                      <a:pt x="485403" y="412465"/>
                    </a:cubicBezTo>
                    <a:cubicBezTo>
                      <a:pt x="476538" y="411476"/>
                      <a:pt x="470271" y="401127"/>
                      <a:pt x="476497" y="389830"/>
                    </a:cubicBezTo>
                    <a:cubicBezTo>
                      <a:pt x="482723" y="378533"/>
                      <a:pt x="471178" y="377461"/>
                      <a:pt x="464952" y="366164"/>
                    </a:cubicBezTo>
                    <a:cubicBezTo>
                      <a:pt x="458727" y="354866"/>
                      <a:pt x="467632" y="357917"/>
                      <a:pt x="472951" y="354825"/>
                    </a:cubicBezTo>
                    <a:cubicBezTo>
                      <a:pt x="478270" y="351733"/>
                      <a:pt x="485320" y="339405"/>
                      <a:pt x="480950" y="336354"/>
                    </a:cubicBezTo>
                    <a:cubicBezTo>
                      <a:pt x="476580" y="333303"/>
                      <a:pt x="472951" y="326046"/>
                      <a:pt x="476497" y="313677"/>
                    </a:cubicBezTo>
                    <a:cubicBezTo>
                      <a:pt x="480043" y="301308"/>
                      <a:pt x="469406" y="300318"/>
                      <a:pt x="469406" y="291041"/>
                    </a:cubicBezTo>
                    <a:cubicBezTo>
                      <a:pt x="469406" y="281765"/>
                      <a:pt x="459593" y="277683"/>
                      <a:pt x="451635" y="288980"/>
                    </a:cubicBezTo>
                    <a:cubicBezTo>
                      <a:pt x="443678" y="300277"/>
                      <a:pt x="440956" y="292072"/>
                      <a:pt x="446275" y="273560"/>
                    </a:cubicBezTo>
                    <a:cubicBezTo>
                      <a:pt x="451594" y="255047"/>
                      <a:pt x="470189" y="247090"/>
                      <a:pt x="471962" y="236658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</a:lstStyle>
              <a:p>
                <a:pPr marL="0" marR="0" lvl="0" indent="0" algn="l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5021C42D-3A8B-8241-C177-FD3F6E6ECD6B}"/>
                  </a:ext>
                </a:extLst>
              </p:cNvPr>
              <p:cNvSpPr/>
              <p:nvPr>
                <p:custDataLst>
                  <p:tags r:id="rId491"/>
                </p:custDataLst>
              </p:nvPr>
            </p:nvSpPr>
            <p:spPr>
              <a:xfrm>
                <a:off x="7023967" y="3822745"/>
                <a:ext cx="31199" cy="74245"/>
              </a:xfrm>
              <a:custGeom>
                <a:avLst/>
                <a:gdLst>
                  <a:gd name="connsiteX0" fmla="*/ 31570 w 36430"/>
                  <a:gd name="connsiteY0" fmla="*/ 22 h 86694"/>
                  <a:gd name="connsiteX1" fmla="*/ 6832 w 36430"/>
                  <a:gd name="connsiteY1" fmla="*/ 24760 h 86694"/>
                  <a:gd name="connsiteX2" fmla="*/ 23324 w 36430"/>
                  <a:gd name="connsiteY2" fmla="*/ 86606 h 86694"/>
                  <a:gd name="connsiteX3" fmla="*/ 31570 w 36430"/>
                  <a:gd name="connsiteY3" fmla="*/ 22 h 866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430" h="86694">
                    <a:moveTo>
                      <a:pt x="31570" y="22"/>
                    </a:moveTo>
                    <a:cubicBezTo>
                      <a:pt x="25015" y="-679"/>
                      <a:pt x="23324" y="13009"/>
                      <a:pt x="6832" y="24760"/>
                    </a:cubicBezTo>
                    <a:cubicBezTo>
                      <a:pt x="-9660" y="36510"/>
                      <a:pt x="6832" y="89079"/>
                      <a:pt x="23324" y="86606"/>
                    </a:cubicBezTo>
                    <a:cubicBezTo>
                      <a:pt x="40435" y="83472"/>
                      <a:pt x="38044" y="475"/>
                      <a:pt x="31570" y="22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</a:lstStyle>
              <a:p>
                <a:pPr marL="0" marR="0" lvl="0" indent="0" algn="l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44CB1C3F-C1EF-1837-DC70-27C8994F88C2}"/>
                  </a:ext>
                </a:extLst>
              </p:cNvPr>
              <p:cNvSpPr/>
              <p:nvPr>
                <p:custDataLst>
                  <p:tags r:id="rId492"/>
                </p:custDataLst>
              </p:nvPr>
            </p:nvSpPr>
            <p:spPr>
              <a:xfrm>
                <a:off x="6428284" y="3786751"/>
                <a:ext cx="410376" cy="361482"/>
              </a:xfrm>
              <a:custGeom>
                <a:avLst/>
                <a:gdLst>
                  <a:gd name="connsiteX0" fmla="*/ 478398 w 479188"/>
                  <a:gd name="connsiteY0" fmla="*/ 75736 h 422096"/>
                  <a:gd name="connsiteX1" fmla="*/ 437167 w 479188"/>
                  <a:gd name="connsiteY1" fmla="*/ 74334 h 422096"/>
                  <a:gd name="connsiteX2" fmla="*/ 389587 w 479188"/>
                  <a:gd name="connsiteY2" fmla="*/ 60976 h 422096"/>
                  <a:gd name="connsiteX3" fmla="*/ 371198 w 479188"/>
                  <a:gd name="connsiteY3" fmla="*/ 55946 h 422096"/>
                  <a:gd name="connsiteX4" fmla="*/ 339492 w 479188"/>
                  <a:gd name="connsiteY4" fmla="*/ 59326 h 422096"/>
                  <a:gd name="connsiteX5" fmla="*/ 300571 w 479188"/>
                  <a:gd name="connsiteY5" fmla="*/ 37598 h 422096"/>
                  <a:gd name="connsiteX6" fmla="*/ 277811 w 479188"/>
                  <a:gd name="connsiteY6" fmla="*/ 24528 h 422096"/>
                  <a:gd name="connsiteX7" fmla="*/ 208503 w 479188"/>
                  <a:gd name="connsiteY7" fmla="*/ 15746 h 422096"/>
                  <a:gd name="connsiteX8" fmla="*/ 76566 w 479188"/>
                  <a:gd name="connsiteY8" fmla="*/ 14385 h 422096"/>
                  <a:gd name="connsiteX9" fmla="*/ 27996 w 479188"/>
                  <a:gd name="connsiteY9" fmla="*/ -4 h 422096"/>
                  <a:gd name="connsiteX10" fmla="*/ 1 w 479188"/>
                  <a:gd name="connsiteY10" fmla="*/ 23332 h 422096"/>
                  <a:gd name="connsiteX11" fmla="*/ 1774 w 479188"/>
                  <a:gd name="connsiteY11" fmla="*/ 46133 h 422096"/>
                  <a:gd name="connsiteX12" fmla="*/ 17606 w 479188"/>
                  <a:gd name="connsiteY12" fmla="*/ 64522 h 422096"/>
                  <a:gd name="connsiteX13" fmla="*/ 22018 w 479188"/>
                  <a:gd name="connsiteY13" fmla="*/ 99279 h 422096"/>
                  <a:gd name="connsiteX14" fmla="*/ 21110 w 479188"/>
                  <a:gd name="connsiteY14" fmla="*/ 102165 h 422096"/>
                  <a:gd name="connsiteX15" fmla="*/ 21853 w 479188"/>
                  <a:gd name="connsiteY15" fmla="*/ 105051 h 422096"/>
                  <a:gd name="connsiteX16" fmla="*/ 42715 w 479188"/>
                  <a:gd name="connsiteY16" fmla="*/ 106082 h 422096"/>
                  <a:gd name="connsiteX17" fmla="*/ 58589 w 479188"/>
                  <a:gd name="connsiteY17" fmla="*/ 106082 h 422096"/>
                  <a:gd name="connsiteX18" fmla="*/ 83080 w 479188"/>
                  <a:gd name="connsiteY18" fmla="*/ 111071 h 422096"/>
                  <a:gd name="connsiteX19" fmla="*/ 93181 w 479188"/>
                  <a:gd name="connsiteY19" fmla="*/ 129460 h 422096"/>
                  <a:gd name="connsiteX20" fmla="*/ 67206 w 479188"/>
                  <a:gd name="connsiteY20" fmla="*/ 156136 h 422096"/>
                  <a:gd name="connsiteX21" fmla="*/ 70092 w 479188"/>
                  <a:gd name="connsiteY21" fmla="*/ 199510 h 422096"/>
                  <a:gd name="connsiteX22" fmla="*/ 62918 w 479188"/>
                  <a:gd name="connsiteY22" fmla="*/ 231216 h 422096"/>
                  <a:gd name="connsiteX23" fmla="*/ 52817 w 479188"/>
                  <a:gd name="connsiteY23" fmla="*/ 249564 h 422096"/>
                  <a:gd name="connsiteX24" fmla="*/ 64361 w 479188"/>
                  <a:gd name="connsiteY24" fmla="*/ 274632 h 422096"/>
                  <a:gd name="connsiteX25" fmla="*/ 54260 w 479188"/>
                  <a:gd name="connsiteY25" fmla="*/ 299700 h 422096"/>
                  <a:gd name="connsiteX26" fmla="*/ 62918 w 479188"/>
                  <a:gd name="connsiteY26" fmla="*/ 323037 h 422096"/>
                  <a:gd name="connsiteX27" fmla="*/ 47086 w 479188"/>
                  <a:gd name="connsiteY27" fmla="*/ 351403 h 422096"/>
                  <a:gd name="connsiteX28" fmla="*/ 52858 w 479188"/>
                  <a:gd name="connsiteY28" fmla="*/ 366535 h 422096"/>
                  <a:gd name="connsiteX29" fmla="*/ 74174 w 479188"/>
                  <a:gd name="connsiteY29" fmla="*/ 368349 h 422096"/>
                  <a:gd name="connsiteX30" fmla="*/ 122744 w 479188"/>
                  <a:gd name="connsiteY30" fmla="*/ 421948 h 422096"/>
                  <a:gd name="connsiteX31" fmla="*/ 132227 w 479188"/>
                  <a:gd name="connsiteY31" fmla="*/ 406858 h 422096"/>
                  <a:gd name="connsiteX32" fmla="*/ 155357 w 479188"/>
                  <a:gd name="connsiteY32" fmla="*/ 405498 h 422096"/>
                  <a:gd name="connsiteX33" fmla="*/ 192052 w 479188"/>
                  <a:gd name="connsiteY33" fmla="*/ 389005 h 422096"/>
                  <a:gd name="connsiteX34" fmla="*/ 242972 w 479188"/>
                  <a:gd name="connsiteY34" fmla="*/ 386944 h 422096"/>
                  <a:gd name="connsiteX35" fmla="*/ 271833 w 479188"/>
                  <a:gd name="connsiteY35" fmla="*/ 370452 h 422096"/>
                  <a:gd name="connsiteX36" fmla="*/ 303209 w 479188"/>
                  <a:gd name="connsiteY36" fmla="*/ 345713 h 422096"/>
                  <a:gd name="connsiteX37" fmla="*/ 318011 w 479188"/>
                  <a:gd name="connsiteY37" fmla="*/ 312729 h 422096"/>
                  <a:gd name="connsiteX38" fmla="*/ 347656 w 479188"/>
                  <a:gd name="connsiteY38" fmla="*/ 277065 h 422096"/>
                  <a:gd name="connsiteX39" fmla="*/ 348233 w 479188"/>
                  <a:gd name="connsiteY39" fmla="*/ 209117 h 422096"/>
                  <a:gd name="connsiteX40" fmla="*/ 381218 w 479188"/>
                  <a:gd name="connsiteY40" fmla="*/ 163763 h 422096"/>
                  <a:gd name="connsiteX41" fmla="*/ 417954 w 479188"/>
                  <a:gd name="connsiteY41" fmla="*/ 141128 h 422096"/>
                  <a:gd name="connsiteX42" fmla="*/ 461782 w 479188"/>
                  <a:gd name="connsiteY42" fmla="*/ 114410 h 422096"/>
                  <a:gd name="connsiteX43" fmla="*/ 478398 w 479188"/>
                  <a:gd name="connsiteY43" fmla="*/ 75736 h 4220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479188" h="422096">
                    <a:moveTo>
                      <a:pt x="478398" y="75736"/>
                    </a:moveTo>
                    <a:cubicBezTo>
                      <a:pt x="464132" y="75365"/>
                      <a:pt x="448176" y="77138"/>
                      <a:pt x="437167" y="74334"/>
                    </a:cubicBezTo>
                    <a:cubicBezTo>
                      <a:pt x="424221" y="70995"/>
                      <a:pt x="396802" y="69345"/>
                      <a:pt x="389587" y="60976"/>
                    </a:cubicBezTo>
                    <a:cubicBezTo>
                      <a:pt x="382372" y="52606"/>
                      <a:pt x="371198" y="46174"/>
                      <a:pt x="371198" y="55946"/>
                    </a:cubicBezTo>
                    <a:cubicBezTo>
                      <a:pt x="371198" y="65717"/>
                      <a:pt x="351037" y="67696"/>
                      <a:pt x="339492" y="59326"/>
                    </a:cubicBezTo>
                    <a:cubicBezTo>
                      <a:pt x="327948" y="50957"/>
                      <a:pt x="309229" y="44319"/>
                      <a:pt x="300571" y="37598"/>
                    </a:cubicBezTo>
                    <a:cubicBezTo>
                      <a:pt x="296035" y="34135"/>
                      <a:pt x="286676" y="29640"/>
                      <a:pt x="277811" y="24528"/>
                    </a:cubicBezTo>
                    <a:cubicBezTo>
                      <a:pt x="265772" y="27208"/>
                      <a:pt x="231263" y="12530"/>
                      <a:pt x="208503" y="15746"/>
                    </a:cubicBezTo>
                    <a:cubicBezTo>
                      <a:pt x="184218" y="19168"/>
                      <a:pt x="106622" y="11623"/>
                      <a:pt x="76566" y="14385"/>
                    </a:cubicBezTo>
                    <a:cubicBezTo>
                      <a:pt x="46509" y="17148"/>
                      <a:pt x="44571" y="-4"/>
                      <a:pt x="27996" y="-4"/>
                    </a:cubicBezTo>
                    <a:cubicBezTo>
                      <a:pt x="12782" y="-4"/>
                      <a:pt x="17441" y="19539"/>
                      <a:pt x="1" y="23332"/>
                    </a:cubicBezTo>
                    <a:cubicBezTo>
                      <a:pt x="2351" y="30692"/>
                      <a:pt x="2969" y="38497"/>
                      <a:pt x="1774" y="46133"/>
                    </a:cubicBezTo>
                    <a:cubicBezTo>
                      <a:pt x="7876" y="51509"/>
                      <a:pt x="13195" y="57694"/>
                      <a:pt x="17606" y="64522"/>
                    </a:cubicBezTo>
                    <a:cubicBezTo>
                      <a:pt x="24327" y="74376"/>
                      <a:pt x="24492" y="87982"/>
                      <a:pt x="22018" y="99279"/>
                    </a:cubicBezTo>
                    <a:cubicBezTo>
                      <a:pt x="21770" y="100260"/>
                      <a:pt x="21482" y="101225"/>
                      <a:pt x="21110" y="102165"/>
                    </a:cubicBezTo>
                    <a:cubicBezTo>
                      <a:pt x="21399" y="103113"/>
                      <a:pt x="21646" y="104078"/>
                      <a:pt x="21853" y="105051"/>
                    </a:cubicBezTo>
                    <a:cubicBezTo>
                      <a:pt x="27007" y="107648"/>
                      <a:pt x="36613" y="106082"/>
                      <a:pt x="42715" y="106082"/>
                    </a:cubicBezTo>
                    <a:cubicBezTo>
                      <a:pt x="51374" y="106082"/>
                      <a:pt x="48488" y="114328"/>
                      <a:pt x="58589" y="106082"/>
                    </a:cubicBezTo>
                    <a:cubicBezTo>
                      <a:pt x="68691" y="97836"/>
                      <a:pt x="83080" y="101052"/>
                      <a:pt x="83080" y="111071"/>
                    </a:cubicBezTo>
                    <a:cubicBezTo>
                      <a:pt x="83080" y="121090"/>
                      <a:pt x="104685" y="116060"/>
                      <a:pt x="93181" y="129460"/>
                    </a:cubicBezTo>
                    <a:cubicBezTo>
                      <a:pt x="81678" y="142859"/>
                      <a:pt x="67206" y="145952"/>
                      <a:pt x="67206" y="156136"/>
                    </a:cubicBezTo>
                    <a:cubicBezTo>
                      <a:pt x="67206" y="166320"/>
                      <a:pt x="80194" y="187800"/>
                      <a:pt x="70092" y="199510"/>
                    </a:cubicBezTo>
                    <a:cubicBezTo>
                      <a:pt x="59991" y="211220"/>
                      <a:pt x="72979" y="231216"/>
                      <a:pt x="62918" y="231216"/>
                    </a:cubicBezTo>
                    <a:cubicBezTo>
                      <a:pt x="52858" y="231216"/>
                      <a:pt x="41314" y="236246"/>
                      <a:pt x="52817" y="249564"/>
                    </a:cubicBezTo>
                    <a:cubicBezTo>
                      <a:pt x="64320" y="262881"/>
                      <a:pt x="72979" y="274632"/>
                      <a:pt x="64361" y="274632"/>
                    </a:cubicBezTo>
                    <a:cubicBezTo>
                      <a:pt x="55744" y="274632"/>
                      <a:pt x="49931" y="294670"/>
                      <a:pt x="54260" y="299700"/>
                    </a:cubicBezTo>
                    <a:cubicBezTo>
                      <a:pt x="58589" y="304730"/>
                      <a:pt x="78998" y="319697"/>
                      <a:pt x="62918" y="323037"/>
                    </a:cubicBezTo>
                    <a:cubicBezTo>
                      <a:pt x="46838" y="326376"/>
                      <a:pt x="47086" y="341384"/>
                      <a:pt x="47086" y="351403"/>
                    </a:cubicBezTo>
                    <a:cubicBezTo>
                      <a:pt x="47910" y="356804"/>
                      <a:pt x="49848" y="361966"/>
                      <a:pt x="52858" y="366535"/>
                    </a:cubicBezTo>
                    <a:cubicBezTo>
                      <a:pt x="59950" y="364531"/>
                      <a:pt x="67536" y="365178"/>
                      <a:pt x="74174" y="368349"/>
                    </a:cubicBezTo>
                    <a:cubicBezTo>
                      <a:pt x="90666" y="377255"/>
                      <a:pt x="100356" y="425041"/>
                      <a:pt x="122744" y="421948"/>
                    </a:cubicBezTo>
                    <a:cubicBezTo>
                      <a:pt x="132227" y="420546"/>
                      <a:pt x="127485" y="412342"/>
                      <a:pt x="132227" y="406858"/>
                    </a:cubicBezTo>
                    <a:cubicBezTo>
                      <a:pt x="136968" y="401374"/>
                      <a:pt x="145833" y="405498"/>
                      <a:pt x="155357" y="405498"/>
                    </a:cubicBezTo>
                    <a:cubicBezTo>
                      <a:pt x="164881" y="405498"/>
                      <a:pt x="169540" y="389706"/>
                      <a:pt x="192052" y="389005"/>
                    </a:cubicBezTo>
                    <a:cubicBezTo>
                      <a:pt x="214564" y="388304"/>
                      <a:pt x="228788" y="386243"/>
                      <a:pt x="242972" y="386944"/>
                    </a:cubicBezTo>
                    <a:cubicBezTo>
                      <a:pt x="257155" y="387645"/>
                      <a:pt x="268452" y="382120"/>
                      <a:pt x="271833" y="370452"/>
                    </a:cubicBezTo>
                    <a:cubicBezTo>
                      <a:pt x="275214" y="358783"/>
                      <a:pt x="287212" y="348476"/>
                      <a:pt x="303209" y="345713"/>
                    </a:cubicBezTo>
                    <a:cubicBezTo>
                      <a:pt x="319207" y="342951"/>
                      <a:pt x="316857" y="323737"/>
                      <a:pt x="318011" y="312729"/>
                    </a:cubicBezTo>
                    <a:cubicBezTo>
                      <a:pt x="319166" y="301720"/>
                      <a:pt x="345883" y="285269"/>
                      <a:pt x="347656" y="277065"/>
                    </a:cubicBezTo>
                    <a:cubicBezTo>
                      <a:pt x="349429" y="268860"/>
                      <a:pt x="332236" y="237236"/>
                      <a:pt x="348233" y="209117"/>
                    </a:cubicBezTo>
                    <a:cubicBezTo>
                      <a:pt x="364231" y="180998"/>
                      <a:pt x="381218" y="179678"/>
                      <a:pt x="381218" y="163763"/>
                    </a:cubicBezTo>
                    <a:cubicBezTo>
                      <a:pt x="381218" y="149333"/>
                      <a:pt x="397710" y="143931"/>
                      <a:pt x="417954" y="141128"/>
                    </a:cubicBezTo>
                    <a:cubicBezTo>
                      <a:pt x="438198" y="138324"/>
                      <a:pt x="444630" y="122615"/>
                      <a:pt x="461782" y="114410"/>
                    </a:cubicBezTo>
                    <a:cubicBezTo>
                      <a:pt x="476212" y="107607"/>
                      <a:pt x="481325" y="95279"/>
                      <a:pt x="478398" y="75736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</a:lstStyle>
              <a:p>
                <a:pPr marL="0" marR="0" lvl="0" indent="0" algn="l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2269B8C7-0A69-7498-D470-22FC2E9C1C2E}"/>
                  </a:ext>
                </a:extLst>
              </p:cNvPr>
              <p:cNvSpPr/>
              <p:nvPr>
                <p:custDataLst>
                  <p:tags r:id="rId493"/>
                </p:custDataLst>
              </p:nvPr>
            </p:nvSpPr>
            <p:spPr>
              <a:xfrm>
                <a:off x="7168838" y="3630100"/>
                <a:ext cx="115213" cy="73320"/>
              </a:xfrm>
              <a:custGeom>
                <a:avLst/>
                <a:gdLst>
                  <a:gd name="connsiteX0" fmla="*/ 287 w 134532"/>
                  <a:gd name="connsiteY0" fmla="*/ 75550 h 85614"/>
                  <a:gd name="connsiteX1" fmla="*/ 25850 w 134532"/>
                  <a:gd name="connsiteY1" fmla="*/ 71798 h 85614"/>
                  <a:gd name="connsiteX2" fmla="*/ 32859 w 134532"/>
                  <a:gd name="connsiteY2" fmla="*/ 85611 h 85614"/>
                  <a:gd name="connsiteX3" fmla="*/ 61102 w 134532"/>
                  <a:gd name="connsiteY3" fmla="*/ 79302 h 85614"/>
                  <a:gd name="connsiteX4" fmla="*/ 85840 w 134532"/>
                  <a:gd name="connsiteY4" fmla="*/ 80333 h 85614"/>
                  <a:gd name="connsiteX5" fmla="*/ 100023 w 134532"/>
                  <a:gd name="connsiteY5" fmla="*/ 59718 h 85614"/>
                  <a:gd name="connsiteX6" fmla="*/ 109795 w 134532"/>
                  <a:gd name="connsiteY6" fmla="*/ 37082 h 85614"/>
                  <a:gd name="connsiteX7" fmla="*/ 134533 w 134532"/>
                  <a:gd name="connsiteY7" fmla="*/ 17539 h 85614"/>
                  <a:gd name="connsiteX8" fmla="*/ 124762 w 134532"/>
                  <a:gd name="connsiteY8" fmla="*/ 57 h 85614"/>
                  <a:gd name="connsiteX9" fmla="*/ 97179 w 134532"/>
                  <a:gd name="connsiteY9" fmla="*/ 10324 h 85614"/>
                  <a:gd name="connsiteX10" fmla="*/ 62586 w 134532"/>
                  <a:gd name="connsiteY10" fmla="*/ 24754 h 85614"/>
                  <a:gd name="connsiteX11" fmla="*/ 18140 w 134532"/>
                  <a:gd name="connsiteY11" fmla="*/ 15478 h 85614"/>
                  <a:gd name="connsiteX12" fmla="*/ 2101 w 134532"/>
                  <a:gd name="connsiteY12" fmla="*/ 13993 h 85614"/>
                  <a:gd name="connsiteX13" fmla="*/ 287 w 134532"/>
                  <a:gd name="connsiteY13" fmla="*/ 75550 h 856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4532" h="85614">
                    <a:moveTo>
                      <a:pt x="287" y="75550"/>
                    </a:moveTo>
                    <a:cubicBezTo>
                      <a:pt x="9852" y="71097"/>
                      <a:pt x="20614" y="69325"/>
                      <a:pt x="25850" y="71798"/>
                    </a:cubicBezTo>
                    <a:cubicBezTo>
                      <a:pt x="31086" y="74272"/>
                      <a:pt x="31993" y="79591"/>
                      <a:pt x="32859" y="85611"/>
                    </a:cubicBezTo>
                    <a:cubicBezTo>
                      <a:pt x="42425" y="84250"/>
                      <a:pt x="51867" y="82143"/>
                      <a:pt x="61102" y="79302"/>
                    </a:cubicBezTo>
                    <a:cubicBezTo>
                      <a:pt x="68194" y="76210"/>
                      <a:pt x="84191" y="86518"/>
                      <a:pt x="85840" y="80333"/>
                    </a:cubicBezTo>
                    <a:cubicBezTo>
                      <a:pt x="87490" y="74148"/>
                      <a:pt x="92932" y="59718"/>
                      <a:pt x="100023" y="59718"/>
                    </a:cubicBezTo>
                    <a:cubicBezTo>
                      <a:pt x="107115" y="59718"/>
                      <a:pt x="102704" y="38113"/>
                      <a:pt x="109795" y="37082"/>
                    </a:cubicBezTo>
                    <a:cubicBezTo>
                      <a:pt x="116887" y="36052"/>
                      <a:pt x="134533" y="17539"/>
                      <a:pt x="134533" y="17539"/>
                    </a:cubicBezTo>
                    <a:cubicBezTo>
                      <a:pt x="134533" y="17539"/>
                      <a:pt x="127401" y="1047"/>
                      <a:pt x="124762" y="57"/>
                    </a:cubicBezTo>
                    <a:cubicBezTo>
                      <a:pt x="122123" y="-932"/>
                      <a:pt x="113176" y="10324"/>
                      <a:pt x="97179" y="10324"/>
                    </a:cubicBezTo>
                    <a:cubicBezTo>
                      <a:pt x="81181" y="10324"/>
                      <a:pt x="69678" y="24754"/>
                      <a:pt x="62586" y="24754"/>
                    </a:cubicBezTo>
                    <a:cubicBezTo>
                      <a:pt x="55495" y="24754"/>
                      <a:pt x="33272" y="16508"/>
                      <a:pt x="18140" y="15478"/>
                    </a:cubicBezTo>
                    <a:cubicBezTo>
                      <a:pt x="12821" y="15148"/>
                      <a:pt x="7296" y="14612"/>
                      <a:pt x="2101" y="13993"/>
                    </a:cubicBezTo>
                    <a:cubicBezTo>
                      <a:pt x="163" y="34452"/>
                      <a:pt x="-414" y="55013"/>
                      <a:pt x="287" y="7555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</a:lstStyle>
              <a:p>
                <a:pPr marL="0" marR="0" lvl="0" indent="0" algn="l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574F77B6-B52C-0C35-13E6-9EEC78CE3A7A}"/>
                  </a:ext>
                </a:extLst>
              </p:cNvPr>
              <p:cNvSpPr/>
              <p:nvPr>
                <p:custDataLst>
                  <p:tags r:id="rId494"/>
                </p:custDataLst>
              </p:nvPr>
            </p:nvSpPr>
            <p:spPr>
              <a:xfrm>
                <a:off x="6368299" y="3192806"/>
                <a:ext cx="144446" cy="175633"/>
              </a:xfrm>
              <a:custGeom>
                <a:avLst/>
                <a:gdLst>
                  <a:gd name="connsiteX0" fmla="*/ 158689 w 168668"/>
                  <a:gd name="connsiteY0" fmla="*/ 78254 h 205083"/>
                  <a:gd name="connsiteX1" fmla="*/ 157988 w 168668"/>
                  <a:gd name="connsiteY1" fmla="*/ 71080 h 205083"/>
                  <a:gd name="connsiteX2" fmla="*/ 144753 w 168668"/>
                  <a:gd name="connsiteY2" fmla="*/ 57144 h 205083"/>
                  <a:gd name="connsiteX3" fmla="*/ 121499 w 168668"/>
                  <a:gd name="connsiteY3" fmla="*/ 65390 h 205083"/>
                  <a:gd name="connsiteX4" fmla="*/ 96431 w 168668"/>
                  <a:gd name="connsiteY4" fmla="*/ 59206 h 205083"/>
                  <a:gd name="connsiteX5" fmla="*/ 105378 w 168668"/>
                  <a:gd name="connsiteY5" fmla="*/ 32241 h 205083"/>
                  <a:gd name="connsiteX6" fmla="*/ 116304 w 168668"/>
                  <a:gd name="connsiteY6" fmla="*/ 5812 h 205083"/>
                  <a:gd name="connsiteX7" fmla="*/ 111356 w 168668"/>
                  <a:gd name="connsiteY7" fmla="*/ 4781 h 205083"/>
                  <a:gd name="connsiteX8" fmla="*/ 71074 w 168668"/>
                  <a:gd name="connsiteY8" fmla="*/ 14429 h 205083"/>
                  <a:gd name="connsiteX9" fmla="*/ 89999 w 168668"/>
                  <a:gd name="connsiteY9" fmla="*/ 36364 h 205083"/>
                  <a:gd name="connsiteX10" fmla="*/ 57427 w 168668"/>
                  <a:gd name="connsiteY10" fmla="*/ 55577 h 205083"/>
                  <a:gd name="connsiteX11" fmla="*/ 14794 w 168668"/>
                  <a:gd name="connsiteY11" fmla="*/ 56237 h 205083"/>
                  <a:gd name="connsiteX12" fmla="*/ 19536 w 168668"/>
                  <a:gd name="connsiteY12" fmla="*/ 91241 h 205083"/>
                  <a:gd name="connsiteX13" fmla="*/ 37884 w 168668"/>
                  <a:gd name="connsiteY13" fmla="*/ 124226 h 205083"/>
                  <a:gd name="connsiteX14" fmla="*/ 27205 w 168668"/>
                  <a:gd name="connsiteY14" fmla="*/ 163354 h 205083"/>
                  <a:gd name="connsiteX15" fmla="*/ 570 w 168668"/>
                  <a:gd name="connsiteY15" fmla="*/ 193534 h 205083"/>
                  <a:gd name="connsiteX16" fmla="*/ 1230 w 168668"/>
                  <a:gd name="connsiteY16" fmla="*/ 202935 h 205083"/>
                  <a:gd name="connsiteX17" fmla="*/ 101667 w 168668"/>
                  <a:gd name="connsiteY17" fmla="*/ 205079 h 205083"/>
                  <a:gd name="connsiteX18" fmla="*/ 109542 w 168668"/>
                  <a:gd name="connsiteY18" fmla="*/ 197658 h 205083"/>
                  <a:gd name="connsiteX19" fmla="*/ 158689 w 168668"/>
                  <a:gd name="connsiteY19" fmla="*/ 185989 h 205083"/>
                  <a:gd name="connsiteX20" fmla="*/ 158689 w 168668"/>
                  <a:gd name="connsiteY20" fmla="*/ 78254 h 205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68668" h="205083">
                    <a:moveTo>
                      <a:pt x="158689" y="78254"/>
                    </a:moveTo>
                    <a:cubicBezTo>
                      <a:pt x="157658" y="76015"/>
                      <a:pt x="157411" y="73479"/>
                      <a:pt x="157988" y="71080"/>
                    </a:cubicBezTo>
                    <a:cubicBezTo>
                      <a:pt x="153081" y="66945"/>
                      <a:pt x="148629" y="62269"/>
                      <a:pt x="144753" y="57144"/>
                    </a:cubicBezTo>
                    <a:cubicBezTo>
                      <a:pt x="129539" y="36529"/>
                      <a:pt x="123272" y="53021"/>
                      <a:pt x="121499" y="65390"/>
                    </a:cubicBezTo>
                    <a:cubicBezTo>
                      <a:pt x="119726" y="77759"/>
                      <a:pt x="105378" y="61267"/>
                      <a:pt x="96431" y="59206"/>
                    </a:cubicBezTo>
                    <a:cubicBezTo>
                      <a:pt x="87483" y="57144"/>
                      <a:pt x="99111" y="37436"/>
                      <a:pt x="105378" y="32241"/>
                    </a:cubicBezTo>
                    <a:cubicBezTo>
                      <a:pt x="109501" y="28777"/>
                      <a:pt x="113624" y="19171"/>
                      <a:pt x="116304" y="5812"/>
                    </a:cubicBezTo>
                    <a:cubicBezTo>
                      <a:pt x="114613" y="5812"/>
                      <a:pt x="112923" y="5462"/>
                      <a:pt x="111356" y="4781"/>
                    </a:cubicBezTo>
                    <a:cubicBezTo>
                      <a:pt x="94864" y="-2723"/>
                      <a:pt x="71651" y="-2723"/>
                      <a:pt x="71074" y="14429"/>
                    </a:cubicBezTo>
                    <a:cubicBezTo>
                      <a:pt x="70497" y="31581"/>
                      <a:pt x="89422" y="25397"/>
                      <a:pt x="89999" y="36364"/>
                    </a:cubicBezTo>
                    <a:cubicBezTo>
                      <a:pt x="90576" y="47331"/>
                      <a:pt x="71074" y="44610"/>
                      <a:pt x="57427" y="55577"/>
                    </a:cubicBezTo>
                    <a:cubicBezTo>
                      <a:pt x="43779" y="66544"/>
                      <a:pt x="28978" y="48032"/>
                      <a:pt x="14794" y="56237"/>
                    </a:cubicBezTo>
                    <a:cubicBezTo>
                      <a:pt x="611" y="64442"/>
                      <a:pt x="30174" y="74090"/>
                      <a:pt x="19536" y="91241"/>
                    </a:cubicBezTo>
                    <a:cubicBezTo>
                      <a:pt x="8898" y="108393"/>
                      <a:pt x="20113" y="107734"/>
                      <a:pt x="37884" y="124226"/>
                    </a:cubicBezTo>
                    <a:cubicBezTo>
                      <a:pt x="55654" y="140718"/>
                      <a:pt x="27205" y="144841"/>
                      <a:pt x="27205" y="163354"/>
                    </a:cubicBezTo>
                    <a:cubicBezTo>
                      <a:pt x="27205" y="181866"/>
                      <a:pt x="5311" y="181206"/>
                      <a:pt x="570" y="193534"/>
                    </a:cubicBezTo>
                    <a:cubicBezTo>
                      <a:pt x="-378" y="196643"/>
                      <a:pt x="-131" y="199987"/>
                      <a:pt x="1230" y="202935"/>
                    </a:cubicBezTo>
                    <a:cubicBezTo>
                      <a:pt x="34709" y="203265"/>
                      <a:pt x="68188" y="204955"/>
                      <a:pt x="101667" y="205079"/>
                    </a:cubicBezTo>
                    <a:cubicBezTo>
                      <a:pt x="104470" y="202786"/>
                      <a:pt x="107109" y="200308"/>
                      <a:pt x="109542" y="197658"/>
                    </a:cubicBezTo>
                    <a:cubicBezTo>
                      <a:pt x="129703" y="175682"/>
                      <a:pt x="140341" y="196915"/>
                      <a:pt x="158689" y="185989"/>
                    </a:cubicBezTo>
                    <a:cubicBezTo>
                      <a:pt x="177036" y="175063"/>
                      <a:pt x="165821" y="94705"/>
                      <a:pt x="158689" y="78254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</a:lstStyle>
              <a:p>
                <a:pPr marL="0" marR="0" lvl="0" indent="0" algn="l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5794C481-B6A7-0C78-6759-0796FF13D20A}"/>
                  </a:ext>
                </a:extLst>
              </p:cNvPr>
              <p:cNvSpPr/>
              <p:nvPr>
                <p:custDataLst>
                  <p:tags r:id="rId495"/>
                </p:custDataLst>
              </p:nvPr>
            </p:nvSpPr>
            <p:spPr>
              <a:xfrm>
                <a:off x="7112663" y="3141374"/>
                <a:ext cx="49866" cy="79858"/>
              </a:xfrm>
              <a:custGeom>
                <a:avLst/>
                <a:gdLst>
                  <a:gd name="connsiteX0" fmla="*/ 57099 w 58228"/>
                  <a:gd name="connsiteY0" fmla="*/ 4555 h 93249"/>
                  <a:gd name="connsiteX1" fmla="*/ 43493 w 58228"/>
                  <a:gd name="connsiteY1" fmla="*/ 15522 h 93249"/>
                  <a:gd name="connsiteX2" fmla="*/ 29846 w 58228"/>
                  <a:gd name="connsiteY2" fmla="*/ 4555 h 93249"/>
                  <a:gd name="connsiteX3" fmla="*/ 3788 w 58228"/>
                  <a:gd name="connsiteY3" fmla="*/ 17584 h 93249"/>
                  <a:gd name="connsiteX4" fmla="*/ 19167 w 58228"/>
                  <a:gd name="connsiteY4" fmla="*/ 60092 h 93249"/>
                  <a:gd name="connsiteX5" fmla="*/ 7953 w 58228"/>
                  <a:gd name="connsiteY5" fmla="*/ 72461 h 93249"/>
                  <a:gd name="connsiteX6" fmla="*/ 18590 w 58228"/>
                  <a:gd name="connsiteY6" fmla="*/ 93077 h 93249"/>
                  <a:gd name="connsiteX7" fmla="*/ 47452 w 58228"/>
                  <a:gd name="connsiteY7" fmla="*/ 54650 h 93249"/>
                  <a:gd name="connsiteX8" fmla="*/ 57099 w 58228"/>
                  <a:gd name="connsiteY8" fmla="*/ 4555 h 93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8228" h="93249">
                    <a:moveTo>
                      <a:pt x="57099" y="4555"/>
                    </a:moveTo>
                    <a:cubicBezTo>
                      <a:pt x="52358" y="1091"/>
                      <a:pt x="48853" y="14120"/>
                      <a:pt x="43493" y="15522"/>
                    </a:cubicBezTo>
                    <a:cubicBezTo>
                      <a:pt x="38134" y="16924"/>
                      <a:pt x="32237" y="-10577"/>
                      <a:pt x="29846" y="4555"/>
                    </a:cubicBezTo>
                    <a:cubicBezTo>
                      <a:pt x="27454" y="19686"/>
                      <a:pt x="15621" y="-1630"/>
                      <a:pt x="3788" y="17584"/>
                    </a:cubicBezTo>
                    <a:cubicBezTo>
                      <a:pt x="-8045" y="36797"/>
                      <a:pt x="10880" y="53949"/>
                      <a:pt x="19167" y="60092"/>
                    </a:cubicBezTo>
                    <a:cubicBezTo>
                      <a:pt x="27454" y="66236"/>
                      <a:pt x="18590" y="75183"/>
                      <a:pt x="7953" y="72461"/>
                    </a:cubicBezTo>
                    <a:cubicBezTo>
                      <a:pt x="-2685" y="69740"/>
                      <a:pt x="3830" y="90273"/>
                      <a:pt x="18590" y="93077"/>
                    </a:cubicBezTo>
                    <a:cubicBezTo>
                      <a:pt x="33351" y="95880"/>
                      <a:pt x="49389" y="62896"/>
                      <a:pt x="47452" y="54650"/>
                    </a:cubicBezTo>
                    <a:cubicBezTo>
                      <a:pt x="45513" y="46404"/>
                      <a:pt x="62707" y="8595"/>
                      <a:pt x="57099" y="4555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</a:lstStyle>
              <a:p>
                <a:pPr marL="0" marR="0" lvl="0" indent="0" algn="l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439C8D58-EA29-3901-7F8D-3A1CB7F055B9}"/>
                  </a:ext>
                </a:extLst>
              </p:cNvPr>
              <p:cNvSpPr/>
              <p:nvPr>
                <p:custDataLst>
                  <p:tags r:id="rId496"/>
                </p:custDataLst>
              </p:nvPr>
            </p:nvSpPr>
            <p:spPr>
              <a:xfrm>
                <a:off x="7011531" y="3045650"/>
                <a:ext cx="90316" cy="166712"/>
              </a:xfrm>
              <a:custGeom>
                <a:avLst/>
                <a:gdLst>
                  <a:gd name="connsiteX0" fmla="*/ 85966 w 105460"/>
                  <a:gd name="connsiteY0" fmla="*/ 74566 h 194666"/>
                  <a:gd name="connsiteX1" fmla="*/ 84770 w 105460"/>
                  <a:gd name="connsiteY1" fmla="*/ 42365 h 194666"/>
                  <a:gd name="connsiteX2" fmla="*/ 88893 w 105460"/>
                  <a:gd name="connsiteY2" fmla="*/ 2577 h 194666"/>
                  <a:gd name="connsiteX3" fmla="*/ 60032 w 105460"/>
                  <a:gd name="connsiteY3" fmla="*/ 21090 h 194666"/>
                  <a:gd name="connsiteX4" fmla="*/ 36324 w 105460"/>
                  <a:gd name="connsiteY4" fmla="*/ 35479 h 194666"/>
                  <a:gd name="connsiteX5" fmla="*/ 38097 w 105460"/>
                  <a:gd name="connsiteY5" fmla="*/ 56095 h 194666"/>
                  <a:gd name="connsiteX6" fmla="*/ 15008 w 105460"/>
                  <a:gd name="connsiteY6" fmla="*/ 42406 h 194666"/>
                  <a:gd name="connsiteX7" fmla="*/ 1 w 105460"/>
                  <a:gd name="connsiteY7" fmla="*/ 62527 h 194666"/>
                  <a:gd name="connsiteX8" fmla="*/ 5401 w 105460"/>
                  <a:gd name="connsiteY8" fmla="*/ 82853 h 194666"/>
                  <a:gd name="connsiteX9" fmla="*/ 9524 w 105460"/>
                  <a:gd name="connsiteY9" fmla="*/ 146472 h 194666"/>
                  <a:gd name="connsiteX10" fmla="*/ 10762 w 105460"/>
                  <a:gd name="connsiteY10" fmla="*/ 162139 h 194666"/>
                  <a:gd name="connsiteX11" fmla="*/ 10432 w 105460"/>
                  <a:gd name="connsiteY11" fmla="*/ 169313 h 194666"/>
                  <a:gd name="connsiteX12" fmla="*/ 16534 w 105460"/>
                  <a:gd name="connsiteY12" fmla="*/ 189929 h 194666"/>
                  <a:gd name="connsiteX13" fmla="*/ 53105 w 105460"/>
                  <a:gd name="connsiteY13" fmla="*/ 194052 h 194666"/>
                  <a:gd name="connsiteX14" fmla="*/ 67907 w 105460"/>
                  <a:gd name="connsiteY14" fmla="*/ 193681 h 194666"/>
                  <a:gd name="connsiteX15" fmla="*/ 51910 w 105460"/>
                  <a:gd name="connsiteY15" fmla="*/ 168695 h 194666"/>
                  <a:gd name="connsiteX16" fmla="*/ 72525 w 105460"/>
                  <a:gd name="connsiteY16" fmla="*/ 173478 h 194666"/>
                  <a:gd name="connsiteX17" fmla="*/ 100933 w 105460"/>
                  <a:gd name="connsiteY17" fmla="*/ 172818 h 194666"/>
                  <a:gd name="connsiteX18" fmla="*/ 86708 w 105460"/>
                  <a:gd name="connsiteY18" fmla="*/ 143957 h 194666"/>
                  <a:gd name="connsiteX19" fmla="*/ 68360 w 105460"/>
                  <a:gd name="connsiteY19" fmla="*/ 141235 h 194666"/>
                  <a:gd name="connsiteX20" fmla="*/ 79616 w 105460"/>
                  <a:gd name="connsiteY20" fmla="*/ 112374 h 194666"/>
                  <a:gd name="connsiteX21" fmla="*/ 105097 w 105460"/>
                  <a:gd name="connsiteY21" fmla="*/ 96583 h 194666"/>
                  <a:gd name="connsiteX22" fmla="*/ 85966 w 105460"/>
                  <a:gd name="connsiteY22" fmla="*/ 74566 h 1946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05460" h="194666">
                    <a:moveTo>
                      <a:pt x="85966" y="74566"/>
                    </a:moveTo>
                    <a:cubicBezTo>
                      <a:pt x="80029" y="71185"/>
                      <a:pt x="77720" y="49209"/>
                      <a:pt x="84770" y="42365"/>
                    </a:cubicBezTo>
                    <a:cubicBezTo>
                      <a:pt x="91821" y="35521"/>
                      <a:pt x="94831" y="9380"/>
                      <a:pt x="88893" y="2577"/>
                    </a:cubicBezTo>
                    <a:cubicBezTo>
                      <a:pt x="82956" y="-4226"/>
                      <a:pt x="61640" y="2577"/>
                      <a:pt x="60032" y="21090"/>
                    </a:cubicBezTo>
                    <a:cubicBezTo>
                      <a:pt x="58424" y="39602"/>
                      <a:pt x="41066" y="31398"/>
                      <a:pt x="36324" y="35479"/>
                    </a:cubicBezTo>
                    <a:cubicBezTo>
                      <a:pt x="31583" y="39561"/>
                      <a:pt x="45807" y="47849"/>
                      <a:pt x="38097" y="56095"/>
                    </a:cubicBezTo>
                    <a:cubicBezTo>
                      <a:pt x="30387" y="64341"/>
                      <a:pt x="27419" y="43725"/>
                      <a:pt x="15008" y="42406"/>
                    </a:cubicBezTo>
                    <a:cubicBezTo>
                      <a:pt x="6515" y="41458"/>
                      <a:pt x="3257" y="52013"/>
                      <a:pt x="1" y="62527"/>
                    </a:cubicBezTo>
                    <a:cubicBezTo>
                      <a:pt x="2350" y="69144"/>
                      <a:pt x="4165" y="75943"/>
                      <a:pt x="5401" y="82853"/>
                    </a:cubicBezTo>
                    <a:cubicBezTo>
                      <a:pt x="8988" y="103839"/>
                      <a:pt x="4536" y="126104"/>
                      <a:pt x="9524" y="146472"/>
                    </a:cubicBezTo>
                    <a:cubicBezTo>
                      <a:pt x="10762" y="151597"/>
                      <a:pt x="11174" y="156882"/>
                      <a:pt x="10762" y="162139"/>
                    </a:cubicBezTo>
                    <a:cubicBezTo>
                      <a:pt x="11256" y="164522"/>
                      <a:pt x="11133" y="166984"/>
                      <a:pt x="10432" y="169313"/>
                    </a:cubicBezTo>
                    <a:cubicBezTo>
                      <a:pt x="8535" y="175663"/>
                      <a:pt x="12411" y="182837"/>
                      <a:pt x="16534" y="189929"/>
                    </a:cubicBezTo>
                    <a:cubicBezTo>
                      <a:pt x="32284" y="190300"/>
                      <a:pt x="46756" y="191619"/>
                      <a:pt x="53105" y="194052"/>
                    </a:cubicBezTo>
                    <a:cubicBezTo>
                      <a:pt x="58012" y="194975"/>
                      <a:pt x="63042" y="194852"/>
                      <a:pt x="67907" y="193681"/>
                    </a:cubicBezTo>
                    <a:cubicBezTo>
                      <a:pt x="62712" y="183826"/>
                      <a:pt x="51003" y="175869"/>
                      <a:pt x="51910" y="168695"/>
                    </a:cubicBezTo>
                    <a:cubicBezTo>
                      <a:pt x="53105" y="159129"/>
                      <a:pt x="64279" y="165232"/>
                      <a:pt x="72525" y="173478"/>
                    </a:cubicBezTo>
                    <a:cubicBezTo>
                      <a:pt x="80771" y="181724"/>
                      <a:pt x="99159" y="183126"/>
                      <a:pt x="100933" y="172818"/>
                    </a:cubicBezTo>
                    <a:cubicBezTo>
                      <a:pt x="102046" y="166468"/>
                      <a:pt x="97964" y="137154"/>
                      <a:pt x="86708" y="143957"/>
                    </a:cubicBezTo>
                    <a:cubicBezTo>
                      <a:pt x="75452" y="150760"/>
                      <a:pt x="72525" y="148080"/>
                      <a:pt x="68360" y="141235"/>
                    </a:cubicBezTo>
                    <a:cubicBezTo>
                      <a:pt x="64196" y="134391"/>
                      <a:pt x="76607" y="123383"/>
                      <a:pt x="79616" y="112374"/>
                    </a:cubicBezTo>
                    <a:cubicBezTo>
                      <a:pt x="82626" y="101366"/>
                      <a:pt x="102087" y="105489"/>
                      <a:pt x="105097" y="96583"/>
                    </a:cubicBezTo>
                    <a:cubicBezTo>
                      <a:pt x="108107" y="87677"/>
                      <a:pt x="91656" y="77905"/>
                      <a:pt x="85966" y="74566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</a:lstStyle>
              <a:p>
                <a:pPr marL="0" marR="0" lvl="0" indent="0" algn="l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CA88242C-1197-EA3E-725D-588A8A4EB7F6}"/>
                  </a:ext>
                </a:extLst>
              </p:cNvPr>
              <p:cNvSpPr/>
              <p:nvPr>
                <p:custDataLst>
                  <p:tags r:id="rId497"/>
                </p:custDataLst>
              </p:nvPr>
            </p:nvSpPr>
            <p:spPr>
              <a:xfrm>
                <a:off x="7469237" y="2931948"/>
                <a:ext cx="206950" cy="118878"/>
              </a:xfrm>
              <a:custGeom>
                <a:avLst/>
                <a:gdLst>
                  <a:gd name="connsiteX0" fmla="*/ 230001 w 241651"/>
                  <a:gd name="connsiteY0" fmla="*/ 35402 h 138811"/>
                  <a:gd name="connsiteX1" fmla="*/ 238247 w 241651"/>
                  <a:gd name="connsiteY1" fmla="*/ 4932 h 138811"/>
                  <a:gd name="connsiteX2" fmla="*/ 229506 w 241651"/>
                  <a:gd name="connsiteY2" fmla="*/ 9674 h 138811"/>
                  <a:gd name="connsiteX3" fmla="*/ 153683 w 241651"/>
                  <a:gd name="connsiteY3" fmla="*/ 768 h 138811"/>
                  <a:gd name="connsiteX4" fmla="*/ 79056 w 241651"/>
                  <a:gd name="connsiteY4" fmla="*/ 17920 h 138811"/>
                  <a:gd name="connsiteX5" fmla="*/ 54772 w 241651"/>
                  <a:gd name="connsiteY5" fmla="*/ 44679 h 138811"/>
                  <a:gd name="connsiteX6" fmla="*/ 63018 w 241651"/>
                  <a:gd name="connsiteY6" fmla="*/ 74200 h 138811"/>
                  <a:gd name="connsiteX7" fmla="*/ 86725 w 241651"/>
                  <a:gd name="connsiteY7" fmla="*/ 89950 h 138811"/>
                  <a:gd name="connsiteX8" fmla="*/ 94971 w 241651"/>
                  <a:gd name="connsiteY8" fmla="*/ 108462 h 138811"/>
                  <a:gd name="connsiteX9" fmla="*/ 94476 w 241651"/>
                  <a:gd name="connsiteY9" fmla="*/ 109204 h 138811"/>
                  <a:gd name="connsiteX10" fmla="*/ 137603 w 241651"/>
                  <a:gd name="connsiteY10" fmla="*/ 108462 h 138811"/>
                  <a:gd name="connsiteX11" fmla="*/ 177886 w 241651"/>
                  <a:gd name="connsiteY11" fmla="*/ 135922 h 138811"/>
                  <a:gd name="connsiteX12" fmla="*/ 216106 w 241651"/>
                  <a:gd name="connsiteY12" fmla="*/ 138808 h 138811"/>
                  <a:gd name="connsiteX13" fmla="*/ 217549 w 241651"/>
                  <a:gd name="connsiteY13" fmla="*/ 125944 h 138811"/>
                  <a:gd name="connsiteX14" fmla="*/ 228228 w 241651"/>
                  <a:gd name="connsiteY14" fmla="*/ 110524 h 138811"/>
                  <a:gd name="connsiteX15" fmla="*/ 219363 w 241651"/>
                  <a:gd name="connsiteY15" fmla="*/ 85785 h 138811"/>
                  <a:gd name="connsiteX16" fmla="*/ 216683 w 241651"/>
                  <a:gd name="connsiteY16" fmla="*/ 59027 h 138811"/>
                  <a:gd name="connsiteX17" fmla="*/ 230001 w 241651"/>
                  <a:gd name="connsiteY17" fmla="*/ 35402 h 138811"/>
                  <a:gd name="connsiteX18" fmla="*/ 20344 w 241651"/>
                  <a:gd name="connsiteY18" fmla="*/ 68675 h 138811"/>
                  <a:gd name="connsiteX19" fmla="*/ 4346 w 241651"/>
                  <a:gd name="connsiteY19" fmla="*/ 109204 h 138811"/>
                  <a:gd name="connsiteX20" fmla="*/ 45824 w 241651"/>
                  <a:gd name="connsiteY20" fmla="*/ 77581 h 138811"/>
                  <a:gd name="connsiteX21" fmla="*/ 20344 w 241651"/>
                  <a:gd name="connsiteY21" fmla="*/ 68675 h 138811"/>
                  <a:gd name="connsiteX22" fmla="*/ 38073 w 241651"/>
                  <a:gd name="connsiteY22" fmla="*/ 48760 h 138811"/>
                  <a:gd name="connsiteX23" fmla="*/ 12634 w 241651"/>
                  <a:gd name="connsiteY23" fmla="*/ 52224 h 138811"/>
                  <a:gd name="connsiteX24" fmla="*/ 38032 w 241651"/>
                  <a:gd name="connsiteY24" fmla="*/ 48760 h 1388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41651" h="138811">
                    <a:moveTo>
                      <a:pt x="230001" y="35402"/>
                    </a:moveTo>
                    <a:cubicBezTo>
                      <a:pt x="234907" y="23033"/>
                      <a:pt x="247730" y="21054"/>
                      <a:pt x="238247" y="4932"/>
                    </a:cubicBezTo>
                    <a:cubicBezTo>
                      <a:pt x="235732" y="7175"/>
                      <a:pt x="232763" y="8800"/>
                      <a:pt x="229506" y="9674"/>
                    </a:cubicBezTo>
                    <a:cubicBezTo>
                      <a:pt x="212313" y="15199"/>
                      <a:pt x="174999" y="-4015"/>
                      <a:pt x="153683" y="768"/>
                    </a:cubicBezTo>
                    <a:cubicBezTo>
                      <a:pt x="132367" y="5551"/>
                      <a:pt x="89116" y="5551"/>
                      <a:pt x="79056" y="17920"/>
                    </a:cubicBezTo>
                    <a:cubicBezTo>
                      <a:pt x="68996" y="30289"/>
                      <a:pt x="43515" y="33670"/>
                      <a:pt x="54772" y="44679"/>
                    </a:cubicBezTo>
                    <a:cubicBezTo>
                      <a:pt x="66027" y="55687"/>
                      <a:pt x="54772" y="61171"/>
                      <a:pt x="63018" y="74200"/>
                    </a:cubicBezTo>
                    <a:cubicBezTo>
                      <a:pt x="71264" y="87228"/>
                      <a:pt x="75387" y="92712"/>
                      <a:pt x="86725" y="89950"/>
                    </a:cubicBezTo>
                    <a:cubicBezTo>
                      <a:pt x="98064" y="87187"/>
                      <a:pt x="106845" y="94073"/>
                      <a:pt x="94971" y="108462"/>
                    </a:cubicBezTo>
                    <a:lnTo>
                      <a:pt x="94476" y="109204"/>
                    </a:lnTo>
                    <a:cubicBezTo>
                      <a:pt x="113442" y="107184"/>
                      <a:pt x="134511" y="105782"/>
                      <a:pt x="137603" y="108462"/>
                    </a:cubicBezTo>
                    <a:cubicBezTo>
                      <a:pt x="142345" y="112585"/>
                      <a:pt x="170588" y="138684"/>
                      <a:pt x="177886" y="135922"/>
                    </a:cubicBezTo>
                    <a:cubicBezTo>
                      <a:pt x="182256" y="134231"/>
                      <a:pt x="201675" y="136664"/>
                      <a:pt x="216106" y="138808"/>
                    </a:cubicBezTo>
                    <a:cubicBezTo>
                      <a:pt x="214127" y="134590"/>
                      <a:pt x="214663" y="129617"/>
                      <a:pt x="217549" y="125944"/>
                    </a:cubicBezTo>
                    <a:cubicBezTo>
                      <a:pt x="222868" y="120831"/>
                      <a:pt x="234454" y="120831"/>
                      <a:pt x="228228" y="110524"/>
                    </a:cubicBezTo>
                    <a:cubicBezTo>
                      <a:pt x="222002" y="100216"/>
                      <a:pt x="220229" y="98155"/>
                      <a:pt x="219363" y="85785"/>
                    </a:cubicBezTo>
                    <a:cubicBezTo>
                      <a:pt x="218498" y="73416"/>
                      <a:pt x="215776" y="67273"/>
                      <a:pt x="216683" y="59027"/>
                    </a:cubicBezTo>
                    <a:cubicBezTo>
                      <a:pt x="217591" y="50781"/>
                      <a:pt x="224682" y="48760"/>
                      <a:pt x="230001" y="35402"/>
                    </a:cubicBezTo>
                    <a:close/>
                    <a:moveTo>
                      <a:pt x="20344" y="68675"/>
                    </a:moveTo>
                    <a:cubicBezTo>
                      <a:pt x="-972" y="75560"/>
                      <a:pt x="-4106" y="109905"/>
                      <a:pt x="4346" y="109204"/>
                    </a:cubicBezTo>
                    <a:cubicBezTo>
                      <a:pt x="14984" y="108462"/>
                      <a:pt x="39310" y="85126"/>
                      <a:pt x="45824" y="77581"/>
                    </a:cubicBezTo>
                    <a:cubicBezTo>
                      <a:pt x="52339" y="70035"/>
                      <a:pt x="41660" y="61831"/>
                      <a:pt x="20344" y="68675"/>
                    </a:cubicBezTo>
                    <a:close/>
                    <a:moveTo>
                      <a:pt x="38073" y="48760"/>
                    </a:moveTo>
                    <a:cubicBezTo>
                      <a:pt x="42856" y="38494"/>
                      <a:pt x="3893" y="42988"/>
                      <a:pt x="12634" y="52224"/>
                    </a:cubicBezTo>
                    <a:cubicBezTo>
                      <a:pt x="19148" y="59109"/>
                      <a:pt x="33373" y="58903"/>
                      <a:pt x="38032" y="4876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</a:lstStyle>
              <a:p>
                <a:pPr marL="0" marR="0" lvl="0" indent="0" algn="l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E6C5AA40-0258-B561-D230-181BC40B0EA6}"/>
                  </a:ext>
                </a:extLst>
              </p:cNvPr>
              <p:cNvSpPr/>
              <p:nvPr>
                <p:custDataLst>
                  <p:tags r:id="rId498"/>
                </p:custDataLst>
              </p:nvPr>
            </p:nvSpPr>
            <p:spPr>
              <a:xfrm>
                <a:off x="6900256" y="2170239"/>
                <a:ext cx="881197" cy="853448"/>
              </a:xfrm>
              <a:custGeom>
                <a:avLst/>
                <a:gdLst>
                  <a:gd name="connsiteX0" fmla="*/ 998619 w 1028957"/>
                  <a:gd name="connsiteY0" fmla="*/ 115810 h 996556"/>
                  <a:gd name="connsiteX1" fmla="*/ 980849 w 1028957"/>
                  <a:gd name="connsiteY1" fmla="*/ 113748 h 996556"/>
                  <a:gd name="connsiteX2" fmla="*/ 954791 w 1028957"/>
                  <a:gd name="connsiteY2" fmla="*/ 90412 h 996556"/>
                  <a:gd name="connsiteX3" fmla="*/ 974953 w 1028957"/>
                  <a:gd name="connsiteY3" fmla="*/ 92474 h 996556"/>
                  <a:gd name="connsiteX4" fmla="*/ 1001588 w 1028957"/>
                  <a:gd name="connsiteY4" fmla="*/ 82867 h 996556"/>
                  <a:gd name="connsiteX5" fmla="*/ 1028841 w 1028957"/>
                  <a:gd name="connsiteY5" fmla="*/ 70498 h 996556"/>
                  <a:gd name="connsiteX6" fmla="*/ 1008226 w 1028957"/>
                  <a:gd name="connsiteY6" fmla="*/ 47161 h 996556"/>
                  <a:gd name="connsiteX7" fmla="*/ 978045 w 1028957"/>
                  <a:gd name="connsiteY7" fmla="*/ 35534 h 996556"/>
                  <a:gd name="connsiteX8" fmla="*/ 956688 w 1028957"/>
                  <a:gd name="connsiteY8" fmla="*/ 23866 h 996556"/>
                  <a:gd name="connsiteX9" fmla="*/ 948442 w 1028957"/>
                  <a:gd name="connsiteY9" fmla="*/ 21516 h 996556"/>
                  <a:gd name="connsiteX10" fmla="*/ 935372 w 1028957"/>
                  <a:gd name="connsiteY10" fmla="*/ 27948 h 996556"/>
                  <a:gd name="connsiteX11" fmla="*/ 925188 w 1028957"/>
                  <a:gd name="connsiteY11" fmla="*/ 48563 h 996556"/>
                  <a:gd name="connsiteX12" fmla="*/ 915663 w 1028957"/>
                  <a:gd name="connsiteY12" fmla="*/ 52686 h 996556"/>
                  <a:gd name="connsiteX13" fmla="*/ 916736 w 1028957"/>
                  <a:gd name="connsiteY13" fmla="*/ 28649 h 996556"/>
                  <a:gd name="connsiteX14" fmla="*/ 913066 w 1028957"/>
                  <a:gd name="connsiteY14" fmla="*/ 27412 h 996556"/>
                  <a:gd name="connsiteX15" fmla="*/ 898677 w 1028957"/>
                  <a:gd name="connsiteY15" fmla="*/ 22505 h 996556"/>
                  <a:gd name="connsiteX16" fmla="*/ 896574 w 1028957"/>
                  <a:gd name="connsiteY16" fmla="*/ 22011 h 996556"/>
                  <a:gd name="connsiteX17" fmla="*/ 892740 w 1028957"/>
                  <a:gd name="connsiteY17" fmla="*/ 21722 h 996556"/>
                  <a:gd name="connsiteX18" fmla="*/ 877443 w 1028957"/>
                  <a:gd name="connsiteY18" fmla="*/ 21928 h 996556"/>
                  <a:gd name="connsiteX19" fmla="*/ 878968 w 1028957"/>
                  <a:gd name="connsiteY19" fmla="*/ 26628 h 996556"/>
                  <a:gd name="connsiteX20" fmla="*/ 855220 w 1028957"/>
                  <a:gd name="connsiteY20" fmla="*/ 62994 h 996556"/>
                  <a:gd name="connsiteX21" fmla="*/ 855879 w 1028957"/>
                  <a:gd name="connsiteY21" fmla="*/ 23907 h 996556"/>
                  <a:gd name="connsiteX22" fmla="*/ 855879 w 1028957"/>
                  <a:gd name="connsiteY22" fmla="*/ 23536 h 996556"/>
                  <a:gd name="connsiteX23" fmla="*/ 845530 w 1028957"/>
                  <a:gd name="connsiteY23" fmla="*/ 21557 h 996556"/>
                  <a:gd name="connsiteX24" fmla="*/ 830482 w 1028957"/>
                  <a:gd name="connsiteY24" fmla="*/ 39657 h 996556"/>
                  <a:gd name="connsiteX25" fmla="*/ 792013 w 1028957"/>
                  <a:gd name="connsiteY25" fmla="*/ 83568 h 996556"/>
                  <a:gd name="connsiteX26" fmla="*/ 799105 w 1028957"/>
                  <a:gd name="connsiteY26" fmla="*/ 54088 h 996556"/>
                  <a:gd name="connsiteX27" fmla="*/ 825122 w 1028957"/>
                  <a:gd name="connsiteY27" fmla="*/ 18382 h 996556"/>
                  <a:gd name="connsiteX28" fmla="*/ 831883 w 1028957"/>
                  <a:gd name="connsiteY28" fmla="*/ 14012 h 996556"/>
                  <a:gd name="connsiteX29" fmla="*/ 821164 w 1028957"/>
                  <a:gd name="connsiteY29" fmla="*/ 901 h 996556"/>
                  <a:gd name="connsiteX30" fmla="*/ 820380 w 1028957"/>
                  <a:gd name="connsiteY30" fmla="*/ 571 h 996556"/>
                  <a:gd name="connsiteX31" fmla="*/ 798487 w 1028957"/>
                  <a:gd name="connsiteY31" fmla="*/ 21186 h 996556"/>
                  <a:gd name="connsiteX32" fmla="*/ 780510 w 1028957"/>
                  <a:gd name="connsiteY32" fmla="*/ 18465 h 996556"/>
                  <a:gd name="connsiteX33" fmla="*/ 764430 w 1028957"/>
                  <a:gd name="connsiteY33" fmla="*/ 24278 h 996556"/>
                  <a:gd name="connsiteX34" fmla="*/ 762946 w 1028957"/>
                  <a:gd name="connsiteY34" fmla="*/ 34875 h 996556"/>
                  <a:gd name="connsiteX35" fmla="*/ 754082 w 1028957"/>
                  <a:gd name="connsiteY35" fmla="*/ 41760 h 996556"/>
                  <a:gd name="connsiteX36" fmla="*/ 726251 w 1028957"/>
                  <a:gd name="connsiteY36" fmla="*/ 52727 h 996556"/>
                  <a:gd name="connsiteX37" fmla="*/ 716727 w 1028957"/>
                  <a:gd name="connsiteY37" fmla="*/ 70580 h 996556"/>
                  <a:gd name="connsiteX38" fmla="*/ 712603 w 1028957"/>
                  <a:gd name="connsiteY38" fmla="*/ 97339 h 996556"/>
                  <a:gd name="connsiteX39" fmla="*/ 697761 w 1028957"/>
                  <a:gd name="connsiteY39" fmla="*/ 67158 h 996556"/>
                  <a:gd name="connsiteX40" fmla="*/ 706007 w 1028957"/>
                  <a:gd name="connsiteY40" fmla="*/ 49305 h 996556"/>
                  <a:gd name="connsiteX41" fmla="*/ 725962 w 1028957"/>
                  <a:gd name="connsiteY41" fmla="*/ 31287 h 996556"/>
                  <a:gd name="connsiteX42" fmla="*/ 698173 w 1028957"/>
                  <a:gd name="connsiteY42" fmla="*/ 40935 h 996556"/>
                  <a:gd name="connsiteX43" fmla="*/ 672486 w 1028957"/>
                  <a:gd name="connsiteY43" fmla="*/ 39863 h 996556"/>
                  <a:gd name="connsiteX44" fmla="*/ 682918 w 1028957"/>
                  <a:gd name="connsiteY44" fmla="*/ 67818 h 996556"/>
                  <a:gd name="connsiteX45" fmla="*/ 671662 w 1028957"/>
                  <a:gd name="connsiteY45" fmla="*/ 77424 h 996556"/>
                  <a:gd name="connsiteX46" fmla="*/ 641440 w 1028957"/>
                  <a:gd name="connsiteY46" fmla="*/ 78125 h 996556"/>
                  <a:gd name="connsiteX47" fmla="*/ 663993 w 1028957"/>
                  <a:gd name="connsiteY47" fmla="*/ 101462 h 996556"/>
                  <a:gd name="connsiteX48" fmla="*/ 644985 w 1028957"/>
                  <a:gd name="connsiteY48" fmla="*/ 98699 h 996556"/>
                  <a:gd name="connsiteX49" fmla="*/ 623711 w 1028957"/>
                  <a:gd name="connsiteY49" fmla="*/ 83609 h 996556"/>
                  <a:gd name="connsiteX50" fmla="*/ 610682 w 1028957"/>
                  <a:gd name="connsiteY50" fmla="*/ 92515 h 996556"/>
                  <a:gd name="connsiteX51" fmla="*/ 620124 w 1028957"/>
                  <a:gd name="connsiteY51" fmla="*/ 122695 h 996556"/>
                  <a:gd name="connsiteX52" fmla="*/ 606518 w 1028957"/>
                  <a:gd name="connsiteY52" fmla="*/ 113089 h 996556"/>
                  <a:gd name="connsiteX53" fmla="*/ 584006 w 1028957"/>
                  <a:gd name="connsiteY53" fmla="*/ 111027 h 996556"/>
                  <a:gd name="connsiteX54" fmla="*/ 581078 w 1028957"/>
                  <a:gd name="connsiteY54" fmla="*/ 84269 h 996556"/>
                  <a:gd name="connsiteX55" fmla="*/ 553207 w 1028957"/>
                  <a:gd name="connsiteY55" fmla="*/ 87031 h 996556"/>
                  <a:gd name="connsiteX56" fmla="*/ 541992 w 1028957"/>
                  <a:gd name="connsiteY56" fmla="*/ 100060 h 996556"/>
                  <a:gd name="connsiteX57" fmla="*/ 538405 w 1028957"/>
                  <a:gd name="connsiteY57" fmla="*/ 121335 h 996556"/>
                  <a:gd name="connsiteX58" fmla="*/ 525376 w 1028957"/>
                  <a:gd name="connsiteY58" fmla="*/ 132302 h 996556"/>
                  <a:gd name="connsiteX59" fmla="*/ 520016 w 1028957"/>
                  <a:gd name="connsiteY59" fmla="*/ 140989 h 996556"/>
                  <a:gd name="connsiteX60" fmla="*/ 511317 w 1028957"/>
                  <a:gd name="connsiteY60" fmla="*/ 135638 h 996556"/>
                  <a:gd name="connsiteX61" fmla="*/ 511151 w 1028957"/>
                  <a:gd name="connsiteY61" fmla="*/ 134364 h 996556"/>
                  <a:gd name="connsiteX62" fmla="*/ 483898 w 1028957"/>
                  <a:gd name="connsiteY62" fmla="*/ 138487 h 996556"/>
                  <a:gd name="connsiteX63" fmla="*/ 463283 w 1028957"/>
                  <a:gd name="connsiteY63" fmla="*/ 170069 h 996556"/>
                  <a:gd name="connsiteX64" fmla="*/ 488722 w 1028957"/>
                  <a:gd name="connsiteY64" fmla="*/ 167966 h 996556"/>
                  <a:gd name="connsiteX65" fmla="*/ 494082 w 1028957"/>
                  <a:gd name="connsiteY65" fmla="*/ 184459 h 996556"/>
                  <a:gd name="connsiteX66" fmla="*/ 490536 w 1028957"/>
                  <a:gd name="connsiteY66" fmla="*/ 196828 h 996556"/>
                  <a:gd name="connsiteX67" fmla="*/ 469921 w 1028957"/>
                  <a:gd name="connsiteY67" fmla="*/ 199549 h 996556"/>
                  <a:gd name="connsiteX68" fmla="*/ 452151 w 1028957"/>
                  <a:gd name="connsiteY68" fmla="*/ 187180 h 996556"/>
                  <a:gd name="connsiteX69" fmla="*/ 430257 w 1028957"/>
                  <a:gd name="connsiteY69" fmla="*/ 199549 h 996556"/>
                  <a:gd name="connsiteX70" fmla="*/ 439741 w 1028957"/>
                  <a:gd name="connsiteY70" fmla="*/ 161163 h 996556"/>
                  <a:gd name="connsiteX71" fmla="*/ 416074 w 1028957"/>
                  <a:gd name="connsiteY71" fmla="*/ 183098 h 996556"/>
                  <a:gd name="connsiteX72" fmla="*/ 390635 w 1028957"/>
                  <a:gd name="connsiteY72" fmla="*/ 205734 h 996556"/>
                  <a:gd name="connsiteX73" fmla="*/ 373442 w 1028957"/>
                  <a:gd name="connsiteY73" fmla="*/ 230472 h 996556"/>
                  <a:gd name="connsiteX74" fmla="*/ 324254 w 1028957"/>
                  <a:gd name="connsiteY74" fmla="*/ 262054 h 996556"/>
                  <a:gd name="connsiteX75" fmla="*/ 337901 w 1028957"/>
                  <a:gd name="connsiteY75" fmla="*/ 263415 h 996556"/>
                  <a:gd name="connsiteX76" fmla="*/ 367505 w 1028957"/>
                  <a:gd name="connsiteY76" fmla="*/ 246263 h 996556"/>
                  <a:gd name="connsiteX77" fmla="*/ 406591 w 1028957"/>
                  <a:gd name="connsiteY77" fmla="*/ 229771 h 996556"/>
                  <a:gd name="connsiteX78" fmla="*/ 430257 w 1028957"/>
                  <a:gd name="connsiteY78" fmla="*/ 225648 h 996556"/>
                  <a:gd name="connsiteX79" fmla="*/ 454996 w 1028957"/>
                  <a:gd name="connsiteY79" fmla="*/ 223586 h 996556"/>
                  <a:gd name="connsiteX80" fmla="*/ 451409 w 1028957"/>
                  <a:gd name="connsiteY80" fmla="*/ 248325 h 996556"/>
                  <a:gd name="connsiteX81" fmla="*/ 440194 w 1028957"/>
                  <a:gd name="connsiteY81" fmla="*/ 255870 h 996556"/>
                  <a:gd name="connsiteX82" fmla="*/ 424197 w 1028957"/>
                  <a:gd name="connsiteY82" fmla="*/ 246923 h 996556"/>
                  <a:gd name="connsiteX83" fmla="*/ 405231 w 1028957"/>
                  <a:gd name="connsiteY83" fmla="*/ 266136 h 996556"/>
                  <a:gd name="connsiteX84" fmla="*/ 389233 w 1028957"/>
                  <a:gd name="connsiteY84" fmla="*/ 299780 h 996556"/>
                  <a:gd name="connsiteX85" fmla="*/ 374472 w 1028957"/>
                  <a:gd name="connsiteY85" fmla="*/ 314170 h 996556"/>
                  <a:gd name="connsiteX86" fmla="*/ 337736 w 1028957"/>
                  <a:gd name="connsiteY86" fmla="*/ 372469 h 996556"/>
                  <a:gd name="connsiteX87" fmla="*/ 331222 w 1028957"/>
                  <a:gd name="connsiteY87" fmla="*/ 406773 h 996556"/>
                  <a:gd name="connsiteX88" fmla="*/ 299845 w 1028957"/>
                  <a:gd name="connsiteY88" fmla="*/ 412917 h 996556"/>
                  <a:gd name="connsiteX89" fmla="*/ 294486 w 1028957"/>
                  <a:gd name="connsiteY89" fmla="*/ 455466 h 996556"/>
                  <a:gd name="connsiteX90" fmla="*/ 294486 w 1028957"/>
                  <a:gd name="connsiteY90" fmla="*/ 487008 h 996556"/>
                  <a:gd name="connsiteX91" fmla="*/ 269747 w 1028957"/>
                  <a:gd name="connsiteY91" fmla="*/ 491131 h 996556"/>
                  <a:gd name="connsiteX92" fmla="*/ 241917 w 1028957"/>
                  <a:gd name="connsiteY92" fmla="*/ 501438 h 996556"/>
                  <a:gd name="connsiteX93" fmla="*/ 264429 w 1028957"/>
                  <a:gd name="connsiteY93" fmla="*/ 530300 h 996556"/>
                  <a:gd name="connsiteX94" fmla="*/ 252059 w 1028957"/>
                  <a:gd name="connsiteY94" fmla="*/ 536484 h 996556"/>
                  <a:gd name="connsiteX95" fmla="*/ 237175 w 1028957"/>
                  <a:gd name="connsiteY95" fmla="*/ 539205 h 996556"/>
                  <a:gd name="connsiteX96" fmla="*/ 235320 w 1028957"/>
                  <a:gd name="connsiteY96" fmla="*/ 552729 h 996556"/>
                  <a:gd name="connsiteX97" fmla="*/ 145355 w 1028957"/>
                  <a:gd name="connsiteY97" fmla="*/ 642735 h 996556"/>
                  <a:gd name="connsiteX98" fmla="*/ 115092 w 1028957"/>
                  <a:gd name="connsiteY98" fmla="*/ 645621 h 996556"/>
                  <a:gd name="connsiteX99" fmla="*/ 102063 w 1028957"/>
                  <a:gd name="connsiteY99" fmla="*/ 648631 h 996556"/>
                  <a:gd name="connsiteX100" fmla="*/ 91137 w 1028957"/>
                  <a:gd name="connsiteY100" fmla="*/ 662278 h 996556"/>
                  <a:gd name="connsiteX101" fmla="*/ 91714 w 1028957"/>
                  <a:gd name="connsiteY101" fmla="*/ 665783 h 996556"/>
                  <a:gd name="connsiteX102" fmla="*/ 106351 w 1028957"/>
                  <a:gd name="connsiteY102" fmla="*/ 674359 h 996556"/>
                  <a:gd name="connsiteX103" fmla="*/ 92044 w 1028957"/>
                  <a:gd name="connsiteY103" fmla="*/ 678771 h 996556"/>
                  <a:gd name="connsiteX104" fmla="*/ 79922 w 1028957"/>
                  <a:gd name="connsiteY104" fmla="*/ 703303 h 996556"/>
                  <a:gd name="connsiteX105" fmla="*/ 28631 w 1028957"/>
                  <a:gd name="connsiteY105" fmla="*/ 732535 h 996556"/>
                  <a:gd name="connsiteX106" fmla="*/ 34362 w 1028957"/>
                  <a:gd name="connsiteY106" fmla="*/ 769065 h 996556"/>
                  <a:gd name="connsiteX107" fmla="*/ 16881 w 1028957"/>
                  <a:gd name="connsiteY107" fmla="*/ 815862 h 996556"/>
                  <a:gd name="connsiteX108" fmla="*/ 3605 w 1028957"/>
                  <a:gd name="connsiteY108" fmla="*/ 829385 h 996556"/>
                  <a:gd name="connsiteX109" fmla="*/ 2739 w 1028957"/>
                  <a:gd name="connsiteY109" fmla="*/ 845878 h 996556"/>
                  <a:gd name="connsiteX110" fmla="*/ 23354 w 1028957"/>
                  <a:gd name="connsiteY110" fmla="*/ 853423 h 996556"/>
                  <a:gd name="connsiteX111" fmla="*/ 51803 w 1028957"/>
                  <a:gd name="connsiteY111" fmla="*/ 841054 h 996556"/>
                  <a:gd name="connsiteX112" fmla="*/ 58895 w 1028957"/>
                  <a:gd name="connsiteY112" fmla="*/ 855484 h 996556"/>
                  <a:gd name="connsiteX113" fmla="*/ 38280 w 1028957"/>
                  <a:gd name="connsiteY113" fmla="*/ 874698 h 996556"/>
                  <a:gd name="connsiteX114" fmla="*/ 22282 w 1028957"/>
                  <a:gd name="connsiteY114" fmla="*/ 869874 h 996556"/>
                  <a:gd name="connsiteX115" fmla="*/ 8676 w 1028957"/>
                  <a:gd name="connsiteY115" fmla="*/ 883604 h 996556"/>
                  <a:gd name="connsiteX116" fmla="*/ 5707 w 1028957"/>
                  <a:gd name="connsiteY116" fmla="*/ 911022 h 996556"/>
                  <a:gd name="connsiteX117" fmla="*/ 28219 w 1028957"/>
                  <a:gd name="connsiteY117" fmla="*/ 907600 h 996556"/>
                  <a:gd name="connsiteX118" fmla="*/ 49535 w 1028957"/>
                  <a:gd name="connsiteY118" fmla="*/ 910362 h 996556"/>
                  <a:gd name="connsiteX119" fmla="*/ 39475 w 1028957"/>
                  <a:gd name="connsiteY119" fmla="*/ 928875 h 996556"/>
                  <a:gd name="connsiteX120" fmla="*/ 25787 w 1028957"/>
                  <a:gd name="connsiteY120" fmla="*/ 939801 h 996556"/>
                  <a:gd name="connsiteX121" fmla="*/ 35847 w 1028957"/>
                  <a:gd name="connsiteY121" fmla="*/ 950644 h 996556"/>
                  <a:gd name="connsiteX122" fmla="*/ 36135 w 1028957"/>
                  <a:gd name="connsiteY122" fmla="*/ 950644 h 996556"/>
                  <a:gd name="connsiteX123" fmla="*/ 37208 w 1028957"/>
                  <a:gd name="connsiteY123" fmla="*/ 951222 h 996556"/>
                  <a:gd name="connsiteX124" fmla="*/ 47144 w 1028957"/>
                  <a:gd name="connsiteY124" fmla="*/ 957200 h 996556"/>
                  <a:gd name="connsiteX125" fmla="*/ 75593 w 1028957"/>
                  <a:gd name="connsiteY125" fmla="*/ 978640 h 996556"/>
                  <a:gd name="connsiteX126" fmla="*/ 84128 w 1028957"/>
                  <a:gd name="connsiteY126" fmla="*/ 991669 h 996556"/>
                  <a:gd name="connsiteX127" fmla="*/ 111711 w 1028957"/>
                  <a:gd name="connsiteY127" fmla="*/ 995792 h 996556"/>
                  <a:gd name="connsiteX128" fmla="*/ 186338 w 1028957"/>
                  <a:gd name="connsiteY128" fmla="*/ 932008 h 996556"/>
                  <a:gd name="connsiteX129" fmla="*/ 214168 w 1028957"/>
                  <a:gd name="connsiteY129" fmla="*/ 925164 h 996556"/>
                  <a:gd name="connsiteX130" fmla="*/ 224270 w 1028957"/>
                  <a:gd name="connsiteY130" fmla="*/ 891561 h 996556"/>
                  <a:gd name="connsiteX131" fmla="*/ 240268 w 1028957"/>
                  <a:gd name="connsiteY131" fmla="*/ 916918 h 996556"/>
                  <a:gd name="connsiteX132" fmla="*/ 249709 w 1028957"/>
                  <a:gd name="connsiteY132" fmla="*/ 937945 h 996556"/>
                  <a:gd name="connsiteX133" fmla="*/ 262078 w 1028957"/>
                  <a:gd name="connsiteY133" fmla="*/ 940007 h 996556"/>
                  <a:gd name="connsiteX134" fmla="*/ 271603 w 1028957"/>
                  <a:gd name="connsiteY134" fmla="*/ 909166 h 996556"/>
                  <a:gd name="connsiteX135" fmla="*/ 277334 w 1028957"/>
                  <a:gd name="connsiteY135" fmla="*/ 871688 h 996556"/>
                  <a:gd name="connsiteX136" fmla="*/ 303968 w 1028957"/>
                  <a:gd name="connsiteY136" fmla="*/ 860679 h 996556"/>
                  <a:gd name="connsiteX137" fmla="*/ 302072 w 1028957"/>
                  <a:gd name="connsiteY137" fmla="*/ 816604 h 996556"/>
                  <a:gd name="connsiteX138" fmla="*/ 300134 w 1028957"/>
                  <a:gd name="connsiteY138" fmla="*/ 794546 h 996556"/>
                  <a:gd name="connsiteX139" fmla="*/ 315389 w 1028957"/>
                  <a:gd name="connsiteY139" fmla="*/ 770302 h 996556"/>
                  <a:gd name="connsiteX140" fmla="*/ 288755 w 1028957"/>
                  <a:gd name="connsiteY140" fmla="*/ 737318 h 996556"/>
                  <a:gd name="connsiteX141" fmla="*/ 290610 w 1028957"/>
                  <a:gd name="connsiteY141" fmla="*/ 693243 h 996556"/>
                  <a:gd name="connsiteX142" fmla="*/ 290610 w 1028957"/>
                  <a:gd name="connsiteY142" fmla="*/ 646941 h 996556"/>
                  <a:gd name="connsiteX143" fmla="*/ 294444 w 1028957"/>
                  <a:gd name="connsiteY143" fmla="*/ 600639 h 996556"/>
                  <a:gd name="connsiteX144" fmla="*/ 334397 w 1028957"/>
                  <a:gd name="connsiteY144" fmla="*/ 569840 h 996556"/>
                  <a:gd name="connsiteX145" fmla="*/ 361072 w 1028957"/>
                  <a:gd name="connsiteY145" fmla="*/ 567572 h 996556"/>
                  <a:gd name="connsiteX146" fmla="*/ 361072 w 1028957"/>
                  <a:gd name="connsiteY146" fmla="*/ 541102 h 996556"/>
                  <a:gd name="connsiteX147" fmla="*/ 351549 w 1028957"/>
                  <a:gd name="connsiteY147" fmla="*/ 516900 h 996556"/>
                  <a:gd name="connsiteX148" fmla="*/ 378183 w 1028957"/>
                  <a:gd name="connsiteY148" fmla="*/ 457404 h 996556"/>
                  <a:gd name="connsiteX149" fmla="*/ 380080 w 1028957"/>
                  <a:gd name="connsiteY149" fmla="*/ 415514 h 996556"/>
                  <a:gd name="connsiteX150" fmla="*/ 410508 w 1028957"/>
                  <a:gd name="connsiteY150" fmla="*/ 406732 h 996556"/>
                  <a:gd name="connsiteX151" fmla="*/ 418095 w 1028957"/>
                  <a:gd name="connsiteY151" fmla="*/ 380262 h 996556"/>
                  <a:gd name="connsiteX152" fmla="*/ 439039 w 1028957"/>
                  <a:gd name="connsiteY152" fmla="*/ 345010 h 996556"/>
                  <a:gd name="connsiteX153" fmla="*/ 448564 w 1028957"/>
                  <a:gd name="connsiteY153" fmla="*/ 320767 h 996556"/>
                  <a:gd name="connsiteX154" fmla="*/ 459984 w 1028957"/>
                  <a:gd name="connsiteY154" fmla="*/ 287782 h 996556"/>
                  <a:gd name="connsiteX155" fmla="*/ 490454 w 1028957"/>
                  <a:gd name="connsiteY155" fmla="*/ 261312 h 996556"/>
                  <a:gd name="connsiteX156" fmla="*/ 520882 w 1028957"/>
                  <a:gd name="connsiteY156" fmla="*/ 248119 h 996556"/>
                  <a:gd name="connsiteX157" fmla="*/ 530406 w 1028957"/>
                  <a:gd name="connsiteY157" fmla="*/ 215134 h 996556"/>
                  <a:gd name="connsiteX158" fmla="*/ 572255 w 1028957"/>
                  <a:gd name="connsiteY158" fmla="*/ 223957 h 996556"/>
                  <a:gd name="connsiteX159" fmla="*/ 598890 w 1028957"/>
                  <a:gd name="connsiteY159" fmla="*/ 215134 h 996556"/>
                  <a:gd name="connsiteX160" fmla="*/ 621732 w 1028957"/>
                  <a:gd name="connsiteY160" fmla="*/ 179882 h 996556"/>
                  <a:gd name="connsiteX161" fmla="*/ 625607 w 1028957"/>
                  <a:gd name="connsiteY161" fmla="*/ 182645 h 996556"/>
                  <a:gd name="connsiteX162" fmla="*/ 652160 w 1028957"/>
                  <a:gd name="connsiteY162" fmla="*/ 160009 h 996556"/>
                  <a:gd name="connsiteX163" fmla="*/ 695947 w 1028957"/>
                  <a:gd name="connsiteY163" fmla="*/ 197488 h 996556"/>
                  <a:gd name="connsiteX164" fmla="*/ 739692 w 1028957"/>
                  <a:gd name="connsiteY164" fmla="*/ 199673 h 996556"/>
                  <a:gd name="connsiteX165" fmla="*/ 770162 w 1028957"/>
                  <a:gd name="connsiteY165" fmla="*/ 201899 h 996556"/>
                  <a:gd name="connsiteX166" fmla="*/ 793003 w 1028957"/>
                  <a:gd name="connsiteY166" fmla="*/ 208537 h 996556"/>
                  <a:gd name="connsiteX167" fmla="*/ 810114 w 1028957"/>
                  <a:gd name="connsiteY167" fmla="*/ 182109 h 996556"/>
                  <a:gd name="connsiteX168" fmla="*/ 817741 w 1028957"/>
                  <a:gd name="connsiteY168" fmla="*/ 142404 h 996556"/>
                  <a:gd name="connsiteX169" fmla="*/ 842479 w 1028957"/>
                  <a:gd name="connsiteY169" fmla="*/ 111563 h 996556"/>
                  <a:gd name="connsiteX170" fmla="*/ 882432 w 1028957"/>
                  <a:gd name="connsiteY170" fmla="*/ 100513 h 996556"/>
                  <a:gd name="connsiteX171" fmla="*/ 914798 w 1028957"/>
                  <a:gd name="connsiteY171" fmla="*/ 100513 h 996556"/>
                  <a:gd name="connsiteX172" fmla="*/ 956647 w 1028957"/>
                  <a:gd name="connsiteY172" fmla="*/ 133498 h 996556"/>
                  <a:gd name="connsiteX173" fmla="*/ 956647 w 1028957"/>
                  <a:gd name="connsiteY173" fmla="*/ 159349 h 996556"/>
                  <a:gd name="connsiteX174" fmla="*/ 975077 w 1028957"/>
                  <a:gd name="connsiteY174" fmla="*/ 148794 h 996556"/>
                  <a:gd name="connsiteX175" fmla="*/ 1008061 w 1028957"/>
                  <a:gd name="connsiteY175" fmla="*/ 130983 h 996556"/>
                  <a:gd name="connsiteX176" fmla="*/ 1028429 w 1028957"/>
                  <a:gd name="connsiteY176" fmla="*/ 114491 h 996556"/>
                  <a:gd name="connsiteX177" fmla="*/ 998619 w 1028957"/>
                  <a:gd name="connsiteY177" fmla="*/ 115810 h 9965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</a:cxnLst>
                <a:rect l="l" t="t" r="r" b="b"/>
                <a:pathLst>
                  <a:path w="1028957" h="996556">
                    <a:moveTo>
                      <a:pt x="998619" y="115810"/>
                    </a:moveTo>
                    <a:cubicBezTo>
                      <a:pt x="996269" y="126117"/>
                      <a:pt x="980272" y="124056"/>
                      <a:pt x="980849" y="113748"/>
                    </a:cubicBezTo>
                    <a:cubicBezTo>
                      <a:pt x="981426" y="103441"/>
                      <a:pt x="956111" y="95236"/>
                      <a:pt x="954791" y="90412"/>
                    </a:cubicBezTo>
                    <a:cubicBezTo>
                      <a:pt x="953472" y="85588"/>
                      <a:pt x="965470" y="86289"/>
                      <a:pt x="974953" y="92474"/>
                    </a:cubicBezTo>
                    <a:cubicBezTo>
                      <a:pt x="984436" y="98658"/>
                      <a:pt x="990950" y="94535"/>
                      <a:pt x="1001588" y="82867"/>
                    </a:cubicBezTo>
                    <a:cubicBezTo>
                      <a:pt x="1012225" y="71199"/>
                      <a:pt x="1027068" y="80846"/>
                      <a:pt x="1028841" y="70498"/>
                    </a:cubicBezTo>
                    <a:cubicBezTo>
                      <a:pt x="1030614" y="60149"/>
                      <a:pt x="1011648" y="53346"/>
                      <a:pt x="1008226" y="47161"/>
                    </a:cubicBezTo>
                    <a:cubicBezTo>
                      <a:pt x="1004804" y="40977"/>
                      <a:pt x="991074" y="32772"/>
                      <a:pt x="978045" y="35534"/>
                    </a:cubicBezTo>
                    <a:cubicBezTo>
                      <a:pt x="965016" y="38297"/>
                      <a:pt x="964398" y="32071"/>
                      <a:pt x="956688" y="23866"/>
                    </a:cubicBezTo>
                    <a:cubicBezTo>
                      <a:pt x="954503" y="21751"/>
                      <a:pt x="951410" y="20869"/>
                      <a:pt x="948442" y="21516"/>
                    </a:cubicBezTo>
                    <a:cubicBezTo>
                      <a:pt x="944442" y="24328"/>
                      <a:pt x="940031" y="26496"/>
                      <a:pt x="935372" y="27948"/>
                    </a:cubicBezTo>
                    <a:cubicBezTo>
                      <a:pt x="929146" y="33019"/>
                      <a:pt x="925435" y="40540"/>
                      <a:pt x="925188" y="48563"/>
                    </a:cubicBezTo>
                    <a:cubicBezTo>
                      <a:pt x="925188" y="67776"/>
                      <a:pt x="910345" y="62952"/>
                      <a:pt x="915663" y="52686"/>
                    </a:cubicBezTo>
                    <a:cubicBezTo>
                      <a:pt x="920240" y="43863"/>
                      <a:pt x="911788" y="33555"/>
                      <a:pt x="916736" y="28649"/>
                    </a:cubicBezTo>
                    <a:cubicBezTo>
                      <a:pt x="915499" y="28298"/>
                      <a:pt x="914262" y="27886"/>
                      <a:pt x="913066" y="27412"/>
                    </a:cubicBezTo>
                    <a:cubicBezTo>
                      <a:pt x="908407" y="25433"/>
                      <a:pt x="903583" y="23792"/>
                      <a:pt x="898677" y="22505"/>
                    </a:cubicBezTo>
                    <a:cubicBezTo>
                      <a:pt x="897976" y="22435"/>
                      <a:pt x="897234" y="22266"/>
                      <a:pt x="896574" y="22011"/>
                    </a:cubicBezTo>
                    <a:cubicBezTo>
                      <a:pt x="895255" y="22011"/>
                      <a:pt x="894017" y="21763"/>
                      <a:pt x="892740" y="21722"/>
                    </a:cubicBezTo>
                    <a:cubicBezTo>
                      <a:pt x="887627" y="21524"/>
                      <a:pt x="882515" y="21590"/>
                      <a:pt x="877443" y="21928"/>
                    </a:cubicBezTo>
                    <a:cubicBezTo>
                      <a:pt x="877443" y="23614"/>
                      <a:pt x="877979" y="25255"/>
                      <a:pt x="878968" y="26628"/>
                    </a:cubicBezTo>
                    <a:cubicBezTo>
                      <a:pt x="884287" y="33514"/>
                      <a:pt x="864125" y="62994"/>
                      <a:pt x="855220" y="62994"/>
                    </a:cubicBezTo>
                    <a:cubicBezTo>
                      <a:pt x="846314" y="62994"/>
                      <a:pt x="856457" y="37637"/>
                      <a:pt x="855879" y="23907"/>
                    </a:cubicBezTo>
                    <a:cubicBezTo>
                      <a:pt x="855879" y="23784"/>
                      <a:pt x="855879" y="23660"/>
                      <a:pt x="855879" y="23536"/>
                    </a:cubicBezTo>
                    <a:cubicBezTo>
                      <a:pt x="852375" y="23260"/>
                      <a:pt x="848912" y="22596"/>
                      <a:pt x="845530" y="21557"/>
                    </a:cubicBezTo>
                    <a:cubicBezTo>
                      <a:pt x="840129" y="27247"/>
                      <a:pt x="835100" y="33295"/>
                      <a:pt x="830482" y="39657"/>
                    </a:cubicBezTo>
                    <a:cubicBezTo>
                      <a:pt x="813990" y="61633"/>
                      <a:pt x="801620" y="81506"/>
                      <a:pt x="792013" y="83568"/>
                    </a:cubicBezTo>
                    <a:cubicBezTo>
                      <a:pt x="782407" y="85629"/>
                      <a:pt x="783767" y="63653"/>
                      <a:pt x="799105" y="54088"/>
                    </a:cubicBezTo>
                    <a:cubicBezTo>
                      <a:pt x="814443" y="44522"/>
                      <a:pt x="815102" y="18382"/>
                      <a:pt x="825122" y="18382"/>
                    </a:cubicBezTo>
                    <a:cubicBezTo>
                      <a:pt x="828131" y="18692"/>
                      <a:pt x="830935" y="16873"/>
                      <a:pt x="831883" y="14012"/>
                    </a:cubicBezTo>
                    <a:cubicBezTo>
                      <a:pt x="827513" y="10363"/>
                      <a:pt x="823884" y="5910"/>
                      <a:pt x="821164" y="901"/>
                    </a:cubicBezTo>
                    <a:cubicBezTo>
                      <a:pt x="820875" y="901"/>
                      <a:pt x="820710" y="653"/>
                      <a:pt x="820380" y="571"/>
                    </a:cubicBezTo>
                    <a:cubicBezTo>
                      <a:pt x="805578" y="-3552"/>
                      <a:pt x="803228" y="15661"/>
                      <a:pt x="798487" y="21186"/>
                    </a:cubicBezTo>
                    <a:cubicBezTo>
                      <a:pt x="795889" y="24196"/>
                      <a:pt x="787519" y="21186"/>
                      <a:pt x="780510" y="18465"/>
                    </a:cubicBezTo>
                    <a:cubicBezTo>
                      <a:pt x="775645" y="21549"/>
                      <a:pt x="770162" y="23532"/>
                      <a:pt x="764430" y="24278"/>
                    </a:cubicBezTo>
                    <a:cubicBezTo>
                      <a:pt x="761091" y="26802"/>
                      <a:pt x="760431" y="31535"/>
                      <a:pt x="762946" y="34875"/>
                    </a:cubicBezTo>
                    <a:cubicBezTo>
                      <a:pt x="768842" y="45182"/>
                      <a:pt x="760018" y="54129"/>
                      <a:pt x="754082" y="41760"/>
                    </a:cubicBezTo>
                    <a:cubicBezTo>
                      <a:pt x="748144" y="29391"/>
                      <a:pt x="733466" y="38998"/>
                      <a:pt x="726251" y="52727"/>
                    </a:cubicBezTo>
                    <a:cubicBezTo>
                      <a:pt x="719036" y="66457"/>
                      <a:pt x="709759" y="65756"/>
                      <a:pt x="716727" y="70580"/>
                    </a:cubicBezTo>
                    <a:cubicBezTo>
                      <a:pt x="723695" y="75404"/>
                      <a:pt x="723283" y="93916"/>
                      <a:pt x="712603" y="97339"/>
                    </a:cubicBezTo>
                    <a:cubicBezTo>
                      <a:pt x="701925" y="100761"/>
                      <a:pt x="706048" y="63695"/>
                      <a:pt x="697761" y="67158"/>
                    </a:cubicBezTo>
                    <a:cubicBezTo>
                      <a:pt x="689473" y="70621"/>
                      <a:pt x="694792" y="49305"/>
                      <a:pt x="706007" y="49305"/>
                    </a:cubicBezTo>
                    <a:cubicBezTo>
                      <a:pt x="714253" y="49305"/>
                      <a:pt x="722499" y="38709"/>
                      <a:pt x="725962" y="31287"/>
                    </a:cubicBezTo>
                    <a:cubicBezTo>
                      <a:pt x="716768" y="34710"/>
                      <a:pt x="707697" y="38338"/>
                      <a:pt x="698173" y="40935"/>
                    </a:cubicBezTo>
                    <a:cubicBezTo>
                      <a:pt x="689721" y="43273"/>
                      <a:pt x="680732" y="42898"/>
                      <a:pt x="672486" y="39863"/>
                    </a:cubicBezTo>
                    <a:cubicBezTo>
                      <a:pt x="667044" y="45842"/>
                      <a:pt x="670384" y="59572"/>
                      <a:pt x="682918" y="67818"/>
                    </a:cubicBezTo>
                    <a:cubicBezTo>
                      <a:pt x="699410" y="78826"/>
                      <a:pt x="679949" y="85670"/>
                      <a:pt x="671662" y="77424"/>
                    </a:cubicBezTo>
                    <a:cubicBezTo>
                      <a:pt x="663375" y="69178"/>
                      <a:pt x="650346" y="73301"/>
                      <a:pt x="641440" y="78125"/>
                    </a:cubicBezTo>
                    <a:cubicBezTo>
                      <a:pt x="632534" y="82949"/>
                      <a:pt x="662797" y="95277"/>
                      <a:pt x="663993" y="101462"/>
                    </a:cubicBezTo>
                    <a:cubicBezTo>
                      <a:pt x="665188" y="107646"/>
                      <a:pt x="648572" y="93916"/>
                      <a:pt x="644985" y="98699"/>
                    </a:cubicBezTo>
                    <a:cubicBezTo>
                      <a:pt x="641398" y="103482"/>
                      <a:pt x="624865" y="95277"/>
                      <a:pt x="623711" y="83609"/>
                    </a:cubicBezTo>
                    <a:cubicBezTo>
                      <a:pt x="622556" y="71941"/>
                      <a:pt x="595839" y="88392"/>
                      <a:pt x="610682" y="92515"/>
                    </a:cubicBezTo>
                    <a:cubicBezTo>
                      <a:pt x="625525" y="96638"/>
                      <a:pt x="620124" y="107646"/>
                      <a:pt x="620124" y="122695"/>
                    </a:cubicBezTo>
                    <a:cubicBezTo>
                      <a:pt x="620124" y="137744"/>
                      <a:pt x="602931" y="126159"/>
                      <a:pt x="606518" y="113089"/>
                    </a:cubicBezTo>
                    <a:cubicBezTo>
                      <a:pt x="610105" y="100019"/>
                      <a:pt x="595839" y="102822"/>
                      <a:pt x="584006" y="111027"/>
                    </a:cubicBezTo>
                    <a:cubicBezTo>
                      <a:pt x="572173" y="119232"/>
                      <a:pt x="585820" y="95937"/>
                      <a:pt x="581078" y="84269"/>
                    </a:cubicBezTo>
                    <a:cubicBezTo>
                      <a:pt x="576337" y="72600"/>
                      <a:pt x="565617" y="84269"/>
                      <a:pt x="553207" y="87031"/>
                    </a:cubicBezTo>
                    <a:cubicBezTo>
                      <a:pt x="540796" y="89793"/>
                      <a:pt x="534282" y="90453"/>
                      <a:pt x="541992" y="100060"/>
                    </a:cubicBezTo>
                    <a:cubicBezTo>
                      <a:pt x="549702" y="109667"/>
                      <a:pt x="548507" y="123355"/>
                      <a:pt x="538405" y="121335"/>
                    </a:cubicBezTo>
                    <a:cubicBezTo>
                      <a:pt x="528303" y="119314"/>
                      <a:pt x="524222" y="121335"/>
                      <a:pt x="525376" y="132302"/>
                    </a:cubicBezTo>
                    <a:cubicBezTo>
                      <a:pt x="526283" y="136178"/>
                      <a:pt x="523892" y="140070"/>
                      <a:pt x="520016" y="140989"/>
                    </a:cubicBezTo>
                    <a:cubicBezTo>
                      <a:pt x="516140" y="141913"/>
                      <a:pt x="512265" y="139513"/>
                      <a:pt x="511317" y="135638"/>
                    </a:cubicBezTo>
                    <a:cubicBezTo>
                      <a:pt x="511234" y="135221"/>
                      <a:pt x="511193" y="134792"/>
                      <a:pt x="511151" y="134364"/>
                    </a:cubicBezTo>
                    <a:cubicBezTo>
                      <a:pt x="509997" y="124757"/>
                      <a:pt x="489835" y="127519"/>
                      <a:pt x="483898" y="138487"/>
                    </a:cubicBezTo>
                    <a:cubicBezTo>
                      <a:pt x="477961" y="149454"/>
                      <a:pt x="461387" y="157700"/>
                      <a:pt x="463283" y="170069"/>
                    </a:cubicBezTo>
                    <a:cubicBezTo>
                      <a:pt x="465179" y="182438"/>
                      <a:pt x="478085" y="163843"/>
                      <a:pt x="488722" y="167966"/>
                    </a:cubicBezTo>
                    <a:cubicBezTo>
                      <a:pt x="499360" y="172090"/>
                      <a:pt x="488145" y="178274"/>
                      <a:pt x="494082" y="184459"/>
                    </a:cubicBezTo>
                    <a:cubicBezTo>
                      <a:pt x="500019" y="190643"/>
                      <a:pt x="498782" y="205734"/>
                      <a:pt x="490536" y="196828"/>
                    </a:cubicBezTo>
                    <a:cubicBezTo>
                      <a:pt x="482290" y="187922"/>
                      <a:pt x="471570" y="185160"/>
                      <a:pt x="469921" y="199549"/>
                    </a:cubicBezTo>
                    <a:cubicBezTo>
                      <a:pt x="468272" y="213938"/>
                      <a:pt x="459284" y="197529"/>
                      <a:pt x="452151" y="187180"/>
                    </a:cubicBezTo>
                    <a:cubicBezTo>
                      <a:pt x="445018" y="176831"/>
                      <a:pt x="437967" y="206393"/>
                      <a:pt x="430257" y="199549"/>
                    </a:cubicBezTo>
                    <a:cubicBezTo>
                      <a:pt x="422547" y="192705"/>
                      <a:pt x="445677" y="171471"/>
                      <a:pt x="439741" y="161163"/>
                    </a:cubicBezTo>
                    <a:cubicBezTo>
                      <a:pt x="433803" y="150856"/>
                      <a:pt x="429639" y="167348"/>
                      <a:pt x="416074" y="183098"/>
                    </a:cubicBezTo>
                    <a:cubicBezTo>
                      <a:pt x="402509" y="198848"/>
                      <a:pt x="384121" y="198188"/>
                      <a:pt x="390635" y="205734"/>
                    </a:cubicBezTo>
                    <a:cubicBezTo>
                      <a:pt x="397149" y="213279"/>
                      <a:pt x="376987" y="217402"/>
                      <a:pt x="373442" y="230472"/>
                    </a:cubicBezTo>
                    <a:cubicBezTo>
                      <a:pt x="369896" y="243542"/>
                      <a:pt x="342024" y="248325"/>
                      <a:pt x="324254" y="262054"/>
                    </a:cubicBezTo>
                    <a:cubicBezTo>
                      <a:pt x="306483" y="275784"/>
                      <a:pt x="327800" y="276444"/>
                      <a:pt x="337901" y="263415"/>
                    </a:cubicBezTo>
                    <a:cubicBezTo>
                      <a:pt x="348003" y="250386"/>
                      <a:pt x="351549" y="257931"/>
                      <a:pt x="367505" y="246263"/>
                    </a:cubicBezTo>
                    <a:cubicBezTo>
                      <a:pt x="383461" y="234595"/>
                      <a:pt x="400489" y="224988"/>
                      <a:pt x="406591" y="229771"/>
                    </a:cubicBezTo>
                    <a:cubicBezTo>
                      <a:pt x="412693" y="234554"/>
                      <a:pt x="422589" y="238017"/>
                      <a:pt x="430257" y="225648"/>
                    </a:cubicBezTo>
                    <a:cubicBezTo>
                      <a:pt x="437926" y="213279"/>
                      <a:pt x="447451" y="216000"/>
                      <a:pt x="454996" y="223586"/>
                    </a:cubicBezTo>
                    <a:cubicBezTo>
                      <a:pt x="462541" y="231173"/>
                      <a:pt x="441967" y="237316"/>
                      <a:pt x="451409" y="248325"/>
                    </a:cubicBezTo>
                    <a:cubicBezTo>
                      <a:pt x="460851" y="259333"/>
                      <a:pt x="440194" y="265435"/>
                      <a:pt x="440194" y="255870"/>
                    </a:cubicBezTo>
                    <a:cubicBezTo>
                      <a:pt x="440194" y="246304"/>
                      <a:pt x="428361" y="238017"/>
                      <a:pt x="424197" y="246923"/>
                    </a:cubicBezTo>
                    <a:cubicBezTo>
                      <a:pt x="420032" y="255829"/>
                      <a:pt x="412941" y="265435"/>
                      <a:pt x="405231" y="266136"/>
                    </a:cubicBezTo>
                    <a:cubicBezTo>
                      <a:pt x="397521" y="266837"/>
                      <a:pt x="389233" y="283329"/>
                      <a:pt x="389233" y="299780"/>
                    </a:cubicBezTo>
                    <a:cubicBezTo>
                      <a:pt x="389233" y="316231"/>
                      <a:pt x="375627" y="299780"/>
                      <a:pt x="374472" y="314170"/>
                    </a:cubicBezTo>
                    <a:cubicBezTo>
                      <a:pt x="373318" y="328559"/>
                      <a:pt x="354311" y="353916"/>
                      <a:pt x="337736" y="372469"/>
                    </a:cubicBezTo>
                    <a:cubicBezTo>
                      <a:pt x="321162" y="391023"/>
                      <a:pt x="336541" y="395105"/>
                      <a:pt x="331222" y="406773"/>
                    </a:cubicBezTo>
                    <a:cubicBezTo>
                      <a:pt x="325903" y="418442"/>
                      <a:pt x="306483" y="408134"/>
                      <a:pt x="299845" y="412917"/>
                    </a:cubicBezTo>
                    <a:cubicBezTo>
                      <a:pt x="293207" y="417699"/>
                      <a:pt x="303391" y="446561"/>
                      <a:pt x="294486" y="455466"/>
                    </a:cubicBezTo>
                    <a:cubicBezTo>
                      <a:pt x="285580" y="464372"/>
                      <a:pt x="294486" y="476741"/>
                      <a:pt x="294486" y="487008"/>
                    </a:cubicBezTo>
                    <a:cubicBezTo>
                      <a:pt x="294486" y="497274"/>
                      <a:pt x="271438" y="480864"/>
                      <a:pt x="269747" y="491131"/>
                    </a:cubicBezTo>
                    <a:cubicBezTo>
                      <a:pt x="268057" y="501397"/>
                      <a:pt x="247813" y="498717"/>
                      <a:pt x="241917" y="501438"/>
                    </a:cubicBezTo>
                    <a:cubicBezTo>
                      <a:pt x="236021" y="504160"/>
                      <a:pt x="253750" y="520611"/>
                      <a:pt x="264429" y="530300"/>
                    </a:cubicBezTo>
                    <a:cubicBezTo>
                      <a:pt x="275107" y="539989"/>
                      <a:pt x="254327" y="547452"/>
                      <a:pt x="252059" y="536484"/>
                    </a:cubicBezTo>
                    <a:cubicBezTo>
                      <a:pt x="250698" y="530135"/>
                      <a:pt x="245132" y="533433"/>
                      <a:pt x="237175" y="539205"/>
                    </a:cubicBezTo>
                    <a:cubicBezTo>
                      <a:pt x="237505" y="543794"/>
                      <a:pt x="236886" y="548400"/>
                      <a:pt x="235320" y="552729"/>
                    </a:cubicBezTo>
                    <a:cubicBezTo>
                      <a:pt x="218168" y="598083"/>
                      <a:pt x="187699" y="623109"/>
                      <a:pt x="145355" y="642735"/>
                    </a:cubicBezTo>
                    <a:cubicBezTo>
                      <a:pt x="135954" y="647308"/>
                      <a:pt x="125193" y="648334"/>
                      <a:pt x="115092" y="645621"/>
                    </a:cubicBezTo>
                    <a:cubicBezTo>
                      <a:pt x="110845" y="647064"/>
                      <a:pt x="106516" y="648070"/>
                      <a:pt x="102063" y="648631"/>
                    </a:cubicBezTo>
                    <a:cubicBezTo>
                      <a:pt x="99383" y="653863"/>
                      <a:pt x="95672" y="658506"/>
                      <a:pt x="91137" y="662278"/>
                    </a:cubicBezTo>
                    <a:cubicBezTo>
                      <a:pt x="91384" y="663433"/>
                      <a:pt x="91549" y="664587"/>
                      <a:pt x="91714" y="665783"/>
                    </a:cubicBezTo>
                    <a:cubicBezTo>
                      <a:pt x="97445" y="668133"/>
                      <a:pt x="104537" y="670195"/>
                      <a:pt x="106351" y="674359"/>
                    </a:cubicBezTo>
                    <a:cubicBezTo>
                      <a:pt x="108165" y="678523"/>
                      <a:pt x="101115" y="679719"/>
                      <a:pt x="92044" y="678771"/>
                    </a:cubicBezTo>
                    <a:cubicBezTo>
                      <a:pt x="91095" y="688138"/>
                      <a:pt x="86767" y="696846"/>
                      <a:pt x="79922" y="703303"/>
                    </a:cubicBezTo>
                    <a:cubicBezTo>
                      <a:pt x="65657" y="717329"/>
                      <a:pt x="47969" y="727402"/>
                      <a:pt x="28631" y="732535"/>
                    </a:cubicBezTo>
                    <a:cubicBezTo>
                      <a:pt x="36012" y="743193"/>
                      <a:pt x="38156" y="756651"/>
                      <a:pt x="34362" y="769065"/>
                    </a:cubicBezTo>
                    <a:cubicBezTo>
                      <a:pt x="29992" y="785557"/>
                      <a:pt x="26611" y="801514"/>
                      <a:pt x="16881" y="815862"/>
                    </a:cubicBezTo>
                    <a:cubicBezTo>
                      <a:pt x="13335" y="821148"/>
                      <a:pt x="8841" y="825733"/>
                      <a:pt x="3605" y="829385"/>
                    </a:cubicBezTo>
                    <a:cubicBezTo>
                      <a:pt x="-848" y="833855"/>
                      <a:pt x="-1220" y="840963"/>
                      <a:pt x="2739" y="845878"/>
                    </a:cubicBezTo>
                    <a:cubicBezTo>
                      <a:pt x="12180" y="861628"/>
                      <a:pt x="19231" y="841755"/>
                      <a:pt x="23354" y="853423"/>
                    </a:cubicBezTo>
                    <a:cubicBezTo>
                      <a:pt x="27477" y="865091"/>
                      <a:pt x="38733" y="854825"/>
                      <a:pt x="51803" y="841054"/>
                    </a:cubicBezTo>
                    <a:cubicBezTo>
                      <a:pt x="64873" y="827283"/>
                      <a:pt x="69573" y="856144"/>
                      <a:pt x="58895" y="855484"/>
                    </a:cubicBezTo>
                    <a:cubicBezTo>
                      <a:pt x="48216" y="854825"/>
                      <a:pt x="35805" y="862329"/>
                      <a:pt x="38280" y="874698"/>
                    </a:cubicBezTo>
                    <a:cubicBezTo>
                      <a:pt x="40753" y="887067"/>
                      <a:pt x="21787" y="884964"/>
                      <a:pt x="22282" y="869874"/>
                    </a:cubicBezTo>
                    <a:cubicBezTo>
                      <a:pt x="22777" y="854783"/>
                      <a:pt x="388" y="872636"/>
                      <a:pt x="8676" y="883604"/>
                    </a:cubicBezTo>
                    <a:cubicBezTo>
                      <a:pt x="16963" y="894571"/>
                      <a:pt x="5707" y="900756"/>
                      <a:pt x="5707" y="911022"/>
                    </a:cubicBezTo>
                    <a:cubicBezTo>
                      <a:pt x="5707" y="921288"/>
                      <a:pt x="21705" y="919268"/>
                      <a:pt x="28219" y="907600"/>
                    </a:cubicBezTo>
                    <a:cubicBezTo>
                      <a:pt x="34734" y="895931"/>
                      <a:pt x="45371" y="898694"/>
                      <a:pt x="49535" y="910362"/>
                    </a:cubicBezTo>
                    <a:cubicBezTo>
                      <a:pt x="53700" y="922030"/>
                      <a:pt x="39475" y="913083"/>
                      <a:pt x="39475" y="928875"/>
                    </a:cubicBezTo>
                    <a:cubicBezTo>
                      <a:pt x="39475" y="942687"/>
                      <a:pt x="32672" y="933863"/>
                      <a:pt x="25787" y="939801"/>
                    </a:cubicBezTo>
                    <a:cubicBezTo>
                      <a:pt x="29580" y="943000"/>
                      <a:pt x="32919" y="946641"/>
                      <a:pt x="35847" y="950644"/>
                    </a:cubicBezTo>
                    <a:lnTo>
                      <a:pt x="36135" y="950644"/>
                    </a:lnTo>
                    <a:cubicBezTo>
                      <a:pt x="32012" y="944748"/>
                      <a:pt x="35187" y="948871"/>
                      <a:pt x="37208" y="951222"/>
                    </a:cubicBezTo>
                    <a:cubicBezTo>
                      <a:pt x="40547" y="953159"/>
                      <a:pt x="43763" y="955345"/>
                      <a:pt x="47144" y="957200"/>
                    </a:cubicBezTo>
                    <a:cubicBezTo>
                      <a:pt x="57616" y="962931"/>
                      <a:pt x="67182" y="970150"/>
                      <a:pt x="75593" y="978640"/>
                    </a:cubicBezTo>
                    <a:cubicBezTo>
                      <a:pt x="79180" y="982449"/>
                      <a:pt x="82066" y="986861"/>
                      <a:pt x="84128" y="991669"/>
                    </a:cubicBezTo>
                    <a:cubicBezTo>
                      <a:pt x="92580" y="996150"/>
                      <a:pt x="102310" y="997606"/>
                      <a:pt x="111711" y="995792"/>
                    </a:cubicBezTo>
                    <a:cubicBezTo>
                      <a:pt x="135418" y="991669"/>
                      <a:pt x="180442" y="940955"/>
                      <a:pt x="186338" y="932008"/>
                    </a:cubicBezTo>
                    <a:cubicBezTo>
                      <a:pt x="192234" y="923061"/>
                      <a:pt x="205304" y="933369"/>
                      <a:pt x="214168" y="925164"/>
                    </a:cubicBezTo>
                    <a:cubicBezTo>
                      <a:pt x="223033" y="916959"/>
                      <a:pt x="217755" y="895684"/>
                      <a:pt x="224270" y="891561"/>
                    </a:cubicBezTo>
                    <a:cubicBezTo>
                      <a:pt x="230784" y="887438"/>
                      <a:pt x="234330" y="914155"/>
                      <a:pt x="240268" y="916918"/>
                    </a:cubicBezTo>
                    <a:cubicBezTo>
                      <a:pt x="246204" y="919680"/>
                      <a:pt x="249503" y="924257"/>
                      <a:pt x="249709" y="937945"/>
                    </a:cubicBezTo>
                    <a:cubicBezTo>
                      <a:pt x="253956" y="936877"/>
                      <a:pt x="258409" y="937624"/>
                      <a:pt x="262078" y="940007"/>
                    </a:cubicBezTo>
                    <a:cubicBezTo>
                      <a:pt x="269706" y="946645"/>
                      <a:pt x="271603" y="917990"/>
                      <a:pt x="271603" y="909166"/>
                    </a:cubicBezTo>
                    <a:cubicBezTo>
                      <a:pt x="271603" y="900343"/>
                      <a:pt x="279189" y="882697"/>
                      <a:pt x="277334" y="871688"/>
                    </a:cubicBezTo>
                    <a:cubicBezTo>
                      <a:pt x="275478" y="860679"/>
                      <a:pt x="300134" y="869503"/>
                      <a:pt x="303968" y="860679"/>
                    </a:cubicBezTo>
                    <a:cubicBezTo>
                      <a:pt x="307803" y="851856"/>
                      <a:pt x="309658" y="821016"/>
                      <a:pt x="302072" y="816604"/>
                    </a:cubicBezTo>
                    <a:cubicBezTo>
                      <a:pt x="294486" y="812192"/>
                      <a:pt x="292547" y="794546"/>
                      <a:pt x="300134" y="794546"/>
                    </a:cubicBezTo>
                    <a:cubicBezTo>
                      <a:pt x="307721" y="794546"/>
                      <a:pt x="317244" y="787949"/>
                      <a:pt x="315389" y="770302"/>
                    </a:cubicBezTo>
                    <a:cubicBezTo>
                      <a:pt x="313534" y="752656"/>
                      <a:pt x="290651" y="754882"/>
                      <a:pt x="288755" y="737318"/>
                    </a:cubicBezTo>
                    <a:cubicBezTo>
                      <a:pt x="286858" y="719754"/>
                      <a:pt x="300134" y="715260"/>
                      <a:pt x="290610" y="693243"/>
                    </a:cubicBezTo>
                    <a:cubicBezTo>
                      <a:pt x="281086" y="671226"/>
                      <a:pt x="294403" y="657949"/>
                      <a:pt x="290610" y="646941"/>
                    </a:cubicBezTo>
                    <a:cubicBezTo>
                      <a:pt x="286816" y="635932"/>
                      <a:pt x="283024" y="622697"/>
                      <a:pt x="294444" y="600639"/>
                    </a:cubicBezTo>
                    <a:cubicBezTo>
                      <a:pt x="305865" y="578581"/>
                      <a:pt x="326810" y="567655"/>
                      <a:pt x="334397" y="569840"/>
                    </a:cubicBezTo>
                    <a:cubicBezTo>
                      <a:pt x="341983" y="572025"/>
                      <a:pt x="355341" y="580848"/>
                      <a:pt x="361072" y="567572"/>
                    </a:cubicBezTo>
                    <a:cubicBezTo>
                      <a:pt x="366804" y="554296"/>
                      <a:pt x="366762" y="543370"/>
                      <a:pt x="361072" y="541102"/>
                    </a:cubicBezTo>
                    <a:cubicBezTo>
                      <a:pt x="355383" y="538834"/>
                      <a:pt x="340128" y="534547"/>
                      <a:pt x="351549" y="516900"/>
                    </a:cubicBezTo>
                    <a:cubicBezTo>
                      <a:pt x="362969" y="499253"/>
                      <a:pt x="376287" y="477195"/>
                      <a:pt x="378183" y="457404"/>
                    </a:cubicBezTo>
                    <a:cubicBezTo>
                      <a:pt x="380080" y="437614"/>
                      <a:pt x="374390" y="422111"/>
                      <a:pt x="380080" y="415514"/>
                    </a:cubicBezTo>
                    <a:cubicBezTo>
                      <a:pt x="385769" y="408917"/>
                      <a:pt x="399128" y="415514"/>
                      <a:pt x="410508" y="406732"/>
                    </a:cubicBezTo>
                    <a:cubicBezTo>
                      <a:pt x="421887" y="397950"/>
                      <a:pt x="412405" y="386859"/>
                      <a:pt x="418095" y="380262"/>
                    </a:cubicBezTo>
                    <a:cubicBezTo>
                      <a:pt x="423784" y="373665"/>
                      <a:pt x="431453" y="351401"/>
                      <a:pt x="439039" y="345010"/>
                    </a:cubicBezTo>
                    <a:cubicBezTo>
                      <a:pt x="446626" y="338619"/>
                      <a:pt x="454254" y="329549"/>
                      <a:pt x="448564" y="320767"/>
                    </a:cubicBezTo>
                    <a:cubicBezTo>
                      <a:pt x="442874" y="311984"/>
                      <a:pt x="459984" y="303120"/>
                      <a:pt x="459984" y="287782"/>
                    </a:cubicBezTo>
                    <a:cubicBezTo>
                      <a:pt x="459984" y="272444"/>
                      <a:pt x="478992" y="261312"/>
                      <a:pt x="490454" y="261312"/>
                    </a:cubicBezTo>
                    <a:cubicBezTo>
                      <a:pt x="501916" y="261312"/>
                      <a:pt x="520882" y="261312"/>
                      <a:pt x="520882" y="248119"/>
                    </a:cubicBezTo>
                    <a:cubicBezTo>
                      <a:pt x="520882" y="234925"/>
                      <a:pt x="513254" y="206228"/>
                      <a:pt x="530406" y="215134"/>
                    </a:cubicBezTo>
                    <a:cubicBezTo>
                      <a:pt x="547558" y="224040"/>
                      <a:pt x="560834" y="212908"/>
                      <a:pt x="572255" y="223957"/>
                    </a:cubicBezTo>
                    <a:cubicBezTo>
                      <a:pt x="583676" y="235007"/>
                      <a:pt x="598890" y="232781"/>
                      <a:pt x="598890" y="215134"/>
                    </a:cubicBezTo>
                    <a:cubicBezTo>
                      <a:pt x="598890" y="197488"/>
                      <a:pt x="604621" y="168874"/>
                      <a:pt x="621732" y="179882"/>
                    </a:cubicBezTo>
                    <a:cubicBezTo>
                      <a:pt x="623092" y="180748"/>
                      <a:pt x="624329" y="181696"/>
                      <a:pt x="625607" y="182645"/>
                    </a:cubicBezTo>
                    <a:cubicBezTo>
                      <a:pt x="631256" y="167925"/>
                      <a:pt x="642099" y="158607"/>
                      <a:pt x="652160" y="160009"/>
                    </a:cubicBezTo>
                    <a:cubicBezTo>
                      <a:pt x="667415" y="162277"/>
                      <a:pt x="676898" y="192993"/>
                      <a:pt x="695947" y="197488"/>
                    </a:cubicBezTo>
                    <a:cubicBezTo>
                      <a:pt x="714995" y="201982"/>
                      <a:pt x="734002" y="210722"/>
                      <a:pt x="739692" y="199673"/>
                    </a:cubicBezTo>
                    <a:cubicBezTo>
                      <a:pt x="745382" y="188623"/>
                      <a:pt x="758741" y="206311"/>
                      <a:pt x="770162" y="201899"/>
                    </a:cubicBezTo>
                    <a:cubicBezTo>
                      <a:pt x="781582" y="197488"/>
                      <a:pt x="781582" y="226143"/>
                      <a:pt x="793003" y="208537"/>
                    </a:cubicBezTo>
                    <a:cubicBezTo>
                      <a:pt x="804424" y="190932"/>
                      <a:pt x="791106" y="179882"/>
                      <a:pt x="810114" y="182109"/>
                    </a:cubicBezTo>
                    <a:cubicBezTo>
                      <a:pt x="829121" y="184335"/>
                      <a:pt x="817741" y="157824"/>
                      <a:pt x="817741" y="142404"/>
                    </a:cubicBezTo>
                    <a:cubicBezTo>
                      <a:pt x="817741" y="126983"/>
                      <a:pt x="842479" y="124757"/>
                      <a:pt x="842479" y="111563"/>
                    </a:cubicBezTo>
                    <a:cubicBezTo>
                      <a:pt x="842479" y="98369"/>
                      <a:pt x="876742" y="109337"/>
                      <a:pt x="882432" y="100513"/>
                    </a:cubicBezTo>
                    <a:cubicBezTo>
                      <a:pt x="888122" y="91690"/>
                      <a:pt x="907170" y="85134"/>
                      <a:pt x="914798" y="100513"/>
                    </a:cubicBezTo>
                    <a:cubicBezTo>
                      <a:pt x="922425" y="115892"/>
                      <a:pt x="954750" y="120345"/>
                      <a:pt x="956647" y="133498"/>
                    </a:cubicBezTo>
                    <a:cubicBezTo>
                      <a:pt x="957142" y="142107"/>
                      <a:pt x="957142" y="150740"/>
                      <a:pt x="956647" y="159349"/>
                    </a:cubicBezTo>
                    <a:cubicBezTo>
                      <a:pt x="961924" y="153330"/>
                      <a:pt x="968645" y="148794"/>
                      <a:pt x="975077" y="148794"/>
                    </a:cubicBezTo>
                    <a:cubicBezTo>
                      <a:pt x="986910" y="148794"/>
                      <a:pt x="997547" y="128179"/>
                      <a:pt x="1008061" y="130983"/>
                    </a:cubicBezTo>
                    <a:cubicBezTo>
                      <a:pt x="1016926" y="133250"/>
                      <a:pt x="1025708" y="131519"/>
                      <a:pt x="1028429" y="114491"/>
                    </a:cubicBezTo>
                    <a:cubicBezTo>
                      <a:pt x="1018905" y="107234"/>
                      <a:pt x="1000804" y="106451"/>
                      <a:pt x="998619" y="1158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</a:lstStyle>
              <a:p>
                <a:pPr marL="0" marR="0" lvl="0" indent="0" algn="l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20FCBED5-948C-7A85-93E5-A932A8AF4D14}"/>
                  </a:ext>
                </a:extLst>
              </p:cNvPr>
              <p:cNvSpPr/>
              <p:nvPr>
                <p:custDataLst>
                  <p:tags r:id="rId499"/>
                </p:custDataLst>
              </p:nvPr>
            </p:nvSpPr>
            <p:spPr>
              <a:xfrm>
                <a:off x="7388745" y="3181038"/>
                <a:ext cx="107800" cy="53462"/>
              </a:xfrm>
              <a:custGeom>
                <a:avLst/>
                <a:gdLst>
                  <a:gd name="connsiteX0" fmla="*/ 103695 w 125876"/>
                  <a:gd name="connsiteY0" fmla="*/ 14151 h 62428"/>
                  <a:gd name="connsiteX1" fmla="*/ 79699 w 125876"/>
                  <a:gd name="connsiteY1" fmla="*/ 3843 h 62428"/>
                  <a:gd name="connsiteX2" fmla="*/ 55373 w 125876"/>
                  <a:gd name="connsiteY2" fmla="*/ 1287 h 62428"/>
                  <a:gd name="connsiteX3" fmla="*/ 61599 w 125876"/>
                  <a:gd name="connsiteY3" fmla="*/ 8296 h 62428"/>
                  <a:gd name="connsiteX4" fmla="*/ 48570 w 125876"/>
                  <a:gd name="connsiteY4" fmla="*/ 33652 h 62428"/>
                  <a:gd name="connsiteX5" fmla="*/ 29645 w 125876"/>
                  <a:gd name="connsiteY5" fmla="*/ 33652 h 62428"/>
                  <a:gd name="connsiteX6" fmla="*/ 2392 w 125876"/>
                  <a:gd name="connsiteY6" fmla="*/ 35714 h 62428"/>
                  <a:gd name="connsiteX7" fmla="*/ 1 w 125876"/>
                  <a:gd name="connsiteY7" fmla="*/ 46681 h 62428"/>
                  <a:gd name="connsiteX8" fmla="*/ 20245 w 125876"/>
                  <a:gd name="connsiteY8" fmla="*/ 55257 h 62428"/>
                  <a:gd name="connsiteX9" fmla="*/ 124393 w 125876"/>
                  <a:gd name="connsiteY9" fmla="*/ 60370 h 62428"/>
                  <a:gd name="connsiteX10" fmla="*/ 125877 w 125876"/>
                  <a:gd name="connsiteY10" fmla="*/ 29529 h 62428"/>
                  <a:gd name="connsiteX11" fmla="*/ 103695 w 125876"/>
                  <a:gd name="connsiteY11" fmla="*/ 14151 h 6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25876" h="62428">
                    <a:moveTo>
                      <a:pt x="103695" y="14151"/>
                    </a:moveTo>
                    <a:cubicBezTo>
                      <a:pt x="98335" y="17243"/>
                      <a:pt x="84111" y="11058"/>
                      <a:pt x="79699" y="3843"/>
                    </a:cubicBezTo>
                    <a:cubicBezTo>
                      <a:pt x="76112" y="-1929"/>
                      <a:pt x="65104" y="215"/>
                      <a:pt x="55373" y="1287"/>
                    </a:cubicBezTo>
                    <a:cubicBezTo>
                      <a:pt x="58053" y="3027"/>
                      <a:pt x="60197" y="5447"/>
                      <a:pt x="61599" y="8296"/>
                    </a:cubicBezTo>
                    <a:cubicBezTo>
                      <a:pt x="66917" y="19304"/>
                      <a:pt x="40283" y="20665"/>
                      <a:pt x="48570" y="33652"/>
                    </a:cubicBezTo>
                    <a:cubicBezTo>
                      <a:pt x="56857" y="46640"/>
                      <a:pt x="29645" y="47382"/>
                      <a:pt x="29645" y="33652"/>
                    </a:cubicBezTo>
                    <a:cubicBezTo>
                      <a:pt x="29645" y="19923"/>
                      <a:pt x="1196" y="26808"/>
                      <a:pt x="2392" y="35714"/>
                    </a:cubicBezTo>
                    <a:cubicBezTo>
                      <a:pt x="2722" y="39528"/>
                      <a:pt x="1897" y="43350"/>
                      <a:pt x="1" y="46681"/>
                    </a:cubicBezTo>
                    <a:cubicBezTo>
                      <a:pt x="7752" y="49897"/>
                      <a:pt x="16740" y="53649"/>
                      <a:pt x="20245" y="55257"/>
                    </a:cubicBezTo>
                    <a:cubicBezTo>
                      <a:pt x="25646" y="57731"/>
                      <a:pt x="96645" y="66307"/>
                      <a:pt x="124393" y="60370"/>
                    </a:cubicBezTo>
                    <a:cubicBezTo>
                      <a:pt x="122909" y="54350"/>
                      <a:pt x="125877" y="36415"/>
                      <a:pt x="125877" y="29529"/>
                    </a:cubicBezTo>
                    <a:cubicBezTo>
                      <a:pt x="125877" y="21325"/>
                      <a:pt x="108973" y="11058"/>
                      <a:pt x="103695" y="14151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</a:lstStyle>
              <a:p>
                <a:pPr marL="0" marR="0" lvl="0" indent="0" algn="l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11F88140-44E1-35D3-F25D-124A17FEBFF8}"/>
                  </a:ext>
                </a:extLst>
              </p:cNvPr>
              <p:cNvSpPr/>
              <p:nvPr>
                <p:custDataLst>
                  <p:tags r:id="rId500"/>
                </p:custDataLst>
              </p:nvPr>
            </p:nvSpPr>
            <p:spPr>
              <a:xfrm>
                <a:off x="7006077" y="3915003"/>
                <a:ext cx="57690" cy="104927"/>
              </a:xfrm>
              <a:custGeom>
                <a:avLst/>
                <a:gdLst>
                  <a:gd name="connsiteX0" fmla="*/ 29906 w 67364"/>
                  <a:gd name="connsiteY0" fmla="*/ 5925 h 122521"/>
                  <a:gd name="connsiteX1" fmla="*/ 1044 w 67364"/>
                  <a:gd name="connsiteY1" fmla="*/ 14171 h 122521"/>
                  <a:gd name="connsiteX2" fmla="*/ 15846 w 67364"/>
                  <a:gd name="connsiteY2" fmla="*/ 73873 h 122521"/>
                  <a:gd name="connsiteX3" fmla="*/ 32338 w 67364"/>
                  <a:gd name="connsiteY3" fmla="*/ 118484 h 122521"/>
                  <a:gd name="connsiteX4" fmla="*/ 60210 w 67364"/>
                  <a:gd name="connsiteY4" fmla="*/ 98570 h 122521"/>
                  <a:gd name="connsiteX5" fmla="*/ 66725 w 67364"/>
                  <a:gd name="connsiteY5" fmla="*/ 23118 h 122521"/>
                  <a:gd name="connsiteX6" fmla="*/ 29906 w 67364"/>
                  <a:gd name="connsiteY6" fmla="*/ 5925 h 1225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7364" h="122521">
                    <a:moveTo>
                      <a:pt x="29906" y="5925"/>
                    </a:moveTo>
                    <a:cubicBezTo>
                      <a:pt x="16918" y="18954"/>
                      <a:pt x="6157" y="3658"/>
                      <a:pt x="1044" y="14171"/>
                    </a:cubicBezTo>
                    <a:cubicBezTo>
                      <a:pt x="-5511" y="27241"/>
                      <a:pt x="21165" y="47156"/>
                      <a:pt x="15846" y="73873"/>
                    </a:cubicBezTo>
                    <a:cubicBezTo>
                      <a:pt x="10528" y="100591"/>
                      <a:pt x="18774" y="134234"/>
                      <a:pt x="32338" y="118484"/>
                    </a:cubicBezTo>
                    <a:cubicBezTo>
                      <a:pt x="45903" y="102734"/>
                      <a:pt x="52541" y="110238"/>
                      <a:pt x="60210" y="98570"/>
                    </a:cubicBezTo>
                    <a:cubicBezTo>
                      <a:pt x="67879" y="86902"/>
                      <a:pt x="61406" y="43692"/>
                      <a:pt x="66725" y="23118"/>
                    </a:cubicBezTo>
                    <a:cubicBezTo>
                      <a:pt x="72043" y="2544"/>
                      <a:pt x="42852" y="-7103"/>
                      <a:pt x="29906" y="5925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</a:lstStyle>
              <a:p>
                <a:pPr marL="0" marR="0" lvl="0" indent="0" algn="l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CB0B8401-583B-0F7E-841A-FAAFA9517035}"/>
                  </a:ext>
                </a:extLst>
              </p:cNvPr>
              <p:cNvSpPr/>
              <p:nvPr>
                <p:custDataLst>
                  <p:tags r:id="rId501"/>
                </p:custDataLst>
              </p:nvPr>
            </p:nvSpPr>
            <p:spPr>
              <a:xfrm>
                <a:off x="7157430" y="4051071"/>
                <a:ext cx="98042" cy="68892"/>
              </a:xfrm>
              <a:custGeom>
                <a:avLst/>
                <a:gdLst>
                  <a:gd name="connsiteX0" fmla="*/ 82420 w 114483"/>
                  <a:gd name="connsiteY0" fmla="*/ 2769 h 80444"/>
                  <a:gd name="connsiteX1" fmla="*/ 33851 w 114483"/>
                  <a:gd name="connsiteY1" fmla="*/ 2769 h 80444"/>
                  <a:gd name="connsiteX2" fmla="*/ 1 w 114483"/>
                  <a:gd name="connsiteY2" fmla="*/ 16828 h 80444"/>
                  <a:gd name="connsiteX3" fmla="*/ 2062 w 114483"/>
                  <a:gd name="connsiteY3" fmla="*/ 18024 h 80444"/>
                  <a:gd name="connsiteX4" fmla="*/ 20121 w 114483"/>
                  <a:gd name="connsiteY4" fmla="*/ 39175 h 80444"/>
                  <a:gd name="connsiteX5" fmla="*/ 41520 w 114483"/>
                  <a:gd name="connsiteY5" fmla="*/ 47421 h 80444"/>
                  <a:gd name="connsiteX6" fmla="*/ 87162 w 114483"/>
                  <a:gd name="connsiteY6" fmla="*/ 80406 h 80444"/>
                  <a:gd name="connsiteX7" fmla="*/ 97799 w 114483"/>
                  <a:gd name="connsiteY7" fmla="*/ 48823 h 80444"/>
                  <a:gd name="connsiteX8" fmla="*/ 114291 w 114483"/>
                  <a:gd name="connsiteY8" fmla="*/ 5614 h 80444"/>
                  <a:gd name="connsiteX9" fmla="*/ 82420 w 114483"/>
                  <a:gd name="connsiteY9" fmla="*/ 2769 h 804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4483" h="80444">
                    <a:moveTo>
                      <a:pt x="82420" y="2769"/>
                    </a:moveTo>
                    <a:cubicBezTo>
                      <a:pt x="58095" y="8912"/>
                      <a:pt x="48034" y="11015"/>
                      <a:pt x="33851" y="2769"/>
                    </a:cubicBezTo>
                    <a:cubicBezTo>
                      <a:pt x="21482" y="-4405"/>
                      <a:pt x="2433" y="6603"/>
                      <a:pt x="1" y="16828"/>
                    </a:cubicBezTo>
                    <a:lnTo>
                      <a:pt x="2062" y="18024"/>
                    </a:lnTo>
                    <a:cubicBezTo>
                      <a:pt x="10267" y="22881"/>
                      <a:pt x="16616" y="30319"/>
                      <a:pt x="20121" y="39175"/>
                    </a:cubicBezTo>
                    <a:cubicBezTo>
                      <a:pt x="27007" y="42482"/>
                      <a:pt x="34181" y="45236"/>
                      <a:pt x="41520" y="47421"/>
                    </a:cubicBezTo>
                    <a:cubicBezTo>
                      <a:pt x="71164" y="56286"/>
                      <a:pt x="74504" y="79581"/>
                      <a:pt x="87162" y="80406"/>
                    </a:cubicBezTo>
                    <a:cubicBezTo>
                      <a:pt x="99820" y="81230"/>
                      <a:pt x="100768" y="67336"/>
                      <a:pt x="97799" y="48823"/>
                    </a:cubicBezTo>
                    <a:cubicBezTo>
                      <a:pt x="94831" y="30311"/>
                      <a:pt x="112601" y="9036"/>
                      <a:pt x="114291" y="5614"/>
                    </a:cubicBezTo>
                    <a:cubicBezTo>
                      <a:pt x="115982" y="2192"/>
                      <a:pt x="106664" y="-3416"/>
                      <a:pt x="82420" y="2769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</a:lstStyle>
              <a:p>
                <a:pPr marL="0" marR="0" lvl="0" indent="0" algn="l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681EB238-039E-514A-EF9A-26733707B3AB}"/>
                  </a:ext>
                </a:extLst>
              </p:cNvPr>
              <p:cNvSpPr/>
              <p:nvPr>
                <p:custDataLst>
                  <p:tags r:id="rId502"/>
                </p:custDataLst>
              </p:nvPr>
            </p:nvSpPr>
            <p:spPr>
              <a:xfrm>
                <a:off x="7348809" y="3804582"/>
                <a:ext cx="41488" cy="63769"/>
              </a:xfrm>
              <a:custGeom>
                <a:avLst/>
                <a:gdLst>
                  <a:gd name="connsiteX0" fmla="*/ 16987 w 48445"/>
                  <a:gd name="connsiteY0" fmla="*/ -4 h 74462"/>
                  <a:gd name="connsiteX1" fmla="*/ 1649 w 48445"/>
                  <a:gd name="connsiteY1" fmla="*/ 34423 h 74462"/>
                  <a:gd name="connsiteX2" fmla="*/ 1 w 48445"/>
                  <a:gd name="connsiteY2" fmla="*/ 48813 h 74462"/>
                  <a:gd name="connsiteX3" fmla="*/ 28326 w 48445"/>
                  <a:gd name="connsiteY3" fmla="*/ 73139 h 74462"/>
                  <a:gd name="connsiteX4" fmla="*/ 30429 w 48445"/>
                  <a:gd name="connsiteY4" fmla="*/ 74458 h 74462"/>
                  <a:gd name="connsiteX5" fmla="*/ 48446 w 48445"/>
                  <a:gd name="connsiteY5" fmla="*/ 41474 h 74462"/>
                  <a:gd name="connsiteX6" fmla="*/ 16987 w 48445"/>
                  <a:gd name="connsiteY6" fmla="*/ -4 h 74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8445" h="74462">
                    <a:moveTo>
                      <a:pt x="16987" y="-4"/>
                    </a:moveTo>
                    <a:cubicBezTo>
                      <a:pt x="8741" y="12819"/>
                      <a:pt x="742" y="29104"/>
                      <a:pt x="1649" y="34423"/>
                    </a:cubicBezTo>
                    <a:cubicBezTo>
                      <a:pt x="1773" y="39272"/>
                      <a:pt x="1196" y="44117"/>
                      <a:pt x="1" y="48813"/>
                    </a:cubicBezTo>
                    <a:cubicBezTo>
                      <a:pt x="10555" y="58667"/>
                      <a:pt x="20616" y="68603"/>
                      <a:pt x="28326" y="73139"/>
                    </a:cubicBezTo>
                    <a:lnTo>
                      <a:pt x="30429" y="74458"/>
                    </a:lnTo>
                    <a:cubicBezTo>
                      <a:pt x="32779" y="59203"/>
                      <a:pt x="41849" y="43453"/>
                      <a:pt x="48446" y="41474"/>
                    </a:cubicBezTo>
                    <a:cubicBezTo>
                      <a:pt x="39211" y="28569"/>
                      <a:pt x="25687" y="10097"/>
                      <a:pt x="16987" y="-4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</a:lstStyle>
              <a:p>
                <a:pPr marL="0" marR="0" lvl="0" indent="0" algn="l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grpSp>
            <p:nvGrpSpPr>
              <p:cNvPr id="85" name="United Kingdom">
                <a:extLst>
                  <a:ext uri="{FF2B5EF4-FFF2-40B4-BE49-F238E27FC236}">
                    <a16:creationId xmlns:a16="http://schemas.microsoft.com/office/drawing/2014/main" id="{EA2AD414-4E42-5F69-906C-F1374015F2E3}"/>
                  </a:ext>
                </a:extLst>
              </p:cNvPr>
              <p:cNvGrpSpPr/>
              <p:nvPr>
                <p:custDataLst>
                  <p:tags r:id="rId503"/>
                </p:custDataLst>
              </p:nvPr>
            </p:nvGrpSpPr>
            <p:grpSpPr>
              <a:xfrm>
                <a:off x="6448089" y="2977508"/>
                <a:ext cx="339684" cy="494665"/>
                <a:chOff x="6447563" y="2490183"/>
                <a:chExt cx="339684" cy="494665"/>
              </a:xfrm>
              <a:solidFill>
                <a:schemeClr val="accent1"/>
              </a:solidFill>
            </p:grpSpPr>
            <p:sp>
              <p:nvSpPr>
                <p:cNvPr id="96" name="UK group">
                  <a:extLst>
                    <a:ext uri="{FF2B5EF4-FFF2-40B4-BE49-F238E27FC236}">
                      <a16:creationId xmlns:a16="http://schemas.microsoft.com/office/drawing/2014/main" id="{3D6217B4-14A3-3616-60DB-3CE26DFD75E8}"/>
                    </a:ext>
                  </a:extLst>
                </p:cNvPr>
                <p:cNvSpPr/>
                <p:nvPr>
                  <p:custDataLst>
                    <p:tags r:id="rId514"/>
                  </p:custDataLst>
                </p:nvPr>
              </p:nvSpPr>
              <p:spPr>
                <a:xfrm>
                  <a:off x="6447563" y="2697804"/>
                  <a:ext cx="85284" cy="68551"/>
                </a:xfrm>
                <a:custGeom>
                  <a:avLst/>
                  <a:gdLst>
                    <a:gd name="connsiteX0" fmla="*/ 23135 w 99585"/>
                    <a:gd name="connsiteY0" fmla="*/ 14774 h 80046"/>
                    <a:gd name="connsiteX1" fmla="*/ 12210 w 99585"/>
                    <a:gd name="connsiteY1" fmla="*/ 41203 h 80046"/>
                    <a:gd name="connsiteX2" fmla="*/ 3263 w 99585"/>
                    <a:gd name="connsiteY2" fmla="*/ 68168 h 80046"/>
                    <a:gd name="connsiteX3" fmla="*/ 28331 w 99585"/>
                    <a:gd name="connsiteY3" fmla="*/ 74352 h 80046"/>
                    <a:gd name="connsiteX4" fmla="*/ 51585 w 99585"/>
                    <a:gd name="connsiteY4" fmla="*/ 66106 h 80046"/>
                    <a:gd name="connsiteX5" fmla="*/ 64820 w 99585"/>
                    <a:gd name="connsiteY5" fmla="*/ 80042 h 80046"/>
                    <a:gd name="connsiteX6" fmla="*/ 95743 w 99585"/>
                    <a:gd name="connsiteY6" fmla="*/ 57695 h 80046"/>
                    <a:gd name="connsiteX7" fmla="*/ 73272 w 99585"/>
                    <a:gd name="connsiteY7" fmla="*/ 5580 h 80046"/>
                    <a:gd name="connsiteX8" fmla="*/ 23135 w 99585"/>
                    <a:gd name="connsiteY8" fmla="*/ 14774 h 800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9585" h="80046">
                      <a:moveTo>
                        <a:pt x="23135" y="14774"/>
                      </a:moveTo>
                      <a:cubicBezTo>
                        <a:pt x="20538" y="28133"/>
                        <a:pt x="16415" y="37739"/>
                        <a:pt x="12210" y="41203"/>
                      </a:cubicBezTo>
                      <a:cubicBezTo>
                        <a:pt x="5943" y="46398"/>
                        <a:pt x="-5685" y="65941"/>
                        <a:pt x="3263" y="68168"/>
                      </a:cubicBezTo>
                      <a:cubicBezTo>
                        <a:pt x="12210" y="70394"/>
                        <a:pt x="26517" y="86804"/>
                        <a:pt x="28331" y="74352"/>
                      </a:cubicBezTo>
                      <a:cubicBezTo>
                        <a:pt x="30145" y="61900"/>
                        <a:pt x="36577" y="45491"/>
                        <a:pt x="51585" y="66106"/>
                      </a:cubicBezTo>
                      <a:cubicBezTo>
                        <a:pt x="55461" y="71231"/>
                        <a:pt x="59913" y="75907"/>
                        <a:pt x="64820" y="80042"/>
                      </a:cubicBezTo>
                      <a:cubicBezTo>
                        <a:pt x="67294" y="70641"/>
                        <a:pt x="86012" y="69033"/>
                        <a:pt x="95743" y="57695"/>
                      </a:cubicBezTo>
                      <a:cubicBezTo>
                        <a:pt x="107576" y="44007"/>
                        <a:pt x="89805" y="24092"/>
                        <a:pt x="73272" y="5580"/>
                      </a:cubicBezTo>
                      <a:cubicBezTo>
                        <a:pt x="58264" y="-11160"/>
                        <a:pt x="38845" y="15104"/>
                        <a:pt x="23135" y="14774"/>
                      </a:cubicBezTo>
                      <a:close/>
                    </a:path>
                  </a:pathLst>
                </a:custGeom>
                <a:grpFill/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97" name="UK group">
                  <a:extLst>
                    <a:ext uri="{FF2B5EF4-FFF2-40B4-BE49-F238E27FC236}">
                      <a16:creationId xmlns:a16="http://schemas.microsoft.com/office/drawing/2014/main" id="{5883C32D-69A5-392C-AB47-3958C302BEDE}"/>
                    </a:ext>
                  </a:extLst>
                </p:cNvPr>
                <p:cNvSpPr/>
                <p:nvPr>
                  <p:custDataLst>
                    <p:tags r:id="rId515"/>
                  </p:custDataLst>
                </p:nvPr>
              </p:nvSpPr>
              <p:spPr>
                <a:xfrm>
                  <a:off x="6494122" y="2490183"/>
                  <a:ext cx="293125" cy="494665"/>
                </a:xfrm>
                <a:custGeom>
                  <a:avLst/>
                  <a:gdLst>
                    <a:gd name="connsiteX0" fmla="*/ 334485 w 342276"/>
                    <a:gd name="connsiteY0" fmla="*/ 413884 h 577611"/>
                    <a:gd name="connsiteX1" fmla="*/ 329496 w 342276"/>
                    <a:gd name="connsiteY1" fmla="*/ 412152 h 577611"/>
                    <a:gd name="connsiteX2" fmla="*/ 303438 w 342276"/>
                    <a:gd name="connsiteY2" fmla="*/ 391537 h 577611"/>
                    <a:gd name="connsiteX3" fmla="*/ 300758 w 342276"/>
                    <a:gd name="connsiteY3" fmla="*/ 394258 h 577611"/>
                    <a:gd name="connsiteX4" fmla="*/ 281215 w 342276"/>
                    <a:gd name="connsiteY4" fmla="*/ 391578 h 577611"/>
                    <a:gd name="connsiteX5" fmla="*/ 280679 w 342276"/>
                    <a:gd name="connsiteY5" fmla="*/ 366180 h 577611"/>
                    <a:gd name="connsiteX6" fmla="*/ 267650 w 342276"/>
                    <a:gd name="connsiteY6" fmla="*/ 340782 h 577611"/>
                    <a:gd name="connsiteX7" fmla="*/ 267650 w 342276"/>
                    <a:gd name="connsiteY7" fmla="*/ 337814 h 577611"/>
                    <a:gd name="connsiteX8" fmla="*/ 247612 w 342276"/>
                    <a:gd name="connsiteY8" fmla="*/ 313735 h 577611"/>
                    <a:gd name="connsiteX9" fmla="*/ 242623 w 342276"/>
                    <a:gd name="connsiteY9" fmla="*/ 301366 h 577611"/>
                    <a:gd name="connsiteX10" fmla="*/ 239242 w 342276"/>
                    <a:gd name="connsiteY10" fmla="*/ 299593 h 577611"/>
                    <a:gd name="connsiteX11" fmla="*/ 219205 w 342276"/>
                    <a:gd name="connsiteY11" fmla="*/ 272670 h 577611"/>
                    <a:gd name="connsiteX12" fmla="*/ 217555 w 342276"/>
                    <a:gd name="connsiteY12" fmla="*/ 260300 h 577611"/>
                    <a:gd name="connsiteX13" fmla="*/ 214751 w 342276"/>
                    <a:gd name="connsiteY13" fmla="*/ 249787 h 577611"/>
                    <a:gd name="connsiteX14" fmla="*/ 192734 w 342276"/>
                    <a:gd name="connsiteY14" fmla="*/ 212927 h 577611"/>
                    <a:gd name="connsiteX15" fmla="*/ 184035 w 342276"/>
                    <a:gd name="connsiteY15" fmla="*/ 205052 h 577611"/>
                    <a:gd name="connsiteX16" fmla="*/ 147917 w 342276"/>
                    <a:gd name="connsiteY16" fmla="*/ 198207 h 577611"/>
                    <a:gd name="connsiteX17" fmla="*/ 156905 w 342276"/>
                    <a:gd name="connsiteY17" fmla="*/ 172644 h 577611"/>
                    <a:gd name="connsiteX18" fmla="*/ 154267 w 342276"/>
                    <a:gd name="connsiteY18" fmla="*/ 158131 h 577611"/>
                    <a:gd name="connsiteX19" fmla="*/ 180530 w 342276"/>
                    <a:gd name="connsiteY19" fmla="*/ 116901 h 577611"/>
                    <a:gd name="connsiteX20" fmla="*/ 188776 w 342276"/>
                    <a:gd name="connsiteY20" fmla="*/ 106140 h 577611"/>
                    <a:gd name="connsiteX21" fmla="*/ 189353 w 342276"/>
                    <a:gd name="connsiteY21" fmla="*/ 105686 h 577611"/>
                    <a:gd name="connsiteX22" fmla="*/ 192776 w 342276"/>
                    <a:gd name="connsiteY22" fmla="*/ 87256 h 577611"/>
                    <a:gd name="connsiteX23" fmla="*/ 118561 w 342276"/>
                    <a:gd name="connsiteY23" fmla="*/ 83133 h 577611"/>
                    <a:gd name="connsiteX24" fmla="*/ 104913 w 342276"/>
                    <a:gd name="connsiteY24" fmla="*/ 68043 h 577611"/>
                    <a:gd name="connsiteX25" fmla="*/ 135136 w 342276"/>
                    <a:gd name="connsiteY25" fmla="*/ 29616 h 577611"/>
                    <a:gd name="connsiteX26" fmla="*/ 141072 w 342276"/>
                    <a:gd name="connsiteY26" fmla="*/ 2198 h 577611"/>
                    <a:gd name="connsiteX27" fmla="*/ 123302 w 342276"/>
                    <a:gd name="connsiteY27" fmla="*/ 20710 h 577611"/>
                    <a:gd name="connsiteX28" fmla="*/ 80052 w 342276"/>
                    <a:gd name="connsiteY28" fmla="*/ 21411 h 577611"/>
                    <a:gd name="connsiteX29" fmla="*/ 73826 w 342276"/>
                    <a:gd name="connsiteY29" fmla="*/ 21411 h 577611"/>
                    <a:gd name="connsiteX30" fmla="*/ 56097 w 342276"/>
                    <a:gd name="connsiteY30" fmla="*/ 49118 h 577611"/>
                    <a:gd name="connsiteX31" fmla="*/ 55190 w 342276"/>
                    <a:gd name="connsiteY31" fmla="*/ 60580 h 577611"/>
                    <a:gd name="connsiteX32" fmla="*/ 37419 w 342276"/>
                    <a:gd name="connsiteY32" fmla="*/ 92121 h 577611"/>
                    <a:gd name="connsiteX33" fmla="*/ 27359 w 342276"/>
                    <a:gd name="connsiteY33" fmla="*/ 105109 h 577611"/>
                    <a:gd name="connsiteX34" fmla="*/ 3074 w 342276"/>
                    <a:gd name="connsiteY34" fmla="*/ 94843 h 577611"/>
                    <a:gd name="connsiteX35" fmla="*/ 31936 w 342276"/>
                    <a:gd name="connsiteY35" fmla="*/ 122302 h 577611"/>
                    <a:gd name="connsiteX36" fmla="*/ 17175 w 342276"/>
                    <a:gd name="connsiteY36" fmla="*/ 156565 h 577611"/>
                    <a:gd name="connsiteX37" fmla="*/ 38450 w 342276"/>
                    <a:gd name="connsiteY37" fmla="*/ 181303 h 577611"/>
                    <a:gd name="connsiteX38" fmla="*/ 33708 w 342276"/>
                    <a:gd name="connsiteY38" fmla="*/ 198496 h 577611"/>
                    <a:gd name="connsiteX39" fmla="*/ 50200 w 342276"/>
                    <a:gd name="connsiteY39" fmla="*/ 226574 h 577611"/>
                    <a:gd name="connsiteX40" fmla="*/ 73290 w 342276"/>
                    <a:gd name="connsiteY40" fmla="*/ 190250 h 577611"/>
                    <a:gd name="connsiteX41" fmla="*/ 76258 w 342276"/>
                    <a:gd name="connsiteY41" fmla="*/ 222451 h 577611"/>
                    <a:gd name="connsiteX42" fmla="*/ 62034 w 342276"/>
                    <a:gd name="connsiteY42" fmla="*/ 269124 h 577611"/>
                    <a:gd name="connsiteX43" fmla="*/ 119468 w 342276"/>
                    <a:gd name="connsiteY43" fmla="*/ 262981 h 577611"/>
                    <a:gd name="connsiteX44" fmla="*/ 130146 w 342276"/>
                    <a:gd name="connsiteY44" fmla="*/ 276710 h 577611"/>
                    <a:gd name="connsiteX45" fmla="*/ 136702 w 342276"/>
                    <a:gd name="connsiteY45" fmla="*/ 305571 h 577611"/>
                    <a:gd name="connsiteX46" fmla="*/ 147340 w 342276"/>
                    <a:gd name="connsiteY46" fmla="*/ 322641 h 577611"/>
                    <a:gd name="connsiteX47" fmla="*/ 143794 w 342276"/>
                    <a:gd name="connsiteY47" fmla="*/ 364490 h 577611"/>
                    <a:gd name="connsiteX48" fmla="*/ 102934 w 342276"/>
                    <a:gd name="connsiteY48" fmla="*/ 366593 h 577611"/>
                    <a:gd name="connsiteX49" fmla="*/ 90565 w 342276"/>
                    <a:gd name="connsiteY49" fmla="*/ 374096 h 577611"/>
                    <a:gd name="connsiteX50" fmla="*/ 78732 w 342276"/>
                    <a:gd name="connsiteY50" fmla="*/ 402958 h 577611"/>
                    <a:gd name="connsiteX51" fmla="*/ 102398 w 342276"/>
                    <a:gd name="connsiteY51" fmla="*/ 420811 h 577611"/>
                    <a:gd name="connsiteX52" fmla="*/ 63930 w 342276"/>
                    <a:gd name="connsiteY52" fmla="*/ 452352 h 577611"/>
                    <a:gd name="connsiteX53" fmla="*/ 79309 w 342276"/>
                    <a:gd name="connsiteY53" fmla="*/ 471524 h 577611"/>
                    <a:gd name="connsiteX54" fmla="*/ 103017 w 342276"/>
                    <a:gd name="connsiteY54" fmla="*/ 477709 h 577611"/>
                    <a:gd name="connsiteX55" fmla="*/ 145030 w 342276"/>
                    <a:gd name="connsiteY55" fmla="*/ 484594 h 577611"/>
                    <a:gd name="connsiteX56" fmla="*/ 148577 w 342276"/>
                    <a:gd name="connsiteY56" fmla="*/ 496262 h 577611"/>
                    <a:gd name="connsiteX57" fmla="*/ 104171 w 342276"/>
                    <a:gd name="connsiteY57" fmla="*/ 503107 h 577611"/>
                    <a:gd name="connsiteX58" fmla="*/ 53252 w 342276"/>
                    <a:gd name="connsiteY58" fmla="*/ 575837 h 577611"/>
                    <a:gd name="connsiteX59" fmla="*/ 82855 w 342276"/>
                    <a:gd name="connsiteY59" fmla="*/ 556624 h 577611"/>
                    <a:gd name="connsiteX60" fmla="*/ 101326 w 342276"/>
                    <a:gd name="connsiteY60" fmla="*/ 556954 h 577611"/>
                    <a:gd name="connsiteX61" fmla="*/ 117530 w 342276"/>
                    <a:gd name="connsiteY61" fmla="*/ 539843 h 577611"/>
                    <a:gd name="connsiteX62" fmla="*/ 151215 w 342276"/>
                    <a:gd name="connsiteY62" fmla="*/ 535308 h 577611"/>
                    <a:gd name="connsiteX63" fmla="*/ 157977 w 342276"/>
                    <a:gd name="connsiteY63" fmla="*/ 537988 h 577611"/>
                    <a:gd name="connsiteX64" fmla="*/ 159255 w 342276"/>
                    <a:gd name="connsiteY64" fmla="*/ 537988 h 577611"/>
                    <a:gd name="connsiteX65" fmla="*/ 190632 w 342276"/>
                    <a:gd name="connsiteY65" fmla="*/ 527680 h 577611"/>
                    <a:gd name="connsiteX66" fmla="*/ 222626 w 342276"/>
                    <a:gd name="connsiteY66" fmla="*/ 536586 h 577611"/>
                    <a:gd name="connsiteX67" fmla="*/ 267650 w 342276"/>
                    <a:gd name="connsiteY67" fmla="*/ 526979 h 577611"/>
                    <a:gd name="connsiteX68" fmla="*/ 323270 w 342276"/>
                    <a:gd name="connsiteY68" fmla="*/ 500220 h 577611"/>
                    <a:gd name="connsiteX69" fmla="*/ 306159 w 342276"/>
                    <a:gd name="connsiteY69" fmla="*/ 490655 h 577611"/>
                    <a:gd name="connsiteX70" fmla="*/ 309087 w 342276"/>
                    <a:gd name="connsiteY70" fmla="*/ 463196 h 577611"/>
                    <a:gd name="connsiteX71" fmla="*/ 342277 w 342276"/>
                    <a:gd name="connsiteY71" fmla="*/ 418626 h 577611"/>
                    <a:gd name="connsiteX72" fmla="*/ 342277 w 342276"/>
                    <a:gd name="connsiteY72" fmla="*/ 418626 h 577611"/>
                    <a:gd name="connsiteX73" fmla="*/ 334485 w 342276"/>
                    <a:gd name="connsiteY73" fmla="*/ 413884 h 5776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</a:cxnLst>
                  <a:rect l="l" t="t" r="r" b="b"/>
                  <a:pathLst>
                    <a:path w="342276" h="577611">
                      <a:moveTo>
                        <a:pt x="334485" y="413884"/>
                      </a:moveTo>
                      <a:cubicBezTo>
                        <a:pt x="332835" y="413265"/>
                        <a:pt x="331227" y="412647"/>
                        <a:pt x="329496" y="412152"/>
                      </a:cubicBezTo>
                      <a:cubicBezTo>
                        <a:pt x="318529" y="408825"/>
                        <a:pt x="309210" y="401457"/>
                        <a:pt x="303438" y="391537"/>
                      </a:cubicBezTo>
                      <a:cubicBezTo>
                        <a:pt x="302242" y="392085"/>
                        <a:pt x="301294" y="393054"/>
                        <a:pt x="300758" y="394258"/>
                      </a:cubicBezTo>
                      <a:cubicBezTo>
                        <a:pt x="296635" y="405226"/>
                        <a:pt x="287771" y="403906"/>
                        <a:pt x="281215" y="391578"/>
                      </a:cubicBezTo>
                      <a:cubicBezTo>
                        <a:pt x="274659" y="379250"/>
                        <a:pt x="287152" y="367500"/>
                        <a:pt x="280679" y="366180"/>
                      </a:cubicBezTo>
                      <a:cubicBezTo>
                        <a:pt x="274206" y="364861"/>
                        <a:pt x="265836" y="347627"/>
                        <a:pt x="267650" y="340782"/>
                      </a:cubicBezTo>
                      <a:cubicBezTo>
                        <a:pt x="267774" y="339797"/>
                        <a:pt x="267774" y="338799"/>
                        <a:pt x="267650" y="337814"/>
                      </a:cubicBezTo>
                      <a:cubicBezTo>
                        <a:pt x="259981" y="330664"/>
                        <a:pt x="253260" y="322575"/>
                        <a:pt x="247612" y="313735"/>
                      </a:cubicBezTo>
                      <a:cubicBezTo>
                        <a:pt x="245179" y="309975"/>
                        <a:pt x="243489" y="305773"/>
                        <a:pt x="242623" y="301366"/>
                      </a:cubicBezTo>
                      <a:lnTo>
                        <a:pt x="239242" y="299593"/>
                      </a:lnTo>
                      <a:cubicBezTo>
                        <a:pt x="229141" y="294398"/>
                        <a:pt x="222750" y="283431"/>
                        <a:pt x="219205" y="272670"/>
                      </a:cubicBezTo>
                      <a:cubicBezTo>
                        <a:pt x="217967" y="268666"/>
                        <a:pt x="217431" y="264485"/>
                        <a:pt x="217555" y="260300"/>
                      </a:cubicBezTo>
                      <a:cubicBezTo>
                        <a:pt x="216483" y="256878"/>
                        <a:pt x="215535" y="253332"/>
                        <a:pt x="214751" y="249787"/>
                      </a:cubicBezTo>
                      <a:cubicBezTo>
                        <a:pt x="201929" y="241755"/>
                        <a:pt x="193724" y="228038"/>
                        <a:pt x="192734" y="212927"/>
                      </a:cubicBezTo>
                      <a:cubicBezTo>
                        <a:pt x="189189" y="211137"/>
                        <a:pt x="186179" y="208416"/>
                        <a:pt x="184035" y="205052"/>
                      </a:cubicBezTo>
                      <a:cubicBezTo>
                        <a:pt x="173974" y="189961"/>
                        <a:pt x="156782" y="197507"/>
                        <a:pt x="147917" y="198207"/>
                      </a:cubicBezTo>
                      <a:cubicBezTo>
                        <a:pt x="140166" y="198785"/>
                        <a:pt x="145897" y="183777"/>
                        <a:pt x="156905" y="172644"/>
                      </a:cubicBezTo>
                      <a:cubicBezTo>
                        <a:pt x="155421" y="167936"/>
                        <a:pt x="154514" y="163063"/>
                        <a:pt x="154267" y="158131"/>
                      </a:cubicBezTo>
                      <a:cubicBezTo>
                        <a:pt x="154349" y="140472"/>
                        <a:pt x="164574" y="124425"/>
                        <a:pt x="180530" y="116901"/>
                      </a:cubicBezTo>
                      <a:cubicBezTo>
                        <a:pt x="182839" y="112996"/>
                        <a:pt x="185602" y="109384"/>
                        <a:pt x="188776" y="106140"/>
                      </a:cubicBezTo>
                      <a:lnTo>
                        <a:pt x="189353" y="105686"/>
                      </a:lnTo>
                      <a:cubicBezTo>
                        <a:pt x="191085" y="99671"/>
                        <a:pt x="192240" y="93498"/>
                        <a:pt x="192776" y="87256"/>
                      </a:cubicBezTo>
                      <a:cubicBezTo>
                        <a:pt x="192776" y="75588"/>
                        <a:pt x="130600" y="76248"/>
                        <a:pt x="118561" y="83133"/>
                      </a:cubicBezTo>
                      <a:cubicBezTo>
                        <a:pt x="106521" y="90019"/>
                        <a:pt x="94853" y="72826"/>
                        <a:pt x="104913" y="68043"/>
                      </a:cubicBezTo>
                      <a:cubicBezTo>
                        <a:pt x="114974" y="63260"/>
                        <a:pt x="136331" y="39181"/>
                        <a:pt x="135136" y="29616"/>
                      </a:cubicBezTo>
                      <a:cubicBezTo>
                        <a:pt x="133940" y="20050"/>
                        <a:pt x="149978" y="11104"/>
                        <a:pt x="141072" y="2198"/>
                      </a:cubicBezTo>
                      <a:cubicBezTo>
                        <a:pt x="132167" y="-6708"/>
                        <a:pt x="130971" y="13825"/>
                        <a:pt x="123302" y="20710"/>
                      </a:cubicBezTo>
                      <a:cubicBezTo>
                        <a:pt x="115634" y="27596"/>
                        <a:pt x="98564" y="25534"/>
                        <a:pt x="80052" y="21411"/>
                      </a:cubicBezTo>
                      <a:cubicBezTo>
                        <a:pt x="77990" y="20937"/>
                        <a:pt x="75887" y="20937"/>
                        <a:pt x="73826" y="21411"/>
                      </a:cubicBezTo>
                      <a:cubicBezTo>
                        <a:pt x="71806" y="32622"/>
                        <a:pt x="65415" y="42583"/>
                        <a:pt x="56097" y="49118"/>
                      </a:cubicBezTo>
                      <a:cubicBezTo>
                        <a:pt x="55395" y="52895"/>
                        <a:pt x="55066" y="56737"/>
                        <a:pt x="55190" y="60580"/>
                      </a:cubicBezTo>
                      <a:cubicBezTo>
                        <a:pt x="55767" y="73609"/>
                        <a:pt x="33832" y="81195"/>
                        <a:pt x="37419" y="92121"/>
                      </a:cubicBezTo>
                      <a:cubicBezTo>
                        <a:pt x="41006" y="103047"/>
                        <a:pt x="33296" y="111335"/>
                        <a:pt x="27359" y="105109"/>
                      </a:cubicBezTo>
                      <a:cubicBezTo>
                        <a:pt x="21422" y="98883"/>
                        <a:pt x="14990" y="83875"/>
                        <a:pt x="3074" y="94843"/>
                      </a:cubicBezTo>
                      <a:cubicBezTo>
                        <a:pt x="-8841" y="105810"/>
                        <a:pt x="16680" y="120241"/>
                        <a:pt x="31936" y="122302"/>
                      </a:cubicBezTo>
                      <a:cubicBezTo>
                        <a:pt x="47191" y="124364"/>
                        <a:pt x="20144" y="137392"/>
                        <a:pt x="17175" y="156565"/>
                      </a:cubicBezTo>
                      <a:cubicBezTo>
                        <a:pt x="14206" y="175737"/>
                        <a:pt x="37296" y="167573"/>
                        <a:pt x="38450" y="181303"/>
                      </a:cubicBezTo>
                      <a:cubicBezTo>
                        <a:pt x="39604" y="195033"/>
                        <a:pt x="33708" y="198496"/>
                        <a:pt x="33708" y="198496"/>
                      </a:cubicBezTo>
                      <a:cubicBezTo>
                        <a:pt x="33708" y="198496"/>
                        <a:pt x="29008" y="230697"/>
                        <a:pt x="50200" y="226574"/>
                      </a:cubicBezTo>
                      <a:cubicBezTo>
                        <a:pt x="71393" y="222451"/>
                        <a:pt x="65580" y="188889"/>
                        <a:pt x="73290" y="190250"/>
                      </a:cubicBezTo>
                      <a:cubicBezTo>
                        <a:pt x="81000" y="191611"/>
                        <a:pt x="69744" y="208062"/>
                        <a:pt x="76258" y="222451"/>
                      </a:cubicBezTo>
                      <a:cubicBezTo>
                        <a:pt x="82773" y="236840"/>
                        <a:pt x="60879" y="258857"/>
                        <a:pt x="62034" y="269124"/>
                      </a:cubicBezTo>
                      <a:cubicBezTo>
                        <a:pt x="63188" y="279390"/>
                        <a:pt x="105862" y="279431"/>
                        <a:pt x="119468" y="262981"/>
                      </a:cubicBezTo>
                      <a:cubicBezTo>
                        <a:pt x="133074" y="246529"/>
                        <a:pt x="139630" y="264341"/>
                        <a:pt x="130146" y="276710"/>
                      </a:cubicBezTo>
                      <a:cubicBezTo>
                        <a:pt x="120664" y="289079"/>
                        <a:pt x="124828" y="300665"/>
                        <a:pt x="136702" y="305571"/>
                      </a:cubicBezTo>
                      <a:cubicBezTo>
                        <a:pt x="148577" y="310478"/>
                        <a:pt x="152658" y="311715"/>
                        <a:pt x="147340" y="322641"/>
                      </a:cubicBezTo>
                      <a:cubicBezTo>
                        <a:pt x="142021" y="333567"/>
                        <a:pt x="146721" y="354224"/>
                        <a:pt x="143794" y="364490"/>
                      </a:cubicBezTo>
                      <a:cubicBezTo>
                        <a:pt x="140867" y="374756"/>
                        <a:pt x="104089" y="373437"/>
                        <a:pt x="102934" y="366593"/>
                      </a:cubicBezTo>
                      <a:cubicBezTo>
                        <a:pt x="101780" y="359748"/>
                        <a:pt x="86442" y="364490"/>
                        <a:pt x="90565" y="374096"/>
                      </a:cubicBezTo>
                      <a:cubicBezTo>
                        <a:pt x="94688" y="383703"/>
                        <a:pt x="77536" y="394011"/>
                        <a:pt x="78732" y="402958"/>
                      </a:cubicBezTo>
                      <a:cubicBezTo>
                        <a:pt x="79928" y="411905"/>
                        <a:pt x="101780" y="409802"/>
                        <a:pt x="102398" y="420811"/>
                      </a:cubicBezTo>
                      <a:cubicBezTo>
                        <a:pt x="103017" y="431819"/>
                        <a:pt x="86401" y="444807"/>
                        <a:pt x="63930" y="452352"/>
                      </a:cubicBezTo>
                      <a:cubicBezTo>
                        <a:pt x="41460" y="459897"/>
                        <a:pt x="68631" y="480471"/>
                        <a:pt x="79309" y="471524"/>
                      </a:cubicBezTo>
                      <a:cubicBezTo>
                        <a:pt x="89988" y="462577"/>
                        <a:pt x="87555" y="477709"/>
                        <a:pt x="103017" y="477709"/>
                      </a:cubicBezTo>
                      <a:cubicBezTo>
                        <a:pt x="118478" y="477709"/>
                        <a:pt x="127755" y="492139"/>
                        <a:pt x="145030" y="484594"/>
                      </a:cubicBezTo>
                      <a:cubicBezTo>
                        <a:pt x="162306" y="477049"/>
                        <a:pt x="161523" y="484594"/>
                        <a:pt x="148577" y="496262"/>
                      </a:cubicBezTo>
                      <a:cubicBezTo>
                        <a:pt x="135630" y="507931"/>
                        <a:pt x="116046" y="495561"/>
                        <a:pt x="104171" y="503107"/>
                      </a:cubicBezTo>
                      <a:cubicBezTo>
                        <a:pt x="92297" y="510652"/>
                        <a:pt x="44140" y="562973"/>
                        <a:pt x="53252" y="575837"/>
                      </a:cubicBezTo>
                      <a:cubicBezTo>
                        <a:pt x="58612" y="583382"/>
                        <a:pt x="65621" y="564870"/>
                        <a:pt x="82855" y="556624"/>
                      </a:cubicBezTo>
                      <a:cubicBezTo>
                        <a:pt x="92008" y="552253"/>
                        <a:pt x="97121" y="554067"/>
                        <a:pt x="101326" y="556954"/>
                      </a:cubicBezTo>
                      <a:cubicBezTo>
                        <a:pt x="105326" y="550056"/>
                        <a:pt x="110851" y="544197"/>
                        <a:pt x="117530" y="539843"/>
                      </a:cubicBezTo>
                      <a:cubicBezTo>
                        <a:pt x="127673" y="533819"/>
                        <a:pt x="139836" y="532182"/>
                        <a:pt x="151215" y="535308"/>
                      </a:cubicBezTo>
                      <a:cubicBezTo>
                        <a:pt x="153524" y="536013"/>
                        <a:pt x="155792" y="536911"/>
                        <a:pt x="157977" y="537988"/>
                      </a:cubicBezTo>
                      <a:lnTo>
                        <a:pt x="159255" y="537988"/>
                      </a:lnTo>
                      <a:cubicBezTo>
                        <a:pt x="170799" y="540193"/>
                        <a:pt x="182633" y="536297"/>
                        <a:pt x="190632" y="527680"/>
                      </a:cubicBezTo>
                      <a:cubicBezTo>
                        <a:pt x="197764" y="520836"/>
                        <a:pt x="216689" y="541368"/>
                        <a:pt x="222626" y="536586"/>
                      </a:cubicBezTo>
                      <a:cubicBezTo>
                        <a:pt x="228563" y="531803"/>
                        <a:pt x="254621" y="526278"/>
                        <a:pt x="267650" y="526979"/>
                      </a:cubicBezTo>
                      <a:cubicBezTo>
                        <a:pt x="280679" y="527680"/>
                        <a:pt x="314406" y="509827"/>
                        <a:pt x="323270" y="500220"/>
                      </a:cubicBezTo>
                      <a:cubicBezTo>
                        <a:pt x="332134" y="490614"/>
                        <a:pt x="317951" y="488593"/>
                        <a:pt x="306159" y="490655"/>
                      </a:cubicBezTo>
                      <a:cubicBezTo>
                        <a:pt x="294368" y="492717"/>
                        <a:pt x="296635" y="476925"/>
                        <a:pt x="309087" y="463196"/>
                      </a:cubicBezTo>
                      <a:cubicBezTo>
                        <a:pt x="321538" y="449466"/>
                        <a:pt x="341082" y="439199"/>
                        <a:pt x="342277" y="418626"/>
                      </a:cubicBezTo>
                      <a:lnTo>
                        <a:pt x="342277" y="418626"/>
                      </a:lnTo>
                      <a:cubicBezTo>
                        <a:pt x="340051" y="416605"/>
                        <a:pt x="337288" y="415162"/>
                        <a:pt x="334485" y="413884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  <p:sp>
            <p:nvSpPr>
              <p:cNvPr id="86" name="Ukraine">
                <a:extLst>
                  <a:ext uri="{FF2B5EF4-FFF2-40B4-BE49-F238E27FC236}">
                    <a16:creationId xmlns:a16="http://schemas.microsoft.com/office/drawing/2014/main" id="{3E06F24D-4921-FDB0-9EF8-CE2F42A50287}"/>
                  </a:ext>
                </a:extLst>
              </p:cNvPr>
              <p:cNvSpPr/>
              <p:nvPr>
                <p:custDataLst>
                  <p:tags r:id="rId504"/>
                </p:custDataLst>
              </p:nvPr>
            </p:nvSpPr>
            <p:spPr>
              <a:xfrm>
                <a:off x="7475888" y="3341861"/>
                <a:ext cx="611174" cy="407096"/>
              </a:xfrm>
              <a:custGeom>
                <a:avLst/>
                <a:gdLst>
                  <a:gd name="connsiteX0" fmla="*/ 635321 w 713656"/>
                  <a:gd name="connsiteY0" fmla="*/ 297667 h 475358"/>
                  <a:gd name="connsiteX1" fmla="*/ 666408 w 713656"/>
                  <a:gd name="connsiteY1" fmla="*/ 272928 h 475358"/>
                  <a:gd name="connsiteX2" fmla="*/ 699393 w 713656"/>
                  <a:gd name="connsiteY2" fmla="*/ 274000 h 475358"/>
                  <a:gd name="connsiteX3" fmla="*/ 706526 w 713656"/>
                  <a:gd name="connsiteY3" fmla="*/ 246211 h 475358"/>
                  <a:gd name="connsiteX4" fmla="*/ 697661 w 713656"/>
                  <a:gd name="connsiteY4" fmla="*/ 228688 h 475358"/>
                  <a:gd name="connsiteX5" fmla="*/ 711845 w 713656"/>
                  <a:gd name="connsiteY5" fmla="*/ 217391 h 475358"/>
                  <a:gd name="connsiteX6" fmla="*/ 702072 w 713656"/>
                  <a:gd name="connsiteY6" fmla="*/ 204032 h 475358"/>
                  <a:gd name="connsiteX7" fmla="*/ 713617 w 713656"/>
                  <a:gd name="connsiteY7" fmla="*/ 184489 h 475358"/>
                  <a:gd name="connsiteX8" fmla="*/ 690528 w 713656"/>
                  <a:gd name="connsiteY8" fmla="*/ 167997 h 475358"/>
                  <a:gd name="connsiteX9" fmla="*/ 656760 w 713656"/>
                  <a:gd name="connsiteY9" fmla="*/ 157689 h 475358"/>
                  <a:gd name="connsiteX10" fmla="*/ 623776 w 713656"/>
                  <a:gd name="connsiteY10" fmla="*/ 151505 h 475358"/>
                  <a:gd name="connsiteX11" fmla="*/ 606006 w 713656"/>
                  <a:gd name="connsiteY11" fmla="*/ 126766 h 475358"/>
                  <a:gd name="connsiteX12" fmla="*/ 583824 w 713656"/>
                  <a:gd name="connsiteY12" fmla="*/ 128828 h 475358"/>
                  <a:gd name="connsiteX13" fmla="*/ 563209 w 713656"/>
                  <a:gd name="connsiteY13" fmla="*/ 130889 h 475358"/>
                  <a:gd name="connsiteX14" fmla="*/ 543665 w 713656"/>
                  <a:gd name="connsiteY14" fmla="*/ 120582 h 475358"/>
                  <a:gd name="connsiteX15" fmla="*/ 528575 w 713656"/>
                  <a:gd name="connsiteY15" fmla="*/ 111346 h 475358"/>
                  <a:gd name="connsiteX16" fmla="*/ 510805 w 713656"/>
                  <a:gd name="connsiteY16" fmla="*/ 75352 h 475358"/>
                  <a:gd name="connsiteX17" fmla="*/ 481489 w 713656"/>
                  <a:gd name="connsiteY17" fmla="*/ 67106 h 475358"/>
                  <a:gd name="connsiteX18" fmla="*/ 472584 w 713656"/>
                  <a:gd name="connsiteY18" fmla="*/ 41378 h 475358"/>
                  <a:gd name="connsiteX19" fmla="*/ 467265 w 713656"/>
                  <a:gd name="connsiteY19" fmla="*/ 6373 h 475358"/>
                  <a:gd name="connsiteX20" fmla="*/ 434281 w 713656"/>
                  <a:gd name="connsiteY20" fmla="*/ 2250 h 475358"/>
                  <a:gd name="connsiteX21" fmla="*/ 407605 w 713656"/>
                  <a:gd name="connsiteY21" fmla="*/ 3240 h 475358"/>
                  <a:gd name="connsiteX22" fmla="*/ 388969 w 713656"/>
                  <a:gd name="connsiteY22" fmla="*/ 14578 h 475358"/>
                  <a:gd name="connsiteX23" fmla="*/ 378001 w 713656"/>
                  <a:gd name="connsiteY23" fmla="*/ 9260 h 475358"/>
                  <a:gd name="connsiteX24" fmla="*/ 352273 w 713656"/>
                  <a:gd name="connsiteY24" fmla="*/ 15279 h 475358"/>
                  <a:gd name="connsiteX25" fmla="*/ 328525 w 713656"/>
                  <a:gd name="connsiteY25" fmla="*/ 45419 h 475358"/>
                  <a:gd name="connsiteX26" fmla="*/ 321433 w 713656"/>
                  <a:gd name="connsiteY26" fmla="*/ 60550 h 475358"/>
                  <a:gd name="connsiteX27" fmla="*/ 284738 w 713656"/>
                  <a:gd name="connsiteY27" fmla="*/ 57788 h 475358"/>
                  <a:gd name="connsiteX28" fmla="*/ 258680 w 713656"/>
                  <a:gd name="connsiteY28" fmla="*/ 48222 h 475358"/>
                  <a:gd name="connsiteX29" fmla="*/ 232581 w 713656"/>
                  <a:gd name="connsiteY29" fmla="*/ 45419 h 475358"/>
                  <a:gd name="connsiteX30" fmla="*/ 205369 w 713656"/>
                  <a:gd name="connsiteY30" fmla="*/ 41296 h 475358"/>
                  <a:gd name="connsiteX31" fmla="*/ 168633 w 713656"/>
                  <a:gd name="connsiteY31" fmla="*/ 34410 h 475358"/>
                  <a:gd name="connsiteX32" fmla="*/ 99943 w 713656"/>
                  <a:gd name="connsiteY32" fmla="*/ 24804 h 475358"/>
                  <a:gd name="connsiteX33" fmla="*/ 73885 w 713656"/>
                  <a:gd name="connsiteY33" fmla="*/ 42656 h 475358"/>
                  <a:gd name="connsiteX34" fmla="*/ 52446 w 713656"/>
                  <a:gd name="connsiteY34" fmla="*/ 48222 h 475358"/>
                  <a:gd name="connsiteX35" fmla="*/ 55826 w 713656"/>
                  <a:gd name="connsiteY35" fmla="*/ 63931 h 475358"/>
                  <a:gd name="connsiteX36" fmla="*/ 71782 w 713656"/>
                  <a:gd name="connsiteY36" fmla="*/ 109285 h 475358"/>
                  <a:gd name="connsiteX37" fmla="*/ 54012 w 713656"/>
                  <a:gd name="connsiteY37" fmla="*/ 125777 h 475358"/>
                  <a:gd name="connsiteX38" fmla="*/ 16905 w 713656"/>
                  <a:gd name="connsiteY38" fmla="*/ 170017 h 475358"/>
                  <a:gd name="connsiteX39" fmla="*/ 17771 w 713656"/>
                  <a:gd name="connsiteY39" fmla="*/ 201930 h 475358"/>
                  <a:gd name="connsiteX40" fmla="*/ 1 w 713656"/>
                  <a:gd name="connsiteY40" fmla="*/ 235862 h 475358"/>
                  <a:gd name="connsiteX41" fmla="*/ 17771 w 713656"/>
                  <a:gd name="connsiteY41" fmla="*/ 258498 h 475358"/>
                  <a:gd name="connsiteX42" fmla="*/ 24285 w 713656"/>
                  <a:gd name="connsiteY42" fmla="*/ 263816 h 475358"/>
                  <a:gd name="connsiteX43" fmla="*/ 39747 w 713656"/>
                  <a:gd name="connsiteY43" fmla="*/ 262291 h 475358"/>
                  <a:gd name="connsiteX44" fmla="*/ 79946 w 713656"/>
                  <a:gd name="connsiteY44" fmla="*/ 270537 h 475358"/>
                  <a:gd name="connsiteX45" fmla="*/ 103654 w 713656"/>
                  <a:gd name="connsiteY45" fmla="*/ 278783 h 475358"/>
                  <a:gd name="connsiteX46" fmla="*/ 121424 w 713656"/>
                  <a:gd name="connsiteY46" fmla="*/ 273258 h 475358"/>
                  <a:gd name="connsiteX47" fmla="*/ 141586 w 713656"/>
                  <a:gd name="connsiteY47" fmla="*/ 270537 h 475358"/>
                  <a:gd name="connsiteX48" fmla="*/ 164097 w 713656"/>
                  <a:gd name="connsiteY48" fmla="*/ 256807 h 475358"/>
                  <a:gd name="connsiteX49" fmla="*/ 212626 w 713656"/>
                  <a:gd name="connsiteY49" fmla="*/ 237594 h 475358"/>
                  <a:gd name="connsiteX50" fmla="*/ 244621 w 713656"/>
                  <a:gd name="connsiteY50" fmla="*/ 258209 h 475358"/>
                  <a:gd name="connsiteX51" fmla="*/ 273070 w 713656"/>
                  <a:gd name="connsiteY51" fmla="*/ 282947 h 475358"/>
                  <a:gd name="connsiteX52" fmla="*/ 297808 w 713656"/>
                  <a:gd name="connsiteY52" fmla="*/ 329579 h 475358"/>
                  <a:gd name="connsiteX53" fmla="*/ 307250 w 713656"/>
                  <a:gd name="connsiteY53" fmla="*/ 359760 h 475358"/>
                  <a:gd name="connsiteX54" fmla="*/ 279996 w 713656"/>
                  <a:gd name="connsiteY54" fmla="*/ 354276 h 475358"/>
                  <a:gd name="connsiteX55" fmla="*/ 264617 w 713656"/>
                  <a:gd name="connsiteY55" fmla="*/ 374891 h 475358"/>
                  <a:gd name="connsiteX56" fmla="*/ 240951 w 713656"/>
                  <a:gd name="connsiteY56" fmla="*/ 417441 h 475358"/>
                  <a:gd name="connsiteX57" fmla="*/ 256371 w 713656"/>
                  <a:gd name="connsiteY57" fmla="*/ 428367 h 475358"/>
                  <a:gd name="connsiteX58" fmla="*/ 278842 w 713656"/>
                  <a:gd name="connsiteY58" fmla="*/ 417441 h 475358"/>
                  <a:gd name="connsiteX59" fmla="*/ 292943 w 713656"/>
                  <a:gd name="connsiteY59" fmla="*/ 428945 h 475358"/>
                  <a:gd name="connsiteX60" fmla="*/ 311991 w 713656"/>
                  <a:gd name="connsiteY60" fmla="*/ 394146 h 475358"/>
                  <a:gd name="connsiteX61" fmla="*/ 346336 w 713656"/>
                  <a:gd name="connsiteY61" fmla="*/ 347473 h 475358"/>
                  <a:gd name="connsiteX62" fmla="*/ 390782 w 713656"/>
                  <a:gd name="connsiteY62" fmla="*/ 339928 h 475358"/>
                  <a:gd name="connsiteX63" fmla="*/ 394905 w 713656"/>
                  <a:gd name="connsiteY63" fmla="*/ 370067 h 475358"/>
                  <a:gd name="connsiteX64" fmla="*/ 460091 w 713656"/>
                  <a:gd name="connsiteY64" fmla="*/ 381076 h 475358"/>
                  <a:gd name="connsiteX65" fmla="*/ 406780 w 713656"/>
                  <a:gd name="connsiteY65" fmla="*/ 415380 h 475358"/>
                  <a:gd name="connsiteX66" fmla="*/ 447062 w 713656"/>
                  <a:gd name="connsiteY66" fmla="*/ 436613 h 475358"/>
                  <a:gd name="connsiteX67" fmla="*/ 448835 w 713656"/>
                  <a:gd name="connsiteY67" fmla="*/ 472319 h 475358"/>
                  <a:gd name="connsiteX68" fmla="*/ 481407 w 713656"/>
                  <a:gd name="connsiteY68" fmla="*/ 463372 h 475358"/>
                  <a:gd name="connsiteX69" fmla="*/ 519875 w 713656"/>
                  <a:gd name="connsiteY69" fmla="*/ 444200 h 475358"/>
                  <a:gd name="connsiteX70" fmla="*/ 573227 w 713656"/>
                  <a:gd name="connsiteY70" fmla="*/ 435294 h 475358"/>
                  <a:gd name="connsiteX71" fmla="*/ 532904 w 713656"/>
                  <a:gd name="connsiteY71" fmla="*/ 422925 h 475358"/>
                  <a:gd name="connsiteX72" fmla="*/ 500332 w 713656"/>
                  <a:gd name="connsiteY72" fmla="*/ 385158 h 475358"/>
                  <a:gd name="connsiteX73" fmla="*/ 550674 w 713656"/>
                  <a:gd name="connsiteY73" fmla="*/ 348050 h 475358"/>
                  <a:gd name="connsiteX74" fmla="*/ 601635 w 713656"/>
                  <a:gd name="connsiteY74" fmla="*/ 330198 h 475358"/>
                  <a:gd name="connsiteX75" fmla="*/ 634207 w 713656"/>
                  <a:gd name="connsiteY75" fmla="*/ 319601 h 475358"/>
                  <a:gd name="connsiteX76" fmla="*/ 635321 w 713656"/>
                  <a:gd name="connsiteY76" fmla="*/ 297667 h 4753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</a:cxnLst>
                <a:rect l="l" t="t" r="r" b="b"/>
                <a:pathLst>
                  <a:path w="713656" h="475358">
                    <a:moveTo>
                      <a:pt x="635321" y="297667"/>
                    </a:moveTo>
                    <a:cubicBezTo>
                      <a:pt x="641546" y="296677"/>
                      <a:pt x="660059" y="272928"/>
                      <a:pt x="666408" y="272928"/>
                    </a:cubicBezTo>
                    <a:cubicBezTo>
                      <a:pt x="672758" y="272928"/>
                      <a:pt x="699393" y="279113"/>
                      <a:pt x="699393" y="274000"/>
                    </a:cubicBezTo>
                    <a:cubicBezTo>
                      <a:pt x="699393" y="268888"/>
                      <a:pt x="708298" y="251365"/>
                      <a:pt x="706526" y="246211"/>
                    </a:cubicBezTo>
                    <a:cubicBezTo>
                      <a:pt x="704753" y="241057"/>
                      <a:pt x="695847" y="233842"/>
                      <a:pt x="697661" y="228688"/>
                    </a:cubicBezTo>
                    <a:cubicBezTo>
                      <a:pt x="699475" y="223534"/>
                      <a:pt x="711845" y="223576"/>
                      <a:pt x="711845" y="217391"/>
                    </a:cubicBezTo>
                    <a:cubicBezTo>
                      <a:pt x="711845" y="211207"/>
                      <a:pt x="702072" y="208114"/>
                      <a:pt x="702072" y="204032"/>
                    </a:cubicBezTo>
                    <a:cubicBezTo>
                      <a:pt x="702072" y="199950"/>
                      <a:pt x="714442" y="192694"/>
                      <a:pt x="713617" y="184489"/>
                    </a:cubicBezTo>
                    <a:cubicBezTo>
                      <a:pt x="712793" y="176284"/>
                      <a:pt x="702072" y="175212"/>
                      <a:pt x="690528" y="167997"/>
                    </a:cubicBezTo>
                    <a:cubicBezTo>
                      <a:pt x="678983" y="160782"/>
                      <a:pt x="667439" y="163874"/>
                      <a:pt x="656760" y="157689"/>
                    </a:cubicBezTo>
                    <a:cubicBezTo>
                      <a:pt x="646082" y="151505"/>
                      <a:pt x="623776" y="155628"/>
                      <a:pt x="623776" y="151505"/>
                    </a:cubicBezTo>
                    <a:cubicBezTo>
                      <a:pt x="623776" y="147382"/>
                      <a:pt x="609552" y="134023"/>
                      <a:pt x="606006" y="126766"/>
                    </a:cubicBezTo>
                    <a:cubicBezTo>
                      <a:pt x="602460" y="119510"/>
                      <a:pt x="590915" y="123674"/>
                      <a:pt x="583824" y="128828"/>
                    </a:cubicBezTo>
                    <a:cubicBezTo>
                      <a:pt x="576732" y="133982"/>
                      <a:pt x="570465" y="136002"/>
                      <a:pt x="563209" y="130889"/>
                    </a:cubicBezTo>
                    <a:cubicBezTo>
                      <a:pt x="555952" y="125777"/>
                      <a:pt x="549891" y="117490"/>
                      <a:pt x="543665" y="120582"/>
                    </a:cubicBezTo>
                    <a:cubicBezTo>
                      <a:pt x="537439" y="123674"/>
                      <a:pt x="525895" y="121613"/>
                      <a:pt x="528575" y="111346"/>
                    </a:cubicBezTo>
                    <a:cubicBezTo>
                      <a:pt x="531255" y="101080"/>
                      <a:pt x="517031" y="78362"/>
                      <a:pt x="510805" y="75352"/>
                    </a:cubicBezTo>
                    <a:cubicBezTo>
                      <a:pt x="504579" y="72342"/>
                      <a:pt x="486066" y="77372"/>
                      <a:pt x="481489" y="67106"/>
                    </a:cubicBezTo>
                    <a:cubicBezTo>
                      <a:pt x="476913" y="56840"/>
                      <a:pt x="469120" y="48552"/>
                      <a:pt x="472584" y="41378"/>
                    </a:cubicBezTo>
                    <a:cubicBezTo>
                      <a:pt x="476047" y="34204"/>
                      <a:pt x="471718" y="14619"/>
                      <a:pt x="467265" y="6373"/>
                    </a:cubicBezTo>
                    <a:cubicBezTo>
                      <a:pt x="462812" y="-1873"/>
                      <a:pt x="440630" y="-801"/>
                      <a:pt x="434281" y="2250"/>
                    </a:cubicBezTo>
                    <a:cubicBezTo>
                      <a:pt x="427931" y="5302"/>
                      <a:pt x="413666" y="-842"/>
                      <a:pt x="407605" y="3240"/>
                    </a:cubicBezTo>
                    <a:cubicBezTo>
                      <a:pt x="401544" y="7322"/>
                      <a:pt x="397874" y="14578"/>
                      <a:pt x="388969" y="14578"/>
                    </a:cubicBezTo>
                    <a:cubicBezTo>
                      <a:pt x="384557" y="15246"/>
                      <a:pt x="380186" y="13131"/>
                      <a:pt x="378001" y="9260"/>
                    </a:cubicBezTo>
                    <a:cubicBezTo>
                      <a:pt x="369838" y="12698"/>
                      <a:pt x="361138" y="14735"/>
                      <a:pt x="352273" y="15279"/>
                    </a:cubicBezTo>
                    <a:cubicBezTo>
                      <a:pt x="352273" y="15279"/>
                      <a:pt x="328525" y="37214"/>
                      <a:pt x="328525" y="45419"/>
                    </a:cubicBezTo>
                    <a:cubicBezTo>
                      <a:pt x="328525" y="53624"/>
                      <a:pt x="327411" y="67395"/>
                      <a:pt x="321433" y="60550"/>
                    </a:cubicBezTo>
                    <a:cubicBezTo>
                      <a:pt x="315455" y="53706"/>
                      <a:pt x="290675" y="53665"/>
                      <a:pt x="284738" y="57788"/>
                    </a:cubicBezTo>
                    <a:cubicBezTo>
                      <a:pt x="278801" y="61911"/>
                      <a:pt x="269318" y="41296"/>
                      <a:pt x="258680" y="48222"/>
                    </a:cubicBezTo>
                    <a:cubicBezTo>
                      <a:pt x="248043" y="55149"/>
                      <a:pt x="233942" y="38574"/>
                      <a:pt x="232581" y="45419"/>
                    </a:cubicBezTo>
                    <a:cubicBezTo>
                      <a:pt x="231221" y="52263"/>
                      <a:pt x="216089" y="46820"/>
                      <a:pt x="205369" y="41296"/>
                    </a:cubicBezTo>
                    <a:cubicBezTo>
                      <a:pt x="194649" y="35771"/>
                      <a:pt x="175725" y="44058"/>
                      <a:pt x="168633" y="34410"/>
                    </a:cubicBezTo>
                    <a:cubicBezTo>
                      <a:pt x="161541" y="24762"/>
                      <a:pt x="115322" y="24804"/>
                      <a:pt x="99943" y="24804"/>
                    </a:cubicBezTo>
                    <a:cubicBezTo>
                      <a:pt x="84564" y="24804"/>
                      <a:pt x="80977" y="34410"/>
                      <a:pt x="73885" y="42656"/>
                    </a:cubicBezTo>
                    <a:cubicBezTo>
                      <a:pt x="67453" y="50160"/>
                      <a:pt x="59991" y="48594"/>
                      <a:pt x="52446" y="48222"/>
                    </a:cubicBezTo>
                    <a:cubicBezTo>
                      <a:pt x="52693" y="53611"/>
                      <a:pt x="53806" y="58922"/>
                      <a:pt x="55826" y="63931"/>
                    </a:cubicBezTo>
                    <a:cubicBezTo>
                      <a:pt x="59372" y="70116"/>
                      <a:pt x="76441" y="99925"/>
                      <a:pt x="71782" y="109285"/>
                    </a:cubicBezTo>
                    <a:cubicBezTo>
                      <a:pt x="67123" y="118644"/>
                      <a:pt x="59413" y="118520"/>
                      <a:pt x="54012" y="125777"/>
                    </a:cubicBezTo>
                    <a:cubicBezTo>
                      <a:pt x="48611" y="133034"/>
                      <a:pt x="17606" y="164905"/>
                      <a:pt x="16905" y="170017"/>
                    </a:cubicBezTo>
                    <a:cubicBezTo>
                      <a:pt x="16204" y="175130"/>
                      <a:pt x="22224" y="197807"/>
                      <a:pt x="17771" y="201930"/>
                    </a:cubicBezTo>
                    <a:cubicBezTo>
                      <a:pt x="13318" y="206053"/>
                      <a:pt x="1" y="227657"/>
                      <a:pt x="1" y="235862"/>
                    </a:cubicBezTo>
                    <a:cubicBezTo>
                      <a:pt x="1" y="244067"/>
                      <a:pt x="9772" y="255405"/>
                      <a:pt x="17771" y="258498"/>
                    </a:cubicBezTo>
                    <a:cubicBezTo>
                      <a:pt x="20533" y="259372"/>
                      <a:pt x="22883" y="261272"/>
                      <a:pt x="24285" y="263816"/>
                    </a:cubicBezTo>
                    <a:cubicBezTo>
                      <a:pt x="29398" y="262963"/>
                      <a:pt x="34552" y="262456"/>
                      <a:pt x="39747" y="262291"/>
                    </a:cubicBezTo>
                    <a:cubicBezTo>
                      <a:pt x="45642" y="262291"/>
                      <a:pt x="71700" y="270537"/>
                      <a:pt x="79946" y="270537"/>
                    </a:cubicBezTo>
                    <a:cubicBezTo>
                      <a:pt x="88193" y="270537"/>
                      <a:pt x="100108" y="274660"/>
                      <a:pt x="103654" y="278783"/>
                    </a:cubicBezTo>
                    <a:cubicBezTo>
                      <a:pt x="107200" y="282906"/>
                      <a:pt x="115487" y="280144"/>
                      <a:pt x="121424" y="273258"/>
                    </a:cubicBezTo>
                    <a:cubicBezTo>
                      <a:pt x="127361" y="266373"/>
                      <a:pt x="134453" y="270537"/>
                      <a:pt x="141586" y="270537"/>
                    </a:cubicBezTo>
                    <a:cubicBezTo>
                      <a:pt x="150739" y="269453"/>
                      <a:pt x="158944" y="264439"/>
                      <a:pt x="164097" y="256807"/>
                    </a:cubicBezTo>
                    <a:cubicBezTo>
                      <a:pt x="167643" y="249963"/>
                      <a:pt x="203184" y="238955"/>
                      <a:pt x="212626" y="237594"/>
                    </a:cubicBezTo>
                    <a:cubicBezTo>
                      <a:pt x="222068" y="236233"/>
                      <a:pt x="236333" y="258209"/>
                      <a:pt x="244621" y="258209"/>
                    </a:cubicBezTo>
                    <a:cubicBezTo>
                      <a:pt x="258433" y="259450"/>
                      <a:pt x="269936" y="269424"/>
                      <a:pt x="273070" y="282947"/>
                    </a:cubicBezTo>
                    <a:cubicBezTo>
                      <a:pt x="278471" y="299848"/>
                      <a:pt x="286841" y="315643"/>
                      <a:pt x="297808" y="329579"/>
                    </a:cubicBezTo>
                    <a:cubicBezTo>
                      <a:pt x="303704" y="336464"/>
                      <a:pt x="307250" y="354317"/>
                      <a:pt x="307250" y="359760"/>
                    </a:cubicBezTo>
                    <a:cubicBezTo>
                      <a:pt x="307250" y="365202"/>
                      <a:pt x="294221" y="358399"/>
                      <a:pt x="279996" y="354276"/>
                    </a:cubicBezTo>
                    <a:cubicBezTo>
                      <a:pt x="265772" y="350153"/>
                      <a:pt x="264617" y="366645"/>
                      <a:pt x="264617" y="374891"/>
                    </a:cubicBezTo>
                    <a:cubicBezTo>
                      <a:pt x="264617" y="383137"/>
                      <a:pt x="244497" y="411999"/>
                      <a:pt x="240951" y="417441"/>
                    </a:cubicBezTo>
                    <a:cubicBezTo>
                      <a:pt x="237405" y="422884"/>
                      <a:pt x="248084" y="427048"/>
                      <a:pt x="256371" y="428367"/>
                    </a:cubicBezTo>
                    <a:cubicBezTo>
                      <a:pt x="259876" y="428986"/>
                      <a:pt x="274101" y="417441"/>
                      <a:pt x="278842" y="417441"/>
                    </a:cubicBezTo>
                    <a:cubicBezTo>
                      <a:pt x="280780" y="417441"/>
                      <a:pt x="286676" y="422719"/>
                      <a:pt x="292943" y="428945"/>
                    </a:cubicBezTo>
                    <a:cubicBezTo>
                      <a:pt x="291623" y="407505"/>
                      <a:pt x="295458" y="408700"/>
                      <a:pt x="311991" y="394146"/>
                    </a:cubicBezTo>
                    <a:cubicBezTo>
                      <a:pt x="329184" y="379056"/>
                      <a:pt x="330958" y="350936"/>
                      <a:pt x="346336" y="347473"/>
                    </a:cubicBezTo>
                    <a:cubicBezTo>
                      <a:pt x="361715" y="344010"/>
                      <a:pt x="368271" y="335805"/>
                      <a:pt x="390782" y="339928"/>
                    </a:cubicBezTo>
                    <a:cubicBezTo>
                      <a:pt x="413295" y="344051"/>
                      <a:pt x="379527" y="360543"/>
                      <a:pt x="394905" y="370067"/>
                    </a:cubicBezTo>
                    <a:cubicBezTo>
                      <a:pt x="410285" y="379592"/>
                      <a:pt x="457700" y="367387"/>
                      <a:pt x="460091" y="381076"/>
                    </a:cubicBezTo>
                    <a:cubicBezTo>
                      <a:pt x="462482" y="394764"/>
                      <a:pt x="405585" y="408535"/>
                      <a:pt x="406780" y="415380"/>
                    </a:cubicBezTo>
                    <a:cubicBezTo>
                      <a:pt x="407976" y="422224"/>
                      <a:pt x="437002" y="429109"/>
                      <a:pt x="447062" y="436613"/>
                    </a:cubicBezTo>
                    <a:cubicBezTo>
                      <a:pt x="457123" y="444117"/>
                      <a:pt x="444094" y="465475"/>
                      <a:pt x="448835" y="472319"/>
                    </a:cubicBezTo>
                    <a:cubicBezTo>
                      <a:pt x="453577" y="479163"/>
                      <a:pt x="468956" y="473680"/>
                      <a:pt x="481407" y="463372"/>
                    </a:cubicBezTo>
                    <a:cubicBezTo>
                      <a:pt x="493859" y="453064"/>
                      <a:pt x="503919" y="456528"/>
                      <a:pt x="519875" y="444200"/>
                    </a:cubicBezTo>
                    <a:cubicBezTo>
                      <a:pt x="535831" y="431872"/>
                      <a:pt x="569022" y="442798"/>
                      <a:pt x="573227" y="435294"/>
                    </a:cubicBezTo>
                    <a:cubicBezTo>
                      <a:pt x="577433" y="427790"/>
                      <a:pt x="563703" y="420204"/>
                      <a:pt x="532904" y="422925"/>
                    </a:cubicBezTo>
                    <a:cubicBezTo>
                      <a:pt x="502105" y="425646"/>
                      <a:pt x="500332" y="392043"/>
                      <a:pt x="500332" y="385158"/>
                    </a:cubicBezTo>
                    <a:cubicBezTo>
                      <a:pt x="500332" y="378272"/>
                      <a:pt x="532327" y="350194"/>
                      <a:pt x="550674" y="348050"/>
                    </a:cubicBezTo>
                    <a:cubicBezTo>
                      <a:pt x="569022" y="345906"/>
                      <a:pt x="583659" y="339804"/>
                      <a:pt x="601635" y="330198"/>
                    </a:cubicBezTo>
                    <a:cubicBezTo>
                      <a:pt x="612025" y="325353"/>
                      <a:pt x="622951" y="321795"/>
                      <a:pt x="634207" y="319601"/>
                    </a:cubicBezTo>
                    <a:cubicBezTo>
                      <a:pt x="632517" y="310036"/>
                      <a:pt x="630043" y="298450"/>
                      <a:pt x="635321" y="29766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</a:lstStyle>
              <a:p>
                <a:pPr marL="0" marR="0" lvl="0" indent="0" algn="l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7" name="Switzerland">
                <a:extLst>
                  <a:ext uri="{FF2B5EF4-FFF2-40B4-BE49-F238E27FC236}">
                    <a16:creationId xmlns:a16="http://schemas.microsoft.com/office/drawing/2014/main" id="{56B47195-3FED-F264-C387-5949F056A4AB}"/>
                  </a:ext>
                </a:extLst>
              </p:cNvPr>
              <p:cNvSpPr/>
              <p:nvPr>
                <p:custDataLst>
                  <p:tags r:id="rId505"/>
                </p:custDataLst>
              </p:nvPr>
            </p:nvSpPr>
            <p:spPr>
              <a:xfrm>
                <a:off x="6940058" y="3588723"/>
                <a:ext cx="153391" cy="94252"/>
              </a:xfrm>
              <a:custGeom>
                <a:avLst/>
                <a:gdLst>
                  <a:gd name="connsiteX0" fmla="*/ 159446 w 179112"/>
                  <a:gd name="connsiteY0" fmla="*/ 46517 h 110056"/>
                  <a:gd name="connsiteX1" fmla="*/ 138830 w 179112"/>
                  <a:gd name="connsiteY1" fmla="*/ 34148 h 110056"/>
                  <a:gd name="connsiteX2" fmla="*/ 138830 w 179112"/>
                  <a:gd name="connsiteY2" fmla="*/ 14646 h 110056"/>
                  <a:gd name="connsiteX3" fmla="*/ 115700 w 179112"/>
                  <a:gd name="connsiteY3" fmla="*/ 2936 h 110056"/>
                  <a:gd name="connsiteX4" fmla="*/ 88447 w 179112"/>
                  <a:gd name="connsiteY4" fmla="*/ 4297 h 110056"/>
                  <a:gd name="connsiteX5" fmla="*/ 54473 w 179112"/>
                  <a:gd name="connsiteY5" fmla="*/ 5657 h 110056"/>
                  <a:gd name="connsiteX6" fmla="*/ 49072 w 179112"/>
                  <a:gd name="connsiteY6" fmla="*/ 12502 h 110056"/>
                  <a:gd name="connsiteX7" fmla="*/ 28457 w 179112"/>
                  <a:gd name="connsiteY7" fmla="*/ 32086 h 110056"/>
                  <a:gd name="connsiteX8" fmla="*/ 2688 w 179112"/>
                  <a:gd name="connsiteY8" fmla="*/ 69193 h 110056"/>
                  <a:gd name="connsiteX9" fmla="*/ 8047 w 179112"/>
                  <a:gd name="connsiteY9" fmla="*/ 84614 h 110056"/>
                  <a:gd name="connsiteX10" fmla="*/ 25818 w 179112"/>
                  <a:gd name="connsiteY10" fmla="*/ 86675 h 110056"/>
                  <a:gd name="connsiteX11" fmla="*/ 32909 w 179112"/>
                  <a:gd name="connsiteY11" fmla="*/ 109311 h 110056"/>
                  <a:gd name="connsiteX12" fmla="*/ 32909 w 179112"/>
                  <a:gd name="connsiteY12" fmla="*/ 110053 h 110056"/>
                  <a:gd name="connsiteX13" fmla="*/ 67090 w 179112"/>
                  <a:gd name="connsiteY13" fmla="*/ 107249 h 110056"/>
                  <a:gd name="connsiteX14" fmla="*/ 87251 w 179112"/>
                  <a:gd name="connsiteY14" fmla="*/ 74265 h 110056"/>
                  <a:gd name="connsiteX15" fmla="*/ 109722 w 179112"/>
                  <a:gd name="connsiteY15" fmla="*/ 105889 h 110056"/>
                  <a:gd name="connsiteX16" fmla="*/ 120400 w 179112"/>
                  <a:gd name="connsiteY16" fmla="*/ 89397 h 110056"/>
                  <a:gd name="connsiteX17" fmla="*/ 134625 w 179112"/>
                  <a:gd name="connsiteY17" fmla="*/ 79790 h 110056"/>
                  <a:gd name="connsiteX18" fmla="*/ 153591 w 179112"/>
                  <a:gd name="connsiteY18" fmla="*/ 74265 h 110056"/>
                  <a:gd name="connsiteX19" fmla="*/ 165424 w 179112"/>
                  <a:gd name="connsiteY19" fmla="*/ 68822 h 110056"/>
                  <a:gd name="connsiteX20" fmla="*/ 171361 w 179112"/>
                  <a:gd name="connsiteY20" fmla="*/ 57855 h 110056"/>
                  <a:gd name="connsiteX21" fmla="*/ 179113 w 179112"/>
                  <a:gd name="connsiteY21" fmla="*/ 49609 h 110056"/>
                  <a:gd name="connsiteX22" fmla="*/ 159446 w 179112"/>
                  <a:gd name="connsiteY22" fmla="*/ 46517 h 110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79112" h="110056">
                    <a:moveTo>
                      <a:pt x="159446" y="46517"/>
                    </a:moveTo>
                    <a:cubicBezTo>
                      <a:pt x="151447" y="50640"/>
                      <a:pt x="138830" y="38271"/>
                      <a:pt x="138830" y="34148"/>
                    </a:cubicBezTo>
                    <a:cubicBezTo>
                      <a:pt x="138830" y="31261"/>
                      <a:pt x="137181" y="21036"/>
                      <a:pt x="138830" y="14646"/>
                    </a:cubicBezTo>
                    <a:cubicBezTo>
                      <a:pt x="131492" y="10053"/>
                      <a:pt x="123740" y="6132"/>
                      <a:pt x="115700" y="2936"/>
                    </a:cubicBezTo>
                    <a:cubicBezTo>
                      <a:pt x="103826" y="-1187"/>
                      <a:pt x="97930" y="-1187"/>
                      <a:pt x="88447" y="4297"/>
                    </a:cubicBezTo>
                    <a:cubicBezTo>
                      <a:pt x="82427" y="7801"/>
                      <a:pt x="65770" y="6812"/>
                      <a:pt x="54473" y="5657"/>
                    </a:cubicBezTo>
                    <a:cubicBezTo>
                      <a:pt x="53483" y="9781"/>
                      <a:pt x="51917" y="12502"/>
                      <a:pt x="49072" y="12502"/>
                    </a:cubicBezTo>
                    <a:cubicBezTo>
                      <a:pt x="41073" y="12502"/>
                      <a:pt x="30394" y="21778"/>
                      <a:pt x="28457" y="32086"/>
                    </a:cubicBezTo>
                    <a:cubicBezTo>
                      <a:pt x="26519" y="42394"/>
                      <a:pt x="7842" y="50599"/>
                      <a:pt x="2688" y="69193"/>
                    </a:cubicBezTo>
                    <a:cubicBezTo>
                      <a:pt x="-2466" y="87788"/>
                      <a:pt x="49" y="95952"/>
                      <a:pt x="8047" y="84614"/>
                    </a:cubicBezTo>
                    <a:cubicBezTo>
                      <a:pt x="16046" y="73275"/>
                      <a:pt x="25818" y="77440"/>
                      <a:pt x="25818" y="86675"/>
                    </a:cubicBezTo>
                    <a:cubicBezTo>
                      <a:pt x="25818" y="95911"/>
                      <a:pt x="36455" y="96942"/>
                      <a:pt x="32909" y="109311"/>
                    </a:cubicBezTo>
                    <a:cubicBezTo>
                      <a:pt x="32909" y="109599"/>
                      <a:pt x="32909" y="109764"/>
                      <a:pt x="32909" y="110053"/>
                    </a:cubicBezTo>
                    <a:cubicBezTo>
                      <a:pt x="45279" y="108816"/>
                      <a:pt x="61771" y="107249"/>
                      <a:pt x="67090" y="107249"/>
                    </a:cubicBezTo>
                    <a:cubicBezTo>
                      <a:pt x="75336" y="107249"/>
                      <a:pt x="83582" y="77110"/>
                      <a:pt x="87251" y="74265"/>
                    </a:cubicBezTo>
                    <a:cubicBezTo>
                      <a:pt x="90921" y="71420"/>
                      <a:pt x="100280" y="96241"/>
                      <a:pt x="109722" y="105889"/>
                    </a:cubicBezTo>
                    <a:cubicBezTo>
                      <a:pt x="119164" y="115536"/>
                      <a:pt x="120400" y="97643"/>
                      <a:pt x="120400" y="89397"/>
                    </a:cubicBezTo>
                    <a:cubicBezTo>
                      <a:pt x="120400" y="81150"/>
                      <a:pt x="128646" y="78429"/>
                      <a:pt x="134625" y="79790"/>
                    </a:cubicBezTo>
                    <a:cubicBezTo>
                      <a:pt x="140603" y="81150"/>
                      <a:pt x="153591" y="83913"/>
                      <a:pt x="153591" y="74265"/>
                    </a:cubicBezTo>
                    <a:cubicBezTo>
                      <a:pt x="153591" y="64617"/>
                      <a:pt x="160683" y="68822"/>
                      <a:pt x="165424" y="68822"/>
                    </a:cubicBezTo>
                    <a:cubicBezTo>
                      <a:pt x="170166" y="68822"/>
                      <a:pt x="171361" y="57855"/>
                      <a:pt x="171361" y="57855"/>
                    </a:cubicBezTo>
                    <a:lnTo>
                      <a:pt x="179113" y="49609"/>
                    </a:lnTo>
                    <a:cubicBezTo>
                      <a:pt x="173052" y="45610"/>
                      <a:pt x="165713" y="43136"/>
                      <a:pt x="159446" y="4651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</a:lstStyle>
              <a:p>
                <a:pPr marL="0" marR="0" lvl="0" indent="0" algn="l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8" name="Sweden">
                <a:extLst>
                  <a:ext uri="{FF2B5EF4-FFF2-40B4-BE49-F238E27FC236}">
                    <a16:creationId xmlns:a16="http://schemas.microsoft.com/office/drawing/2014/main" id="{FFD2DFD8-8902-1612-5D95-DBFAC9F4D72D}"/>
                  </a:ext>
                </a:extLst>
              </p:cNvPr>
              <p:cNvSpPr/>
              <p:nvPr>
                <p:custDataLst>
                  <p:tags r:id="rId506"/>
                </p:custDataLst>
              </p:nvPr>
            </p:nvSpPr>
            <p:spPr>
              <a:xfrm>
                <a:off x="7114077" y="2322053"/>
                <a:ext cx="427769" cy="857243"/>
              </a:xfrm>
              <a:custGeom>
                <a:avLst/>
                <a:gdLst>
                  <a:gd name="connsiteX0" fmla="*/ 493974 w 499498"/>
                  <a:gd name="connsiteY0" fmla="*/ 231606 h 1000986"/>
                  <a:gd name="connsiteX1" fmla="*/ 486305 w 499498"/>
                  <a:gd name="connsiteY1" fmla="*/ 207404 h 1000986"/>
                  <a:gd name="connsiteX2" fmla="*/ 488243 w 499498"/>
                  <a:gd name="connsiteY2" fmla="*/ 167740 h 1000986"/>
                  <a:gd name="connsiteX3" fmla="*/ 478678 w 499498"/>
                  <a:gd name="connsiteY3" fmla="*/ 125891 h 1000986"/>
                  <a:gd name="connsiteX4" fmla="*/ 476822 w 499498"/>
                  <a:gd name="connsiteY4" fmla="*/ 81775 h 1000986"/>
                  <a:gd name="connsiteX5" fmla="*/ 419718 w 499498"/>
                  <a:gd name="connsiteY5" fmla="*/ 42111 h 1000986"/>
                  <a:gd name="connsiteX6" fmla="*/ 372138 w 499498"/>
                  <a:gd name="connsiteY6" fmla="*/ 2447 h 1000986"/>
                  <a:gd name="connsiteX7" fmla="*/ 349296 w 499498"/>
                  <a:gd name="connsiteY7" fmla="*/ 37700 h 1000986"/>
                  <a:gd name="connsiteX8" fmla="*/ 322661 w 499498"/>
                  <a:gd name="connsiteY8" fmla="*/ 46523 h 1000986"/>
                  <a:gd name="connsiteX9" fmla="*/ 280813 w 499498"/>
                  <a:gd name="connsiteY9" fmla="*/ 37700 h 1000986"/>
                  <a:gd name="connsiteX10" fmla="*/ 271288 w 499498"/>
                  <a:gd name="connsiteY10" fmla="*/ 70684 h 1000986"/>
                  <a:gd name="connsiteX11" fmla="*/ 240860 w 499498"/>
                  <a:gd name="connsiteY11" fmla="*/ 83878 h 1000986"/>
                  <a:gd name="connsiteX12" fmla="*/ 210391 w 499498"/>
                  <a:gd name="connsiteY12" fmla="*/ 110348 h 1000986"/>
                  <a:gd name="connsiteX13" fmla="*/ 198970 w 499498"/>
                  <a:gd name="connsiteY13" fmla="*/ 143332 h 1000986"/>
                  <a:gd name="connsiteX14" fmla="*/ 189446 w 499498"/>
                  <a:gd name="connsiteY14" fmla="*/ 167575 h 1000986"/>
                  <a:gd name="connsiteX15" fmla="*/ 168501 w 499498"/>
                  <a:gd name="connsiteY15" fmla="*/ 202827 h 1000986"/>
                  <a:gd name="connsiteX16" fmla="*/ 160914 w 499498"/>
                  <a:gd name="connsiteY16" fmla="*/ 229297 h 1000986"/>
                  <a:gd name="connsiteX17" fmla="*/ 130486 w 499498"/>
                  <a:gd name="connsiteY17" fmla="*/ 238080 h 1000986"/>
                  <a:gd name="connsiteX18" fmla="*/ 128590 w 499498"/>
                  <a:gd name="connsiteY18" fmla="*/ 279970 h 1000986"/>
                  <a:gd name="connsiteX19" fmla="*/ 101955 w 499498"/>
                  <a:gd name="connsiteY19" fmla="*/ 339465 h 1000986"/>
                  <a:gd name="connsiteX20" fmla="*/ 111479 w 499498"/>
                  <a:gd name="connsiteY20" fmla="*/ 363668 h 1000986"/>
                  <a:gd name="connsiteX21" fmla="*/ 111479 w 499498"/>
                  <a:gd name="connsiteY21" fmla="*/ 390137 h 1000986"/>
                  <a:gd name="connsiteX22" fmla="*/ 84803 w 499498"/>
                  <a:gd name="connsiteY22" fmla="*/ 392405 h 1000986"/>
                  <a:gd name="connsiteX23" fmla="*/ 44850 w 499498"/>
                  <a:gd name="connsiteY23" fmla="*/ 423204 h 1000986"/>
                  <a:gd name="connsiteX24" fmla="*/ 41016 w 499498"/>
                  <a:gd name="connsiteY24" fmla="*/ 469506 h 1000986"/>
                  <a:gd name="connsiteX25" fmla="*/ 41016 w 499498"/>
                  <a:gd name="connsiteY25" fmla="*/ 515808 h 1000986"/>
                  <a:gd name="connsiteX26" fmla="*/ 39160 w 499498"/>
                  <a:gd name="connsiteY26" fmla="*/ 559883 h 1000986"/>
                  <a:gd name="connsiteX27" fmla="*/ 65796 w 499498"/>
                  <a:gd name="connsiteY27" fmla="*/ 592868 h 1000986"/>
                  <a:gd name="connsiteX28" fmla="*/ 50540 w 499498"/>
                  <a:gd name="connsiteY28" fmla="*/ 617111 h 1000986"/>
                  <a:gd name="connsiteX29" fmla="*/ 52478 w 499498"/>
                  <a:gd name="connsiteY29" fmla="*/ 639170 h 1000986"/>
                  <a:gd name="connsiteX30" fmla="*/ 54375 w 499498"/>
                  <a:gd name="connsiteY30" fmla="*/ 683245 h 1000986"/>
                  <a:gd name="connsiteX31" fmla="*/ 27740 w 499498"/>
                  <a:gd name="connsiteY31" fmla="*/ 694253 h 1000986"/>
                  <a:gd name="connsiteX32" fmla="*/ 22009 w 499498"/>
                  <a:gd name="connsiteY32" fmla="*/ 731732 h 1000986"/>
                  <a:gd name="connsiteX33" fmla="*/ 12484 w 499498"/>
                  <a:gd name="connsiteY33" fmla="*/ 762572 h 1000986"/>
                  <a:gd name="connsiteX34" fmla="*/ 115 w 499498"/>
                  <a:gd name="connsiteY34" fmla="*/ 760511 h 1000986"/>
                  <a:gd name="connsiteX35" fmla="*/ 115 w 499498"/>
                  <a:gd name="connsiteY35" fmla="*/ 764881 h 1000986"/>
                  <a:gd name="connsiteX36" fmla="*/ 17886 w 499498"/>
                  <a:gd name="connsiteY36" fmla="*/ 811513 h 1000986"/>
                  <a:gd name="connsiteX37" fmla="*/ 32110 w 499498"/>
                  <a:gd name="connsiteY37" fmla="*/ 859505 h 1000986"/>
                  <a:gd name="connsiteX38" fmla="*/ 52231 w 499498"/>
                  <a:gd name="connsiteY38" fmla="*/ 901395 h 1000986"/>
                  <a:gd name="connsiteX39" fmla="*/ 60477 w 499498"/>
                  <a:gd name="connsiteY39" fmla="*/ 936359 h 1000986"/>
                  <a:gd name="connsiteX40" fmla="*/ 71733 w 499498"/>
                  <a:gd name="connsiteY40" fmla="*/ 957592 h 1000986"/>
                  <a:gd name="connsiteX41" fmla="*/ 72351 w 499498"/>
                  <a:gd name="connsiteY41" fmla="*/ 996720 h 1000986"/>
                  <a:gd name="connsiteX42" fmla="*/ 103769 w 499498"/>
                  <a:gd name="connsiteY42" fmla="*/ 996019 h 1000986"/>
                  <a:gd name="connsiteX43" fmla="*/ 118529 w 499498"/>
                  <a:gd name="connsiteY43" fmla="*/ 968601 h 1000986"/>
                  <a:gd name="connsiteX44" fmla="*/ 130898 w 499498"/>
                  <a:gd name="connsiteY44" fmla="*/ 953511 h 1000986"/>
                  <a:gd name="connsiteX45" fmla="*/ 163883 w 499498"/>
                  <a:gd name="connsiteY45" fmla="*/ 950047 h 1000986"/>
                  <a:gd name="connsiteX46" fmla="*/ 186972 w 499498"/>
                  <a:gd name="connsiteY46" fmla="*/ 928772 h 1000986"/>
                  <a:gd name="connsiteX47" fmla="*/ 201155 w 499498"/>
                  <a:gd name="connsiteY47" fmla="*/ 935616 h 1000986"/>
                  <a:gd name="connsiteX48" fmla="*/ 223667 w 499498"/>
                  <a:gd name="connsiteY48" fmla="*/ 891747 h 1000986"/>
                  <a:gd name="connsiteX49" fmla="*/ 209442 w 499498"/>
                  <a:gd name="connsiteY49" fmla="*/ 894510 h 1000986"/>
                  <a:gd name="connsiteX50" fmla="*/ 208865 w 499498"/>
                  <a:gd name="connsiteY50" fmla="*/ 862268 h 1000986"/>
                  <a:gd name="connsiteX51" fmla="*/ 215380 w 499498"/>
                  <a:gd name="connsiteY51" fmla="*/ 796299 h 1000986"/>
                  <a:gd name="connsiteX52" fmla="*/ 237850 w 499498"/>
                  <a:gd name="connsiteY52" fmla="*/ 768180 h 1000986"/>
                  <a:gd name="connsiteX53" fmla="*/ 274051 w 499498"/>
                  <a:gd name="connsiteY53" fmla="*/ 729093 h 1000986"/>
                  <a:gd name="connsiteX54" fmla="*/ 297717 w 499498"/>
                  <a:gd name="connsiteY54" fmla="*/ 691367 h 1000986"/>
                  <a:gd name="connsiteX55" fmla="*/ 259785 w 499498"/>
                  <a:gd name="connsiteY55" fmla="*/ 642674 h 1000986"/>
                  <a:gd name="connsiteX56" fmla="*/ 231377 w 499498"/>
                  <a:gd name="connsiteY56" fmla="*/ 633727 h 1000986"/>
                  <a:gd name="connsiteX57" fmla="*/ 226636 w 499498"/>
                  <a:gd name="connsiteY57" fmla="*/ 581571 h 1000986"/>
                  <a:gd name="connsiteX58" fmla="*/ 240324 w 499498"/>
                  <a:gd name="connsiteY58" fmla="*/ 542855 h 1000986"/>
                  <a:gd name="connsiteX59" fmla="*/ 241973 w 499498"/>
                  <a:gd name="connsiteY59" fmla="*/ 500924 h 1000986"/>
                  <a:gd name="connsiteX60" fmla="*/ 276483 w 499498"/>
                  <a:gd name="connsiteY60" fmla="*/ 458745 h 1000986"/>
                  <a:gd name="connsiteX61" fmla="*/ 292646 w 499498"/>
                  <a:gd name="connsiteY61" fmla="*/ 447901 h 1000986"/>
                  <a:gd name="connsiteX62" fmla="*/ 298912 w 499498"/>
                  <a:gd name="connsiteY62" fmla="*/ 443036 h 1000986"/>
                  <a:gd name="connsiteX63" fmla="*/ 310333 w 499498"/>
                  <a:gd name="connsiteY63" fmla="*/ 436316 h 1000986"/>
                  <a:gd name="connsiteX64" fmla="*/ 323074 w 499498"/>
                  <a:gd name="connsiteY64" fmla="*/ 404692 h 1000986"/>
                  <a:gd name="connsiteX65" fmla="*/ 328928 w 499498"/>
                  <a:gd name="connsiteY65" fmla="*/ 398672 h 1000986"/>
                  <a:gd name="connsiteX66" fmla="*/ 353667 w 499498"/>
                  <a:gd name="connsiteY66" fmla="*/ 386303 h 1000986"/>
                  <a:gd name="connsiteX67" fmla="*/ 360923 w 499498"/>
                  <a:gd name="connsiteY67" fmla="*/ 376202 h 1000986"/>
                  <a:gd name="connsiteX68" fmla="*/ 377415 w 499498"/>
                  <a:gd name="connsiteY68" fmla="*/ 365853 h 1000986"/>
                  <a:gd name="connsiteX69" fmla="*/ 388919 w 499498"/>
                  <a:gd name="connsiteY69" fmla="*/ 333982 h 1000986"/>
                  <a:gd name="connsiteX70" fmla="*/ 394320 w 499498"/>
                  <a:gd name="connsiteY70" fmla="*/ 319675 h 1000986"/>
                  <a:gd name="connsiteX71" fmla="*/ 409740 w 499498"/>
                  <a:gd name="connsiteY71" fmla="*/ 281949 h 1000986"/>
                  <a:gd name="connsiteX72" fmla="*/ 435798 w 499498"/>
                  <a:gd name="connsiteY72" fmla="*/ 257953 h 1000986"/>
                  <a:gd name="connsiteX73" fmla="*/ 477811 w 499498"/>
                  <a:gd name="connsiteY73" fmla="*/ 253129 h 1000986"/>
                  <a:gd name="connsiteX74" fmla="*/ 499499 w 499498"/>
                  <a:gd name="connsiteY74" fmla="*/ 254242 h 1000986"/>
                  <a:gd name="connsiteX75" fmla="*/ 493974 w 499498"/>
                  <a:gd name="connsiteY75" fmla="*/ 231606 h 10009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</a:cxnLst>
                <a:rect l="l" t="t" r="r" b="b"/>
                <a:pathLst>
                  <a:path w="499498" h="1000986">
                    <a:moveTo>
                      <a:pt x="493974" y="231606"/>
                    </a:moveTo>
                    <a:cubicBezTo>
                      <a:pt x="488243" y="225051"/>
                      <a:pt x="476822" y="207404"/>
                      <a:pt x="486305" y="207404"/>
                    </a:cubicBezTo>
                    <a:cubicBezTo>
                      <a:pt x="495788" y="207404"/>
                      <a:pt x="499622" y="174420"/>
                      <a:pt x="488243" y="167740"/>
                    </a:cubicBezTo>
                    <a:cubicBezTo>
                      <a:pt x="476863" y="161061"/>
                      <a:pt x="488243" y="132447"/>
                      <a:pt x="478678" y="125891"/>
                    </a:cubicBezTo>
                    <a:cubicBezTo>
                      <a:pt x="469112" y="119336"/>
                      <a:pt x="474925" y="97030"/>
                      <a:pt x="476822" y="81775"/>
                    </a:cubicBezTo>
                    <a:cubicBezTo>
                      <a:pt x="478719" y="66520"/>
                      <a:pt x="440622" y="53120"/>
                      <a:pt x="419718" y="42111"/>
                    </a:cubicBezTo>
                    <a:cubicBezTo>
                      <a:pt x="398814" y="31103"/>
                      <a:pt x="389290" y="13456"/>
                      <a:pt x="372138" y="2447"/>
                    </a:cubicBezTo>
                    <a:cubicBezTo>
                      <a:pt x="354986" y="-8561"/>
                      <a:pt x="349296" y="20053"/>
                      <a:pt x="349296" y="37700"/>
                    </a:cubicBezTo>
                    <a:cubicBezTo>
                      <a:pt x="349296" y="55346"/>
                      <a:pt x="334082" y="57573"/>
                      <a:pt x="322661" y="46523"/>
                    </a:cubicBezTo>
                    <a:cubicBezTo>
                      <a:pt x="311241" y="35473"/>
                      <a:pt x="297923" y="46523"/>
                      <a:pt x="280813" y="37700"/>
                    </a:cubicBezTo>
                    <a:cubicBezTo>
                      <a:pt x="263702" y="28876"/>
                      <a:pt x="271288" y="57573"/>
                      <a:pt x="271288" y="70684"/>
                    </a:cubicBezTo>
                    <a:cubicBezTo>
                      <a:pt x="271288" y="83795"/>
                      <a:pt x="252240" y="83878"/>
                      <a:pt x="240860" y="83878"/>
                    </a:cubicBezTo>
                    <a:cubicBezTo>
                      <a:pt x="229480" y="83878"/>
                      <a:pt x="210391" y="94927"/>
                      <a:pt x="210391" y="110348"/>
                    </a:cubicBezTo>
                    <a:cubicBezTo>
                      <a:pt x="210391" y="125768"/>
                      <a:pt x="193280" y="134591"/>
                      <a:pt x="198970" y="143332"/>
                    </a:cubicBezTo>
                    <a:cubicBezTo>
                      <a:pt x="204660" y="152073"/>
                      <a:pt x="197073" y="160937"/>
                      <a:pt x="189446" y="167575"/>
                    </a:cubicBezTo>
                    <a:cubicBezTo>
                      <a:pt x="181818" y="174214"/>
                      <a:pt x="174231" y="196189"/>
                      <a:pt x="168501" y="202827"/>
                    </a:cubicBezTo>
                    <a:cubicBezTo>
                      <a:pt x="162770" y="209466"/>
                      <a:pt x="172335" y="220474"/>
                      <a:pt x="160914" y="229297"/>
                    </a:cubicBezTo>
                    <a:cubicBezTo>
                      <a:pt x="149493" y="238121"/>
                      <a:pt x="136176" y="231441"/>
                      <a:pt x="130486" y="238080"/>
                    </a:cubicBezTo>
                    <a:cubicBezTo>
                      <a:pt x="124796" y="244718"/>
                      <a:pt x="130486" y="260138"/>
                      <a:pt x="128590" y="279970"/>
                    </a:cubicBezTo>
                    <a:cubicBezTo>
                      <a:pt x="126693" y="299802"/>
                      <a:pt x="113335" y="321819"/>
                      <a:pt x="101955" y="339465"/>
                    </a:cubicBezTo>
                    <a:cubicBezTo>
                      <a:pt x="90575" y="357112"/>
                      <a:pt x="105748" y="361524"/>
                      <a:pt x="111479" y="363668"/>
                    </a:cubicBezTo>
                    <a:cubicBezTo>
                      <a:pt x="117210" y="365811"/>
                      <a:pt x="117169" y="376944"/>
                      <a:pt x="111479" y="390137"/>
                    </a:cubicBezTo>
                    <a:cubicBezTo>
                      <a:pt x="105789" y="403331"/>
                      <a:pt x="92430" y="394549"/>
                      <a:pt x="84803" y="392405"/>
                    </a:cubicBezTo>
                    <a:cubicBezTo>
                      <a:pt x="77175" y="390261"/>
                      <a:pt x="56271" y="401187"/>
                      <a:pt x="44850" y="423204"/>
                    </a:cubicBezTo>
                    <a:cubicBezTo>
                      <a:pt x="33430" y="445221"/>
                      <a:pt x="37223" y="458456"/>
                      <a:pt x="41016" y="469506"/>
                    </a:cubicBezTo>
                    <a:cubicBezTo>
                      <a:pt x="44810" y="480556"/>
                      <a:pt x="31533" y="493750"/>
                      <a:pt x="41016" y="515808"/>
                    </a:cubicBezTo>
                    <a:cubicBezTo>
                      <a:pt x="50499" y="537866"/>
                      <a:pt x="37223" y="542237"/>
                      <a:pt x="39160" y="559883"/>
                    </a:cubicBezTo>
                    <a:cubicBezTo>
                      <a:pt x="41099" y="577530"/>
                      <a:pt x="63899" y="575303"/>
                      <a:pt x="65796" y="592868"/>
                    </a:cubicBezTo>
                    <a:cubicBezTo>
                      <a:pt x="67692" y="610432"/>
                      <a:pt x="58168" y="617111"/>
                      <a:pt x="50540" y="617111"/>
                    </a:cubicBezTo>
                    <a:cubicBezTo>
                      <a:pt x="42913" y="617111"/>
                      <a:pt x="44850" y="634758"/>
                      <a:pt x="52478" y="639170"/>
                    </a:cubicBezTo>
                    <a:cubicBezTo>
                      <a:pt x="60106" y="643581"/>
                      <a:pt x="58168" y="674422"/>
                      <a:pt x="54375" y="683245"/>
                    </a:cubicBezTo>
                    <a:cubicBezTo>
                      <a:pt x="50581" y="692068"/>
                      <a:pt x="25802" y="683245"/>
                      <a:pt x="27740" y="694253"/>
                    </a:cubicBezTo>
                    <a:cubicBezTo>
                      <a:pt x="29678" y="705262"/>
                      <a:pt x="22009" y="723115"/>
                      <a:pt x="22009" y="731732"/>
                    </a:cubicBezTo>
                    <a:cubicBezTo>
                      <a:pt x="22009" y="740349"/>
                      <a:pt x="20112" y="769210"/>
                      <a:pt x="12484" y="762572"/>
                    </a:cubicBezTo>
                    <a:cubicBezTo>
                      <a:pt x="8815" y="760189"/>
                      <a:pt x="4362" y="759443"/>
                      <a:pt x="115" y="760511"/>
                    </a:cubicBezTo>
                    <a:cubicBezTo>
                      <a:pt x="115" y="761913"/>
                      <a:pt x="115" y="763273"/>
                      <a:pt x="115" y="764881"/>
                    </a:cubicBezTo>
                    <a:cubicBezTo>
                      <a:pt x="-957" y="782260"/>
                      <a:pt x="5517" y="799259"/>
                      <a:pt x="17886" y="811513"/>
                    </a:cubicBezTo>
                    <a:cubicBezTo>
                      <a:pt x="30914" y="823882"/>
                      <a:pt x="20854" y="842353"/>
                      <a:pt x="32110" y="859505"/>
                    </a:cubicBezTo>
                    <a:cubicBezTo>
                      <a:pt x="43366" y="876657"/>
                      <a:pt x="39779" y="889026"/>
                      <a:pt x="52231" y="901395"/>
                    </a:cubicBezTo>
                    <a:cubicBezTo>
                      <a:pt x="64682" y="913764"/>
                      <a:pt x="65878" y="920567"/>
                      <a:pt x="60477" y="936359"/>
                    </a:cubicBezTo>
                    <a:cubicBezTo>
                      <a:pt x="55076" y="952150"/>
                      <a:pt x="71155" y="948027"/>
                      <a:pt x="71733" y="957592"/>
                    </a:cubicBezTo>
                    <a:cubicBezTo>
                      <a:pt x="72310" y="967158"/>
                      <a:pt x="68228" y="987072"/>
                      <a:pt x="72351" y="996720"/>
                    </a:cubicBezTo>
                    <a:cubicBezTo>
                      <a:pt x="76474" y="1006368"/>
                      <a:pt x="84720" y="996720"/>
                      <a:pt x="103769" y="996019"/>
                    </a:cubicBezTo>
                    <a:cubicBezTo>
                      <a:pt x="122817" y="995318"/>
                      <a:pt x="117952" y="981630"/>
                      <a:pt x="118529" y="968601"/>
                    </a:cubicBezTo>
                    <a:cubicBezTo>
                      <a:pt x="119106" y="955572"/>
                      <a:pt x="128631" y="961715"/>
                      <a:pt x="130898" y="953511"/>
                    </a:cubicBezTo>
                    <a:cubicBezTo>
                      <a:pt x="133166" y="945306"/>
                      <a:pt x="150442" y="943203"/>
                      <a:pt x="163883" y="950047"/>
                    </a:cubicBezTo>
                    <a:cubicBezTo>
                      <a:pt x="177324" y="956891"/>
                      <a:pt x="184498" y="945264"/>
                      <a:pt x="186972" y="928772"/>
                    </a:cubicBezTo>
                    <a:cubicBezTo>
                      <a:pt x="189446" y="912280"/>
                      <a:pt x="196991" y="932236"/>
                      <a:pt x="201155" y="935616"/>
                    </a:cubicBezTo>
                    <a:cubicBezTo>
                      <a:pt x="205319" y="938997"/>
                      <a:pt x="217647" y="910301"/>
                      <a:pt x="223667" y="891747"/>
                    </a:cubicBezTo>
                    <a:cubicBezTo>
                      <a:pt x="229687" y="873194"/>
                      <a:pt x="223049" y="876698"/>
                      <a:pt x="209442" y="894510"/>
                    </a:cubicBezTo>
                    <a:cubicBezTo>
                      <a:pt x="195836" y="912321"/>
                      <a:pt x="203547" y="876698"/>
                      <a:pt x="208865" y="862268"/>
                    </a:cubicBezTo>
                    <a:cubicBezTo>
                      <a:pt x="214184" y="847837"/>
                      <a:pt x="213607" y="805988"/>
                      <a:pt x="215380" y="796299"/>
                    </a:cubicBezTo>
                    <a:cubicBezTo>
                      <a:pt x="217153" y="786610"/>
                      <a:pt x="220740" y="772303"/>
                      <a:pt x="237850" y="768180"/>
                    </a:cubicBezTo>
                    <a:cubicBezTo>
                      <a:pt x="254961" y="764057"/>
                      <a:pt x="277555" y="739318"/>
                      <a:pt x="274051" y="729093"/>
                    </a:cubicBezTo>
                    <a:cubicBezTo>
                      <a:pt x="270546" y="718868"/>
                      <a:pt x="297717" y="701675"/>
                      <a:pt x="297717" y="691367"/>
                    </a:cubicBezTo>
                    <a:cubicBezTo>
                      <a:pt x="297717" y="681060"/>
                      <a:pt x="269268" y="649477"/>
                      <a:pt x="259785" y="642674"/>
                    </a:cubicBezTo>
                    <a:cubicBezTo>
                      <a:pt x="250302" y="635871"/>
                      <a:pt x="229604" y="641272"/>
                      <a:pt x="231377" y="633727"/>
                    </a:cubicBezTo>
                    <a:cubicBezTo>
                      <a:pt x="233150" y="626182"/>
                      <a:pt x="228986" y="596620"/>
                      <a:pt x="226636" y="581571"/>
                    </a:cubicBezTo>
                    <a:cubicBezTo>
                      <a:pt x="224616" y="568748"/>
                      <a:pt x="236654" y="555430"/>
                      <a:pt x="240324" y="542855"/>
                    </a:cubicBezTo>
                    <a:cubicBezTo>
                      <a:pt x="234057" y="529431"/>
                      <a:pt x="234675" y="513812"/>
                      <a:pt x="241973" y="500924"/>
                    </a:cubicBezTo>
                    <a:cubicBezTo>
                      <a:pt x="251828" y="485256"/>
                      <a:pt x="264609" y="472598"/>
                      <a:pt x="276483" y="458745"/>
                    </a:cubicBezTo>
                    <a:cubicBezTo>
                      <a:pt x="280813" y="453756"/>
                      <a:pt x="286379" y="450012"/>
                      <a:pt x="292646" y="447901"/>
                    </a:cubicBezTo>
                    <a:cubicBezTo>
                      <a:pt x="294377" y="445877"/>
                      <a:pt x="296521" y="444224"/>
                      <a:pt x="298912" y="443036"/>
                    </a:cubicBezTo>
                    <a:cubicBezTo>
                      <a:pt x="302953" y="441181"/>
                      <a:pt x="306746" y="438930"/>
                      <a:pt x="310333" y="436316"/>
                    </a:cubicBezTo>
                    <a:cubicBezTo>
                      <a:pt x="310498" y="424553"/>
                      <a:pt x="315034" y="413272"/>
                      <a:pt x="323074" y="404692"/>
                    </a:cubicBezTo>
                    <a:lnTo>
                      <a:pt x="328928" y="398672"/>
                    </a:lnTo>
                    <a:cubicBezTo>
                      <a:pt x="335608" y="391964"/>
                      <a:pt x="344307" y="387618"/>
                      <a:pt x="353667" y="386303"/>
                    </a:cubicBezTo>
                    <a:cubicBezTo>
                      <a:pt x="355646" y="382634"/>
                      <a:pt x="358078" y="379236"/>
                      <a:pt x="360923" y="376202"/>
                    </a:cubicBezTo>
                    <a:cubicBezTo>
                      <a:pt x="365582" y="371571"/>
                      <a:pt x="371231" y="368038"/>
                      <a:pt x="377415" y="365853"/>
                    </a:cubicBezTo>
                    <a:cubicBezTo>
                      <a:pt x="377250" y="354185"/>
                      <a:pt x="381333" y="342854"/>
                      <a:pt x="388919" y="333982"/>
                    </a:cubicBezTo>
                    <a:cubicBezTo>
                      <a:pt x="387723" y="328564"/>
                      <a:pt x="389826" y="322948"/>
                      <a:pt x="394320" y="319675"/>
                    </a:cubicBezTo>
                    <a:cubicBezTo>
                      <a:pt x="411513" y="304584"/>
                      <a:pt x="397289" y="287391"/>
                      <a:pt x="409740" y="281949"/>
                    </a:cubicBezTo>
                    <a:cubicBezTo>
                      <a:pt x="422192" y="276506"/>
                      <a:pt x="426892" y="268920"/>
                      <a:pt x="435798" y="257953"/>
                    </a:cubicBezTo>
                    <a:cubicBezTo>
                      <a:pt x="444704" y="246985"/>
                      <a:pt x="456413" y="257252"/>
                      <a:pt x="477811" y="253129"/>
                    </a:cubicBezTo>
                    <a:cubicBezTo>
                      <a:pt x="485027" y="251801"/>
                      <a:pt x="492448" y="252180"/>
                      <a:pt x="499499" y="254242"/>
                    </a:cubicBezTo>
                    <a:cubicBezTo>
                      <a:pt x="498427" y="243604"/>
                      <a:pt x="496324" y="234657"/>
                      <a:pt x="493974" y="231606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</a:lstStyle>
              <a:p>
                <a:pPr marL="0" marR="0" lvl="0" indent="0" algn="l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9" name="Serbia">
                <a:extLst>
                  <a:ext uri="{FF2B5EF4-FFF2-40B4-BE49-F238E27FC236}">
                    <a16:creationId xmlns:a16="http://schemas.microsoft.com/office/drawing/2014/main" id="{CF1757FA-0FC3-3352-5460-703471C6F200}"/>
                  </a:ext>
                </a:extLst>
              </p:cNvPr>
              <p:cNvSpPr/>
              <p:nvPr>
                <p:custDataLst>
                  <p:tags r:id="rId507"/>
                </p:custDataLst>
              </p:nvPr>
            </p:nvSpPr>
            <p:spPr>
              <a:xfrm>
                <a:off x="7359013" y="3662603"/>
                <a:ext cx="137525" cy="198016"/>
              </a:xfrm>
              <a:custGeom>
                <a:avLst/>
                <a:gdLst>
                  <a:gd name="connsiteX0" fmla="*/ 145502 w 160585"/>
                  <a:gd name="connsiteY0" fmla="*/ 154569 h 231220"/>
                  <a:gd name="connsiteX1" fmla="*/ 145502 w 160585"/>
                  <a:gd name="connsiteY1" fmla="*/ 122615 h 231220"/>
                  <a:gd name="connsiteX2" fmla="*/ 146369 w 160585"/>
                  <a:gd name="connsiteY2" fmla="*/ 97877 h 231220"/>
                  <a:gd name="connsiteX3" fmla="*/ 101963 w 160585"/>
                  <a:gd name="connsiteY3" fmla="*/ 82457 h 231220"/>
                  <a:gd name="connsiteX4" fmla="*/ 96644 w 160585"/>
                  <a:gd name="connsiteY4" fmla="*/ 53595 h 231220"/>
                  <a:gd name="connsiteX5" fmla="*/ 83286 w 160585"/>
                  <a:gd name="connsiteY5" fmla="*/ 37103 h 231220"/>
                  <a:gd name="connsiteX6" fmla="*/ 69102 w 160585"/>
                  <a:gd name="connsiteY6" fmla="*/ 10303 h 231220"/>
                  <a:gd name="connsiteX7" fmla="*/ 70216 w 160585"/>
                  <a:gd name="connsiteY7" fmla="*/ 8242 h 231220"/>
                  <a:gd name="connsiteX8" fmla="*/ 58918 w 160585"/>
                  <a:gd name="connsiteY8" fmla="*/ 6098 h 231220"/>
                  <a:gd name="connsiteX9" fmla="*/ 41726 w 160585"/>
                  <a:gd name="connsiteY9" fmla="*/ -4 h 231220"/>
                  <a:gd name="connsiteX10" fmla="*/ 1 w 160585"/>
                  <a:gd name="connsiteY10" fmla="*/ 15251 h 231220"/>
                  <a:gd name="connsiteX11" fmla="*/ 10431 w 160585"/>
                  <a:gd name="connsiteY11" fmla="*/ 43329 h 231220"/>
                  <a:gd name="connsiteX12" fmla="*/ 23172 w 160585"/>
                  <a:gd name="connsiteY12" fmla="*/ 76313 h 231220"/>
                  <a:gd name="connsiteX13" fmla="*/ 19997 w 160585"/>
                  <a:gd name="connsiteY13" fmla="*/ 148219 h 231220"/>
                  <a:gd name="connsiteX14" fmla="*/ 5072 w 160585"/>
                  <a:gd name="connsiteY14" fmla="*/ 165454 h 231220"/>
                  <a:gd name="connsiteX15" fmla="*/ 36531 w 160585"/>
                  <a:gd name="connsiteY15" fmla="*/ 207096 h 231220"/>
                  <a:gd name="connsiteX16" fmla="*/ 37726 w 160585"/>
                  <a:gd name="connsiteY16" fmla="*/ 206684 h 231220"/>
                  <a:gd name="connsiteX17" fmla="*/ 74833 w 160585"/>
                  <a:gd name="connsiteY17" fmla="*/ 231216 h 231220"/>
                  <a:gd name="connsiteX18" fmla="*/ 143812 w 160585"/>
                  <a:gd name="connsiteY18" fmla="*/ 216621 h 231220"/>
                  <a:gd name="connsiteX19" fmla="*/ 144596 w 160585"/>
                  <a:gd name="connsiteY19" fmla="*/ 202561 h 231220"/>
                  <a:gd name="connsiteX20" fmla="*/ 157913 w 160585"/>
                  <a:gd name="connsiteY20" fmla="*/ 184049 h 231220"/>
                  <a:gd name="connsiteX21" fmla="*/ 145502 w 160585"/>
                  <a:gd name="connsiteY21" fmla="*/ 154569 h 231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60585" h="231217">
                    <a:moveTo>
                      <a:pt x="145502" y="154569"/>
                    </a:moveTo>
                    <a:cubicBezTo>
                      <a:pt x="136597" y="145251"/>
                      <a:pt x="137504" y="128841"/>
                      <a:pt x="145502" y="122615"/>
                    </a:cubicBezTo>
                    <a:cubicBezTo>
                      <a:pt x="153501" y="116389"/>
                      <a:pt x="146369" y="108226"/>
                      <a:pt x="146369" y="97877"/>
                    </a:cubicBezTo>
                    <a:cubicBezTo>
                      <a:pt x="146369" y="87528"/>
                      <a:pt x="108189" y="84477"/>
                      <a:pt x="101963" y="82457"/>
                    </a:cubicBezTo>
                    <a:cubicBezTo>
                      <a:pt x="95738" y="80436"/>
                      <a:pt x="106416" y="53595"/>
                      <a:pt x="96644" y="53595"/>
                    </a:cubicBezTo>
                    <a:cubicBezTo>
                      <a:pt x="86873" y="53595"/>
                      <a:pt x="83286" y="45349"/>
                      <a:pt x="83286" y="37103"/>
                    </a:cubicBezTo>
                    <a:cubicBezTo>
                      <a:pt x="83286" y="28857"/>
                      <a:pt x="68195" y="15457"/>
                      <a:pt x="69102" y="10303"/>
                    </a:cubicBezTo>
                    <a:cubicBezTo>
                      <a:pt x="69267" y="9528"/>
                      <a:pt x="69680" y="8819"/>
                      <a:pt x="70216" y="8242"/>
                    </a:cubicBezTo>
                    <a:cubicBezTo>
                      <a:pt x="64691" y="7252"/>
                      <a:pt x="60485" y="6469"/>
                      <a:pt x="58918" y="6098"/>
                    </a:cubicBezTo>
                    <a:cubicBezTo>
                      <a:pt x="53064" y="4477"/>
                      <a:pt x="47292" y="2441"/>
                      <a:pt x="41726" y="-4"/>
                    </a:cubicBezTo>
                    <a:cubicBezTo>
                      <a:pt x="41726" y="-4"/>
                      <a:pt x="16987" y="9190"/>
                      <a:pt x="1" y="15251"/>
                    </a:cubicBezTo>
                    <a:cubicBezTo>
                      <a:pt x="1155" y="27332"/>
                      <a:pt x="3876" y="40484"/>
                      <a:pt x="10431" y="43329"/>
                    </a:cubicBezTo>
                    <a:cubicBezTo>
                      <a:pt x="23172" y="48854"/>
                      <a:pt x="18430" y="63573"/>
                      <a:pt x="23172" y="76313"/>
                    </a:cubicBezTo>
                    <a:cubicBezTo>
                      <a:pt x="27913" y="89053"/>
                      <a:pt x="26346" y="148219"/>
                      <a:pt x="19997" y="148219"/>
                    </a:cubicBezTo>
                    <a:cubicBezTo>
                      <a:pt x="17276" y="148219"/>
                      <a:pt x="11133" y="155888"/>
                      <a:pt x="5072" y="165454"/>
                    </a:cubicBezTo>
                    <a:cubicBezTo>
                      <a:pt x="13771" y="175555"/>
                      <a:pt x="27295" y="194026"/>
                      <a:pt x="36531" y="207096"/>
                    </a:cubicBezTo>
                    <a:cubicBezTo>
                      <a:pt x="36902" y="206903"/>
                      <a:pt x="37314" y="206766"/>
                      <a:pt x="37726" y="206684"/>
                    </a:cubicBezTo>
                    <a:cubicBezTo>
                      <a:pt x="45684" y="206684"/>
                      <a:pt x="74833" y="231216"/>
                      <a:pt x="74833" y="231216"/>
                    </a:cubicBezTo>
                    <a:cubicBezTo>
                      <a:pt x="74833" y="231216"/>
                      <a:pt x="116064" y="221280"/>
                      <a:pt x="143812" y="216621"/>
                    </a:cubicBezTo>
                    <a:cubicBezTo>
                      <a:pt x="144472" y="211966"/>
                      <a:pt x="144761" y="207261"/>
                      <a:pt x="144596" y="202561"/>
                    </a:cubicBezTo>
                    <a:cubicBezTo>
                      <a:pt x="143689" y="196376"/>
                      <a:pt x="149956" y="184049"/>
                      <a:pt x="157913" y="184049"/>
                    </a:cubicBezTo>
                    <a:cubicBezTo>
                      <a:pt x="165871" y="184049"/>
                      <a:pt x="154367" y="163804"/>
                      <a:pt x="145502" y="154569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</a:lstStyle>
              <a:p>
                <a:pPr marL="0" marR="0" lvl="0" indent="0" algn="l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0" name="Romania">
                <a:extLst>
                  <a:ext uri="{FF2B5EF4-FFF2-40B4-BE49-F238E27FC236}">
                    <a16:creationId xmlns:a16="http://schemas.microsoft.com/office/drawing/2014/main" id="{AAB728CC-09BD-C903-4919-E11CBE189010}"/>
                  </a:ext>
                </a:extLst>
              </p:cNvPr>
              <p:cNvSpPr/>
              <p:nvPr>
                <p:custDataLst>
                  <p:tags r:id="rId508"/>
                </p:custDataLst>
              </p:nvPr>
            </p:nvSpPr>
            <p:spPr>
              <a:xfrm>
                <a:off x="7418276" y="3552648"/>
                <a:ext cx="309074" cy="233362"/>
              </a:xfrm>
              <a:custGeom>
                <a:avLst/>
                <a:gdLst>
                  <a:gd name="connsiteX0" fmla="*/ 323893 w 360900"/>
                  <a:gd name="connsiteY0" fmla="*/ 182069 h 272492"/>
                  <a:gd name="connsiteX1" fmla="*/ 308473 w 360900"/>
                  <a:gd name="connsiteY1" fmla="*/ 171143 h 272492"/>
                  <a:gd name="connsiteX2" fmla="*/ 309503 w 360900"/>
                  <a:gd name="connsiteY2" fmla="*/ 169577 h 272492"/>
                  <a:gd name="connsiteX3" fmla="*/ 302576 w 360900"/>
                  <a:gd name="connsiteY3" fmla="*/ 117296 h 272492"/>
                  <a:gd name="connsiteX4" fmla="*/ 277220 w 360900"/>
                  <a:gd name="connsiteY4" fmla="*/ 52317 h 272492"/>
                  <a:gd name="connsiteX5" fmla="*/ 250832 w 360900"/>
                  <a:gd name="connsiteY5" fmla="*/ -4 h 272492"/>
                  <a:gd name="connsiteX6" fmla="*/ 231495 w 360900"/>
                  <a:gd name="connsiteY6" fmla="*/ 10633 h 272492"/>
                  <a:gd name="connsiteX7" fmla="*/ 208983 w 360900"/>
                  <a:gd name="connsiteY7" fmla="*/ 24363 h 272492"/>
                  <a:gd name="connsiteX8" fmla="*/ 188822 w 360900"/>
                  <a:gd name="connsiteY8" fmla="*/ 27084 h 272492"/>
                  <a:gd name="connsiteX9" fmla="*/ 171051 w 360900"/>
                  <a:gd name="connsiteY9" fmla="*/ 32609 h 272492"/>
                  <a:gd name="connsiteX10" fmla="*/ 147344 w 360900"/>
                  <a:gd name="connsiteY10" fmla="*/ 24363 h 272492"/>
                  <a:gd name="connsiteX11" fmla="*/ 107144 w 360900"/>
                  <a:gd name="connsiteY11" fmla="*/ 16117 h 272492"/>
                  <a:gd name="connsiteX12" fmla="*/ 91683 w 360900"/>
                  <a:gd name="connsiteY12" fmla="*/ 17643 h 272492"/>
                  <a:gd name="connsiteX13" fmla="*/ 87848 w 360900"/>
                  <a:gd name="connsiteY13" fmla="*/ 27785 h 272492"/>
                  <a:gd name="connsiteX14" fmla="*/ 61213 w 360900"/>
                  <a:gd name="connsiteY14" fmla="*/ 47328 h 272492"/>
                  <a:gd name="connsiteX15" fmla="*/ 24766 w 360900"/>
                  <a:gd name="connsiteY15" fmla="*/ 117420 h 272492"/>
                  <a:gd name="connsiteX16" fmla="*/ 27 w 360900"/>
                  <a:gd name="connsiteY16" fmla="*/ 138984 h 272492"/>
                  <a:gd name="connsiteX17" fmla="*/ 14211 w 360900"/>
                  <a:gd name="connsiteY17" fmla="*/ 165784 h 272492"/>
                  <a:gd name="connsiteX18" fmla="*/ 27569 w 360900"/>
                  <a:gd name="connsiteY18" fmla="*/ 182276 h 272492"/>
                  <a:gd name="connsiteX19" fmla="*/ 32888 w 360900"/>
                  <a:gd name="connsiteY19" fmla="*/ 211137 h 272492"/>
                  <a:gd name="connsiteX20" fmla="*/ 77293 w 360900"/>
                  <a:gd name="connsiteY20" fmla="*/ 226557 h 272492"/>
                  <a:gd name="connsiteX21" fmla="*/ 79685 w 360900"/>
                  <a:gd name="connsiteY21" fmla="*/ 246843 h 272492"/>
                  <a:gd name="connsiteX22" fmla="*/ 102485 w 360900"/>
                  <a:gd name="connsiteY22" fmla="*/ 264613 h 272492"/>
                  <a:gd name="connsiteX23" fmla="*/ 145118 w 360900"/>
                  <a:gd name="connsiteY23" fmla="*/ 270097 h 272492"/>
                  <a:gd name="connsiteX24" fmla="*/ 187791 w 360900"/>
                  <a:gd name="connsiteY24" fmla="*/ 271498 h 272492"/>
                  <a:gd name="connsiteX25" fmla="*/ 216199 w 360900"/>
                  <a:gd name="connsiteY25" fmla="*/ 257769 h 272492"/>
                  <a:gd name="connsiteX26" fmla="*/ 263614 w 360900"/>
                  <a:gd name="connsiteY26" fmla="*/ 248162 h 272492"/>
                  <a:gd name="connsiteX27" fmla="*/ 295567 w 360900"/>
                  <a:gd name="connsiteY27" fmla="*/ 259170 h 272492"/>
                  <a:gd name="connsiteX28" fmla="*/ 319894 w 360900"/>
                  <a:gd name="connsiteY28" fmla="*/ 272488 h 272492"/>
                  <a:gd name="connsiteX29" fmla="*/ 319894 w 360900"/>
                  <a:gd name="connsiteY29" fmla="*/ 248162 h 272492"/>
                  <a:gd name="connsiteX30" fmla="*/ 340055 w 360900"/>
                  <a:gd name="connsiteY30" fmla="*/ 210436 h 272492"/>
                  <a:gd name="connsiteX31" fmla="*/ 360670 w 360900"/>
                  <a:gd name="connsiteY31" fmla="*/ 185079 h 272492"/>
                  <a:gd name="connsiteX32" fmla="*/ 360670 w 360900"/>
                  <a:gd name="connsiteY32" fmla="*/ 182853 h 272492"/>
                  <a:gd name="connsiteX33" fmla="*/ 346570 w 360900"/>
                  <a:gd name="connsiteY33" fmla="*/ 171350 h 272492"/>
                  <a:gd name="connsiteX34" fmla="*/ 323893 w 360900"/>
                  <a:gd name="connsiteY34" fmla="*/ 182069 h 272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360900" h="272492">
                    <a:moveTo>
                      <a:pt x="323893" y="182069"/>
                    </a:moveTo>
                    <a:cubicBezTo>
                      <a:pt x="315647" y="180750"/>
                      <a:pt x="304886" y="176627"/>
                      <a:pt x="308473" y="171143"/>
                    </a:cubicBezTo>
                    <a:cubicBezTo>
                      <a:pt x="308473" y="170772"/>
                      <a:pt x="309173" y="170113"/>
                      <a:pt x="309503" y="169577"/>
                    </a:cubicBezTo>
                    <a:cubicBezTo>
                      <a:pt x="298412" y="159187"/>
                      <a:pt x="295485" y="125543"/>
                      <a:pt x="302576" y="117296"/>
                    </a:cubicBezTo>
                    <a:cubicBezTo>
                      <a:pt x="311606" y="106824"/>
                      <a:pt x="288063" y="66995"/>
                      <a:pt x="277220" y="52317"/>
                    </a:cubicBezTo>
                    <a:cubicBezTo>
                      <a:pt x="272148" y="45432"/>
                      <a:pt x="261140" y="22508"/>
                      <a:pt x="250832" y="-4"/>
                    </a:cubicBezTo>
                    <a:cubicBezTo>
                      <a:pt x="241432" y="3542"/>
                      <a:pt x="233103" y="7500"/>
                      <a:pt x="231495" y="10633"/>
                    </a:cubicBezTo>
                    <a:cubicBezTo>
                      <a:pt x="226341" y="18265"/>
                      <a:pt x="218137" y="23279"/>
                      <a:pt x="208983" y="24363"/>
                    </a:cubicBezTo>
                    <a:cubicBezTo>
                      <a:pt x="201851" y="24363"/>
                      <a:pt x="194759" y="20240"/>
                      <a:pt x="188822" y="27084"/>
                    </a:cubicBezTo>
                    <a:cubicBezTo>
                      <a:pt x="182884" y="33928"/>
                      <a:pt x="174638" y="36691"/>
                      <a:pt x="171051" y="32609"/>
                    </a:cubicBezTo>
                    <a:cubicBezTo>
                      <a:pt x="167464" y="28527"/>
                      <a:pt x="155672" y="24363"/>
                      <a:pt x="147344" y="24363"/>
                    </a:cubicBezTo>
                    <a:cubicBezTo>
                      <a:pt x="139016" y="24363"/>
                      <a:pt x="113040" y="16117"/>
                      <a:pt x="107144" y="16117"/>
                    </a:cubicBezTo>
                    <a:cubicBezTo>
                      <a:pt x="101949" y="16282"/>
                      <a:pt x="96795" y="16789"/>
                      <a:pt x="91683" y="17643"/>
                    </a:cubicBezTo>
                    <a:cubicBezTo>
                      <a:pt x="93043" y="20611"/>
                      <a:pt x="91971" y="24198"/>
                      <a:pt x="87848" y="27785"/>
                    </a:cubicBezTo>
                    <a:cubicBezTo>
                      <a:pt x="80757" y="33970"/>
                      <a:pt x="66532" y="43205"/>
                      <a:pt x="61213" y="47328"/>
                    </a:cubicBezTo>
                    <a:cubicBezTo>
                      <a:pt x="55895" y="51451"/>
                      <a:pt x="37217" y="102866"/>
                      <a:pt x="24766" y="117420"/>
                    </a:cubicBezTo>
                    <a:cubicBezTo>
                      <a:pt x="12314" y="131975"/>
                      <a:pt x="770" y="133912"/>
                      <a:pt x="27" y="138984"/>
                    </a:cubicBezTo>
                    <a:cubicBezTo>
                      <a:pt x="-715" y="144055"/>
                      <a:pt x="14211" y="157537"/>
                      <a:pt x="14211" y="165784"/>
                    </a:cubicBezTo>
                    <a:cubicBezTo>
                      <a:pt x="14211" y="174030"/>
                      <a:pt x="17757" y="182276"/>
                      <a:pt x="27569" y="182276"/>
                    </a:cubicBezTo>
                    <a:cubicBezTo>
                      <a:pt x="37382" y="182276"/>
                      <a:pt x="26662" y="209076"/>
                      <a:pt x="32888" y="211137"/>
                    </a:cubicBezTo>
                    <a:cubicBezTo>
                      <a:pt x="39114" y="213199"/>
                      <a:pt x="77293" y="216250"/>
                      <a:pt x="77293" y="226557"/>
                    </a:cubicBezTo>
                    <a:cubicBezTo>
                      <a:pt x="77293" y="234556"/>
                      <a:pt x="81416" y="241318"/>
                      <a:pt x="79685" y="246843"/>
                    </a:cubicBezTo>
                    <a:cubicBezTo>
                      <a:pt x="90405" y="248945"/>
                      <a:pt x="98280" y="265850"/>
                      <a:pt x="102485" y="264613"/>
                    </a:cubicBezTo>
                    <a:cubicBezTo>
                      <a:pt x="106690" y="263376"/>
                      <a:pt x="139221" y="271498"/>
                      <a:pt x="145118" y="270097"/>
                    </a:cubicBezTo>
                    <a:cubicBezTo>
                      <a:pt x="151013" y="268695"/>
                      <a:pt x="178102" y="270097"/>
                      <a:pt x="187791" y="271498"/>
                    </a:cubicBezTo>
                    <a:cubicBezTo>
                      <a:pt x="197480" y="272900"/>
                      <a:pt x="207911" y="267375"/>
                      <a:pt x="216199" y="257769"/>
                    </a:cubicBezTo>
                    <a:cubicBezTo>
                      <a:pt x="224486" y="248162"/>
                      <a:pt x="254131" y="246801"/>
                      <a:pt x="263614" y="248162"/>
                    </a:cubicBezTo>
                    <a:cubicBezTo>
                      <a:pt x="273097" y="249523"/>
                      <a:pt x="292022" y="252285"/>
                      <a:pt x="295567" y="259170"/>
                    </a:cubicBezTo>
                    <a:cubicBezTo>
                      <a:pt x="297464" y="262716"/>
                      <a:pt x="308596" y="268118"/>
                      <a:pt x="319894" y="272488"/>
                    </a:cubicBezTo>
                    <a:cubicBezTo>
                      <a:pt x="321213" y="265685"/>
                      <a:pt x="319481" y="256862"/>
                      <a:pt x="319894" y="248162"/>
                    </a:cubicBezTo>
                    <a:cubicBezTo>
                      <a:pt x="320512" y="233731"/>
                      <a:pt x="327604" y="211797"/>
                      <a:pt x="340055" y="210436"/>
                    </a:cubicBezTo>
                    <a:cubicBezTo>
                      <a:pt x="352506" y="209076"/>
                      <a:pt x="362567" y="209076"/>
                      <a:pt x="360670" y="185079"/>
                    </a:cubicBezTo>
                    <a:cubicBezTo>
                      <a:pt x="360670" y="184213"/>
                      <a:pt x="360670" y="183636"/>
                      <a:pt x="360670" y="182853"/>
                    </a:cubicBezTo>
                    <a:cubicBezTo>
                      <a:pt x="354403" y="176627"/>
                      <a:pt x="348301" y="171350"/>
                      <a:pt x="346570" y="171350"/>
                    </a:cubicBezTo>
                    <a:cubicBezTo>
                      <a:pt x="341622" y="171102"/>
                      <a:pt x="327397" y="182688"/>
                      <a:pt x="323893" y="182069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</a:lstStyle>
              <a:p>
                <a:pPr marL="0" marR="0" lvl="0" indent="0" algn="l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1" name="Poland">
                <a:extLst>
                  <a:ext uri="{FF2B5EF4-FFF2-40B4-BE49-F238E27FC236}">
                    <a16:creationId xmlns:a16="http://schemas.microsoft.com/office/drawing/2014/main" id="{C919AFCA-66C3-95CD-08D5-D65DBB29F07F}"/>
                  </a:ext>
                </a:extLst>
              </p:cNvPr>
              <p:cNvSpPr/>
              <p:nvPr>
                <p:custDataLst>
                  <p:tags r:id="rId509"/>
                </p:custDataLst>
              </p:nvPr>
            </p:nvSpPr>
            <p:spPr>
              <a:xfrm>
                <a:off x="7211990" y="3205193"/>
                <a:ext cx="326072" cy="308296"/>
              </a:xfrm>
              <a:custGeom>
                <a:avLst/>
                <a:gdLst>
                  <a:gd name="connsiteX0" fmla="*/ 4447 w 380748"/>
                  <a:gd name="connsiteY0" fmla="*/ 72364 h 359991"/>
                  <a:gd name="connsiteX1" fmla="*/ 3540 w 380748"/>
                  <a:gd name="connsiteY1" fmla="*/ 120727 h 359991"/>
                  <a:gd name="connsiteX2" fmla="*/ 6220 w 380748"/>
                  <a:gd name="connsiteY2" fmla="*/ 139198 h 359991"/>
                  <a:gd name="connsiteX3" fmla="*/ 15125 w 380748"/>
                  <a:gd name="connsiteY3" fmla="*/ 161875 h 359991"/>
                  <a:gd name="connsiteX4" fmla="*/ 20444 w 380748"/>
                  <a:gd name="connsiteY4" fmla="*/ 186613 h 359991"/>
                  <a:gd name="connsiteX5" fmla="*/ 30216 w 380748"/>
                  <a:gd name="connsiteY5" fmla="*/ 223721 h 359991"/>
                  <a:gd name="connsiteX6" fmla="*/ 31412 w 380748"/>
                  <a:gd name="connsiteY6" fmla="*/ 244336 h 359991"/>
                  <a:gd name="connsiteX7" fmla="*/ 54583 w 380748"/>
                  <a:gd name="connsiteY7" fmla="*/ 259880 h 359991"/>
                  <a:gd name="connsiteX8" fmla="*/ 81012 w 380748"/>
                  <a:gd name="connsiteY8" fmla="*/ 281361 h 359991"/>
                  <a:gd name="connsiteX9" fmla="*/ 102245 w 380748"/>
                  <a:gd name="connsiteY9" fmla="*/ 292081 h 359991"/>
                  <a:gd name="connsiteX10" fmla="*/ 124716 w 380748"/>
                  <a:gd name="connsiteY10" fmla="*/ 287504 h 359991"/>
                  <a:gd name="connsiteX11" fmla="*/ 135271 w 380748"/>
                  <a:gd name="connsiteY11" fmla="*/ 304368 h 359991"/>
                  <a:gd name="connsiteX12" fmla="*/ 161782 w 380748"/>
                  <a:gd name="connsiteY12" fmla="*/ 312037 h 359991"/>
                  <a:gd name="connsiteX13" fmla="*/ 180295 w 380748"/>
                  <a:gd name="connsiteY13" fmla="*/ 339620 h 359991"/>
                  <a:gd name="connsiteX14" fmla="*/ 204126 w 380748"/>
                  <a:gd name="connsiteY14" fmla="*/ 336527 h 359991"/>
                  <a:gd name="connsiteX15" fmla="*/ 238512 w 380748"/>
                  <a:gd name="connsiteY15" fmla="*/ 341145 h 359991"/>
                  <a:gd name="connsiteX16" fmla="*/ 268940 w 380748"/>
                  <a:gd name="connsiteY16" fmla="*/ 344238 h 359991"/>
                  <a:gd name="connsiteX17" fmla="*/ 303326 w 380748"/>
                  <a:gd name="connsiteY17" fmla="*/ 353391 h 359991"/>
                  <a:gd name="connsiteX18" fmla="*/ 326787 w 380748"/>
                  <a:gd name="connsiteY18" fmla="*/ 359987 h 359991"/>
                  <a:gd name="connsiteX19" fmla="*/ 325138 w 380748"/>
                  <a:gd name="connsiteY19" fmla="*/ 329518 h 359991"/>
                  <a:gd name="connsiteX20" fmla="*/ 362245 w 380748"/>
                  <a:gd name="connsiteY20" fmla="*/ 285278 h 359991"/>
                  <a:gd name="connsiteX21" fmla="*/ 380015 w 380748"/>
                  <a:gd name="connsiteY21" fmla="*/ 268786 h 359991"/>
                  <a:gd name="connsiteX22" fmla="*/ 364059 w 380748"/>
                  <a:gd name="connsiteY22" fmla="*/ 223432 h 359991"/>
                  <a:gd name="connsiteX23" fmla="*/ 361379 w 380748"/>
                  <a:gd name="connsiteY23" fmla="*/ 182202 h 359991"/>
                  <a:gd name="connsiteX24" fmla="*/ 348061 w 380748"/>
                  <a:gd name="connsiteY24" fmla="*/ 158577 h 359991"/>
                  <a:gd name="connsiteX25" fmla="*/ 371150 w 380748"/>
                  <a:gd name="connsiteY25" fmla="*/ 134911 h 359991"/>
                  <a:gd name="connsiteX26" fmla="*/ 369378 w 380748"/>
                  <a:gd name="connsiteY26" fmla="*/ 94752 h 359991"/>
                  <a:gd name="connsiteX27" fmla="*/ 363152 w 380748"/>
                  <a:gd name="connsiteY27" fmla="*/ 59788 h 359991"/>
                  <a:gd name="connsiteX28" fmla="*/ 332064 w 380748"/>
                  <a:gd name="connsiteY28" fmla="*/ 34061 h 359991"/>
                  <a:gd name="connsiteX29" fmla="*/ 330580 w 380748"/>
                  <a:gd name="connsiteY29" fmla="*/ 31958 h 359991"/>
                  <a:gd name="connsiteX30" fmla="*/ 226432 w 380748"/>
                  <a:gd name="connsiteY30" fmla="*/ 26845 h 359991"/>
                  <a:gd name="connsiteX31" fmla="*/ 206188 w 380748"/>
                  <a:gd name="connsiteY31" fmla="*/ 18270 h 359991"/>
                  <a:gd name="connsiteX32" fmla="*/ 184294 w 380748"/>
                  <a:gd name="connsiteY32" fmla="*/ 31340 h 359991"/>
                  <a:gd name="connsiteX33" fmla="*/ 165328 w 380748"/>
                  <a:gd name="connsiteY33" fmla="*/ 2478 h 359991"/>
                  <a:gd name="connsiteX34" fmla="*/ 77672 w 380748"/>
                  <a:gd name="connsiteY34" fmla="*/ 31340 h 359991"/>
                  <a:gd name="connsiteX35" fmla="*/ 15538 w 380748"/>
                  <a:gd name="connsiteY35" fmla="*/ 56078 h 359991"/>
                  <a:gd name="connsiteX36" fmla="*/ 4076 w 380748"/>
                  <a:gd name="connsiteY36" fmla="*/ 66592 h 359991"/>
                  <a:gd name="connsiteX37" fmla="*/ 4447 w 380748"/>
                  <a:gd name="connsiteY37" fmla="*/ 72364 h 3599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380748" h="359991">
                    <a:moveTo>
                      <a:pt x="4447" y="72364"/>
                    </a:moveTo>
                    <a:cubicBezTo>
                      <a:pt x="7086" y="80610"/>
                      <a:pt x="9766" y="109471"/>
                      <a:pt x="3540" y="120727"/>
                    </a:cubicBezTo>
                    <a:cubicBezTo>
                      <a:pt x="-2686" y="131983"/>
                      <a:pt x="-6" y="135117"/>
                      <a:pt x="6220" y="139198"/>
                    </a:cubicBezTo>
                    <a:cubicBezTo>
                      <a:pt x="12445" y="143280"/>
                      <a:pt x="15125" y="153629"/>
                      <a:pt x="15125" y="161875"/>
                    </a:cubicBezTo>
                    <a:cubicBezTo>
                      <a:pt x="15125" y="170121"/>
                      <a:pt x="19537" y="169049"/>
                      <a:pt x="20444" y="186613"/>
                    </a:cubicBezTo>
                    <a:cubicBezTo>
                      <a:pt x="21351" y="204178"/>
                      <a:pt x="24897" y="216423"/>
                      <a:pt x="30216" y="223721"/>
                    </a:cubicBezTo>
                    <a:cubicBezTo>
                      <a:pt x="34339" y="229328"/>
                      <a:pt x="33597" y="237987"/>
                      <a:pt x="31412" y="244336"/>
                    </a:cubicBezTo>
                    <a:cubicBezTo>
                      <a:pt x="38338" y="250616"/>
                      <a:pt x="46131" y="255852"/>
                      <a:pt x="54583" y="259880"/>
                    </a:cubicBezTo>
                    <a:cubicBezTo>
                      <a:pt x="73096" y="267590"/>
                      <a:pt x="79734" y="273692"/>
                      <a:pt x="81012" y="281361"/>
                    </a:cubicBezTo>
                    <a:cubicBezTo>
                      <a:pt x="82290" y="289030"/>
                      <a:pt x="98246" y="302842"/>
                      <a:pt x="102245" y="292081"/>
                    </a:cubicBezTo>
                    <a:cubicBezTo>
                      <a:pt x="106245" y="281320"/>
                      <a:pt x="116759" y="287504"/>
                      <a:pt x="124716" y="287504"/>
                    </a:cubicBezTo>
                    <a:cubicBezTo>
                      <a:pt x="132673" y="287504"/>
                      <a:pt x="133993" y="298224"/>
                      <a:pt x="135271" y="304368"/>
                    </a:cubicBezTo>
                    <a:cubicBezTo>
                      <a:pt x="136549" y="310511"/>
                      <a:pt x="155103" y="307460"/>
                      <a:pt x="161782" y="312037"/>
                    </a:cubicBezTo>
                    <a:cubicBezTo>
                      <a:pt x="168462" y="316613"/>
                      <a:pt x="171018" y="333476"/>
                      <a:pt x="180295" y="339620"/>
                    </a:cubicBezTo>
                    <a:cubicBezTo>
                      <a:pt x="189572" y="345763"/>
                      <a:pt x="197447" y="331951"/>
                      <a:pt x="204126" y="336527"/>
                    </a:cubicBezTo>
                    <a:cubicBezTo>
                      <a:pt x="210806" y="341104"/>
                      <a:pt x="227916" y="345722"/>
                      <a:pt x="238512" y="341145"/>
                    </a:cubicBezTo>
                    <a:cubicBezTo>
                      <a:pt x="249108" y="336569"/>
                      <a:pt x="255705" y="345722"/>
                      <a:pt x="268940" y="344238"/>
                    </a:cubicBezTo>
                    <a:cubicBezTo>
                      <a:pt x="282175" y="342753"/>
                      <a:pt x="299368" y="348773"/>
                      <a:pt x="303326" y="353391"/>
                    </a:cubicBezTo>
                    <a:cubicBezTo>
                      <a:pt x="305429" y="355823"/>
                      <a:pt x="316603" y="358215"/>
                      <a:pt x="326787" y="359987"/>
                    </a:cubicBezTo>
                    <a:cubicBezTo>
                      <a:pt x="329425" y="353679"/>
                      <a:pt x="324313" y="334301"/>
                      <a:pt x="325138" y="329518"/>
                    </a:cubicBezTo>
                    <a:cubicBezTo>
                      <a:pt x="325962" y="324735"/>
                      <a:pt x="357091" y="292411"/>
                      <a:pt x="362245" y="285278"/>
                    </a:cubicBezTo>
                    <a:cubicBezTo>
                      <a:pt x="367399" y="278145"/>
                      <a:pt x="375604" y="278063"/>
                      <a:pt x="380015" y="268786"/>
                    </a:cubicBezTo>
                    <a:cubicBezTo>
                      <a:pt x="384427" y="259509"/>
                      <a:pt x="367646" y="229699"/>
                      <a:pt x="364059" y="223432"/>
                    </a:cubicBezTo>
                    <a:cubicBezTo>
                      <a:pt x="360472" y="217165"/>
                      <a:pt x="358740" y="192551"/>
                      <a:pt x="361379" y="182202"/>
                    </a:cubicBezTo>
                    <a:cubicBezTo>
                      <a:pt x="364018" y="171853"/>
                      <a:pt x="348061" y="165710"/>
                      <a:pt x="348061" y="158577"/>
                    </a:cubicBezTo>
                    <a:cubicBezTo>
                      <a:pt x="348061" y="151444"/>
                      <a:pt x="363152" y="138992"/>
                      <a:pt x="371150" y="134911"/>
                    </a:cubicBezTo>
                    <a:cubicBezTo>
                      <a:pt x="379149" y="130829"/>
                      <a:pt x="376511" y="101926"/>
                      <a:pt x="369378" y="94752"/>
                    </a:cubicBezTo>
                    <a:cubicBezTo>
                      <a:pt x="362245" y="87578"/>
                      <a:pt x="358740" y="74137"/>
                      <a:pt x="363152" y="59788"/>
                    </a:cubicBezTo>
                    <a:cubicBezTo>
                      <a:pt x="367563" y="45440"/>
                      <a:pt x="336517" y="34061"/>
                      <a:pt x="332064" y="34061"/>
                    </a:cubicBezTo>
                    <a:cubicBezTo>
                      <a:pt x="331322" y="34061"/>
                      <a:pt x="330910" y="33154"/>
                      <a:pt x="330580" y="31958"/>
                    </a:cubicBezTo>
                    <a:cubicBezTo>
                      <a:pt x="302832" y="37895"/>
                      <a:pt x="231627" y="29319"/>
                      <a:pt x="226432" y="26845"/>
                    </a:cubicBezTo>
                    <a:cubicBezTo>
                      <a:pt x="222927" y="25237"/>
                      <a:pt x="214062" y="21485"/>
                      <a:pt x="206188" y="18270"/>
                    </a:cubicBezTo>
                    <a:cubicBezTo>
                      <a:pt x="201982" y="26462"/>
                      <a:pt x="193488" y="31542"/>
                      <a:pt x="184294" y="31340"/>
                    </a:cubicBezTo>
                    <a:cubicBezTo>
                      <a:pt x="167142" y="31340"/>
                      <a:pt x="165947" y="11425"/>
                      <a:pt x="165328" y="2478"/>
                    </a:cubicBezTo>
                    <a:cubicBezTo>
                      <a:pt x="164710" y="-6469"/>
                      <a:pt x="96061" y="10065"/>
                      <a:pt x="77672" y="31340"/>
                    </a:cubicBezTo>
                    <a:cubicBezTo>
                      <a:pt x="59284" y="52614"/>
                      <a:pt x="16692" y="44368"/>
                      <a:pt x="15538" y="56078"/>
                    </a:cubicBezTo>
                    <a:cubicBezTo>
                      <a:pt x="14631" y="64571"/>
                      <a:pt x="8240" y="68942"/>
                      <a:pt x="4076" y="66592"/>
                    </a:cubicBezTo>
                    <a:cubicBezTo>
                      <a:pt x="3746" y="68517"/>
                      <a:pt x="3870" y="70492"/>
                      <a:pt x="4447" y="72364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</a:lstStyle>
              <a:p>
                <a:pPr marL="0" marR="0" lvl="0" indent="0" algn="l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2" name="Netherlands">
                <a:extLst>
                  <a:ext uri="{FF2B5EF4-FFF2-40B4-BE49-F238E27FC236}">
                    <a16:creationId xmlns:a16="http://schemas.microsoft.com/office/drawing/2014/main" id="{D80F67F2-6392-D793-B1CE-58E42546A4F9}"/>
                  </a:ext>
                </a:extLst>
              </p:cNvPr>
              <p:cNvSpPr/>
              <p:nvPr>
                <p:custDataLst>
                  <p:tags r:id="rId510"/>
                </p:custDataLst>
              </p:nvPr>
            </p:nvSpPr>
            <p:spPr>
              <a:xfrm>
                <a:off x="6835651" y="3285778"/>
                <a:ext cx="140448" cy="139403"/>
              </a:xfrm>
              <a:custGeom>
                <a:avLst/>
                <a:gdLst>
                  <a:gd name="connsiteX0" fmla="*/ 161995 w 163999"/>
                  <a:gd name="connsiteY0" fmla="*/ 31455 h 162778"/>
                  <a:gd name="connsiteX1" fmla="*/ 160841 w 163999"/>
                  <a:gd name="connsiteY1" fmla="*/ -4 h 162778"/>
                  <a:gd name="connsiteX2" fmla="*/ 150739 w 163999"/>
                  <a:gd name="connsiteY2" fmla="*/ 4655 h 162778"/>
                  <a:gd name="connsiteX3" fmla="*/ 145379 w 163999"/>
                  <a:gd name="connsiteY3" fmla="*/ 2305 h 162778"/>
                  <a:gd name="connsiteX4" fmla="*/ 111117 w 163999"/>
                  <a:gd name="connsiteY4" fmla="*/ 19869 h 162778"/>
                  <a:gd name="connsiteX5" fmla="*/ 93882 w 163999"/>
                  <a:gd name="connsiteY5" fmla="*/ 19168 h 162778"/>
                  <a:gd name="connsiteX6" fmla="*/ 93882 w 163999"/>
                  <a:gd name="connsiteY6" fmla="*/ 38258 h 162778"/>
                  <a:gd name="connsiteX7" fmla="*/ 76730 w 163999"/>
                  <a:gd name="connsiteY7" fmla="*/ 43246 h 162778"/>
                  <a:gd name="connsiteX8" fmla="*/ 71288 w 163999"/>
                  <a:gd name="connsiteY8" fmla="*/ 53884 h 162778"/>
                  <a:gd name="connsiteX9" fmla="*/ 62712 w 163999"/>
                  <a:gd name="connsiteY9" fmla="*/ 65635 h 162778"/>
                  <a:gd name="connsiteX10" fmla="*/ 36407 w 163999"/>
                  <a:gd name="connsiteY10" fmla="*/ 99279 h 162778"/>
                  <a:gd name="connsiteX11" fmla="*/ 6268 w 163999"/>
                  <a:gd name="connsiteY11" fmla="*/ 131562 h 162778"/>
                  <a:gd name="connsiteX12" fmla="*/ 1 w 163999"/>
                  <a:gd name="connsiteY12" fmla="*/ 135685 h 162778"/>
                  <a:gd name="connsiteX13" fmla="*/ 14267 w 163999"/>
                  <a:gd name="connsiteY13" fmla="*/ 141499 h 162778"/>
                  <a:gd name="connsiteX14" fmla="*/ 52281 w 163999"/>
                  <a:gd name="connsiteY14" fmla="*/ 126862 h 162778"/>
                  <a:gd name="connsiteX15" fmla="*/ 79452 w 163999"/>
                  <a:gd name="connsiteY15" fmla="*/ 130985 h 162778"/>
                  <a:gd name="connsiteX16" fmla="*/ 108313 w 163999"/>
                  <a:gd name="connsiteY16" fmla="*/ 153992 h 162778"/>
                  <a:gd name="connsiteX17" fmla="*/ 117095 w 163999"/>
                  <a:gd name="connsiteY17" fmla="*/ 162774 h 162778"/>
                  <a:gd name="connsiteX18" fmla="*/ 121672 w 163999"/>
                  <a:gd name="connsiteY18" fmla="*/ 127233 h 162778"/>
                  <a:gd name="connsiteX19" fmla="*/ 124022 w 163999"/>
                  <a:gd name="connsiteY19" fmla="*/ 105299 h 162778"/>
                  <a:gd name="connsiteX20" fmla="*/ 146534 w 163999"/>
                  <a:gd name="connsiteY20" fmla="*/ 92929 h 162778"/>
                  <a:gd name="connsiteX21" fmla="*/ 154780 w 163999"/>
                  <a:gd name="connsiteY21" fmla="*/ 77798 h 162778"/>
                  <a:gd name="connsiteX22" fmla="*/ 141751 w 163999"/>
                  <a:gd name="connsiteY22" fmla="*/ 53059 h 162778"/>
                  <a:gd name="connsiteX23" fmla="*/ 161995 w 163999"/>
                  <a:gd name="connsiteY23" fmla="*/ 31455 h 1627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63999" h="162778">
                    <a:moveTo>
                      <a:pt x="161995" y="31455"/>
                    </a:moveTo>
                    <a:cubicBezTo>
                      <a:pt x="165458" y="25435"/>
                      <a:pt x="164015" y="13190"/>
                      <a:pt x="160841" y="-4"/>
                    </a:cubicBezTo>
                    <a:cubicBezTo>
                      <a:pt x="159274" y="4861"/>
                      <a:pt x="156099" y="8242"/>
                      <a:pt x="150739" y="4655"/>
                    </a:cubicBezTo>
                    <a:cubicBezTo>
                      <a:pt x="149090" y="3583"/>
                      <a:pt x="147276" y="2787"/>
                      <a:pt x="145379" y="2305"/>
                    </a:cubicBezTo>
                    <a:cubicBezTo>
                      <a:pt x="137133" y="13396"/>
                      <a:pt x="124764" y="21106"/>
                      <a:pt x="111117" y="19869"/>
                    </a:cubicBezTo>
                    <a:cubicBezTo>
                      <a:pt x="105345" y="19374"/>
                      <a:pt x="99613" y="19292"/>
                      <a:pt x="93882" y="19168"/>
                    </a:cubicBezTo>
                    <a:cubicBezTo>
                      <a:pt x="90460" y="26053"/>
                      <a:pt x="90378" y="33846"/>
                      <a:pt x="93882" y="38258"/>
                    </a:cubicBezTo>
                    <a:cubicBezTo>
                      <a:pt x="99572" y="45432"/>
                      <a:pt x="82503" y="49431"/>
                      <a:pt x="76730" y="43246"/>
                    </a:cubicBezTo>
                    <a:cubicBezTo>
                      <a:pt x="75123" y="46887"/>
                      <a:pt x="73308" y="50437"/>
                      <a:pt x="71288" y="53884"/>
                    </a:cubicBezTo>
                    <a:cubicBezTo>
                      <a:pt x="68732" y="58011"/>
                      <a:pt x="65846" y="61940"/>
                      <a:pt x="62712" y="65635"/>
                    </a:cubicBezTo>
                    <a:cubicBezTo>
                      <a:pt x="60115" y="80535"/>
                      <a:pt x="50219" y="93152"/>
                      <a:pt x="36407" y="99279"/>
                    </a:cubicBezTo>
                    <a:cubicBezTo>
                      <a:pt x="31254" y="112761"/>
                      <a:pt x="16534" y="124512"/>
                      <a:pt x="6268" y="131562"/>
                    </a:cubicBezTo>
                    <a:lnTo>
                      <a:pt x="1" y="135685"/>
                    </a:lnTo>
                    <a:cubicBezTo>
                      <a:pt x="4371" y="138448"/>
                      <a:pt x="9195" y="140419"/>
                      <a:pt x="14267" y="141499"/>
                    </a:cubicBezTo>
                    <a:cubicBezTo>
                      <a:pt x="25151" y="141499"/>
                      <a:pt x="45024" y="135232"/>
                      <a:pt x="52281" y="126862"/>
                    </a:cubicBezTo>
                    <a:cubicBezTo>
                      <a:pt x="59538" y="118492"/>
                      <a:pt x="72195" y="122739"/>
                      <a:pt x="79452" y="130985"/>
                    </a:cubicBezTo>
                    <a:cubicBezTo>
                      <a:pt x="86708" y="139231"/>
                      <a:pt x="97552" y="141416"/>
                      <a:pt x="108313" y="153992"/>
                    </a:cubicBezTo>
                    <a:cubicBezTo>
                      <a:pt x="111034" y="157121"/>
                      <a:pt x="113962" y="160057"/>
                      <a:pt x="117095" y="162774"/>
                    </a:cubicBezTo>
                    <a:cubicBezTo>
                      <a:pt x="118085" y="153950"/>
                      <a:pt x="118291" y="136345"/>
                      <a:pt x="121672" y="127233"/>
                    </a:cubicBezTo>
                    <a:cubicBezTo>
                      <a:pt x="125053" y="118121"/>
                      <a:pt x="118085" y="105299"/>
                      <a:pt x="124022" y="105299"/>
                    </a:cubicBezTo>
                    <a:cubicBezTo>
                      <a:pt x="129959" y="105299"/>
                      <a:pt x="146534" y="105299"/>
                      <a:pt x="146534" y="92929"/>
                    </a:cubicBezTo>
                    <a:cubicBezTo>
                      <a:pt x="146534" y="80560"/>
                      <a:pt x="151275" y="84683"/>
                      <a:pt x="154780" y="77798"/>
                    </a:cubicBezTo>
                    <a:cubicBezTo>
                      <a:pt x="158284" y="70912"/>
                      <a:pt x="144143" y="57182"/>
                      <a:pt x="141751" y="53059"/>
                    </a:cubicBezTo>
                    <a:cubicBezTo>
                      <a:pt x="139360" y="48936"/>
                      <a:pt x="152512" y="47865"/>
                      <a:pt x="161995" y="31455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</a:lstStyle>
              <a:p>
                <a:pPr marL="0" marR="0" lvl="0" indent="0" algn="l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3" name="Italy">
                <a:extLst>
                  <a:ext uri="{FF2B5EF4-FFF2-40B4-BE49-F238E27FC236}">
                    <a16:creationId xmlns:a16="http://schemas.microsoft.com/office/drawing/2014/main" id="{D754B68E-15A0-2F57-37B8-F5CCF8ED9D73}"/>
                  </a:ext>
                </a:extLst>
              </p:cNvPr>
              <p:cNvSpPr/>
              <p:nvPr>
                <p:custDataLst>
                  <p:tags r:id="rId511"/>
                </p:custDataLst>
              </p:nvPr>
            </p:nvSpPr>
            <p:spPr>
              <a:xfrm>
                <a:off x="6956957" y="3621255"/>
                <a:ext cx="391304" cy="438546"/>
              </a:xfrm>
              <a:custGeom>
                <a:avLst/>
                <a:gdLst>
                  <a:gd name="connsiteX0" fmla="*/ 377490 w 456919"/>
                  <a:gd name="connsiteY0" fmla="*/ 326995 h 512082"/>
                  <a:gd name="connsiteX1" fmla="*/ 347886 w 456919"/>
                  <a:gd name="connsiteY1" fmla="*/ 299535 h 512082"/>
                  <a:gd name="connsiteX2" fmla="*/ 285710 w 456919"/>
                  <a:gd name="connsiteY2" fmla="*/ 225320 h 512082"/>
                  <a:gd name="connsiteX3" fmla="*/ 229431 w 456919"/>
                  <a:gd name="connsiteY3" fmla="*/ 158816 h 512082"/>
                  <a:gd name="connsiteX4" fmla="*/ 230049 w 456919"/>
                  <a:gd name="connsiteY4" fmla="*/ 112143 h 512082"/>
                  <a:gd name="connsiteX5" fmla="*/ 247696 w 456919"/>
                  <a:gd name="connsiteY5" fmla="*/ 85755 h 512082"/>
                  <a:gd name="connsiteX6" fmla="*/ 249799 w 456919"/>
                  <a:gd name="connsiteY6" fmla="*/ 24239 h 512082"/>
                  <a:gd name="connsiteX7" fmla="*/ 229431 w 456919"/>
                  <a:gd name="connsiteY7" fmla="*/ 19580 h 512082"/>
                  <a:gd name="connsiteX8" fmla="*/ 221432 w 456919"/>
                  <a:gd name="connsiteY8" fmla="*/ -4 h 512082"/>
                  <a:gd name="connsiteX9" fmla="*/ 189437 w 456919"/>
                  <a:gd name="connsiteY9" fmla="*/ 5150 h 512082"/>
                  <a:gd name="connsiteX10" fmla="*/ 164699 w 456919"/>
                  <a:gd name="connsiteY10" fmla="*/ 14426 h 512082"/>
                  <a:gd name="connsiteX11" fmla="*/ 159751 w 456919"/>
                  <a:gd name="connsiteY11" fmla="*/ 11211 h 512082"/>
                  <a:gd name="connsiteX12" fmla="*/ 152000 w 456919"/>
                  <a:gd name="connsiteY12" fmla="*/ 19457 h 512082"/>
                  <a:gd name="connsiteX13" fmla="*/ 146063 w 456919"/>
                  <a:gd name="connsiteY13" fmla="*/ 30424 h 512082"/>
                  <a:gd name="connsiteX14" fmla="*/ 134230 w 456919"/>
                  <a:gd name="connsiteY14" fmla="*/ 35866 h 512082"/>
                  <a:gd name="connsiteX15" fmla="*/ 115264 w 456919"/>
                  <a:gd name="connsiteY15" fmla="*/ 41391 h 512082"/>
                  <a:gd name="connsiteX16" fmla="*/ 101039 w 456919"/>
                  <a:gd name="connsiteY16" fmla="*/ 50998 h 512082"/>
                  <a:gd name="connsiteX17" fmla="*/ 90361 w 456919"/>
                  <a:gd name="connsiteY17" fmla="*/ 67490 h 512082"/>
                  <a:gd name="connsiteX18" fmla="*/ 67890 w 456919"/>
                  <a:gd name="connsiteY18" fmla="*/ 35866 h 512082"/>
                  <a:gd name="connsiteX19" fmla="*/ 47728 w 456919"/>
                  <a:gd name="connsiteY19" fmla="*/ 68851 h 512082"/>
                  <a:gd name="connsiteX20" fmla="*/ 13548 w 456919"/>
                  <a:gd name="connsiteY20" fmla="*/ 71654 h 512082"/>
                  <a:gd name="connsiteX21" fmla="*/ 18125 w 456919"/>
                  <a:gd name="connsiteY21" fmla="*/ 93589 h 512082"/>
                  <a:gd name="connsiteX22" fmla="*/ 10126 w 456919"/>
                  <a:gd name="connsiteY22" fmla="*/ 112060 h 512082"/>
                  <a:gd name="connsiteX23" fmla="*/ 2127 w 456919"/>
                  <a:gd name="connsiteY23" fmla="*/ 123399 h 512082"/>
                  <a:gd name="connsiteX24" fmla="*/ 13672 w 456919"/>
                  <a:gd name="connsiteY24" fmla="*/ 147065 h 512082"/>
                  <a:gd name="connsiteX25" fmla="*/ 22578 w 456919"/>
                  <a:gd name="connsiteY25" fmla="*/ 169701 h 512082"/>
                  <a:gd name="connsiteX26" fmla="*/ 41214 w 456919"/>
                  <a:gd name="connsiteY26" fmla="*/ 176916 h 512082"/>
                  <a:gd name="connsiteX27" fmla="*/ 36720 w 456919"/>
                  <a:gd name="connsiteY27" fmla="*/ 192625 h 512082"/>
                  <a:gd name="connsiteX28" fmla="*/ 56057 w 456919"/>
                  <a:gd name="connsiteY28" fmla="*/ 186151 h 512082"/>
                  <a:gd name="connsiteX29" fmla="*/ 83846 w 456919"/>
                  <a:gd name="connsiteY29" fmla="*/ 158733 h 512082"/>
                  <a:gd name="connsiteX30" fmla="*/ 140126 w 456919"/>
                  <a:gd name="connsiteY30" fmla="*/ 186151 h 512082"/>
                  <a:gd name="connsiteX31" fmla="*/ 152495 w 456919"/>
                  <a:gd name="connsiteY31" fmla="*/ 213611 h 512082"/>
                  <a:gd name="connsiteX32" fmla="*/ 190386 w 456919"/>
                  <a:gd name="connsiteY32" fmla="*/ 269849 h 512082"/>
                  <a:gd name="connsiteX33" fmla="*/ 244851 w 456919"/>
                  <a:gd name="connsiteY33" fmla="*/ 324026 h 512082"/>
                  <a:gd name="connsiteX34" fmla="*/ 283361 w 456919"/>
                  <a:gd name="connsiteY34" fmla="*/ 343239 h 512082"/>
                  <a:gd name="connsiteX35" fmla="*/ 318324 w 456919"/>
                  <a:gd name="connsiteY35" fmla="*/ 369998 h 512082"/>
                  <a:gd name="connsiteX36" fmla="*/ 346732 w 456919"/>
                  <a:gd name="connsiteY36" fmla="*/ 397458 h 512082"/>
                  <a:gd name="connsiteX37" fmla="*/ 359760 w 456919"/>
                  <a:gd name="connsiteY37" fmla="*/ 424876 h 512082"/>
                  <a:gd name="connsiteX38" fmla="*/ 361575 w 456919"/>
                  <a:gd name="connsiteY38" fmla="*/ 474971 h 512082"/>
                  <a:gd name="connsiteX39" fmla="*/ 363306 w 456919"/>
                  <a:gd name="connsiteY39" fmla="*/ 512078 h 512082"/>
                  <a:gd name="connsiteX40" fmla="*/ 383468 w 456919"/>
                  <a:gd name="connsiteY40" fmla="*/ 473651 h 512082"/>
                  <a:gd name="connsiteX41" fmla="*/ 406516 w 456919"/>
                  <a:gd name="connsiteY41" fmla="*/ 446233 h 512082"/>
                  <a:gd name="connsiteX42" fmla="*/ 388209 w 456919"/>
                  <a:gd name="connsiteY42" fmla="*/ 409868 h 512082"/>
                  <a:gd name="connsiteX43" fmla="*/ 426678 w 456919"/>
                  <a:gd name="connsiteY43" fmla="*/ 389954 h 512082"/>
                  <a:gd name="connsiteX44" fmla="*/ 456899 w 456919"/>
                  <a:gd name="connsiteY44" fmla="*/ 392015 h 512082"/>
                  <a:gd name="connsiteX45" fmla="*/ 377490 w 456919"/>
                  <a:gd name="connsiteY45" fmla="*/ 326995 h 5120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</a:cxnLst>
                <a:rect l="l" t="t" r="r" b="b"/>
                <a:pathLst>
                  <a:path w="456918" h="512082">
                    <a:moveTo>
                      <a:pt x="377490" y="326995"/>
                    </a:moveTo>
                    <a:cubicBezTo>
                      <a:pt x="362111" y="316027"/>
                      <a:pt x="372171" y="298133"/>
                      <a:pt x="347886" y="299535"/>
                    </a:cubicBezTo>
                    <a:cubicBezTo>
                      <a:pt x="323602" y="300937"/>
                      <a:pt x="294575" y="265932"/>
                      <a:pt x="285710" y="225320"/>
                    </a:cubicBezTo>
                    <a:cubicBezTo>
                      <a:pt x="276846" y="184708"/>
                      <a:pt x="238914" y="182853"/>
                      <a:pt x="229431" y="158816"/>
                    </a:cubicBezTo>
                    <a:cubicBezTo>
                      <a:pt x="219948" y="134778"/>
                      <a:pt x="238337" y="132057"/>
                      <a:pt x="230049" y="112143"/>
                    </a:cubicBezTo>
                    <a:cubicBezTo>
                      <a:pt x="225432" y="101093"/>
                      <a:pt x="235657" y="91527"/>
                      <a:pt x="247696" y="85755"/>
                    </a:cubicBezTo>
                    <a:cubicBezTo>
                      <a:pt x="247078" y="65226"/>
                      <a:pt x="247779" y="44677"/>
                      <a:pt x="249799" y="24239"/>
                    </a:cubicBezTo>
                    <a:cubicBezTo>
                      <a:pt x="242789" y="23876"/>
                      <a:pt x="235904" y="22297"/>
                      <a:pt x="229431" y="19580"/>
                    </a:cubicBezTo>
                    <a:cubicBezTo>
                      <a:pt x="224978" y="16488"/>
                      <a:pt x="224112" y="-4"/>
                      <a:pt x="221432" y="-4"/>
                    </a:cubicBezTo>
                    <a:cubicBezTo>
                      <a:pt x="218752" y="-4"/>
                      <a:pt x="193890" y="-4"/>
                      <a:pt x="189437" y="5150"/>
                    </a:cubicBezTo>
                    <a:cubicBezTo>
                      <a:pt x="184985" y="10303"/>
                      <a:pt x="171667" y="19580"/>
                      <a:pt x="164699" y="14426"/>
                    </a:cubicBezTo>
                    <a:cubicBezTo>
                      <a:pt x="163091" y="13264"/>
                      <a:pt x="161442" y="12192"/>
                      <a:pt x="159751" y="11211"/>
                    </a:cubicBezTo>
                    <a:lnTo>
                      <a:pt x="152000" y="19457"/>
                    </a:lnTo>
                    <a:cubicBezTo>
                      <a:pt x="152000" y="19457"/>
                      <a:pt x="150805" y="30424"/>
                      <a:pt x="146063" y="30424"/>
                    </a:cubicBezTo>
                    <a:cubicBezTo>
                      <a:pt x="141321" y="30424"/>
                      <a:pt x="134230" y="26301"/>
                      <a:pt x="134230" y="35866"/>
                    </a:cubicBezTo>
                    <a:cubicBezTo>
                      <a:pt x="134230" y="45432"/>
                      <a:pt x="121160" y="42752"/>
                      <a:pt x="115264" y="41391"/>
                    </a:cubicBezTo>
                    <a:cubicBezTo>
                      <a:pt x="109368" y="40031"/>
                      <a:pt x="101039" y="42752"/>
                      <a:pt x="101039" y="50998"/>
                    </a:cubicBezTo>
                    <a:cubicBezTo>
                      <a:pt x="101039" y="59244"/>
                      <a:pt x="99844" y="77097"/>
                      <a:pt x="90361" y="67490"/>
                    </a:cubicBezTo>
                    <a:cubicBezTo>
                      <a:pt x="80878" y="57883"/>
                      <a:pt x="71436" y="33145"/>
                      <a:pt x="67890" y="35866"/>
                    </a:cubicBezTo>
                    <a:cubicBezTo>
                      <a:pt x="64344" y="38587"/>
                      <a:pt x="56057" y="68851"/>
                      <a:pt x="47728" y="68851"/>
                    </a:cubicBezTo>
                    <a:cubicBezTo>
                      <a:pt x="42616" y="68851"/>
                      <a:pt x="25711" y="70417"/>
                      <a:pt x="13548" y="71654"/>
                    </a:cubicBezTo>
                    <a:cubicBezTo>
                      <a:pt x="10373" y="83487"/>
                      <a:pt x="13796" y="90538"/>
                      <a:pt x="18125" y="93589"/>
                    </a:cubicBezTo>
                    <a:cubicBezTo>
                      <a:pt x="22454" y="96640"/>
                      <a:pt x="15445" y="109009"/>
                      <a:pt x="10126" y="112060"/>
                    </a:cubicBezTo>
                    <a:cubicBezTo>
                      <a:pt x="4807" y="115111"/>
                      <a:pt x="-4099" y="112060"/>
                      <a:pt x="2127" y="123399"/>
                    </a:cubicBezTo>
                    <a:cubicBezTo>
                      <a:pt x="8353" y="134737"/>
                      <a:pt x="19898" y="135768"/>
                      <a:pt x="13672" y="147065"/>
                    </a:cubicBezTo>
                    <a:cubicBezTo>
                      <a:pt x="7446" y="158362"/>
                      <a:pt x="13672" y="168670"/>
                      <a:pt x="22578" y="169701"/>
                    </a:cubicBezTo>
                    <a:cubicBezTo>
                      <a:pt x="31483" y="170731"/>
                      <a:pt x="43894" y="168670"/>
                      <a:pt x="41214" y="176916"/>
                    </a:cubicBezTo>
                    <a:cubicBezTo>
                      <a:pt x="39152" y="181979"/>
                      <a:pt x="37668" y="187244"/>
                      <a:pt x="36720" y="192625"/>
                    </a:cubicBezTo>
                    <a:cubicBezTo>
                      <a:pt x="43688" y="190274"/>
                      <a:pt x="49872" y="189862"/>
                      <a:pt x="56057" y="186151"/>
                    </a:cubicBezTo>
                    <a:cubicBezTo>
                      <a:pt x="68426" y="178647"/>
                      <a:pt x="63149" y="165536"/>
                      <a:pt x="83846" y="158733"/>
                    </a:cubicBezTo>
                    <a:cubicBezTo>
                      <a:pt x="104544" y="151930"/>
                      <a:pt x="131839" y="171762"/>
                      <a:pt x="140126" y="186151"/>
                    </a:cubicBezTo>
                    <a:cubicBezTo>
                      <a:pt x="148413" y="200541"/>
                      <a:pt x="150805" y="201943"/>
                      <a:pt x="152495" y="213611"/>
                    </a:cubicBezTo>
                    <a:cubicBezTo>
                      <a:pt x="154185" y="225279"/>
                      <a:pt x="161978" y="248615"/>
                      <a:pt x="190386" y="269849"/>
                    </a:cubicBezTo>
                    <a:cubicBezTo>
                      <a:pt x="218794" y="291083"/>
                      <a:pt x="230091" y="315203"/>
                      <a:pt x="244851" y="324026"/>
                    </a:cubicBezTo>
                    <a:cubicBezTo>
                      <a:pt x="259612" y="332849"/>
                      <a:pt x="274496" y="330912"/>
                      <a:pt x="283361" y="343239"/>
                    </a:cubicBezTo>
                    <a:cubicBezTo>
                      <a:pt x="292225" y="355567"/>
                      <a:pt x="303976" y="362453"/>
                      <a:pt x="318324" y="369998"/>
                    </a:cubicBezTo>
                    <a:cubicBezTo>
                      <a:pt x="332672" y="377543"/>
                      <a:pt x="333084" y="395355"/>
                      <a:pt x="346732" y="397458"/>
                    </a:cubicBezTo>
                    <a:cubicBezTo>
                      <a:pt x="360379" y="399560"/>
                      <a:pt x="351473" y="413208"/>
                      <a:pt x="359760" y="424876"/>
                    </a:cubicBezTo>
                    <a:cubicBezTo>
                      <a:pt x="368048" y="436544"/>
                      <a:pt x="370439" y="461241"/>
                      <a:pt x="361575" y="474971"/>
                    </a:cubicBezTo>
                    <a:cubicBezTo>
                      <a:pt x="352710" y="488701"/>
                      <a:pt x="357452" y="512078"/>
                      <a:pt x="363306" y="512078"/>
                    </a:cubicBezTo>
                    <a:cubicBezTo>
                      <a:pt x="369161" y="512078"/>
                      <a:pt x="381654" y="487340"/>
                      <a:pt x="383468" y="473651"/>
                    </a:cubicBezTo>
                    <a:cubicBezTo>
                      <a:pt x="385282" y="459963"/>
                      <a:pt x="397074" y="460623"/>
                      <a:pt x="406516" y="446233"/>
                    </a:cubicBezTo>
                    <a:cubicBezTo>
                      <a:pt x="415957" y="431844"/>
                      <a:pt x="392332" y="428380"/>
                      <a:pt x="388209" y="409868"/>
                    </a:cubicBezTo>
                    <a:cubicBezTo>
                      <a:pt x="384086" y="391355"/>
                      <a:pt x="405980" y="374863"/>
                      <a:pt x="426678" y="389954"/>
                    </a:cubicBezTo>
                    <a:cubicBezTo>
                      <a:pt x="447375" y="405044"/>
                      <a:pt x="455539" y="415351"/>
                      <a:pt x="456899" y="392015"/>
                    </a:cubicBezTo>
                    <a:cubicBezTo>
                      <a:pt x="458260" y="368679"/>
                      <a:pt x="392951" y="337962"/>
                      <a:pt x="377490" y="326995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</a:lstStyle>
              <a:p>
                <a:pPr marL="0" marR="0" lvl="0" indent="0" algn="l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4" name="Germany">
                <a:extLst>
                  <a:ext uri="{FF2B5EF4-FFF2-40B4-BE49-F238E27FC236}">
                    <a16:creationId xmlns:a16="http://schemas.microsoft.com/office/drawing/2014/main" id="{730647B3-4A6F-3B90-79D9-D275A9BED887}"/>
                  </a:ext>
                </a:extLst>
              </p:cNvPr>
              <p:cNvSpPr/>
              <p:nvPr>
                <p:custDataLst>
                  <p:tags r:id="rId512"/>
                </p:custDataLst>
              </p:nvPr>
            </p:nvSpPr>
            <p:spPr>
              <a:xfrm>
                <a:off x="6935795" y="3207990"/>
                <a:ext cx="304814" cy="397763"/>
              </a:xfrm>
              <a:custGeom>
                <a:avLst/>
                <a:gdLst>
                  <a:gd name="connsiteX0" fmla="*/ 45060 w 355927"/>
                  <a:gd name="connsiteY0" fmla="*/ 122285 h 464460"/>
                  <a:gd name="connsiteX1" fmla="*/ 24940 w 355927"/>
                  <a:gd name="connsiteY1" fmla="*/ 144179 h 464460"/>
                  <a:gd name="connsiteX2" fmla="*/ 37969 w 355927"/>
                  <a:gd name="connsiteY2" fmla="*/ 168917 h 464460"/>
                  <a:gd name="connsiteX3" fmla="*/ 29723 w 355927"/>
                  <a:gd name="connsiteY3" fmla="*/ 184049 h 464460"/>
                  <a:gd name="connsiteX4" fmla="*/ 7211 w 355927"/>
                  <a:gd name="connsiteY4" fmla="*/ 196418 h 464460"/>
                  <a:gd name="connsiteX5" fmla="*/ 4861 w 355927"/>
                  <a:gd name="connsiteY5" fmla="*/ 218352 h 464460"/>
                  <a:gd name="connsiteX6" fmla="*/ 78 w 355927"/>
                  <a:gd name="connsiteY6" fmla="*/ 255460 h 464460"/>
                  <a:gd name="connsiteX7" fmla="*/ 10757 w 355927"/>
                  <a:gd name="connsiteY7" fmla="*/ 284321 h 464460"/>
                  <a:gd name="connsiteX8" fmla="*/ 2511 w 355927"/>
                  <a:gd name="connsiteY8" fmla="*/ 302132 h 464460"/>
                  <a:gd name="connsiteX9" fmla="*/ 15168 w 355927"/>
                  <a:gd name="connsiteY9" fmla="*/ 340601 h 464460"/>
                  <a:gd name="connsiteX10" fmla="*/ 24074 w 355927"/>
                  <a:gd name="connsiteY10" fmla="*/ 346043 h 464460"/>
                  <a:gd name="connsiteX11" fmla="*/ 49843 w 355927"/>
                  <a:gd name="connsiteY11" fmla="*/ 360474 h 464460"/>
                  <a:gd name="connsiteX12" fmla="*/ 71159 w 355927"/>
                  <a:gd name="connsiteY12" fmla="*/ 368720 h 464460"/>
                  <a:gd name="connsiteX13" fmla="*/ 79158 w 355927"/>
                  <a:gd name="connsiteY13" fmla="*/ 384181 h 464460"/>
                  <a:gd name="connsiteX14" fmla="*/ 63161 w 355927"/>
                  <a:gd name="connsiteY14" fmla="*/ 422237 h 464460"/>
                  <a:gd name="connsiteX15" fmla="*/ 59697 w 355927"/>
                  <a:gd name="connsiteY15" fmla="*/ 450356 h 464460"/>
                  <a:gd name="connsiteX16" fmla="*/ 93671 w 355927"/>
                  <a:gd name="connsiteY16" fmla="*/ 448995 h 464460"/>
                  <a:gd name="connsiteX17" fmla="*/ 120925 w 355927"/>
                  <a:gd name="connsiteY17" fmla="*/ 447635 h 464460"/>
                  <a:gd name="connsiteX18" fmla="*/ 144055 w 355927"/>
                  <a:gd name="connsiteY18" fmla="*/ 459344 h 464460"/>
                  <a:gd name="connsiteX19" fmla="*/ 148466 w 355927"/>
                  <a:gd name="connsiteY19" fmla="*/ 454108 h 464460"/>
                  <a:gd name="connsiteX20" fmla="*/ 171556 w 355927"/>
                  <a:gd name="connsiteY20" fmla="*/ 461323 h 464460"/>
                  <a:gd name="connsiteX21" fmla="*/ 195552 w 355927"/>
                  <a:gd name="connsiteY21" fmla="*/ 457200 h 464460"/>
                  <a:gd name="connsiteX22" fmla="*/ 218641 w 355927"/>
                  <a:gd name="connsiteY22" fmla="*/ 455139 h 464460"/>
                  <a:gd name="connsiteX23" fmla="*/ 259500 w 355927"/>
                  <a:gd name="connsiteY23" fmla="*/ 445903 h 464460"/>
                  <a:gd name="connsiteX24" fmla="*/ 275498 w 355927"/>
                  <a:gd name="connsiteY24" fmla="*/ 432503 h 464460"/>
                  <a:gd name="connsiteX25" fmla="*/ 291495 w 355927"/>
                  <a:gd name="connsiteY25" fmla="*/ 403642 h 464460"/>
                  <a:gd name="connsiteX26" fmla="*/ 313718 w 355927"/>
                  <a:gd name="connsiteY26" fmla="*/ 383027 h 464460"/>
                  <a:gd name="connsiteX27" fmla="*/ 271952 w 355927"/>
                  <a:gd name="connsiteY27" fmla="*/ 346991 h 464460"/>
                  <a:gd name="connsiteX28" fmla="*/ 258593 w 355927"/>
                  <a:gd name="connsiteY28" fmla="*/ 307905 h 464460"/>
                  <a:gd name="connsiteX29" fmla="*/ 255954 w 355927"/>
                  <a:gd name="connsiteY29" fmla="*/ 283167 h 464460"/>
                  <a:gd name="connsiteX30" fmla="*/ 297721 w 355927"/>
                  <a:gd name="connsiteY30" fmla="*/ 264654 h 464460"/>
                  <a:gd name="connsiteX31" fmla="*/ 330705 w 355927"/>
                  <a:gd name="connsiteY31" fmla="*/ 247172 h 464460"/>
                  <a:gd name="connsiteX32" fmla="*/ 352021 w 355927"/>
                  <a:gd name="connsiteY32" fmla="*/ 246100 h 464460"/>
                  <a:gd name="connsiteX33" fmla="*/ 352928 w 355927"/>
                  <a:gd name="connsiteY33" fmla="*/ 220414 h 464460"/>
                  <a:gd name="connsiteX34" fmla="*/ 343157 w 355927"/>
                  <a:gd name="connsiteY34" fmla="*/ 183306 h 464460"/>
                  <a:gd name="connsiteX35" fmla="*/ 337838 w 355927"/>
                  <a:gd name="connsiteY35" fmla="*/ 158568 h 464460"/>
                  <a:gd name="connsiteX36" fmla="*/ 328932 w 355927"/>
                  <a:gd name="connsiteY36" fmla="*/ 135891 h 464460"/>
                  <a:gd name="connsiteX37" fmla="*/ 326252 w 355927"/>
                  <a:gd name="connsiteY37" fmla="*/ 117420 h 464460"/>
                  <a:gd name="connsiteX38" fmla="*/ 327159 w 355927"/>
                  <a:gd name="connsiteY38" fmla="*/ 69057 h 464460"/>
                  <a:gd name="connsiteX39" fmla="*/ 327159 w 355927"/>
                  <a:gd name="connsiteY39" fmla="*/ 63408 h 464460"/>
                  <a:gd name="connsiteX40" fmla="*/ 323778 w 355927"/>
                  <a:gd name="connsiteY40" fmla="*/ 57718 h 464460"/>
                  <a:gd name="connsiteX41" fmla="*/ 300112 w 355927"/>
                  <a:gd name="connsiteY41" fmla="*/ 42628 h 464460"/>
                  <a:gd name="connsiteX42" fmla="*/ 303658 w 355927"/>
                  <a:gd name="connsiteY42" fmla="*/ 15869 h 464460"/>
                  <a:gd name="connsiteX43" fmla="*/ 268158 w 355927"/>
                  <a:gd name="connsiteY43" fmla="*/ 26837 h 464460"/>
                  <a:gd name="connsiteX44" fmla="*/ 223135 w 355927"/>
                  <a:gd name="connsiteY44" fmla="*/ 57017 h 464460"/>
                  <a:gd name="connsiteX45" fmla="*/ 202519 w 355927"/>
                  <a:gd name="connsiteY45" fmla="*/ 39165 h 464460"/>
                  <a:gd name="connsiteX46" fmla="*/ 188295 w 355927"/>
                  <a:gd name="connsiteY46" fmla="*/ 30919 h 464460"/>
                  <a:gd name="connsiteX47" fmla="*/ 158691 w 355927"/>
                  <a:gd name="connsiteY47" fmla="*/ 14426 h 464460"/>
                  <a:gd name="connsiteX48" fmla="*/ 156341 w 355927"/>
                  <a:gd name="connsiteY48" fmla="*/ 3748 h 464460"/>
                  <a:gd name="connsiteX49" fmla="*/ 141540 w 355927"/>
                  <a:gd name="connsiteY49" fmla="*/ 4119 h 464460"/>
                  <a:gd name="connsiteX50" fmla="*/ 104968 w 355927"/>
                  <a:gd name="connsiteY50" fmla="*/ -4 h 464460"/>
                  <a:gd name="connsiteX51" fmla="*/ 111895 w 355927"/>
                  <a:gd name="connsiteY51" fmla="*/ 21971 h 464460"/>
                  <a:gd name="connsiteX52" fmla="*/ 122574 w 355927"/>
                  <a:gd name="connsiteY52" fmla="*/ 61759 h 464460"/>
                  <a:gd name="connsiteX53" fmla="*/ 105381 w 355927"/>
                  <a:gd name="connsiteY53" fmla="*/ 80271 h 464460"/>
                  <a:gd name="connsiteX54" fmla="*/ 75777 w 355927"/>
                  <a:gd name="connsiteY54" fmla="*/ 75489 h 464460"/>
                  <a:gd name="connsiteX55" fmla="*/ 45555 w 355927"/>
                  <a:gd name="connsiteY55" fmla="*/ 80972 h 464460"/>
                  <a:gd name="connsiteX56" fmla="*/ 44401 w 355927"/>
                  <a:gd name="connsiteY56" fmla="*/ 90703 h 464460"/>
                  <a:gd name="connsiteX57" fmla="*/ 45060 w 355927"/>
                  <a:gd name="connsiteY57" fmla="*/ 122285 h 464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</a:cxnLst>
                <a:rect l="l" t="t" r="r" b="b"/>
                <a:pathLst>
                  <a:path w="355927" h="464460">
                    <a:moveTo>
                      <a:pt x="45060" y="122285"/>
                    </a:moveTo>
                    <a:cubicBezTo>
                      <a:pt x="35577" y="138777"/>
                      <a:pt x="22590" y="140056"/>
                      <a:pt x="24940" y="144179"/>
                    </a:cubicBezTo>
                    <a:cubicBezTo>
                      <a:pt x="27290" y="148302"/>
                      <a:pt x="41432" y="162031"/>
                      <a:pt x="37969" y="168917"/>
                    </a:cubicBezTo>
                    <a:cubicBezTo>
                      <a:pt x="34505" y="175803"/>
                      <a:pt x="29723" y="171679"/>
                      <a:pt x="29723" y="184049"/>
                    </a:cubicBezTo>
                    <a:cubicBezTo>
                      <a:pt x="29723" y="196418"/>
                      <a:pt x="13231" y="196418"/>
                      <a:pt x="7211" y="196418"/>
                    </a:cubicBezTo>
                    <a:cubicBezTo>
                      <a:pt x="1191" y="196418"/>
                      <a:pt x="8406" y="208787"/>
                      <a:pt x="4861" y="218352"/>
                    </a:cubicBezTo>
                    <a:cubicBezTo>
                      <a:pt x="1315" y="227918"/>
                      <a:pt x="1274" y="247213"/>
                      <a:pt x="78" y="255460"/>
                    </a:cubicBezTo>
                    <a:cubicBezTo>
                      <a:pt x="-1117" y="263706"/>
                      <a:pt x="11952" y="277394"/>
                      <a:pt x="10757" y="284321"/>
                    </a:cubicBezTo>
                    <a:cubicBezTo>
                      <a:pt x="9561" y="291248"/>
                      <a:pt x="78" y="296690"/>
                      <a:pt x="2511" y="302132"/>
                    </a:cubicBezTo>
                    <a:cubicBezTo>
                      <a:pt x="4943" y="307575"/>
                      <a:pt x="13272" y="315244"/>
                      <a:pt x="15168" y="340601"/>
                    </a:cubicBezTo>
                    <a:cubicBezTo>
                      <a:pt x="18632" y="341434"/>
                      <a:pt x="21765" y="343338"/>
                      <a:pt x="24074" y="346043"/>
                    </a:cubicBezTo>
                    <a:cubicBezTo>
                      <a:pt x="29599" y="354990"/>
                      <a:pt x="39329" y="360449"/>
                      <a:pt x="49843" y="360474"/>
                    </a:cubicBezTo>
                    <a:cubicBezTo>
                      <a:pt x="61388" y="360474"/>
                      <a:pt x="65841" y="369751"/>
                      <a:pt x="71159" y="368720"/>
                    </a:cubicBezTo>
                    <a:cubicBezTo>
                      <a:pt x="76478" y="367689"/>
                      <a:pt x="90702" y="372843"/>
                      <a:pt x="79158" y="384181"/>
                    </a:cubicBezTo>
                    <a:cubicBezTo>
                      <a:pt x="67613" y="395520"/>
                      <a:pt x="65841" y="408919"/>
                      <a:pt x="63161" y="422237"/>
                    </a:cubicBezTo>
                    <a:cubicBezTo>
                      <a:pt x="61429" y="430895"/>
                      <a:pt x="61553" y="442852"/>
                      <a:pt x="59697" y="450356"/>
                    </a:cubicBezTo>
                    <a:cubicBezTo>
                      <a:pt x="70995" y="451511"/>
                      <a:pt x="87651" y="452500"/>
                      <a:pt x="93671" y="448995"/>
                    </a:cubicBezTo>
                    <a:cubicBezTo>
                      <a:pt x="103154" y="443553"/>
                      <a:pt x="109050" y="443553"/>
                      <a:pt x="120925" y="447635"/>
                    </a:cubicBezTo>
                    <a:cubicBezTo>
                      <a:pt x="128964" y="450830"/>
                      <a:pt x="136716" y="454751"/>
                      <a:pt x="144055" y="459344"/>
                    </a:cubicBezTo>
                    <a:cubicBezTo>
                      <a:pt x="144756" y="456541"/>
                      <a:pt x="146034" y="454479"/>
                      <a:pt x="148466" y="454108"/>
                    </a:cubicBezTo>
                    <a:cubicBezTo>
                      <a:pt x="156465" y="453118"/>
                      <a:pt x="166237" y="471631"/>
                      <a:pt x="171556" y="461323"/>
                    </a:cubicBezTo>
                    <a:cubicBezTo>
                      <a:pt x="176874" y="451016"/>
                      <a:pt x="189326" y="453077"/>
                      <a:pt x="195552" y="457200"/>
                    </a:cubicBezTo>
                    <a:cubicBezTo>
                      <a:pt x="201777" y="461323"/>
                      <a:pt x="211549" y="463385"/>
                      <a:pt x="218641" y="455139"/>
                    </a:cubicBezTo>
                    <a:cubicBezTo>
                      <a:pt x="225732" y="446893"/>
                      <a:pt x="253274" y="442770"/>
                      <a:pt x="259500" y="445903"/>
                    </a:cubicBezTo>
                    <a:cubicBezTo>
                      <a:pt x="265726" y="449037"/>
                      <a:pt x="281723" y="457200"/>
                      <a:pt x="275498" y="432503"/>
                    </a:cubicBezTo>
                    <a:cubicBezTo>
                      <a:pt x="269272" y="407806"/>
                      <a:pt x="288815" y="412960"/>
                      <a:pt x="291495" y="403642"/>
                    </a:cubicBezTo>
                    <a:cubicBezTo>
                      <a:pt x="294175" y="394324"/>
                      <a:pt x="317264" y="390283"/>
                      <a:pt x="313718" y="383027"/>
                    </a:cubicBezTo>
                    <a:cubicBezTo>
                      <a:pt x="310173" y="375770"/>
                      <a:pt x="280734" y="354165"/>
                      <a:pt x="271952" y="346991"/>
                    </a:cubicBezTo>
                    <a:cubicBezTo>
                      <a:pt x="263170" y="339817"/>
                      <a:pt x="263087" y="317140"/>
                      <a:pt x="258593" y="307905"/>
                    </a:cubicBezTo>
                    <a:cubicBezTo>
                      <a:pt x="254099" y="298669"/>
                      <a:pt x="244410" y="286300"/>
                      <a:pt x="255954" y="283167"/>
                    </a:cubicBezTo>
                    <a:cubicBezTo>
                      <a:pt x="267499" y="280033"/>
                      <a:pt x="287949" y="274920"/>
                      <a:pt x="297721" y="264654"/>
                    </a:cubicBezTo>
                    <a:cubicBezTo>
                      <a:pt x="307492" y="254388"/>
                      <a:pt x="325221" y="253316"/>
                      <a:pt x="330705" y="247172"/>
                    </a:cubicBezTo>
                    <a:cubicBezTo>
                      <a:pt x="336189" y="241029"/>
                      <a:pt x="348475" y="252326"/>
                      <a:pt x="352021" y="246100"/>
                    </a:cubicBezTo>
                    <a:cubicBezTo>
                      <a:pt x="355567" y="239875"/>
                      <a:pt x="358247" y="227588"/>
                      <a:pt x="352928" y="220414"/>
                    </a:cubicBezTo>
                    <a:cubicBezTo>
                      <a:pt x="347610" y="213240"/>
                      <a:pt x="344023" y="200870"/>
                      <a:pt x="343157" y="183306"/>
                    </a:cubicBezTo>
                    <a:cubicBezTo>
                      <a:pt x="342291" y="165742"/>
                      <a:pt x="337838" y="166814"/>
                      <a:pt x="337838" y="158568"/>
                    </a:cubicBezTo>
                    <a:cubicBezTo>
                      <a:pt x="337838" y="150322"/>
                      <a:pt x="335158" y="140014"/>
                      <a:pt x="328932" y="135891"/>
                    </a:cubicBezTo>
                    <a:cubicBezTo>
                      <a:pt x="322706" y="131768"/>
                      <a:pt x="320067" y="128717"/>
                      <a:pt x="326252" y="117420"/>
                    </a:cubicBezTo>
                    <a:cubicBezTo>
                      <a:pt x="332437" y="106123"/>
                      <a:pt x="329798" y="77262"/>
                      <a:pt x="327159" y="69057"/>
                    </a:cubicBezTo>
                    <a:cubicBezTo>
                      <a:pt x="326747" y="67197"/>
                      <a:pt x="326747" y="65268"/>
                      <a:pt x="327159" y="63408"/>
                    </a:cubicBezTo>
                    <a:cubicBezTo>
                      <a:pt x="325221" y="62142"/>
                      <a:pt x="323943" y="60040"/>
                      <a:pt x="323778" y="57718"/>
                    </a:cubicBezTo>
                    <a:cubicBezTo>
                      <a:pt x="322006" y="46710"/>
                      <a:pt x="315532" y="42628"/>
                      <a:pt x="300112" y="42628"/>
                    </a:cubicBezTo>
                    <a:cubicBezTo>
                      <a:pt x="284692" y="42628"/>
                      <a:pt x="309595" y="24775"/>
                      <a:pt x="303658" y="15869"/>
                    </a:cubicBezTo>
                    <a:cubicBezTo>
                      <a:pt x="297721" y="6964"/>
                      <a:pt x="282342" y="32362"/>
                      <a:pt x="268158" y="26837"/>
                    </a:cubicBezTo>
                    <a:cubicBezTo>
                      <a:pt x="253975" y="21312"/>
                      <a:pt x="235586" y="46091"/>
                      <a:pt x="223135" y="57017"/>
                    </a:cubicBezTo>
                    <a:cubicBezTo>
                      <a:pt x="210683" y="67944"/>
                      <a:pt x="192913" y="54997"/>
                      <a:pt x="202519" y="39165"/>
                    </a:cubicBezTo>
                    <a:cubicBezTo>
                      <a:pt x="212126" y="23332"/>
                      <a:pt x="202519" y="24775"/>
                      <a:pt x="188295" y="30919"/>
                    </a:cubicBezTo>
                    <a:cubicBezTo>
                      <a:pt x="174071" y="37062"/>
                      <a:pt x="156919" y="29558"/>
                      <a:pt x="158691" y="14426"/>
                    </a:cubicBezTo>
                    <a:cubicBezTo>
                      <a:pt x="159022" y="10707"/>
                      <a:pt x="158197" y="6976"/>
                      <a:pt x="156341" y="3748"/>
                    </a:cubicBezTo>
                    <a:cubicBezTo>
                      <a:pt x="151476" y="4919"/>
                      <a:pt x="146446" y="5042"/>
                      <a:pt x="141540" y="4119"/>
                    </a:cubicBezTo>
                    <a:cubicBezTo>
                      <a:pt x="135190" y="1686"/>
                      <a:pt x="120718" y="367"/>
                      <a:pt x="104968" y="-4"/>
                    </a:cubicBezTo>
                    <a:cubicBezTo>
                      <a:pt x="109669" y="7994"/>
                      <a:pt x="114740" y="15787"/>
                      <a:pt x="111895" y="21971"/>
                    </a:cubicBezTo>
                    <a:cubicBezTo>
                      <a:pt x="106576" y="33640"/>
                      <a:pt x="114864" y="44607"/>
                      <a:pt x="122574" y="61759"/>
                    </a:cubicBezTo>
                    <a:cubicBezTo>
                      <a:pt x="130284" y="78911"/>
                      <a:pt x="106082" y="69304"/>
                      <a:pt x="105381" y="80271"/>
                    </a:cubicBezTo>
                    <a:cubicBezTo>
                      <a:pt x="104680" y="91239"/>
                      <a:pt x="82869" y="79612"/>
                      <a:pt x="75777" y="75489"/>
                    </a:cubicBezTo>
                    <a:cubicBezTo>
                      <a:pt x="68685" y="71366"/>
                      <a:pt x="44978" y="74087"/>
                      <a:pt x="45555" y="80972"/>
                    </a:cubicBezTo>
                    <a:cubicBezTo>
                      <a:pt x="45762" y="84259"/>
                      <a:pt x="45390" y="87561"/>
                      <a:pt x="44401" y="90703"/>
                    </a:cubicBezTo>
                    <a:cubicBezTo>
                      <a:pt x="47081" y="104020"/>
                      <a:pt x="48524" y="116266"/>
                      <a:pt x="45060" y="122285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</a:lstStyle>
              <a:p>
                <a:pPr marL="0" marR="0" lvl="0" indent="0" algn="l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5" name="Bulgaria">
                <a:extLst>
                  <a:ext uri="{FF2B5EF4-FFF2-40B4-BE49-F238E27FC236}">
                    <a16:creationId xmlns:a16="http://schemas.microsoft.com/office/drawing/2014/main" id="{B4C0D6FD-E8E0-0D37-A8E3-5FE3281FEF38}"/>
                  </a:ext>
                </a:extLst>
              </p:cNvPr>
              <p:cNvSpPr/>
              <p:nvPr>
                <p:custDataLst>
                  <p:tags r:id="rId513"/>
                </p:custDataLst>
              </p:nvPr>
            </p:nvSpPr>
            <p:spPr>
              <a:xfrm>
                <a:off x="7478187" y="3763871"/>
                <a:ext cx="213689" cy="136260"/>
              </a:xfrm>
              <a:custGeom>
                <a:avLst/>
                <a:gdLst>
                  <a:gd name="connsiteX0" fmla="*/ 193531 w 249520"/>
                  <a:gd name="connsiteY0" fmla="*/ 1315 h 159108"/>
                  <a:gd name="connsiteX1" fmla="*/ 146116 w 249520"/>
                  <a:gd name="connsiteY1" fmla="*/ 10922 h 159108"/>
                  <a:gd name="connsiteX2" fmla="*/ 117708 w 249520"/>
                  <a:gd name="connsiteY2" fmla="*/ 24652 h 159108"/>
                  <a:gd name="connsiteX3" fmla="*/ 75034 w 249520"/>
                  <a:gd name="connsiteY3" fmla="*/ 23250 h 159108"/>
                  <a:gd name="connsiteX4" fmla="*/ 32402 w 249520"/>
                  <a:gd name="connsiteY4" fmla="*/ 17766 h 159108"/>
                  <a:gd name="connsiteX5" fmla="*/ 9602 w 249520"/>
                  <a:gd name="connsiteY5" fmla="*/ -4 h 159108"/>
                  <a:gd name="connsiteX6" fmla="*/ 6344 w 249520"/>
                  <a:gd name="connsiteY6" fmla="*/ 4366 h 159108"/>
                  <a:gd name="connsiteX7" fmla="*/ 6344 w 249520"/>
                  <a:gd name="connsiteY7" fmla="*/ 36320 h 159108"/>
                  <a:gd name="connsiteX8" fmla="*/ 18713 w 249520"/>
                  <a:gd name="connsiteY8" fmla="*/ 66129 h 159108"/>
                  <a:gd name="connsiteX9" fmla="*/ 5396 w 249520"/>
                  <a:gd name="connsiteY9" fmla="*/ 84642 h 159108"/>
                  <a:gd name="connsiteX10" fmla="*/ 5396 w 249520"/>
                  <a:gd name="connsiteY10" fmla="*/ 107278 h 159108"/>
                  <a:gd name="connsiteX11" fmla="*/ 27578 w 249520"/>
                  <a:gd name="connsiteY11" fmla="*/ 137128 h 159108"/>
                  <a:gd name="connsiteX12" fmla="*/ 35453 w 249520"/>
                  <a:gd name="connsiteY12" fmla="*/ 150116 h 159108"/>
                  <a:gd name="connsiteX13" fmla="*/ 89053 w 249520"/>
                  <a:gd name="connsiteY13" fmla="*/ 150858 h 159108"/>
                  <a:gd name="connsiteX14" fmla="*/ 131685 w 249520"/>
                  <a:gd name="connsiteY14" fmla="*/ 159104 h 159108"/>
                  <a:gd name="connsiteX15" fmla="*/ 147105 w 249520"/>
                  <a:gd name="connsiteY15" fmla="*/ 148178 h 159108"/>
                  <a:gd name="connsiteX16" fmla="*/ 166360 w 249520"/>
                  <a:gd name="connsiteY16" fmla="*/ 137499 h 159108"/>
                  <a:gd name="connsiteX17" fmla="*/ 166030 w 249520"/>
                  <a:gd name="connsiteY17" fmla="*/ 124800 h 159108"/>
                  <a:gd name="connsiteX18" fmla="*/ 206889 w 249520"/>
                  <a:gd name="connsiteY18" fmla="*/ 124800 h 159108"/>
                  <a:gd name="connsiteX19" fmla="*/ 223093 w 249520"/>
                  <a:gd name="connsiteY19" fmla="*/ 121296 h 159108"/>
                  <a:gd name="connsiteX20" fmla="*/ 217568 w 249520"/>
                  <a:gd name="connsiteY20" fmla="*/ 110411 h 159108"/>
                  <a:gd name="connsiteX21" fmla="*/ 209322 w 249520"/>
                  <a:gd name="connsiteY21" fmla="*/ 75406 h 159108"/>
                  <a:gd name="connsiteX22" fmla="*/ 241275 w 249520"/>
                  <a:gd name="connsiteY22" fmla="*/ 35660 h 159108"/>
                  <a:gd name="connsiteX23" fmla="*/ 249521 w 249520"/>
                  <a:gd name="connsiteY23" fmla="*/ 25682 h 159108"/>
                  <a:gd name="connsiteX24" fmla="*/ 225196 w 249520"/>
                  <a:gd name="connsiteY24" fmla="*/ 12365 h 159108"/>
                  <a:gd name="connsiteX25" fmla="*/ 193531 w 249520"/>
                  <a:gd name="connsiteY25" fmla="*/ 1315 h 159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49520" h="159108">
                    <a:moveTo>
                      <a:pt x="193531" y="1315"/>
                    </a:moveTo>
                    <a:cubicBezTo>
                      <a:pt x="184047" y="-45"/>
                      <a:pt x="154403" y="1315"/>
                      <a:pt x="146116" y="10922"/>
                    </a:cubicBezTo>
                    <a:cubicBezTo>
                      <a:pt x="137828" y="20528"/>
                      <a:pt x="127150" y="26012"/>
                      <a:pt x="117708" y="24652"/>
                    </a:cubicBezTo>
                    <a:cubicBezTo>
                      <a:pt x="108266" y="23291"/>
                      <a:pt x="80971" y="21889"/>
                      <a:pt x="75034" y="23250"/>
                    </a:cubicBezTo>
                    <a:cubicBezTo>
                      <a:pt x="69097" y="24610"/>
                      <a:pt x="37185" y="16447"/>
                      <a:pt x="32402" y="17766"/>
                    </a:cubicBezTo>
                    <a:cubicBezTo>
                      <a:pt x="27619" y="19086"/>
                      <a:pt x="20321" y="2099"/>
                      <a:pt x="9602" y="-4"/>
                    </a:cubicBezTo>
                    <a:cubicBezTo>
                      <a:pt x="8983" y="1760"/>
                      <a:pt x="7870" y="3286"/>
                      <a:pt x="6344" y="4366"/>
                    </a:cubicBezTo>
                    <a:cubicBezTo>
                      <a:pt x="-1654" y="10592"/>
                      <a:pt x="-2562" y="27002"/>
                      <a:pt x="6344" y="36320"/>
                    </a:cubicBezTo>
                    <a:cubicBezTo>
                      <a:pt x="15250" y="45638"/>
                      <a:pt x="26959" y="66129"/>
                      <a:pt x="18713" y="66129"/>
                    </a:cubicBezTo>
                    <a:cubicBezTo>
                      <a:pt x="10467" y="66129"/>
                      <a:pt x="4489" y="78498"/>
                      <a:pt x="5396" y="84642"/>
                    </a:cubicBezTo>
                    <a:cubicBezTo>
                      <a:pt x="6303" y="90785"/>
                      <a:pt x="2716" y="104185"/>
                      <a:pt x="5396" y="107278"/>
                    </a:cubicBezTo>
                    <a:cubicBezTo>
                      <a:pt x="8076" y="110370"/>
                      <a:pt x="26712" y="130985"/>
                      <a:pt x="27578" y="137128"/>
                    </a:cubicBezTo>
                    <a:cubicBezTo>
                      <a:pt x="28402" y="142571"/>
                      <a:pt x="35824" y="145374"/>
                      <a:pt x="35453" y="150116"/>
                    </a:cubicBezTo>
                    <a:cubicBezTo>
                      <a:pt x="50379" y="148796"/>
                      <a:pt x="82043" y="146735"/>
                      <a:pt x="89053" y="150858"/>
                    </a:cubicBezTo>
                    <a:cubicBezTo>
                      <a:pt x="98535" y="156383"/>
                      <a:pt x="131685" y="159104"/>
                      <a:pt x="131685" y="159104"/>
                    </a:cubicBezTo>
                    <a:cubicBezTo>
                      <a:pt x="141127" y="159104"/>
                      <a:pt x="149455" y="154981"/>
                      <a:pt x="147105" y="148178"/>
                    </a:cubicBezTo>
                    <a:cubicBezTo>
                      <a:pt x="145085" y="142364"/>
                      <a:pt x="157454" y="138530"/>
                      <a:pt x="166360" y="137499"/>
                    </a:cubicBezTo>
                    <a:cubicBezTo>
                      <a:pt x="164793" y="131150"/>
                      <a:pt x="163721" y="125914"/>
                      <a:pt x="166030" y="124800"/>
                    </a:cubicBezTo>
                    <a:cubicBezTo>
                      <a:pt x="170483" y="122780"/>
                      <a:pt x="196252" y="118616"/>
                      <a:pt x="206889" y="124800"/>
                    </a:cubicBezTo>
                    <a:cubicBezTo>
                      <a:pt x="212291" y="127975"/>
                      <a:pt x="218393" y="124800"/>
                      <a:pt x="223093" y="121296"/>
                    </a:cubicBezTo>
                    <a:cubicBezTo>
                      <a:pt x="221650" y="115565"/>
                      <a:pt x="220289" y="110988"/>
                      <a:pt x="217568" y="110411"/>
                    </a:cubicBezTo>
                    <a:cubicBezTo>
                      <a:pt x="211012" y="109050"/>
                      <a:pt x="201076" y="77426"/>
                      <a:pt x="209322" y="75406"/>
                    </a:cubicBezTo>
                    <a:cubicBezTo>
                      <a:pt x="217568" y="73386"/>
                      <a:pt x="228247" y="40443"/>
                      <a:pt x="241275" y="35660"/>
                    </a:cubicBezTo>
                    <a:cubicBezTo>
                      <a:pt x="245687" y="34151"/>
                      <a:pt x="248862" y="30296"/>
                      <a:pt x="249521" y="25682"/>
                    </a:cubicBezTo>
                    <a:cubicBezTo>
                      <a:pt x="238224" y="21312"/>
                      <a:pt x="227092" y="15911"/>
                      <a:pt x="225196" y="12365"/>
                    </a:cubicBezTo>
                    <a:cubicBezTo>
                      <a:pt x="221938" y="5438"/>
                      <a:pt x="202973" y="2799"/>
                      <a:pt x="193531" y="1315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</a:lstStyle>
              <a:p>
                <a:pPr marL="0" marR="0" lvl="0" indent="0" algn="l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98" name="Argentina">
              <a:extLst>
                <a:ext uri="{FF2B5EF4-FFF2-40B4-BE49-F238E27FC236}">
                  <a16:creationId xmlns:a16="http://schemas.microsoft.com/office/drawing/2014/main" id="{9B7D55EC-C4A6-E6A5-03E4-0E5F5595C195}"/>
                </a:ext>
              </a:extLst>
            </p:cNvPr>
            <p:cNvGrpSpPr/>
            <p:nvPr>
              <p:custDataLst>
                <p:tags r:id="rId177"/>
              </p:custDataLst>
            </p:nvPr>
          </p:nvGrpSpPr>
          <p:grpSpPr>
            <a:xfrm>
              <a:off x="4174754" y="6556004"/>
              <a:ext cx="689267" cy="1575607"/>
              <a:chOff x="4174226" y="6068677"/>
              <a:chExt cx="689267" cy="1575607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99" name="Argentina group">
                <a:extLst>
                  <a:ext uri="{FF2B5EF4-FFF2-40B4-BE49-F238E27FC236}">
                    <a16:creationId xmlns:a16="http://schemas.microsoft.com/office/drawing/2014/main" id="{11423ED6-EC4C-B0BC-467B-95D1893DE4A4}"/>
                  </a:ext>
                </a:extLst>
              </p:cNvPr>
              <p:cNvSpPr/>
              <p:nvPr>
                <p:custDataLst>
                  <p:tags r:id="rId472"/>
                </p:custDataLst>
              </p:nvPr>
            </p:nvSpPr>
            <p:spPr>
              <a:xfrm>
                <a:off x="4174226" y="6068677"/>
                <a:ext cx="689267" cy="1422769"/>
              </a:xfrm>
              <a:custGeom>
                <a:avLst/>
                <a:gdLst>
                  <a:gd name="connsiteX0" fmla="*/ 797064 w 804844"/>
                  <a:gd name="connsiteY0" fmla="*/ 181636 h 1661340"/>
                  <a:gd name="connsiteX1" fmla="*/ 770718 w 804844"/>
                  <a:gd name="connsiteY1" fmla="*/ 179657 h 1661340"/>
                  <a:gd name="connsiteX2" fmla="*/ 770718 w 804844"/>
                  <a:gd name="connsiteY2" fmla="*/ 184398 h 1661340"/>
                  <a:gd name="connsiteX3" fmla="*/ 750103 w 804844"/>
                  <a:gd name="connsiteY3" fmla="*/ 252634 h 1661340"/>
                  <a:gd name="connsiteX4" fmla="*/ 718809 w 804844"/>
                  <a:gd name="connsiteY4" fmla="*/ 270735 h 1661340"/>
                  <a:gd name="connsiteX5" fmla="*/ 683928 w 804844"/>
                  <a:gd name="connsiteY5" fmla="*/ 278981 h 1661340"/>
                  <a:gd name="connsiteX6" fmla="*/ 645460 w 804844"/>
                  <a:gd name="connsiteY6" fmla="*/ 274858 h 1661340"/>
                  <a:gd name="connsiteX7" fmla="*/ 608146 w 804844"/>
                  <a:gd name="connsiteY7" fmla="*/ 265169 h 1661340"/>
                  <a:gd name="connsiteX8" fmla="*/ 621422 w 804844"/>
                  <a:gd name="connsiteY8" fmla="*/ 234493 h 1661340"/>
                  <a:gd name="connsiteX9" fmla="*/ 652675 w 804844"/>
                  <a:gd name="connsiteY9" fmla="*/ 171823 h 1661340"/>
                  <a:gd name="connsiteX10" fmla="*/ 578089 w 804844"/>
                  <a:gd name="connsiteY10" fmla="*/ 128655 h 1661340"/>
                  <a:gd name="connsiteX11" fmla="*/ 533602 w 804844"/>
                  <a:gd name="connsiteY11" fmla="*/ 102184 h 1661340"/>
                  <a:gd name="connsiteX12" fmla="*/ 489114 w 804844"/>
                  <a:gd name="connsiteY12" fmla="*/ 70148 h 1661340"/>
                  <a:gd name="connsiteX13" fmla="*/ 433494 w 804844"/>
                  <a:gd name="connsiteY13" fmla="*/ 4180 h 1661340"/>
                  <a:gd name="connsiteX14" fmla="*/ 393913 w 804844"/>
                  <a:gd name="connsiteY14" fmla="*/ 4592 h 1661340"/>
                  <a:gd name="connsiteX15" fmla="*/ 370246 w 804844"/>
                  <a:gd name="connsiteY15" fmla="*/ 32010 h 1661340"/>
                  <a:gd name="connsiteX16" fmla="*/ 324068 w 804844"/>
                  <a:gd name="connsiteY16" fmla="*/ 10034 h 1661340"/>
                  <a:gd name="connsiteX17" fmla="*/ 288527 w 804844"/>
                  <a:gd name="connsiteY17" fmla="*/ 11436 h 1661340"/>
                  <a:gd name="connsiteX18" fmla="*/ 259171 w 804844"/>
                  <a:gd name="connsiteY18" fmla="*/ 39514 h 1661340"/>
                  <a:gd name="connsiteX19" fmla="*/ 250925 w 804844"/>
                  <a:gd name="connsiteY19" fmla="*/ 93773 h 1661340"/>
                  <a:gd name="connsiteX20" fmla="*/ 205201 w 804844"/>
                  <a:gd name="connsiteY20" fmla="*/ 135540 h 1661340"/>
                  <a:gd name="connsiteX21" fmla="*/ 202809 w 804844"/>
                  <a:gd name="connsiteY21" fmla="*/ 168978 h 1661340"/>
                  <a:gd name="connsiteX22" fmla="*/ 206438 w 804844"/>
                  <a:gd name="connsiteY22" fmla="*/ 219114 h 1661340"/>
                  <a:gd name="connsiteX23" fmla="*/ 207633 w 804844"/>
                  <a:gd name="connsiteY23" fmla="*/ 249748 h 1661340"/>
                  <a:gd name="connsiteX24" fmla="*/ 183596 w 804844"/>
                  <a:gd name="connsiteY24" fmla="*/ 272013 h 1661340"/>
                  <a:gd name="connsiteX25" fmla="*/ 171557 w 804844"/>
                  <a:gd name="connsiteY25" fmla="*/ 311017 h 1661340"/>
                  <a:gd name="connsiteX26" fmla="*/ 153498 w 804844"/>
                  <a:gd name="connsiteY26" fmla="*/ 352825 h 1661340"/>
                  <a:gd name="connsiteX27" fmla="*/ 142695 w 804844"/>
                  <a:gd name="connsiteY27" fmla="*/ 377893 h 1661340"/>
                  <a:gd name="connsiteX28" fmla="*/ 142695 w 804844"/>
                  <a:gd name="connsiteY28" fmla="*/ 425225 h 1661340"/>
                  <a:gd name="connsiteX29" fmla="*/ 125832 w 804844"/>
                  <a:gd name="connsiteY29" fmla="*/ 461508 h 1661340"/>
                  <a:gd name="connsiteX30" fmla="*/ 125832 w 804844"/>
                  <a:gd name="connsiteY30" fmla="*/ 511603 h 1661340"/>
                  <a:gd name="connsiteX31" fmla="*/ 139067 w 804844"/>
                  <a:gd name="connsiteY31" fmla="*/ 557575 h 1661340"/>
                  <a:gd name="connsiteX32" fmla="*/ 148674 w 804844"/>
                  <a:gd name="connsiteY32" fmla="*/ 597981 h 1661340"/>
                  <a:gd name="connsiteX33" fmla="*/ 137871 w 804844"/>
                  <a:gd name="connsiteY33" fmla="*/ 636985 h 1661340"/>
                  <a:gd name="connsiteX34" fmla="*/ 125832 w 804844"/>
                  <a:gd name="connsiteY34" fmla="*/ 670423 h 1661340"/>
                  <a:gd name="connsiteX35" fmla="*/ 125832 w 804844"/>
                  <a:gd name="connsiteY35" fmla="*/ 728887 h 1661340"/>
                  <a:gd name="connsiteX36" fmla="*/ 95775 w 804844"/>
                  <a:gd name="connsiteY36" fmla="*/ 774860 h 1661340"/>
                  <a:gd name="connsiteX37" fmla="*/ 96971 w 804844"/>
                  <a:gd name="connsiteY37" fmla="*/ 836169 h 1661340"/>
                  <a:gd name="connsiteX38" fmla="*/ 106619 w 804844"/>
                  <a:gd name="connsiteY38" fmla="*/ 862598 h 1661340"/>
                  <a:gd name="connsiteX39" fmla="*/ 83736 w 804844"/>
                  <a:gd name="connsiteY39" fmla="*/ 880698 h 1661340"/>
                  <a:gd name="connsiteX40" fmla="*/ 81344 w 804844"/>
                  <a:gd name="connsiteY40" fmla="*/ 915538 h 1661340"/>
                  <a:gd name="connsiteX41" fmla="*/ 70501 w 804844"/>
                  <a:gd name="connsiteY41" fmla="*/ 944811 h 1661340"/>
                  <a:gd name="connsiteX42" fmla="*/ 59698 w 804844"/>
                  <a:gd name="connsiteY42" fmla="*/ 976806 h 1661340"/>
                  <a:gd name="connsiteX43" fmla="*/ 67944 w 804844"/>
                  <a:gd name="connsiteY43" fmla="*/ 1008842 h 1661340"/>
                  <a:gd name="connsiteX44" fmla="*/ 65553 w 804844"/>
                  <a:gd name="connsiteY44" fmla="*/ 1058979 h 1661340"/>
                  <a:gd name="connsiteX45" fmla="*/ 59534 w 804844"/>
                  <a:gd name="connsiteY45" fmla="*/ 1107754 h 1661340"/>
                  <a:gd name="connsiteX46" fmla="*/ 63162 w 804844"/>
                  <a:gd name="connsiteY46" fmla="*/ 1132822 h 1661340"/>
                  <a:gd name="connsiteX47" fmla="*/ 69140 w 804844"/>
                  <a:gd name="connsiteY47" fmla="*/ 1162096 h 1661340"/>
                  <a:gd name="connsiteX48" fmla="*/ 81180 w 804844"/>
                  <a:gd name="connsiteY48" fmla="*/ 1185762 h 1661340"/>
                  <a:gd name="connsiteX49" fmla="*/ 87199 w 804844"/>
                  <a:gd name="connsiteY49" fmla="*/ 1206625 h 1661340"/>
                  <a:gd name="connsiteX50" fmla="*/ 71573 w 804844"/>
                  <a:gd name="connsiteY50" fmla="*/ 1216396 h 1661340"/>
                  <a:gd name="connsiteX51" fmla="*/ 77593 w 804844"/>
                  <a:gd name="connsiteY51" fmla="*/ 1247031 h 1661340"/>
                  <a:gd name="connsiteX52" fmla="*/ 71573 w 804844"/>
                  <a:gd name="connsiteY52" fmla="*/ 1283231 h 1661340"/>
                  <a:gd name="connsiteX53" fmla="*/ 70377 w 804844"/>
                  <a:gd name="connsiteY53" fmla="*/ 1319473 h 1661340"/>
                  <a:gd name="connsiteX54" fmla="*/ 58338 w 804844"/>
                  <a:gd name="connsiteY54" fmla="*/ 1351509 h 1661340"/>
                  <a:gd name="connsiteX55" fmla="*/ 41516 w 804844"/>
                  <a:gd name="connsiteY55" fmla="*/ 1382143 h 1661340"/>
                  <a:gd name="connsiteX56" fmla="*/ 42670 w 804844"/>
                  <a:gd name="connsiteY56" fmla="*/ 1418343 h 1661340"/>
                  <a:gd name="connsiteX57" fmla="*/ 25848 w 804844"/>
                  <a:gd name="connsiteY57" fmla="*/ 1450379 h 1661340"/>
                  <a:gd name="connsiteX58" fmla="*/ 4202 w 804844"/>
                  <a:gd name="connsiteY58" fmla="*/ 1481014 h 1661340"/>
                  <a:gd name="connsiteX59" fmla="*/ 5398 w 804844"/>
                  <a:gd name="connsiteY59" fmla="*/ 1524182 h 1661340"/>
                  <a:gd name="connsiteX60" fmla="*/ 12613 w 804844"/>
                  <a:gd name="connsiteY60" fmla="*/ 1554857 h 1661340"/>
                  <a:gd name="connsiteX61" fmla="*/ 49721 w 804844"/>
                  <a:gd name="connsiteY61" fmla="*/ 1568752 h 1661340"/>
                  <a:gd name="connsiteX62" fmla="*/ 52112 w 804844"/>
                  <a:gd name="connsiteY62" fmla="*/ 1621692 h 1661340"/>
                  <a:gd name="connsiteX63" fmla="*/ 71367 w 804844"/>
                  <a:gd name="connsiteY63" fmla="*/ 1641194 h 1661340"/>
                  <a:gd name="connsiteX64" fmla="*/ 142324 w 804844"/>
                  <a:gd name="connsiteY64" fmla="*/ 1639792 h 1661340"/>
                  <a:gd name="connsiteX65" fmla="*/ 163929 w 804844"/>
                  <a:gd name="connsiteY65" fmla="*/ 1654223 h 1661340"/>
                  <a:gd name="connsiteX66" fmla="*/ 201902 w 804844"/>
                  <a:gd name="connsiteY66" fmla="*/ 1660077 h 1661340"/>
                  <a:gd name="connsiteX67" fmla="*/ 180586 w 804844"/>
                  <a:gd name="connsiteY67" fmla="*/ 1616868 h 1661340"/>
                  <a:gd name="connsiteX68" fmla="*/ 176133 w 804844"/>
                  <a:gd name="connsiteY68" fmla="*/ 1581863 h 1661340"/>
                  <a:gd name="connsiteX69" fmla="*/ 184132 w 804844"/>
                  <a:gd name="connsiteY69" fmla="*/ 1538654 h 1661340"/>
                  <a:gd name="connsiteX70" fmla="*/ 203222 w 804844"/>
                  <a:gd name="connsiteY70" fmla="*/ 1519976 h 1661340"/>
                  <a:gd name="connsiteX71" fmla="*/ 229609 w 804844"/>
                  <a:gd name="connsiteY71" fmla="*/ 1493300 h 1661340"/>
                  <a:gd name="connsiteX72" fmla="*/ 230310 w 804844"/>
                  <a:gd name="connsiteY72" fmla="*/ 1487198 h 1661340"/>
                  <a:gd name="connsiteX73" fmla="*/ 253028 w 804844"/>
                  <a:gd name="connsiteY73" fmla="*/ 1441433 h 1661340"/>
                  <a:gd name="connsiteX74" fmla="*/ 260944 w 804844"/>
                  <a:gd name="connsiteY74" fmla="*/ 1432856 h 1661340"/>
                  <a:gd name="connsiteX75" fmla="*/ 275457 w 804844"/>
                  <a:gd name="connsiteY75" fmla="*/ 1411541 h 1661340"/>
                  <a:gd name="connsiteX76" fmla="*/ 276117 w 804844"/>
                  <a:gd name="connsiteY76" fmla="*/ 1410551 h 1661340"/>
                  <a:gd name="connsiteX77" fmla="*/ 276777 w 804844"/>
                  <a:gd name="connsiteY77" fmla="*/ 1409561 h 1661340"/>
                  <a:gd name="connsiteX78" fmla="*/ 282879 w 804844"/>
                  <a:gd name="connsiteY78" fmla="*/ 1400367 h 1661340"/>
                  <a:gd name="connsiteX79" fmla="*/ 306050 w 804844"/>
                  <a:gd name="connsiteY79" fmla="*/ 1375628 h 1661340"/>
                  <a:gd name="connsiteX80" fmla="*/ 312936 w 804844"/>
                  <a:gd name="connsiteY80" fmla="*/ 1345077 h 1661340"/>
                  <a:gd name="connsiteX81" fmla="*/ 272942 w 804844"/>
                  <a:gd name="connsiteY81" fmla="*/ 1332708 h 1661340"/>
                  <a:gd name="connsiteX82" fmla="*/ 245401 w 804844"/>
                  <a:gd name="connsiteY82" fmla="*/ 1261750 h 1661340"/>
                  <a:gd name="connsiteX83" fmla="*/ 272654 w 804844"/>
                  <a:gd name="connsiteY83" fmla="*/ 1230745 h 1661340"/>
                  <a:gd name="connsiteX84" fmla="*/ 281353 w 804844"/>
                  <a:gd name="connsiteY84" fmla="*/ 1217634 h 1661340"/>
                  <a:gd name="connsiteX85" fmla="*/ 305020 w 804844"/>
                  <a:gd name="connsiteY85" fmla="*/ 1205553 h 1661340"/>
                  <a:gd name="connsiteX86" fmla="*/ 318914 w 804844"/>
                  <a:gd name="connsiteY86" fmla="*/ 1196070 h 1661340"/>
                  <a:gd name="connsiteX87" fmla="*/ 320935 w 804844"/>
                  <a:gd name="connsiteY87" fmla="*/ 1193802 h 1661340"/>
                  <a:gd name="connsiteX88" fmla="*/ 331613 w 804844"/>
                  <a:gd name="connsiteY88" fmla="*/ 1161931 h 1661340"/>
                  <a:gd name="connsiteX89" fmla="*/ 347570 w 804844"/>
                  <a:gd name="connsiteY89" fmla="*/ 1114599 h 1661340"/>
                  <a:gd name="connsiteX90" fmla="*/ 358248 w 804844"/>
                  <a:gd name="connsiteY90" fmla="*/ 1099179 h 1661340"/>
                  <a:gd name="connsiteX91" fmla="*/ 360021 w 804844"/>
                  <a:gd name="connsiteY91" fmla="*/ 1080625 h 1661340"/>
                  <a:gd name="connsiteX92" fmla="*/ 382244 w 804844"/>
                  <a:gd name="connsiteY92" fmla="*/ 1096086 h 1661340"/>
                  <a:gd name="connsiteX93" fmla="*/ 398201 w 804844"/>
                  <a:gd name="connsiteY93" fmla="*/ 1060051 h 1661340"/>
                  <a:gd name="connsiteX94" fmla="*/ 370700 w 804844"/>
                  <a:gd name="connsiteY94" fmla="*/ 1068297 h 1661340"/>
                  <a:gd name="connsiteX95" fmla="*/ 348477 w 804844"/>
                  <a:gd name="connsiteY95" fmla="*/ 1055928 h 1661340"/>
                  <a:gd name="connsiteX96" fmla="*/ 342251 w 804844"/>
                  <a:gd name="connsiteY96" fmla="*/ 1020964 h 1661340"/>
                  <a:gd name="connsiteX97" fmla="*/ 340478 w 804844"/>
                  <a:gd name="connsiteY97" fmla="*/ 977754 h 1661340"/>
                  <a:gd name="connsiteX98" fmla="*/ 404426 w 804844"/>
                  <a:gd name="connsiteY98" fmla="*/ 997298 h 1661340"/>
                  <a:gd name="connsiteX99" fmla="*/ 450605 w 804844"/>
                  <a:gd name="connsiteY99" fmla="*/ 970539 h 1661340"/>
                  <a:gd name="connsiteX100" fmla="*/ 454192 w 804844"/>
                  <a:gd name="connsiteY100" fmla="*/ 926299 h 1661340"/>
                  <a:gd name="connsiteX101" fmla="*/ 452419 w 804844"/>
                  <a:gd name="connsiteY101" fmla="*/ 893315 h 1661340"/>
                  <a:gd name="connsiteX102" fmla="*/ 466643 w 804844"/>
                  <a:gd name="connsiteY102" fmla="*/ 874802 h 1661340"/>
                  <a:gd name="connsiteX103" fmla="*/ 532612 w 804844"/>
                  <a:gd name="connsiteY103" fmla="*/ 874802 h 1661340"/>
                  <a:gd name="connsiteX104" fmla="*/ 544981 w 804844"/>
                  <a:gd name="connsiteY104" fmla="*/ 867257 h 1661340"/>
                  <a:gd name="connsiteX105" fmla="*/ 596601 w 804844"/>
                  <a:gd name="connsiteY105" fmla="*/ 843797 h 1661340"/>
                  <a:gd name="connsiteX106" fmla="*/ 629586 w 804844"/>
                  <a:gd name="connsiteY106" fmla="*/ 824666 h 1661340"/>
                  <a:gd name="connsiteX107" fmla="*/ 637543 w 804844"/>
                  <a:gd name="connsiteY107" fmla="*/ 818770 h 1661340"/>
                  <a:gd name="connsiteX108" fmla="*/ 638904 w 804844"/>
                  <a:gd name="connsiteY108" fmla="*/ 813616 h 1661340"/>
                  <a:gd name="connsiteX109" fmla="*/ 659107 w 804844"/>
                  <a:gd name="connsiteY109" fmla="*/ 783889 h 1661340"/>
                  <a:gd name="connsiteX110" fmla="*/ 674445 w 804844"/>
                  <a:gd name="connsiteY110" fmla="*/ 776179 h 1661340"/>
                  <a:gd name="connsiteX111" fmla="*/ 682237 w 804844"/>
                  <a:gd name="connsiteY111" fmla="*/ 763810 h 1661340"/>
                  <a:gd name="connsiteX112" fmla="*/ 665374 w 804844"/>
                  <a:gd name="connsiteY112" fmla="*/ 732928 h 1661340"/>
                  <a:gd name="connsiteX113" fmla="*/ 658282 w 804844"/>
                  <a:gd name="connsiteY113" fmla="*/ 692811 h 1661340"/>
                  <a:gd name="connsiteX114" fmla="*/ 636059 w 804844"/>
                  <a:gd name="connsiteY114" fmla="*/ 665022 h 1661340"/>
                  <a:gd name="connsiteX115" fmla="*/ 607651 w 804844"/>
                  <a:gd name="connsiteY115" fmla="*/ 633150 h 1661340"/>
                  <a:gd name="connsiteX116" fmla="*/ 621999 w 804844"/>
                  <a:gd name="connsiteY116" fmla="*/ 630388 h 1661340"/>
                  <a:gd name="connsiteX117" fmla="*/ 624968 w 804844"/>
                  <a:gd name="connsiteY117" fmla="*/ 610927 h 1661340"/>
                  <a:gd name="connsiteX118" fmla="*/ 613300 w 804844"/>
                  <a:gd name="connsiteY118" fmla="*/ 582767 h 1661340"/>
                  <a:gd name="connsiteX119" fmla="*/ 624102 w 804844"/>
                  <a:gd name="connsiteY119" fmla="*/ 522323 h 1661340"/>
                  <a:gd name="connsiteX120" fmla="*/ 637585 w 804844"/>
                  <a:gd name="connsiteY120" fmla="*/ 443078 h 1661340"/>
                  <a:gd name="connsiteX121" fmla="*/ 685288 w 804844"/>
                  <a:gd name="connsiteY121" fmla="*/ 368038 h 1661340"/>
                  <a:gd name="connsiteX122" fmla="*/ 754597 w 804844"/>
                  <a:gd name="connsiteY122" fmla="*/ 283598 h 1661340"/>
                  <a:gd name="connsiteX123" fmla="*/ 803208 w 804844"/>
                  <a:gd name="connsiteY123" fmla="*/ 252346 h 1661340"/>
                  <a:gd name="connsiteX124" fmla="*/ 797064 w 804844"/>
                  <a:gd name="connsiteY124" fmla="*/ 181636 h 1661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</a:cxnLst>
                <a:rect l="l" t="t" r="r" b="b"/>
                <a:pathLst>
                  <a:path w="804844" h="1661340">
                    <a:moveTo>
                      <a:pt x="797064" y="181636"/>
                    </a:moveTo>
                    <a:cubicBezTo>
                      <a:pt x="792941" y="179286"/>
                      <a:pt x="780572" y="179286"/>
                      <a:pt x="770718" y="179657"/>
                    </a:cubicBezTo>
                    <a:cubicBezTo>
                      <a:pt x="770594" y="181223"/>
                      <a:pt x="770594" y="182831"/>
                      <a:pt x="770718" y="184398"/>
                    </a:cubicBezTo>
                    <a:cubicBezTo>
                      <a:pt x="773150" y="203900"/>
                      <a:pt x="762472" y="254036"/>
                      <a:pt x="750103" y="252634"/>
                    </a:cubicBezTo>
                    <a:cubicBezTo>
                      <a:pt x="737734" y="251233"/>
                      <a:pt x="728416" y="273538"/>
                      <a:pt x="718809" y="270735"/>
                    </a:cubicBezTo>
                    <a:cubicBezTo>
                      <a:pt x="709202" y="267931"/>
                      <a:pt x="695967" y="287474"/>
                      <a:pt x="683928" y="278981"/>
                    </a:cubicBezTo>
                    <a:cubicBezTo>
                      <a:pt x="671888" y="270487"/>
                      <a:pt x="655066" y="281826"/>
                      <a:pt x="645460" y="274858"/>
                    </a:cubicBezTo>
                    <a:cubicBezTo>
                      <a:pt x="635853" y="267890"/>
                      <a:pt x="608146" y="273497"/>
                      <a:pt x="608146" y="265169"/>
                    </a:cubicBezTo>
                    <a:cubicBezTo>
                      <a:pt x="608146" y="256840"/>
                      <a:pt x="621422" y="259561"/>
                      <a:pt x="621422" y="234493"/>
                    </a:cubicBezTo>
                    <a:cubicBezTo>
                      <a:pt x="621422" y="209425"/>
                      <a:pt x="657458" y="181553"/>
                      <a:pt x="652675" y="171823"/>
                    </a:cubicBezTo>
                    <a:cubicBezTo>
                      <a:pt x="647892" y="162092"/>
                      <a:pt x="586500" y="141148"/>
                      <a:pt x="578089" y="128655"/>
                    </a:cubicBezTo>
                    <a:cubicBezTo>
                      <a:pt x="569678" y="116162"/>
                      <a:pt x="557474" y="104947"/>
                      <a:pt x="533602" y="102184"/>
                    </a:cubicBezTo>
                    <a:cubicBezTo>
                      <a:pt x="509729" y="99422"/>
                      <a:pt x="510760" y="85692"/>
                      <a:pt x="489114" y="70148"/>
                    </a:cubicBezTo>
                    <a:cubicBezTo>
                      <a:pt x="471055" y="57367"/>
                      <a:pt x="442977" y="23269"/>
                      <a:pt x="433494" y="4180"/>
                    </a:cubicBezTo>
                    <a:cubicBezTo>
                      <a:pt x="418816" y="2407"/>
                      <a:pt x="398077" y="-1180"/>
                      <a:pt x="393913" y="4592"/>
                    </a:cubicBezTo>
                    <a:cubicBezTo>
                      <a:pt x="388017" y="12838"/>
                      <a:pt x="378534" y="51224"/>
                      <a:pt x="370246" y="32010"/>
                    </a:cubicBezTo>
                    <a:cubicBezTo>
                      <a:pt x="361959" y="12797"/>
                      <a:pt x="341797" y="12838"/>
                      <a:pt x="324068" y="10034"/>
                    </a:cubicBezTo>
                    <a:cubicBezTo>
                      <a:pt x="306339" y="7231"/>
                      <a:pt x="307576" y="-11900"/>
                      <a:pt x="288527" y="11436"/>
                    </a:cubicBezTo>
                    <a:cubicBezTo>
                      <a:pt x="279861" y="21909"/>
                      <a:pt x="270011" y="31310"/>
                      <a:pt x="259171" y="39514"/>
                    </a:cubicBezTo>
                    <a:cubicBezTo>
                      <a:pt x="257976" y="61696"/>
                      <a:pt x="254512" y="86640"/>
                      <a:pt x="250925" y="93773"/>
                    </a:cubicBezTo>
                    <a:cubicBezTo>
                      <a:pt x="246101" y="103545"/>
                      <a:pt x="206438" y="124408"/>
                      <a:pt x="205201" y="135540"/>
                    </a:cubicBezTo>
                    <a:cubicBezTo>
                      <a:pt x="203964" y="146672"/>
                      <a:pt x="210025" y="162010"/>
                      <a:pt x="202809" y="168978"/>
                    </a:cubicBezTo>
                    <a:cubicBezTo>
                      <a:pt x="195594" y="175946"/>
                      <a:pt x="219673" y="210744"/>
                      <a:pt x="206438" y="219114"/>
                    </a:cubicBezTo>
                    <a:cubicBezTo>
                      <a:pt x="193203" y="227484"/>
                      <a:pt x="216044" y="241420"/>
                      <a:pt x="207633" y="249748"/>
                    </a:cubicBezTo>
                    <a:cubicBezTo>
                      <a:pt x="199222" y="258077"/>
                      <a:pt x="183596" y="262118"/>
                      <a:pt x="183596" y="272013"/>
                    </a:cubicBezTo>
                    <a:cubicBezTo>
                      <a:pt x="183596" y="281908"/>
                      <a:pt x="182359" y="305492"/>
                      <a:pt x="171557" y="311017"/>
                    </a:cubicBezTo>
                    <a:cubicBezTo>
                      <a:pt x="160754" y="316542"/>
                      <a:pt x="153498" y="337487"/>
                      <a:pt x="153498" y="352825"/>
                    </a:cubicBezTo>
                    <a:cubicBezTo>
                      <a:pt x="153498" y="368162"/>
                      <a:pt x="136676" y="358391"/>
                      <a:pt x="142695" y="377893"/>
                    </a:cubicBezTo>
                    <a:cubicBezTo>
                      <a:pt x="148715" y="397394"/>
                      <a:pt x="155889" y="421102"/>
                      <a:pt x="142695" y="425225"/>
                    </a:cubicBezTo>
                    <a:cubicBezTo>
                      <a:pt x="129502" y="429348"/>
                      <a:pt x="133048" y="461508"/>
                      <a:pt x="125832" y="461508"/>
                    </a:cubicBezTo>
                    <a:cubicBezTo>
                      <a:pt x="118617" y="461508"/>
                      <a:pt x="115030" y="494905"/>
                      <a:pt x="125832" y="511603"/>
                    </a:cubicBezTo>
                    <a:cubicBezTo>
                      <a:pt x="134977" y="525168"/>
                      <a:pt x="139607" y="541248"/>
                      <a:pt x="139067" y="557575"/>
                    </a:cubicBezTo>
                    <a:cubicBezTo>
                      <a:pt x="139067" y="572872"/>
                      <a:pt x="153498" y="581241"/>
                      <a:pt x="148674" y="597981"/>
                    </a:cubicBezTo>
                    <a:cubicBezTo>
                      <a:pt x="143850" y="614721"/>
                      <a:pt x="146282" y="630017"/>
                      <a:pt x="137871" y="636985"/>
                    </a:cubicBezTo>
                    <a:cubicBezTo>
                      <a:pt x="129461" y="643953"/>
                      <a:pt x="136676" y="664815"/>
                      <a:pt x="125832" y="670423"/>
                    </a:cubicBezTo>
                    <a:cubicBezTo>
                      <a:pt x="114989" y="676030"/>
                      <a:pt x="134078" y="720518"/>
                      <a:pt x="125832" y="728887"/>
                    </a:cubicBezTo>
                    <a:cubicBezTo>
                      <a:pt x="117586" y="737257"/>
                      <a:pt x="95775" y="744225"/>
                      <a:pt x="95775" y="774860"/>
                    </a:cubicBezTo>
                    <a:cubicBezTo>
                      <a:pt x="95775" y="805493"/>
                      <a:pt x="99898" y="822852"/>
                      <a:pt x="96971" y="836169"/>
                    </a:cubicBezTo>
                    <a:cubicBezTo>
                      <a:pt x="94579" y="847301"/>
                      <a:pt x="109010" y="844415"/>
                      <a:pt x="106619" y="862598"/>
                    </a:cubicBezTo>
                    <a:cubicBezTo>
                      <a:pt x="104228" y="880780"/>
                      <a:pt x="84931" y="869566"/>
                      <a:pt x="83736" y="880698"/>
                    </a:cubicBezTo>
                    <a:cubicBezTo>
                      <a:pt x="82540" y="891830"/>
                      <a:pt x="88560" y="914136"/>
                      <a:pt x="81344" y="915538"/>
                    </a:cubicBezTo>
                    <a:cubicBezTo>
                      <a:pt x="74129" y="916940"/>
                      <a:pt x="70501" y="925268"/>
                      <a:pt x="70501" y="944811"/>
                    </a:cubicBezTo>
                    <a:cubicBezTo>
                      <a:pt x="70501" y="964355"/>
                      <a:pt x="60894" y="967076"/>
                      <a:pt x="59698" y="976806"/>
                    </a:cubicBezTo>
                    <a:cubicBezTo>
                      <a:pt x="58503" y="986537"/>
                      <a:pt x="67944" y="997751"/>
                      <a:pt x="67944" y="1008842"/>
                    </a:cubicBezTo>
                    <a:cubicBezTo>
                      <a:pt x="67944" y="1019933"/>
                      <a:pt x="73964" y="1057577"/>
                      <a:pt x="65553" y="1058979"/>
                    </a:cubicBezTo>
                    <a:cubicBezTo>
                      <a:pt x="57142" y="1060380"/>
                      <a:pt x="52318" y="1102188"/>
                      <a:pt x="59534" y="1107754"/>
                    </a:cubicBezTo>
                    <a:cubicBezTo>
                      <a:pt x="66749" y="1113320"/>
                      <a:pt x="66749" y="1124494"/>
                      <a:pt x="63162" y="1132822"/>
                    </a:cubicBezTo>
                    <a:cubicBezTo>
                      <a:pt x="59575" y="1141151"/>
                      <a:pt x="79984" y="1149314"/>
                      <a:pt x="69140" y="1162096"/>
                    </a:cubicBezTo>
                    <a:cubicBezTo>
                      <a:pt x="58297" y="1174878"/>
                      <a:pt x="66914" y="1190710"/>
                      <a:pt x="81180" y="1185762"/>
                    </a:cubicBezTo>
                    <a:cubicBezTo>
                      <a:pt x="93219" y="1181639"/>
                      <a:pt x="100434" y="1206625"/>
                      <a:pt x="87199" y="1206625"/>
                    </a:cubicBezTo>
                    <a:cubicBezTo>
                      <a:pt x="73964" y="1206625"/>
                      <a:pt x="60729" y="1206625"/>
                      <a:pt x="71573" y="1216396"/>
                    </a:cubicBezTo>
                    <a:cubicBezTo>
                      <a:pt x="82416" y="1226168"/>
                      <a:pt x="93219" y="1240063"/>
                      <a:pt x="77593" y="1247031"/>
                    </a:cubicBezTo>
                    <a:cubicBezTo>
                      <a:pt x="61966" y="1253999"/>
                      <a:pt x="75160" y="1266533"/>
                      <a:pt x="71573" y="1283231"/>
                    </a:cubicBezTo>
                    <a:cubicBezTo>
                      <a:pt x="67986" y="1299929"/>
                      <a:pt x="82416" y="1315267"/>
                      <a:pt x="70377" y="1319473"/>
                    </a:cubicBezTo>
                    <a:cubicBezTo>
                      <a:pt x="58338" y="1323678"/>
                      <a:pt x="75160" y="1348705"/>
                      <a:pt x="58338" y="1351509"/>
                    </a:cubicBezTo>
                    <a:cubicBezTo>
                      <a:pt x="41516" y="1354313"/>
                      <a:pt x="52318" y="1372372"/>
                      <a:pt x="41516" y="1382143"/>
                    </a:cubicBezTo>
                    <a:cubicBezTo>
                      <a:pt x="30714" y="1391915"/>
                      <a:pt x="55947" y="1408613"/>
                      <a:pt x="42670" y="1418343"/>
                    </a:cubicBezTo>
                    <a:cubicBezTo>
                      <a:pt x="29394" y="1428073"/>
                      <a:pt x="39083" y="1450379"/>
                      <a:pt x="25848" y="1450379"/>
                    </a:cubicBezTo>
                    <a:cubicBezTo>
                      <a:pt x="12613" y="1450379"/>
                      <a:pt x="5233" y="1471242"/>
                      <a:pt x="4202" y="1481014"/>
                    </a:cubicBezTo>
                    <a:cubicBezTo>
                      <a:pt x="3172" y="1490785"/>
                      <a:pt x="-5404" y="1510287"/>
                      <a:pt x="5398" y="1524182"/>
                    </a:cubicBezTo>
                    <a:cubicBezTo>
                      <a:pt x="16200" y="1538077"/>
                      <a:pt x="3007" y="1549291"/>
                      <a:pt x="12613" y="1554857"/>
                    </a:cubicBezTo>
                    <a:cubicBezTo>
                      <a:pt x="22220" y="1560424"/>
                      <a:pt x="54710" y="1552054"/>
                      <a:pt x="49721" y="1568752"/>
                    </a:cubicBezTo>
                    <a:cubicBezTo>
                      <a:pt x="44732" y="1585450"/>
                      <a:pt x="46092" y="1621692"/>
                      <a:pt x="52112" y="1621692"/>
                    </a:cubicBezTo>
                    <a:cubicBezTo>
                      <a:pt x="58132" y="1621692"/>
                      <a:pt x="61719" y="1642596"/>
                      <a:pt x="71367" y="1641194"/>
                    </a:cubicBezTo>
                    <a:cubicBezTo>
                      <a:pt x="81015" y="1639792"/>
                      <a:pt x="124265" y="1634226"/>
                      <a:pt x="142324" y="1639792"/>
                    </a:cubicBezTo>
                    <a:cubicBezTo>
                      <a:pt x="150612" y="1642719"/>
                      <a:pt x="158037" y="1647708"/>
                      <a:pt x="163929" y="1654223"/>
                    </a:cubicBezTo>
                    <a:cubicBezTo>
                      <a:pt x="174237" y="1648945"/>
                      <a:pt x="196914" y="1665974"/>
                      <a:pt x="201902" y="1660077"/>
                    </a:cubicBezTo>
                    <a:cubicBezTo>
                      <a:pt x="208128" y="1652862"/>
                      <a:pt x="179679" y="1626103"/>
                      <a:pt x="180586" y="1616868"/>
                    </a:cubicBezTo>
                    <a:cubicBezTo>
                      <a:pt x="181493" y="1607632"/>
                      <a:pt x="176133" y="1592130"/>
                      <a:pt x="176133" y="1581863"/>
                    </a:cubicBezTo>
                    <a:cubicBezTo>
                      <a:pt x="176133" y="1571597"/>
                      <a:pt x="171680" y="1548879"/>
                      <a:pt x="184132" y="1538654"/>
                    </a:cubicBezTo>
                    <a:cubicBezTo>
                      <a:pt x="195264" y="1529460"/>
                      <a:pt x="197202" y="1520306"/>
                      <a:pt x="203222" y="1519976"/>
                    </a:cubicBezTo>
                    <a:cubicBezTo>
                      <a:pt x="210796" y="1509958"/>
                      <a:pt x="219669" y="1500969"/>
                      <a:pt x="229609" y="1493300"/>
                    </a:cubicBezTo>
                    <a:cubicBezTo>
                      <a:pt x="229955" y="1491280"/>
                      <a:pt x="230191" y="1489260"/>
                      <a:pt x="230310" y="1487198"/>
                    </a:cubicBezTo>
                    <a:cubicBezTo>
                      <a:pt x="231093" y="1465346"/>
                      <a:pt x="238886" y="1455574"/>
                      <a:pt x="253028" y="1441433"/>
                    </a:cubicBezTo>
                    <a:cubicBezTo>
                      <a:pt x="255514" y="1438422"/>
                      <a:pt x="258157" y="1435578"/>
                      <a:pt x="260944" y="1432856"/>
                    </a:cubicBezTo>
                    <a:cubicBezTo>
                      <a:pt x="263938" y="1424652"/>
                      <a:pt x="268927" y="1417312"/>
                      <a:pt x="275457" y="1411541"/>
                    </a:cubicBezTo>
                    <a:lnTo>
                      <a:pt x="276117" y="1410551"/>
                    </a:lnTo>
                    <a:cubicBezTo>
                      <a:pt x="275787" y="1410551"/>
                      <a:pt x="276117" y="1410303"/>
                      <a:pt x="276777" y="1409561"/>
                    </a:cubicBezTo>
                    <a:cubicBezTo>
                      <a:pt x="278674" y="1406387"/>
                      <a:pt x="280900" y="1403376"/>
                      <a:pt x="282879" y="1400367"/>
                    </a:cubicBezTo>
                    <a:cubicBezTo>
                      <a:pt x="289196" y="1390925"/>
                      <a:pt x="297025" y="1382555"/>
                      <a:pt x="306050" y="1375628"/>
                    </a:cubicBezTo>
                    <a:cubicBezTo>
                      <a:pt x="308277" y="1364785"/>
                      <a:pt x="312936" y="1351633"/>
                      <a:pt x="312936" y="1345077"/>
                    </a:cubicBezTo>
                    <a:cubicBezTo>
                      <a:pt x="312936" y="1334769"/>
                      <a:pt x="282714" y="1336831"/>
                      <a:pt x="272942" y="1332708"/>
                    </a:cubicBezTo>
                    <a:cubicBezTo>
                      <a:pt x="263171" y="1328585"/>
                      <a:pt x="227589" y="1299724"/>
                      <a:pt x="245401" y="1261750"/>
                    </a:cubicBezTo>
                    <a:cubicBezTo>
                      <a:pt x="251222" y="1248969"/>
                      <a:pt x="260705" y="1238166"/>
                      <a:pt x="272654" y="1230745"/>
                    </a:cubicBezTo>
                    <a:cubicBezTo>
                      <a:pt x="274802" y="1225921"/>
                      <a:pt x="277742" y="1221468"/>
                      <a:pt x="281353" y="1217634"/>
                    </a:cubicBezTo>
                    <a:cubicBezTo>
                      <a:pt x="287740" y="1211160"/>
                      <a:pt x="296036" y="1206914"/>
                      <a:pt x="305020" y="1205553"/>
                    </a:cubicBezTo>
                    <a:cubicBezTo>
                      <a:pt x="309040" y="1201595"/>
                      <a:pt x="313748" y="1198379"/>
                      <a:pt x="318914" y="1196070"/>
                    </a:cubicBezTo>
                    <a:cubicBezTo>
                      <a:pt x="319442" y="1195204"/>
                      <a:pt x="320127" y="1194421"/>
                      <a:pt x="320935" y="1193802"/>
                    </a:cubicBezTo>
                    <a:cubicBezTo>
                      <a:pt x="329799" y="1187659"/>
                      <a:pt x="331613" y="1177310"/>
                      <a:pt x="331613" y="1161931"/>
                    </a:cubicBezTo>
                    <a:cubicBezTo>
                      <a:pt x="331613" y="1144449"/>
                      <a:pt x="331613" y="1116578"/>
                      <a:pt x="347570" y="1114599"/>
                    </a:cubicBezTo>
                    <a:cubicBezTo>
                      <a:pt x="363526" y="1112620"/>
                      <a:pt x="368185" y="1102230"/>
                      <a:pt x="358248" y="1099179"/>
                    </a:cubicBezTo>
                    <a:cubicBezTo>
                      <a:pt x="348312" y="1096127"/>
                      <a:pt x="344024" y="1082686"/>
                      <a:pt x="360021" y="1080625"/>
                    </a:cubicBezTo>
                    <a:cubicBezTo>
                      <a:pt x="376019" y="1078563"/>
                      <a:pt x="370700" y="1096086"/>
                      <a:pt x="382244" y="1096086"/>
                    </a:cubicBezTo>
                    <a:cubicBezTo>
                      <a:pt x="393789" y="1096086"/>
                      <a:pt x="413332" y="1073451"/>
                      <a:pt x="398201" y="1060051"/>
                    </a:cubicBezTo>
                    <a:cubicBezTo>
                      <a:pt x="383069" y="1046651"/>
                      <a:pt x="378657" y="1066235"/>
                      <a:pt x="370700" y="1068297"/>
                    </a:cubicBezTo>
                    <a:cubicBezTo>
                      <a:pt x="362742" y="1070358"/>
                      <a:pt x="356475" y="1055928"/>
                      <a:pt x="348477" y="1055928"/>
                    </a:cubicBezTo>
                    <a:cubicBezTo>
                      <a:pt x="340478" y="1055928"/>
                      <a:pt x="345797" y="1030241"/>
                      <a:pt x="342251" y="1020964"/>
                    </a:cubicBezTo>
                    <a:cubicBezTo>
                      <a:pt x="338705" y="1011687"/>
                      <a:pt x="333386" y="989093"/>
                      <a:pt x="340478" y="977754"/>
                    </a:cubicBezTo>
                    <a:cubicBezTo>
                      <a:pt x="347570" y="966416"/>
                      <a:pt x="377792" y="995236"/>
                      <a:pt x="404426" y="997298"/>
                    </a:cubicBezTo>
                    <a:cubicBezTo>
                      <a:pt x="431061" y="999359"/>
                      <a:pt x="450605" y="981878"/>
                      <a:pt x="450605" y="970539"/>
                    </a:cubicBezTo>
                    <a:cubicBezTo>
                      <a:pt x="450605" y="959201"/>
                      <a:pt x="438236" y="938627"/>
                      <a:pt x="454192" y="926299"/>
                    </a:cubicBezTo>
                    <a:cubicBezTo>
                      <a:pt x="470148" y="913971"/>
                      <a:pt x="456872" y="909807"/>
                      <a:pt x="452419" y="893315"/>
                    </a:cubicBezTo>
                    <a:cubicBezTo>
                      <a:pt x="447966" y="876822"/>
                      <a:pt x="459510" y="866556"/>
                      <a:pt x="466643" y="874802"/>
                    </a:cubicBezTo>
                    <a:cubicBezTo>
                      <a:pt x="471756" y="880739"/>
                      <a:pt x="500658" y="879668"/>
                      <a:pt x="532612" y="874802"/>
                    </a:cubicBezTo>
                    <a:cubicBezTo>
                      <a:pt x="536322" y="871669"/>
                      <a:pt x="540487" y="869112"/>
                      <a:pt x="544981" y="867257"/>
                    </a:cubicBezTo>
                    <a:cubicBezTo>
                      <a:pt x="562463" y="860042"/>
                      <a:pt x="579738" y="852538"/>
                      <a:pt x="596601" y="843797"/>
                    </a:cubicBezTo>
                    <a:cubicBezTo>
                      <a:pt x="608064" y="838272"/>
                      <a:pt x="619072" y="831881"/>
                      <a:pt x="629586" y="824666"/>
                    </a:cubicBezTo>
                    <a:cubicBezTo>
                      <a:pt x="627524" y="826150"/>
                      <a:pt x="633998" y="821573"/>
                      <a:pt x="637543" y="818770"/>
                    </a:cubicBezTo>
                    <a:cubicBezTo>
                      <a:pt x="637626" y="816956"/>
                      <a:pt x="638079" y="815224"/>
                      <a:pt x="638904" y="813616"/>
                    </a:cubicBezTo>
                    <a:cubicBezTo>
                      <a:pt x="640842" y="801165"/>
                      <a:pt x="648263" y="790280"/>
                      <a:pt x="659107" y="783889"/>
                    </a:cubicBezTo>
                    <a:cubicBezTo>
                      <a:pt x="664137" y="781044"/>
                      <a:pt x="669291" y="778529"/>
                      <a:pt x="674445" y="776179"/>
                    </a:cubicBezTo>
                    <a:cubicBezTo>
                      <a:pt x="677248" y="772179"/>
                      <a:pt x="679846" y="768056"/>
                      <a:pt x="682237" y="763810"/>
                    </a:cubicBezTo>
                    <a:cubicBezTo>
                      <a:pt x="688463" y="751440"/>
                      <a:pt x="683144" y="736020"/>
                      <a:pt x="665374" y="732928"/>
                    </a:cubicBezTo>
                    <a:cubicBezTo>
                      <a:pt x="647603" y="729836"/>
                      <a:pt x="648511" y="706169"/>
                      <a:pt x="658282" y="692811"/>
                    </a:cubicBezTo>
                    <a:cubicBezTo>
                      <a:pt x="668054" y="679452"/>
                      <a:pt x="652922" y="667083"/>
                      <a:pt x="636059" y="665022"/>
                    </a:cubicBezTo>
                    <a:cubicBezTo>
                      <a:pt x="619196" y="662960"/>
                      <a:pt x="592520" y="649560"/>
                      <a:pt x="607651" y="633150"/>
                    </a:cubicBezTo>
                    <a:cubicBezTo>
                      <a:pt x="614908" y="625193"/>
                      <a:pt x="618454" y="626760"/>
                      <a:pt x="621999" y="630388"/>
                    </a:cubicBezTo>
                    <a:cubicBezTo>
                      <a:pt x="624556" y="622513"/>
                      <a:pt x="626988" y="613195"/>
                      <a:pt x="624968" y="610927"/>
                    </a:cubicBezTo>
                    <a:cubicBezTo>
                      <a:pt x="621381" y="606804"/>
                      <a:pt x="612599" y="611958"/>
                      <a:pt x="613300" y="582767"/>
                    </a:cubicBezTo>
                    <a:cubicBezTo>
                      <a:pt x="614001" y="553575"/>
                      <a:pt x="623195" y="559843"/>
                      <a:pt x="624102" y="522323"/>
                    </a:cubicBezTo>
                    <a:cubicBezTo>
                      <a:pt x="625009" y="484803"/>
                      <a:pt x="637585" y="462910"/>
                      <a:pt x="637585" y="443078"/>
                    </a:cubicBezTo>
                    <a:cubicBezTo>
                      <a:pt x="637585" y="423246"/>
                      <a:pt x="668178" y="400363"/>
                      <a:pt x="685288" y="368038"/>
                    </a:cubicBezTo>
                    <a:cubicBezTo>
                      <a:pt x="702399" y="335714"/>
                      <a:pt x="739300" y="295061"/>
                      <a:pt x="754597" y="283598"/>
                    </a:cubicBezTo>
                    <a:cubicBezTo>
                      <a:pt x="769893" y="272136"/>
                      <a:pt x="799579" y="262736"/>
                      <a:pt x="803208" y="252346"/>
                    </a:cubicBezTo>
                    <a:cubicBezTo>
                      <a:pt x="806835" y="241956"/>
                      <a:pt x="804279" y="185841"/>
                      <a:pt x="797064" y="181636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</a:lstStyle>
              <a:p>
                <a:pPr marL="0" marR="0" lvl="0" indent="0" algn="l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00" name="Argentina group">
                <a:extLst>
                  <a:ext uri="{FF2B5EF4-FFF2-40B4-BE49-F238E27FC236}">
                    <a16:creationId xmlns:a16="http://schemas.microsoft.com/office/drawing/2014/main" id="{783EBF11-05E7-3F57-CCFE-F188723E0377}"/>
                  </a:ext>
                </a:extLst>
              </p:cNvPr>
              <p:cNvSpPr/>
              <p:nvPr>
                <p:custDataLst>
                  <p:tags r:id="rId473"/>
                </p:custDataLst>
              </p:nvPr>
            </p:nvSpPr>
            <p:spPr>
              <a:xfrm>
                <a:off x="4339363" y="7506791"/>
                <a:ext cx="123035" cy="137494"/>
              </a:xfrm>
              <a:custGeom>
                <a:avLst/>
                <a:gdLst>
                  <a:gd name="connsiteX0" fmla="*/ 112069 w 143666"/>
                  <a:gd name="connsiteY0" fmla="*/ 126986 h 160549"/>
                  <a:gd name="connsiteX1" fmla="*/ 104235 w 143666"/>
                  <a:gd name="connsiteY1" fmla="*/ 125089 h 160549"/>
                  <a:gd name="connsiteX2" fmla="*/ 64984 w 143666"/>
                  <a:gd name="connsiteY2" fmla="*/ 117585 h 160549"/>
                  <a:gd name="connsiteX3" fmla="*/ 28577 w 143666"/>
                  <a:gd name="connsiteY3" fmla="*/ 66253 h 160549"/>
                  <a:gd name="connsiteX4" fmla="*/ 27093 w 143666"/>
                  <a:gd name="connsiteY4" fmla="*/ 58378 h 160549"/>
                  <a:gd name="connsiteX5" fmla="*/ 13446 w 143666"/>
                  <a:gd name="connsiteY5" fmla="*/ 44731 h 160549"/>
                  <a:gd name="connsiteX6" fmla="*/ 16992 w 143666"/>
                  <a:gd name="connsiteY6" fmla="*/ 25146 h 160549"/>
                  <a:gd name="connsiteX7" fmla="*/ 2973 w 143666"/>
                  <a:gd name="connsiteY7" fmla="*/ -4 h 160549"/>
                  <a:gd name="connsiteX8" fmla="*/ 3221 w 143666"/>
                  <a:gd name="connsiteY8" fmla="*/ 152837 h 160549"/>
                  <a:gd name="connsiteX9" fmla="*/ 70715 w 143666"/>
                  <a:gd name="connsiteY9" fmla="*/ 156960 h 160549"/>
                  <a:gd name="connsiteX10" fmla="*/ 88939 w 143666"/>
                  <a:gd name="connsiteY10" fmla="*/ 156960 h 160549"/>
                  <a:gd name="connsiteX11" fmla="*/ 138704 w 143666"/>
                  <a:gd name="connsiteY11" fmla="*/ 141540 h 160549"/>
                  <a:gd name="connsiteX12" fmla="*/ 112069 w 143666"/>
                  <a:gd name="connsiteY12" fmla="*/ 126986 h 160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43666" h="160549">
                    <a:moveTo>
                      <a:pt x="112069" y="126986"/>
                    </a:moveTo>
                    <a:cubicBezTo>
                      <a:pt x="109373" y="126779"/>
                      <a:pt x="106726" y="126120"/>
                      <a:pt x="104235" y="125089"/>
                    </a:cubicBezTo>
                    <a:cubicBezTo>
                      <a:pt x="90679" y="128222"/>
                      <a:pt x="76430" y="125502"/>
                      <a:pt x="64984" y="117585"/>
                    </a:cubicBezTo>
                    <a:cubicBezTo>
                      <a:pt x="47523" y="104968"/>
                      <a:pt x="34725" y="86909"/>
                      <a:pt x="28577" y="66253"/>
                    </a:cubicBezTo>
                    <a:cubicBezTo>
                      <a:pt x="27852" y="63697"/>
                      <a:pt x="27353" y="61058"/>
                      <a:pt x="27093" y="58378"/>
                    </a:cubicBezTo>
                    <a:cubicBezTo>
                      <a:pt x="22723" y="49307"/>
                      <a:pt x="25939" y="42298"/>
                      <a:pt x="13446" y="44731"/>
                    </a:cubicBezTo>
                    <a:cubicBezTo>
                      <a:pt x="-2552" y="47782"/>
                      <a:pt x="8127" y="30300"/>
                      <a:pt x="16992" y="25146"/>
                    </a:cubicBezTo>
                    <a:cubicBezTo>
                      <a:pt x="25238" y="20405"/>
                      <a:pt x="13817" y="2841"/>
                      <a:pt x="2973" y="-4"/>
                    </a:cubicBezTo>
                    <a:cubicBezTo>
                      <a:pt x="1778" y="27620"/>
                      <a:pt x="-3211" y="151642"/>
                      <a:pt x="3221" y="152837"/>
                    </a:cubicBezTo>
                    <a:cubicBezTo>
                      <a:pt x="9652" y="154033"/>
                      <a:pt x="56820" y="146446"/>
                      <a:pt x="70715" y="156960"/>
                    </a:cubicBezTo>
                    <a:cubicBezTo>
                      <a:pt x="76075" y="158939"/>
                      <a:pt x="83373" y="163928"/>
                      <a:pt x="88939" y="156960"/>
                    </a:cubicBezTo>
                    <a:cubicBezTo>
                      <a:pt x="97845" y="145663"/>
                      <a:pt x="124479" y="151847"/>
                      <a:pt x="138704" y="141540"/>
                    </a:cubicBezTo>
                    <a:cubicBezTo>
                      <a:pt x="152928" y="131232"/>
                      <a:pt x="134251" y="128058"/>
                      <a:pt x="112069" y="126986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</a:lstStyle>
              <a:p>
                <a:pPr marL="0" marR="0" lvl="0" indent="0" algn="l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101" name="pole tekstowe 285">
              <a:extLst>
                <a:ext uri="{FF2B5EF4-FFF2-40B4-BE49-F238E27FC236}">
                  <a16:creationId xmlns:a16="http://schemas.microsoft.com/office/drawing/2014/main" id="{9CB43378-AFA1-AE3C-50C1-5081F337C9EF}"/>
                </a:ext>
              </a:extLst>
            </p:cNvPr>
            <p:cNvSpPr txBox="1"/>
            <p:nvPr>
              <p:custDataLst>
                <p:tags r:id="rId178"/>
              </p:custDataLst>
            </p:nvPr>
          </p:nvSpPr>
          <p:spPr>
            <a:xfrm rot="3313947">
              <a:off x="2908914" y="4623996"/>
              <a:ext cx="514564" cy="107722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700" kern="1200" spc="3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700" b="0" i="0" spc="300" normalizeH="0" noProof="0">
                  <a:solidFill>
                    <a:srgbClr val="FFFFFF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kumimoji="0" lang="en-US" sz="700" b="0" i="0" u="none" strike="noStrike" kern="1200" cap="none" spc="30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Mexico</a:t>
              </a:r>
            </a:p>
          </p:txBody>
        </p:sp>
        <p:sp>
          <p:nvSpPr>
            <p:cNvPr id="102" name="pole tekstowe 307">
              <a:extLst>
                <a:ext uri="{FF2B5EF4-FFF2-40B4-BE49-F238E27FC236}">
                  <a16:creationId xmlns:a16="http://schemas.microsoft.com/office/drawing/2014/main" id="{76D72919-C3FC-128A-F712-70197BB0EB16}"/>
                </a:ext>
              </a:extLst>
            </p:cNvPr>
            <p:cNvSpPr txBox="1"/>
            <p:nvPr>
              <p:custDataLst>
                <p:tags r:id="rId179"/>
              </p:custDataLst>
            </p:nvPr>
          </p:nvSpPr>
          <p:spPr>
            <a:xfrm>
              <a:off x="2627017" y="3030295"/>
              <a:ext cx="543418" cy="107722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700" kern="1200" spc="3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700" b="0" i="0" spc="300" normalizeH="0" noProof="0">
                  <a:solidFill>
                    <a:srgbClr val="FFFFFF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kumimoji="0" lang="en-US" sz="700" b="0" i="0" u="none" strike="noStrike" kern="1200" cap="none" spc="30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Canada</a:t>
              </a:r>
            </a:p>
          </p:txBody>
        </p:sp>
        <p:sp>
          <p:nvSpPr>
            <p:cNvPr id="103" name="pole tekstowe 312">
              <a:extLst>
                <a:ext uri="{FF2B5EF4-FFF2-40B4-BE49-F238E27FC236}">
                  <a16:creationId xmlns:a16="http://schemas.microsoft.com/office/drawing/2014/main" id="{A52993A5-05BB-5658-116E-AD03CEC1E80F}"/>
                </a:ext>
              </a:extLst>
            </p:cNvPr>
            <p:cNvSpPr txBox="1"/>
            <p:nvPr>
              <p:custDataLst>
                <p:tags r:id="rId180"/>
              </p:custDataLst>
            </p:nvPr>
          </p:nvSpPr>
          <p:spPr>
            <a:xfrm>
              <a:off x="1460327" y="2551890"/>
              <a:ext cx="298159" cy="107722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kumimoji="0" lang="en-US" sz="700" b="0" i="0" u="none" strike="noStrike" kern="1200" cap="none" spc="30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USA</a:t>
              </a:r>
            </a:p>
          </p:txBody>
        </p:sp>
        <p:sp>
          <p:nvSpPr>
            <p:cNvPr id="104" name="pole tekstowe 287">
              <a:extLst>
                <a:ext uri="{FF2B5EF4-FFF2-40B4-BE49-F238E27FC236}">
                  <a16:creationId xmlns:a16="http://schemas.microsoft.com/office/drawing/2014/main" id="{711C7CA8-28EF-73E0-38CE-89E0CD37459E}"/>
                </a:ext>
              </a:extLst>
            </p:cNvPr>
            <p:cNvSpPr txBox="1"/>
            <p:nvPr>
              <p:custDataLst>
                <p:tags r:id="rId181"/>
              </p:custDataLst>
            </p:nvPr>
          </p:nvSpPr>
          <p:spPr>
            <a:xfrm>
              <a:off x="3893181" y="7150451"/>
              <a:ext cx="201978" cy="107722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Chile</a:t>
              </a:r>
            </a:p>
          </p:txBody>
        </p:sp>
        <p:sp>
          <p:nvSpPr>
            <p:cNvPr id="105" name="pole tekstowe 287">
              <a:extLst>
                <a:ext uri="{FF2B5EF4-FFF2-40B4-BE49-F238E27FC236}">
                  <a16:creationId xmlns:a16="http://schemas.microsoft.com/office/drawing/2014/main" id="{03A11124-BA27-E2D8-79BE-4B4BFDDB6C67}"/>
                </a:ext>
              </a:extLst>
            </p:cNvPr>
            <p:cNvSpPr txBox="1"/>
            <p:nvPr>
              <p:custDataLst>
                <p:tags r:id="rId182"/>
              </p:custDataLst>
            </p:nvPr>
          </p:nvSpPr>
          <p:spPr>
            <a:xfrm>
              <a:off x="3849132" y="6128388"/>
              <a:ext cx="189154" cy="107722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Peru</a:t>
              </a:r>
            </a:p>
          </p:txBody>
        </p:sp>
        <p:sp>
          <p:nvSpPr>
            <p:cNvPr id="106" name="pole tekstowe 287">
              <a:extLst>
                <a:ext uri="{FF2B5EF4-FFF2-40B4-BE49-F238E27FC236}">
                  <a16:creationId xmlns:a16="http://schemas.microsoft.com/office/drawing/2014/main" id="{CCF1AC27-6EA5-23A8-0CA2-A1F5445AE1DA}"/>
                </a:ext>
              </a:extLst>
            </p:cNvPr>
            <p:cNvSpPr txBox="1"/>
            <p:nvPr>
              <p:custDataLst>
                <p:tags r:id="rId183"/>
              </p:custDataLst>
            </p:nvPr>
          </p:nvSpPr>
          <p:spPr>
            <a:xfrm>
              <a:off x="3625533" y="5441726"/>
              <a:ext cx="376706" cy="107722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Colombia</a:t>
              </a:r>
            </a:p>
          </p:txBody>
        </p:sp>
        <p:sp>
          <p:nvSpPr>
            <p:cNvPr id="107" name="pole tekstowe 287">
              <a:extLst>
                <a:ext uri="{FF2B5EF4-FFF2-40B4-BE49-F238E27FC236}">
                  <a16:creationId xmlns:a16="http://schemas.microsoft.com/office/drawing/2014/main" id="{4CE3DFFE-9270-553D-A938-6ECE64BD3A8E}"/>
                </a:ext>
              </a:extLst>
            </p:cNvPr>
            <p:cNvSpPr txBox="1"/>
            <p:nvPr>
              <p:custDataLst>
                <p:tags r:id="rId184"/>
              </p:custDataLst>
            </p:nvPr>
          </p:nvSpPr>
          <p:spPr>
            <a:xfrm>
              <a:off x="3558959" y="5307841"/>
              <a:ext cx="333425" cy="107722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Panama</a:t>
              </a:r>
            </a:p>
          </p:txBody>
        </p:sp>
        <p:grpSp>
          <p:nvGrpSpPr>
            <p:cNvPr id="108" name="Group 107">
              <a:extLst>
                <a:ext uri="{FF2B5EF4-FFF2-40B4-BE49-F238E27FC236}">
                  <a16:creationId xmlns:a16="http://schemas.microsoft.com/office/drawing/2014/main" id="{28E719E1-3257-F711-929D-63B0EB808400}"/>
                </a:ext>
              </a:extLst>
            </p:cNvPr>
            <p:cNvGrpSpPr/>
            <p:nvPr>
              <p:custDataLst>
                <p:tags r:id="rId185"/>
              </p:custDataLst>
            </p:nvPr>
          </p:nvGrpSpPr>
          <p:grpSpPr>
            <a:xfrm>
              <a:off x="2587560" y="3630101"/>
              <a:ext cx="601592" cy="601596"/>
              <a:chOff x="561109" y="1845051"/>
              <a:chExt cx="547744" cy="547744"/>
            </a:xfrm>
          </p:grpSpPr>
          <p:sp>
            <p:nvSpPr>
              <p:cNvPr id="109" name="Oval 108">
                <a:extLst>
                  <a:ext uri="{FF2B5EF4-FFF2-40B4-BE49-F238E27FC236}">
                    <a16:creationId xmlns:a16="http://schemas.microsoft.com/office/drawing/2014/main" id="{52179C11-09F0-744B-FE14-FACD75DCD33E}"/>
                  </a:ext>
                </a:extLst>
              </p:cNvPr>
              <p:cNvSpPr/>
              <p:nvPr>
                <p:custDataLst>
                  <p:tags r:id="rId470"/>
                </p:custDataLst>
              </p:nvPr>
            </p:nvSpPr>
            <p:spPr>
              <a:xfrm>
                <a:off x="561109" y="1845051"/>
                <a:ext cx="547744" cy="547744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1pPr>
                <a:lvl2pPr marL="5486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2pPr>
                <a:lvl3pPr marL="10972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3pPr>
                <a:lvl4pPr marL="16459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4pPr>
                <a:lvl5pPr marL="219456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5pPr>
                <a:lvl6pPr marL="274320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6pPr>
                <a:lvl7pPr marL="32918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7pPr>
                <a:lvl8pPr marL="38404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8pPr>
                <a:lvl9pPr marL="43891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9pPr>
              </a:lstStyle>
              <a:p>
                <a:pPr marL="0" marR="0" lvl="0" indent="0" algn="ctr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cap="none" spc="0" normalizeH="0" baseline="0" noProof="0">
                    <a:solidFill>
                      <a:srgbClr val="FFFFFF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  <a:sym typeface="Wingdings" charset="2"/>
                </a:endParaRPr>
              </a:p>
            </p:txBody>
          </p:sp>
          <p:sp>
            <p:nvSpPr>
              <p:cNvPr id="110" name="TextBox 109">
                <a:extLst>
                  <a:ext uri="{FF2B5EF4-FFF2-40B4-BE49-F238E27FC236}">
                    <a16:creationId xmlns:a16="http://schemas.microsoft.com/office/drawing/2014/main" id="{44E27789-6705-BCA4-1E9A-326B1A6D0604}"/>
                  </a:ext>
                </a:extLst>
              </p:cNvPr>
              <p:cNvSpPr txBox="1"/>
              <p:nvPr>
                <p:custDataLst>
                  <p:tags r:id="rId471"/>
                </p:custDataLst>
              </p:nvPr>
            </p:nvSpPr>
            <p:spPr>
              <a:xfrm>
                <a:off x="617486" y="2029513"/>
                <a:ext cx="432310" cy="2353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</a:lstStyle>
              <a:p>
                <a:pPr marL="0" marR="0" lvl="0" indent="0" algn="ctr" defTabSz="1462923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40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r>
                  <a:rPr lang="en-US" sz="1200" dirty="0">
                    <a:solidFill>
                      <a:srgbClr val="FFFFFF"/>
                    </a:solidFill>
                    <a:latin typeface="Arial" pitchFamily="34" charset="0"/>
                    <a:cs typeface="Arial" pitchFamily="34" charset="0"/>
                  </a:rPr>
                  <a:t>9.9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rPr>
                  <a:t>k</a:t>
                </a:r>
              </a:p>
            </p:txBody>
          </p:sp>
        </p:grpSp>
        <p:sp>
          <p:nvSpPr>
            <p:cNvPr id="111" name="pole tekstowe 287">
              <a:extLst>
                <a:ext uri="{FF2B5EF4-FFF2-40B4-BE49-F238E27FC236}">
                  <a16:creationId xmlns:a16="http://schemas.microsoft.com/office/drawing/2014/main" id="{25B013B4-C026-DF2E-779B-C9EE7BD659D4}"/>
                </a:ext>
              </a:extLst>
            </p:cNvPr>
            <p:cNvSpPr txBox="1"/>
            <p:nvPr>
              <p:custDataLst>
                <p:tags r:id="rId186"/>
              </p:custDataLst>
            </p:nvPr>
          </p:nvSpPr>
          <p:spPr>
            <a:xfrm>
              <a:off x="3384871" y="4011250"/>
              <a:ext cx="298159" cy="107722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700" kern="1200" spc="3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700" b="0" i="0" spc="300" normalizeH="0" noProof="0">
                  <a:solidFill>
                    <a:srgbClr val="FFFFFF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kumimoji="0" lang="en-US" sz="700" b="0" i="0" u="none" strike="noStrike" kern="1200" cap="none" spc="30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USA</a:t>
              </a:r>
            </a:p>
          </p:txBody>
        </p:sp>
        <p:grpSp>
          <p:nvGrpSpPr>
            <p:cNvPr id="112" name="Group 111">
              <a:extLst>
                <a:ext uri="{FF2B5EF4-FFF2-40B4-BE49-F238E27FC236}">
                  <a16:creationId xmlns:a16="http://schemas.microsoft.com/office/drawing/2014/main" id="{D786B92A-A35C-E348-A588-6F2FC60CEDC9}"/>
                </a:ext>
              </a:extLst>
            </p:cNvPr>
            <p:cNvGrpSpPr/>
            <p:nvPr>
              <p:custDataLst>
                <p:tags r:id="rId187"/>
              </p:custDataLst>
            </p:nvPr>
          </p:nvGrpSpPr>
          <p:grpSpPr>
            <a:xfrm>
              <a:off x="4601088" y="5737701"/>
              <a:ext cx="466282" cy="428470"/>
              <a:chOff x="561107" y="1845054"/>
              <a:chExt cx="596077" cy="547742"/>
            </a:xfrm>
          </p:grpSpPr>
          <p:sp>
            <p:nvSpPr>
              <p:cNvPr id="113" name="Oval 112">
                <a:extLst>
                  <a:ext uri="{FF2B5EF4-FFF2-40B4-BE49-F238E27FC236}">
                    <a16:creationId xmlns:a16="http://schemas.microsoft.com/office/drawing/2014/main" id="{D90477DC-1365-B184-2DA2-44EBD1338747}"/>
                  </a:ext>
                </a:extLst>
              </p:cNvPr>
              <p:cNvSpPr/>
              <p:nvPr>
                <p:custDataLst>
                  <p:tags r:id="rId468"/>
                </p:custDataLst>
              </p:nvPr>
            </p:nvSpPr>
            <p:spPr>
              <a:xfrm>
                <a:off x="561107" y="1845054"/>
                <a:ext cx="547744" cy="547742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1pPr>
                <a:lvl2pPr marL="5486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2pPr>
                <a:lvl3pPr marL="10972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3pPr>
                <a:lvl4pPr marL="16459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4pPr>
                <a:lvl5pPr marL="219456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5pPr>
                <a:lvl6pPr marL="274320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6pPr>
                <a:lvl7pPr marL="32918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7pPr>
                <a:lvl8pPr marL="38404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8pPr>
                <a:lvl9pPr marL="43891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9pPr>
              </a:lstStyle>
              <a:p>
                <a:pPr marL="0" marR="0" lvl="0" indent="0" algn="ctr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cap="none" spc="0" normalizeH="0" baseline="0" noProof="0">
                    <a:solidFill>
                      <a:srgbClr val="FFFFFF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  <a:sym typeface="Wingdings" charset="2"/>
                </a:endParaRPr>
              </a:p>
            </p:txBody>
          </p:sp>
          <p:sp>
            <p:nvSpPr>
              <p:cNvPr id="114" name="TextBox 113">
                <a:extLst>
                  <a:ext uri="{FF2B5EF4-FFF2-40B4-BE49-F238E27FC236}">
                    <a16:creationId xmlns:a16="http://schemas.microsoft.com/office/drawing/2014/main" id="{18431A8F-26A7-4B4C-5F6A-E98FC408E84F}"/>
                  </a:ext>
                </a:extLst>
              </p:cNvPr>
              <p:cNvSpPr txBox="1"/>
              <p:nvPr>
                <p:custDataLst>
                  <p:tags r:id="rId469"/>
                </p:custDataLst>
              </p:nvPr>
            </p:nvSpPr>
            <p:spPr>
              <a:xfrm>
                <a:off x="595288" y="1977130"/>
                <a:ext cx="561896" cy="30394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</a:lstStyle>
              <a:p>
                <a:pPr marL="0" marR="0" lvl="0" indent="0" algn="ctr" defTabSz="1462923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40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r>
                  <a:rPr lang="ru-RU" sz="1050" dirty="0">
                    <a:solidFill>
                      <a:srgbClr val="FFFFFF"/>
                    </a:solidFill>
                    <a:latin typeface="Arial" pitchFamily="34" charset="0"/>
                    <a:cs typeface="Arial" pitchFamily="34" charset="0"/>
                  </a:rPr>
                  <a:t>2.</a:t>
                </a:r>
                <a:r>
                  <a:rPr lang="en-US" sz="1050" dirty="0">
                    <a:solidFill>
                      <a:srgbClr val="FFFFFF"/>
                    </a:solidFill>
                    <a:latin typeface="Arial" pitchFamily="34" charset="0"/>
                    <a:cs typeface="Arial" pitchFamily="34" charset="0"/>
                  </a:rPr>
                  <a:t>7</a:t>
                </a:r>
                <a:r>
                  <a:rPr kumimoji="0" lang="en-US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rPr>
                  <a:t>k</a:t>
                </a:r>
              </a:p>
            </p:txBody>
          </p:sp>
        </p:grpSp>
        <p:sp>
          <p:nvSpPr>
            <p:cNvPr id="115" name="pole tekstowe 287">
              <a:extLst>
                <a:ext uri="{FF2B5EF4-FFF2-40B4-BE49-F238E27FC236}">
                  <a16:creationId xmlns:a16="http://schemas.microsoft.com/office/drawing/2014/main" id="{8B1BD862-2850-D42C-23F9-A4DC450A3F2D}"/>
                </a:ext>
              </a:extLst>
            </p:cNvPr>
            <p:cNvSpPr txBox="1"/>
            <p:nvPr>
              <p:custDataLst>
                <p:tags r:id="rId188"/>
              </p:custDataLst>
            </p:nvPr>
          </p:nvSpPr>
          <p:spPr>
            <a:xfrm>
              <a:off x="4801067" y="6052014"/>
              <a:ext cx="453650" cy="107722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kumimoji="0" lang="en-US" sz="700" b="0" i="0" u="none" strike="noStrike" kern="1200" cap="none" spc="30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Brazil</a:t>
              </a: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81B45069-B45C-6FBA-C349-E8222A2906D4}"/>
                </a:ext>
              </a:extLst>
            </p:cNvPr>
            <p:cNvGrpSpPr/>
            <p:nvPr>
              <p:custDataLst>
                <p:tags r:id="rId189"/>
              </p:custDataLst>
            </p:nvPr>
          </p:nvGrpSpPr>
          <p:grpSpPr>
            <a:xfrm>
              <a:off x="4307113" y="6675629"/>
              <a:ext cx="317839" cy="317839"/>
              <a:chOff x="561108" y="1845053"/>
              <a:chExt cx="547744" cy="547744"/>
            </a:xfrm>
          </p:grpSpPr>
          <p:sp>
            <p:nvSpPr>
              <p:cNvPr id="117" name="Oval 116">
                <a:extLst>
                  <a:ext uri="{FF2B5EF4-FFF2-40B4-BE49-F238E27FC236}">
                    <a16:creationId xmlns:a16="http://schemas.microsoft.com/office/drawing/2014/main" id="{6DBADD8A-9F22-794D-2F64-82CC2FBB16C7}"/>
                  </a:ext>
                </a:extLst>
              </p:cNvPr>
              <p:cNvSpPr/>
              <p:nvPr>
                <p:custDataLst>
                  <p:tags r:id="rId466"/>
                </p:custDataLst>
              </p:nvPr>
            </p:nvSpPr>
            <p:spPr>
              <a:xfrm>
                <a:off x="561108" y="1845053"/>
                <a:ext cx="547744" cy="547744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1pPr>
                <a:lvl2pPr marL="5486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2pPr>
                <a:lvl3pPr marL="10972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3pPr>
                <a:lvl4pPr marL="16459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4pPr>
                <a:lvl5pPr marL="219456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5pPr>
                <a:lvl6pPr marL="274320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6pPr>
                <a:lvl7pPr marL="32918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7pPr>
                <a:lvl8pPr marL="38404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8pPr>
                <a:lvl9pPr marL="43891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9pPr>
              </a:lstStyle>
              <a:p>
                <a:pPr marL="0" marR="0" lvl="0" indent="0" algn="ctr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cap="none" spc="0" normalizeH="0" baseline="0" noProof="0">
                    <a:solidFill>
                      <a:srgbClr val="FFFFFF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  <a:sym typeface="Wingdings" charset="2"/>
                </a:endParaRPr>
              </a:p>
            </p:txBody>
          </p:sp>
          <p:sp>
            <p:nvSpPr>
              <p:cNvPr id="118" name="TextBox 117">
                <a:extLst>
                  <a:ext uri="{FF2B5EF4-FFF2-40B4-BE49-F238E27FC236}">
                    <a16:creationId xmlns:a16="http://schemas.microsoft.com/office/drawing/2014/main" id="{6F34D1A0-E159-F075-AA14-0F971DA05217}"/>
                  </a:ext>
                </a:extLst>
              </p:cNvPr>
              <p:cNvSpPr txBox="1"/>
              <p:nvPr>
                <p:custDataLst>
                  <p:tags r:id="rId467"/>
                </p:custDataLst>
              </p:nvPr>
            </p:nvSpPr>
            <p:spPr>
              <a:xfrm>
                <a:off x="674464" y="1943480"/>
                <a:ext cx="318352" cy="40973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</a:lstStyle>
              <a:p>
                <a:pPr marL="0" marR="0" lvl="0" indent="0" algn="ctr" defTabSz="1462923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40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119" name="pole tekstowe 287">
              <a:extLst>
                <a:ext uri="{FF2B5EF4-FFF2-40B4-BE49-F238E27FC236}">
                  <a16:creationId xmlns:a16="http://schemas.microsoft.com/office/drawing/2014/main" id="{11F57603-76A3-9973-15F1-08F0B549F054}"/>
                </a:ext>
              </a:extLst>
            </p:cNvPr>
            <p:cNvSpPr txBox="1"/>
            <p:nvPr>
              <p:custDataLst>
                <p:tags r:id="rId190"/>
              </p:custDataLst>
            </p:nvPr>
          </p:nvSpPr>
          <p:spPr>
            <a:xfrm rot="18313452">
              <a:off x="4133228" y="7050146"/>
              <a:ext cx="729367" cy="107722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700" kern="1200" spc="3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700" b="0" i="0" spc="300" normalizeH="0" noProof="0">
                  <a:solidFill>
                    <a:srgbClr val="FFFFFF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kumimoji="0" lang="en-US" sz="700" b="0" i="0" u="none" strike="noStrike" kern="1200" cap="none" spc="30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Argentina</a:t>
              </a:r>
            </a:p>
          </p:txBody>
        </p:sp>
        <p:grpSp>
          <p:nvGrpSpPr>
            <p:cNvPr id="120" name="Group 119">
              <a:extLst>
                <a:ext uri="{FF2B5EF4-FFF2-40B4-BE49-F238E27FC236}">
                  <a16:creationId xmlns:a16="http://schemas.microsoft.com/office/drawing/2014/main" id="{C14F55CE-B962-CEDC-606E-720EABD0E7D8}"/>
                </a:ext>
              </a:extLst>
            </p:cNvPr>
            <p:cNvGrpSpPr/>
            <p:nvPr>
              <p:custDataLst>
                <p:tags r:id="rId191"/>
              </p:custDataLst>
            </p:nvPr>
          </p:nvGrpSpPr>
          <p:grpSpPr>
            <a:xfrm>
              <a:off x="3501601" y="4875416"/>
              <a:ext cx="402675" cy="343267"/>
              <a:chOff x="512273" y="1845054"/>
              <a:chExt cx="642538" cy="547744"/>
            </a:xfrm>
          </p:grpSpPr>
          <p:sp>
            <p:nvSpPr>
              <p:cNvPr id="121" name="Oval 120">
                <a:extLst>
                  <a:ext uri="{FF2B5EF4-FFF2-40B4-BE49-F238E27FC236}">
                    <a16:creationId xmlns:a16="http://schemas.microsoft.com/office/drawing/2014/main" id="{F13AEBD5-7CEC-84B4-87D7-2173D46026B2}"/>
                  </a:ext>
                </a:extLst>
              </p:cNvPr>
              <p:cNvSpPr/>
              <p:nvPr>
                <p:custDataLst>
                  <p:tags r:id="rId464"/>
                </p:custDataLst>
              </p:nvPr>
            </p:nvSpPr>
            <p:spPr>
              <a:xfrm>
                <a:off x="561107" y="1845054"/>
                <a:ext cx="547742" cy="547744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1pPr>
                <a:lvl2pPr marL="5486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2pPr>
                <a:lvl3pPr marL="10972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3pPr>
                <a:lvl4pPr marL="16459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4pPr>
                <a:lvl5pPr marL="219456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5pPr>
                <a:lvl6pPr marL="274320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6pPr>
                <a:lvl7pPr marL="32918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7pPr>
                <a:lvl8pPr marL="38404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8pPr>
                <a:lvl9pPr marL="43891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9pPr>
              </a:lstStyle>
              <a:p>
                <a:pPr marL="0" marR="0" lvl="0" indent="0" algn="ctr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cap="none" spc="0" normalizeH="0" baseline="0" noProof="0">
                    <a:solidFill>
                      <a:srgbClr val="FFFFFF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  <a:sym typeface="Wingdings" charset="2"/>
                </a:endParaRPr>
              </a:p>
            </p:txBody>
          </p:sp>
          <p:sp>
            <p:nvSpPr>
              <p:cNvPr id="122" name="TextBox 121">
                <a:extLst>
                  <a:ext uri="{FF2B5EF4-FFF2-40B4-BE49-F238E27FC236}">
                    <a16:creationId xmlns:a16="http://schemas.microsoft.com/office/drawing/2014/main" id="{C44C28F7-D85A-AE42-5581-D2001C2FFFA7}"/>
                  </a:ext>
                </a:extLst>
              </p:cNvPr>
              <p:cNvSpPr txBox="1"/>
              <p:nvPr>
                <p:custDataLst>
                  <p:tags r:id="rId465"/>
                </p:custDataLst>
              </p:nvPr>
            </p:nvSpPr>
            <p:spPr>
              <a:xfrm>
                <a:off x="512273" y="1888608"/>
                <a:ext cx="642538" cy="34623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</a:lstStyle>
              <a:p>
                <a:pPr marL="0" marR="0" lvl="0" indent="0" algn="ctr" defTabSz="1462923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40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rPr>
                  <a:t>1.1k</a:t>
                </a:r>
              </a:p>
            </p:txBody>
          </p:sp>
        </p:grpSp>
        <p:grpSp>
          <p:nvGrpSpPr>
            <p:cNvPr id="123" name="Group 122">
              <a:extLst>
                <a:ext uri="{FF2B5EF4-FFF2-40B4-BE49-F238E27FC236}">
                  <a16:creationId xmlns:a16="http://schemas.microsoft.com/office/drawing/2014/main" id="{7D1C4238-6434-CB5A-8F55-DBA3297E8013}"/>
                </a:ext>
              </a:extLst>
            </p:cNvPr>
            <p:cNvGrpSpPr/>
            <p:nvPr>
              <p:custDataLst>
                <p:tags r:id="rId192"/>
              </p:custDataLst>
            </p:nvPr>
          </p:nvGrpSpPr>
          <p:grpSpPr>
            <a:xfrm>
              <a:off x="2633694" y="4529535"/>
              <a:ext cx="502062" cy="380991"/>
              <a:chOff x="440370" y="1845054"/>
              <a:chExt cx="801129" cy="607939"/>
            </a:xfrm>
          </p:grpSpPr>
          <p:sp>
            <p:nvSpPr>
              <p:cNvPr id="124" name="Oval 123">
                <a:extLst>
                  <a:ext uri="{FF2B5EF4-FFF2-40B4-BE49-F238E27FC236}">
                    <a16:creationId xmlns:a16="http://schemas.microsoft.com/office/drawing/2014/main" id="{B85D331F-18B2-1864-6E6C-9B69FE46C5F3}"/>
                  </a:ext>
                </a:extLst>
              </p:cNvPr>
              <p:cNvSpPr/>
              <p:nvPr>
                <p:custDataLst>
                  <p:tags r:id="rId462"/>
                </p:custDataLst>
              </p:nvPr>
            </p:nvSpPr>
            <p:spPr>
              <a:xfrm>
                <a:off x="496230" y="1845054"/>
                <a:ext cx="612619" cy="607939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1pPr>
                <a:lvl2pPr marL="5486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2pPr>
                <a:lvl3pPr marL="10972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3pPr>
                <a:lvl4pPr marL="16459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4pPr>
                <a:lvl5pPr marL="219456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5pPr>
                <a:lvl6pPr marL="274320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6pPr>
                <a:lvl7pPr marL="32918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7pPr>
                <a:lvl8pPr marL="38404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8pPr>
                <a:lvl9pPr marL="43891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9pPr>
              </a:lstStyle>
              <a:p>
                <a:pPr marL="0" marR="0" lvl="0" indent="0" algn="ctr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cap="none" spc="0" normalizeH="0" baseline="0" noProof="0">
                    <a:solidFill>
                      <a:srgbClr val="FFFFFF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  <a:sym typeface="Wingdings" charset="2"/>
                </a:endParaRPr>
              </a:p>
            </p:txBody>
          </p:sp>
          <p:sp>
            <p:nvSpPr>
              <p:cNvPr id="125" name="TextBox 124">
                <a:extLst>
                  <a:ext uri="{FF2B5EF4-FFF2-40B4-BE49-F238E27FC236}">
                    <a16:creationId xmlns:a16="http://schemas.microsoft.com/office/drawing/2014/main" id="{CB5A1FD3-2BE8-87A4-0501-01479A906680}"/>
                  </a:ext>
                </a:extLst>
              </p:cNvPr>
              <p:cNvSpPr txBox="1"/>
              <p:nvPr>
                <p:custDataLst>
                  <p:tags r:id="rId463"/>
                </p:custDataLst>
              </p:nvPr>
            </p:nvSpPr>
            <p:spPr>
              <a:xfrm>
                <a:off x="440370" y="1962997"/>
                <a:ext cx="801129" cy="34623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</a:lstStyle>
              <a:p>
                <a:pPr marL="0" marR="0" lvl="0" indent="0" algn="ctr" defTabSz="1462923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40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r>
                  <a:rPr kumimoji="0" lang="en-US" sz="900" b="0" i="0" normalizeH="0" noProof="0">
                    <a:solidFill>
                      <a:srgbClr val="FFFFFF"/>
                    </a:solidFill>
                    <a:uLnTx/>
                    <a:uFillTx/>
                    <a:latin typeface="Arial" pitchFamily="34" charset="0"/>
                    <a:cs typeface="Arial" pitchFamily="34" charset="0"/>
                  </a:rPr>
                  <a:t>1.6</a:t>
                </a:r>
                <a:r>
                  <a:rPr kumimoji="0" 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rPr>
                  <a:t>k</a:t>
                </a:r>
              </a:p>
            </p:txBody>
          </p:sp>
        </p:grpSp>
        <p:grpSp>
          <p:nvGrpSpPr>
            <p:cNvPr id="126" name="Group 125">
              <a:extLst>
                <a:ext uri="{FF2B5EF4-FFF2-40B4-BE49-F238E27FC236}">
                  <a16:creationId xmlns:a16="http://schemas.microsoft.com/office/drawing/2014/main" id="{560B862F-2649-67A1-D15E-8810EE2EF903}"/>
                </a:ext>
              </a:extLst>
            </p:cNvPr>
            <p:cNvGrpSpPr/>
            <p:nvPr>
              <p:custDataLst>
                <p:tags r:id="rId193"/>
              </p:custDataLst>
            </p:nvPr>
          </p:nvGrpSpPr>
          <p:grpSpPr>
            <a:xfrm>
              <a:off x="2166512" y="2581876"/>
              <a:ext cx="439544" cy="382498"/>
              <a:chOff x="472069" y="1782453"/>
              <a:chExt cx="701369" cy="610342"/>
            </a:xfrm>
          </p:grpSpPr>
          <p:sp>
            <p:nvSpPr>
              <p:cNvPr id="127" name="Oval 126">
                <a:extLst>
                  <a:ext uri="{FF2B5EF4-FFF2-40B4-BE49-F238E27FC236}">
                    <a16:creationId xmlns:a16="http://schemas.microsoft.com/office/drawing/2014/main" id="{9448DE6B-C2F4-79D0-7FA4-A7088B5C7F23}"/>
                  </a:ext>
                </a:extLst>
              </p:cNvPr>
              <p:cNvSpPr/>
              <p:nvPr>
                <p:custDataLst>
                  <p:tags r:id="rId460"/>
                </p:custDataLst>
              </p:nvPr>
            </p:nvSpPr>
            <p:spPr>
              <a:xfrm>
                <a:off x="498511" y="1782453"/>
                <a:ext cx="610342" cy="610342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1pPr>
                <a:lvl2pPr marL="5486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2pPr>
                <a:lvl3pPr marL="10972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3pPr>
                <a:lvl4pPr marL="16459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4pPr>
                <a:lvl5pPr marL="219456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5pPr>
                <a:lvl6pPr marL="274320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6pPr>
                <a:lvl7pPr marL="32918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7pPr>
                <a:lvl8pPr marL="38404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8pPr>
                <a:lvl9pPr marL="43891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9pPr>
              </a:lstStyle>
              <a:p>
                <a:pPr marL="0" marR="0" lvl="0" indent="0" algn="ctr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cap="none" spc="0" normalizeH="0" baseline="0" noProof="0">
                    <a:solidFill>
                      <a:srgbClr val="FFFFFF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  <a:sym typeface="Wingdings" charset="2"/>
                </a:endParaRPr>
              </a:p>
            </p:txBody>
          </p:sp>
          <p:sp>
            <p:nvSpPr>
              <p:cNvPr id="128" name="TextBox 127">
                <a:extLst>
                  <a:ext uri="{FF2B5EF4-FFF2-40B4-BE49-F238E27FC236}">
                    <a16:creationId xmlns:a16="http://schemas.microsoft.com/office/drawing/2014/main" id="{E40EBE4E-CD01-F459-C558-AAD34F57D80A}"/>
                  </a:ext>
                </a:extLst>
              </p:cNvPr>
              <p:cNvSpPr txBox="1"/>
              <p:nvPr>
                <p:custDataLst>
                  <p:tags r:id="rId461"/>
                </p:custDataLst>
              </p:nvPr>
            </p:nvSpPr>
            <p:spPr>
              <a:xfrm>
                <a:off x="472069" y="1909813"/>
                <a:ext cx="701369" cy="37938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</a:lstStyle>
              <a:p>
                <a:pPr marL="0" marR="0" lvl="0" indent="0" algn="ctr" defTabSz="1462923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40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r>
                  <a:rPr lang="en-US" sz="1050" dirty="0">
                    <a:solidFill>
                      <a:srgbClr val="FFFFFF"/>
                    </a:solidFill>
                    <a:latin typeface="Arial" pitchFamily="34" charset="0"/>
                    <a:cs typeface="Arial" pitchFamily="34" charset="0"/>
                  </a:rPr>
                  <a:t>2.0</a:t>
                </a:r>
                <a:r>
                  <a:rPr kumimoji="0" lang="en-US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rPr>
                  <a:t>k</a:t>
                </a:r>
              </a:p>
            </p:txBody>
          </p:sp>
        </p:grpSp>
        <p:sp>
          <p:nvSpPr>
            <p:cNvPr id="129" name="Oval 128">
              <a:extLst>
                <a:ext uri="{FF2B5EF4-FFF2-40B4-BE49-F238E27FC236}">
                  <a16:creationId xmlns:a16="http://schemas.microsoft.com/office/drawing/2014/main" id="{510DBDE6-8621-E851-5A06-0C7081E0CA11}"/>
                </a:ext>
              </a:extLst>
            </p:cNvPr>
            <p:cNvSpPr/>
            <p:nvPr>
              <p:custDataLst>
                <p:tags r:id="rId194"/>
              </p:custDataLst>
            </p:nvPr>
          </p:nvSpPr>
          <p:spPr>
            <a:xfrm>
              <a:off x="4126891" y="6083818"/>
              <a:ext cx="131461" cy="13761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5486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10972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6459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219456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274320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32918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38404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43891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marL="0" marR="0" lvl="0" indent="0" algn="ctr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cap="none" spc="0" normalizeH="0" baseline="0" noProof="0">
                  <a:solidFill>
                    <a:srgbClr val="FFFFFF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  <a:sym typeface="Wingdings" charset="2"/>
              </a:endParaRPr>
            </a:p>
          </p:txBody>
        </p:sp>
        <p:sp>
          <p:nvSpPr>
            <p:cNvPr id="130" name="Oval 129">
              <a:extLst>
                <a:ext uri="{FF2B5EF4-FFF2-40B4-BE49-F238E27FC236}">
                  <a16:creationId xmlns:a16="http://schemas.microsoft.com/office/drawing/2014/main" id="{DD5635FF-D906-50D4-ACAF-D835CF81FFE0}"/>
                </a:ext>
              </a:extLst>
            </p:cNvPr>
            <p:cNvSpPr/>
            <p:nvPr>
              <p:custDataLst>
                <p:tags r:id="rId195"/>
              </p:custDataLst>
            </p:nvPr>
          </p:nvSpPr>
          <p:spPr>
            <a:xfrm>
              <a:off x="3906504" y="5274760"/>
              <a:ext cx="97160" cy="9624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5486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10972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6459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219456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274320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32918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38404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43891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marL="0" marR="0" lvl="0" indent="0" algn="ctr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cap="none" spc="0" normalizeH="0" baseline="0" noProof="0">
                  <a:solidFill>
                    <a:srgbClr val="FFFFFF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  <a:sym typeface="Wingdings" charset="2"/>
              </a:endParaRPr>
            </a:p>
          </p:txBody>
        </p:sp>
        <p:sp>
          <p:nvSpPr>
            <p:cNvPr id="131" name="Oval 130">
              <a:extLst>
                <a:ext uri="{FF2B5EF4-FFF2-40B4-BE49-F238E27FC236}">
                  <a16:creationId xmlns:a16="http://schemas.microsoft.com/office/drawing/2014/main" id="{7B730747-57A2-59AE-E655-4584C8878A38}"/>
                </a:ext>
              </a:extLst>
            </p:cNvPr>
            <p:cNvSpPr/>
            <p:nvPr>
              <p:custDataLst>
                <p:tags r:id="rId196"/>
              </p:custDataLst>
            </p:nvPr>
          </p:nvSpPr>
          <p:spPr>
            <a:xfrm>
              <a:off x="4103032" y="5456800"/>
              <a:ext cx="174140" cy="17414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5486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10972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6459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219456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274320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32918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38404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43891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marL="0" marR="0" lvl="0" indent="0" algn="ctr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cap="none" spc="0" normalizeH="0" baseline="0" noProof="0">
                  <a:solidFill>
                    <a:srgbClr val="FFFFFF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  <a:sym typeface="Wingdings" charset="2"/>
              </a:endParaRPr>
            </a:p>
          </p:txBody>
        </p:sp>
        <p:sp>
          <p:nvSpPr>
            <p:cNvPr id="132" name="Oval 131">
              <a:extLst>
                <a:ext uri="{FF2B5EF4-FFF2-40B4-BE49-F238E27FC236}">
                  <a16:creationId xmlns:a16="http://schemas.microsoft.com/office/drawing/2014/main" id="{FEE0C102-5554-24EF-0DEE-7DE5B26C4B83}"/>
                </a:ext>
              </a:extLst>
            </p:cNvPr>
            <p:cNvSpPr/>
            <p:nvPr>
              <p:custDataLst>
                <p:tags r:id="rId197"/>
              </p:custDataLst>
            </p:nvPr>
          </p:nvSpPr>
          <p:spPr>
            <a:xfrm>
              <a:off x="4043936" y="6956552"/>
              <a:ext cx="239277" cy="24122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5486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10972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6459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219456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274320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32918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38404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43891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marL="0" marR="0" lvl="0" indent="0" algn="ctr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cap="none" spc="0" normalizeH="0" baseline="0" noProof="0">
                  <a:solidFill>
                    <a:srgbClr val="FFFFFF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  <a:sym typeface="Wingdings" charset="2"/>
              </a:endParaRPr>
            </a:p>
          </p:txBody>
        </p:sp>
        <p:sp>
          <p:nvSpPr>
            <p:cNvPr id="133" name="pole tekstowe 287">
              <a:extLst>
                <a:ext uri="{FF2B5EF4-FFF2-40B4-BE49-F238E27FC236}">
                  <a16:creationId xmlns:a16="http://schemas.microsoft.com/office/drawing/2014/main" id="{AEEEFB94-4472-8D1B-429D-011798776B7C}"/>
                </a:ext>
              </a:extLst>
            </p:cNvPr>
            <p:cNvSpPr txBox="1"/>
            <p:nvPr>
              <p:custDataLst>
                <p:tags r:id="rId198"/>
              </p:custDataLst>
            </p:nvPr>
          </p:nvSpPr>
          <p:spPr>
            <a:xfrm>
              <a:off x="3068429" y="5094392"/>
              <a:ext cx="437620" cy="107722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Costa Rica</a:t>
              </a:r>
            </a:p>
          </p:txBody>
        </p: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2FB47CDA-C5D7-C846-6940-0B3245F6EF4B}"/>
                </a:ext>
              </a:extLst>
            </p:cNvPr>
            <p:cNvSpPr/>
            <p:nvPr>
              <p:custDataLst>
                <p:tags r:id="rId199"/>
              </p:custDataLst>
            </p:nvPr>
          </p:nvSpPr>
          <p:spPr>
            <a:xfrm>
              <a:off x="2937639" y="3574569"/>
              <a:ext cx="334525" cy="33452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5486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10972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6459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219456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274320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32918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38404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43891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marL="0" marR="0" lvl="0" indent="0" algn="ctr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cap="none" spc="0" normalizeH="0" baseline="0" noProof="0">
                  <a:solidFill>
                    <a:srgbClr val="FFFFFF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  <a:sym typeface="Wingdings" charset="2"/>
              </a:endParaRPr>
            </a:p>
          </p:txBody>
        </p:sp>
        <p:sp>
          <p:nvSpPr>
            <p:cNvPr id="135" name="Oval 134">
              <a:extLst>
                <a:ext uri="{FF2B5EF4-FFF2-40B4-BE49-F238E27FC236}">
                  <a16:creationId xmlns:a16="http://schemas.microsoft.com/office/drawing/2014/main" id="{BC4E138D-F8B8-D0F2-4B06-9D8142E8ED84}"/>
                </a:ext>
              </a:extLst>
            </p:cNvPr>
            <p:cNvSpPr/>
            <p:nvPr>
              <p:custDataLst>
                <p:tags r:id="rId200"/>
              </p:custDataLst>
            </p:nvPr>
          </p:nvSpPr>
          <p:spPr>
            <a:xfrm>
              <a:off x="2919153" y="4743496"/>
              <a:ext cx="258608" cy="258608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5486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10972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6459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219456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274320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32918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38404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43891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marL="0" marR="0" lvl="0" indent="0" algn="ctr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cap="none" spc="0" normalizeH="0" baseline="0" noProof="0">
                  <a:solidFill>
                    <a:srgbClr val="FFFFFF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  <a:sym typeface="Wingdings" charset="2"/>
              </a:endParaRPr>
            </a:p>
          </p:txBody>
        </p:sp>
        <p:sp>
          <p:nvSpPr>
            <p:cNvPr id="136" name="Oval 135">
              <a:extLst>
                <a:ext uri="{FF2B5EF4-FFF2-40B4-BE49-F238E27FC236}">
                  <a16:creationId xmlns:a16="http://schemas.microsoft.com/office/drawing/2014/main" id="{09946672-D66D-B2F4-86C0-4DD90ADF92A4}"/>
                </a:ext>
              </a:extLst>
            </p:cNvPr>
            <p:cNvSpPr/>
            <p:nvPr>
              <p:custDataLst>
                <p:tags r:id="rId201"/>
              </p:custDataLst>
            </p:nvPr>
          </p:nvSpPr>
          <p:spPr>
            <a:xfrm>
              <a:off x="2470437" y="2847542"/>
              <a:ext cx="123932" cy="119759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5486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10972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6459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219456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274320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32918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38404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43891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marL="0" marR="0" lvl="0" indent="0" algn="ctr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cap="none" spc="0" normalizeH="0" baseline="0" noProof="0">
                  <a:solidFill>
                    <a:srgbClr val="FFFFFF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  <a:sym typeface="Wingdings" charset="2"/>
              </a:endParaRPr>
            </a:p>
          </p:txBody>
        </p:sp>
        <p:grpSp>
          <p:nvGrpSpPr>
            <p:cNvPr id="137" name="Group 136">
              <a:extLst>
                <a:ext uri="{FF2B5EF4-FFF2-40B4-BE49-F238E27FC236}">
                  <a16:creationId xmlns:a16="http://schemas.microsoft.com/office/drawing/2014/main" id="{47EF2B43-55FB-B33F-CFF7-BF5C1C5BE7F3}"/>
                </a:ext>
              </a:extLst>
            </p:cNvPr>
            <p:cNvGrpSpPr/>
            <p:nvPr>
              <p:custDataLst>
                <p:tags r:id="rId202"/>
              </p:custDataLst>
            </p:nvPr>
          </p:nvGrpSpPr>
          <p:grpSpPr>
            <a:xfrm>
              <a:off x="7098471" y="1325286"/>
              <a:ext cx="6139462" cy="3297001"/>
              <a:chOff x="7098471" y="1325283"/>
              <a:chExt cx="6139462" cy="3297001"/>
            </a:xfrm>
          </p:grpSpPr>
          <p:grpSp>
            <p:nvGrpSpPr>
              <p:cNvPr id="138" name="Russia">
                <a:extLst>
                  <a:ext uri="{FF2B5EF4-FFF2-40B4-BE49-F238E27FC236}">
                    <a16:creationId xmlns:a16="http://schemas.microsoft.com/office/drawing/2014/main" id="{24A93543-1C42-600E-285B-4E57C014BADA}"/>
                  </a:ext>
                </a:extLst>
              </p:cNvPr>
              <p:cNvGrpSpPr/>
              <p:nvPr>
                <p:custDataLst>
                  <p:tags r:id="rId403"/>
                </p:custDataLst>
              </p:nvPr>
            </p:nvGrpSpPr>
            <p:grpSpPr>
              <a:xfrm>
                <a:off x="7388746" y="1325283"/>
                <a:ext cx="5849187" cy="2584899"/>
                <a:chOff x="7388216" y="837956"/>
                <a:chExt cx="5849187" cy="2584899"/>
              </a:xfrm>
              <a:solidFill>
                <a:schemeClr val="bg1">
                  <a:lumMod val="65000"/>
                </a:schemeClr>
              </a:solidFill>
            </p:grpSpPr>
            <p:sp>
              <p:nvSpPr>
                <p:cNvPr id="149" name="Russia group">
                  <a:extLst>
                    <a:ext uri="{FF2B5EF4-FFF2-40B4-BE49-F238E27FC236}">
                      <a16:creationId xmlns:a16="http://schemas.microsoft.com/office/drawing/2014/main" id="{AD1EABEF-77D5-8322-DA1A-B7CFC52E7E38}"/>
                    </a:ext>
                  </a:extLst>
                </p:cNvPr>
                <p:cNvSpPr/>
                <p:nvPr>
                  <p:custDataLst>
                    <p:tags r:id="rId414"/>
                  </p:custDataLst>
                </p:nvPr>
              </p:nvSpPr>
              <p:spPr>
                <a:xfrm>
                  <a:off x="11562099" y="2810280"/>
                  <a:ext cx="61447" cy="386866"/>
                </a:xfrm>
                <a:custGeom>
                  <a:avLst/>
                  <a:gdLst>
                    <a:gd name="connsiteX0" fmla="*/ 58029 w 71751"/>
                    <a:gd name="connsiteY0" fmla="*/ 409950 h 451736"/>
                    <a:gd name="connsiteX1" fmla="*/ 30735 w 71751"/>
                    <a:gd name="connsiteY1" fmla="*/ 355073 h 451736"/>
                    <a:gd name="connsiteX2" fmla="*/ 42609 w 71751"/>
                    <a:gd name="connsiteY2" fmla="*/ 279621 h 451736"/>
                    <a:gd name="connsiteX3" fmla="*/ 69615 w 71751"/>
                    <a:gd name="connsiteY3" fmla="*/ 260325 h 451736"/>
                    <a:gd name="connsiteX4" fmla="*/ 61162 w 71751"/>
                    <a:gd name="connsiteY4" fmla="*/ 204870 h 451736"/>
                    <a:gd name="connsiteX5" fmla="*/ 37002 w 71751"/>
                    <a:gd name="connsiteY5" fmla="*/ 88517 h 451736"/>
                    <a:gd name="connsiteX6" fmla="*/ 2822 w 71751"/>
                    <a:gd name="connsiteY6" fmla="*/ -4 h 451736"/>
                    <a:gd name="connsiteX7" fmla="*/ 2327 w 71751"/>
                    <a:gd name="connsiteY7" fmla="*/ 46421 h 451736"/>
                    <a:gd name="connsiteX8" fmla="*/ 15356 w 71751"/>
                    <a:gd name="connsiteY8" fmla="*/ 138324 h 451736"/>
                    <a:gd name="connsiteX9" fmla="*/ 11810 w 71751"/>
                    <a:gd name="connsiteY9" fmla="*/ 316687 h 451736"/>
                    <a:gd name="connsiteX10" fmla="*/ 4718 w 71751"/>
                    <a:gd name="connsiteY10" fmla="*/ 446975 h 451736"/>
                    <a:gd name="connsiteX11" fmla="*/ 30735 w 71751"/>
                    <a:gd name="connsiteY11" fmla="*/ 416836 h 451736"/>
                    <a:gd name="connsiteX12" fmla="*/ 65121 w 71751"/>
                    <a:gd name="connsiteY12" fmla="*/ 451098 h 451736"/>
                    <a:gd name="connsiteX13" fmla="*/ 58029 w 71751"/>
                    <a:gd name="connsiteY13" fmla="*/ 409950 h 451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71751" h="451736">
                      <a:moveTo>
                        <a:pt x="58029" y="409950"/>
                      </a:moveTo>
                      <a:cubicBezTo>
                        <a:pt x="46155" y="412713"/>
                        <a:pt x="36713" y="376966"/>
                        <a:pt x="30735" y="355073"/>
                      </a:cubicBezTo>
                      <a:cubicBezTo>
                        <a:pt x="24756" y="333179"/>
                        <a:pt x="42609" y="307039"/>
                        <a:pt x="42609" y="279621"/>
                      </a:cubicBezTo>
                      <a:cubicBezTo>
                        <a:pt x="42609" y="261438"/>
                        <a:pt x="55638" y="255954"/>
                        <a:pt x="69615" y="260325"/>
                      </a:cubicBezTo>
                      <a:cubicBezTo>
                        <a:pt x="66235" y="240575"/>
                        <a:pt x="63843" y="221321"/>
                        <a:pt x="61162" y="204870"/>
                      </a:cubicBezTo>
                      <a:cubicBezTo>
                        <a:pt x="55143" y="165688"/>
                        <a:pt x="47103" y="126854"/>
                        <a:pt x="37002" y="88517"/>
                      </a:cubicBezTo>
                      <a:cubicBezTo>
                        <a:pt x="28055" y="56028"/>
                        <a:pt x="9872" y="31207"/>
                        <a:pt x="2822" y="-4"/>
                      </a:cubicBezTo>
                      <a:cubicBezTo>
                        <a:pt x="-1673" y="7829"/>
                        <a:pt x="7893" y="25023"/>
                        <a:pt x="2327" y="46421"/>
                      </a:cubicBezTo>
                      <a:cubicBezTo>
                        <a:pt x="-4806" y="73839"/>
                        <a:pt x="5873" y="113627"/>
                        <a:pt x="15356" y="138324"/>
                      </a:cubicBezTo>
                      <a:cubicBezTo>
                        <a:pt x="24839" y="163021"/>
                        <a:pt x="2327" y="294711"/>
                        <a:pt x="11810" y="316687"/>
                      </a:cubicBezTo>
                      <a:cubicBezTo>
                        <a:pt x="21293" y="338663"/>
                        <a:pt x="-3611" y="435719"/>
                        <a:pt x="4718" y="446975"/>
                      </a:cubicBezTo>
                      <a:cubicBezTo>
                        <a:pt x="18942" y="466230"/>
                        <a:pt x="9419" y="420917"/>
                        <a:pt x="30735" y="416836"/>
                      </a:cubicBezTo>
                      <a:cubicBezTo>
                        <a:pt x="52051" y="412754"/>
                        <a:pt x="52051" y="444254"/>
                        <a:pt x="65121" y="451098"/>
                      </a:cubicBezTo>
                      <a:cubicBezTo>
                        <a:pt x="78191" y="457943"/>
                        <a:pt x="69862" y="407064"/>
                        <a:pt x="58029" y="409950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grpSp>
              <p:nvGrpSpPr>
                <p:cNvPr id="150" name="Russia">
                  <a:extLst>
                    <a:ext uri="{FF2B5EF4-FFF2-40B4-BE49-F238E27FC236}">
                      <a16:creationId xmlns:a16="http://schemas.microsoft.com/office/drawing/2014/main" id="{97F17560-3840-4975-8855-AFBEB758A86C}"/>
                    </a:ext>
                  </a:extLst>
                </p:cNvPr>
                <p:cNvGrpSpPr/>
                <p:nvPr>
                  <p:custDataLst>
                    <p:tags r:id="rId415"/>
                  </p:custDataLst>
                </p:nvPr>
              </p:nvGrpSpPr>
              <p:grpSpPr>
                <a:xfrm>
                  <a:off x="7388216" y="837956"/>
                  <a:ext cx="5849186" cy="2584899"/>
                  <a:chOff x="7388220" y="837956"/>
                  <a:chExt cx="5849186" cy="2584899"/>
                </a:xfrm>
                <a:grpFill/>
              </p:grpSpPr>
              <p:sp>
                <p:nvSpPr>
                  <p:cNvPr id="151" name="Russia group">
                    <a:extLst>
                      <a:ext uri="{FF2B5EF4-FFF2-40B4-BE49-F238E27FC236}">
                        <a16:creationId xmlns:a16="http://schemas.microsoft.com/office/drawing/2014/main" id="{2BD620AC-30EA-369F-F870-743AD905A256}"/>
                      </a:ext>
                    </a:extLst>
                  </p:cNvPr>
                  <p:cNvSpPr/>
                  <p:nvPr>
                    <p:custDataLst>
                      <p:tags r:id="rId416"/>
                    </p:custDataLst>
                  </p:nvPr>
                </p:nvSpPr>
                <p:spPr>
                  <a:xfrm>
                    <a:off x="7388220" y="2693712"/>
                    <a:ext cx="107800" cy="53462"/>
                  </a:xfrm>
                  <a:custGeom>
                    <a:avLst/>
                    <a:gdLst>
                      <a:gd name="connsiteX0" fmla="*/ 103695 w 125876"/>
                      <a:gd name="connsiteY0" fmla="*/ 14151 h 62428"/>
                      <a:gd name="connsiteX1" fmla="*/ 79699 w 125876"/>
                      <a:gd name="connsiteY1" fmla="*/ 3843 h 62428"/>
                      <a:gd name="connsiteX2" fmla="*/ 55373 w 125876"/>
                      <a:gd name="connsiteY2" fmla="*/ 1287 h 62428"/>
                      <a:gd name="connsiteX3" fmla="*/ 61599 w 125876"/>
                      <a:gd name="connsiteY3" fmla="*/ 8296 h 62428"/>
                      <a:gd name="connsiteX4" fmla="*/ 48570 w 125876"/>
                      <a:gd name="connsiteY4" fmla="*/ 33652 h 62428"/>
                      <a:gd name="connsiteX5" fmla="*/ 29645 w 125876"/>
                      <a:gd name="connsiteY5" fmla="*/ 33652 h 62428"/>
                      <a:gd name="connsiteX6" fmla="*/ 2392 w 125876"/>
                      <a:gd name="connsiteY6" fmla="*/ 35714 h 62428"/>
                      <a:gd name="connsiteX7" fmla="*/ 1 w 125876"/>
                      <a:gd name="connsiteY7" fmla="*/ 46681 h 62428"/>
                      <a:gd name="connsiteX8" fmla="*/ 20245 w 125876"/>
                      <a:gd name="connsiteY8" fmla="*/ 55257 h 62428"/>
                      <a:gd name="connsiteX9" fmla="*/ 124393 w 125876"/>
                      <a:gd name="connsiteY9" fmla="*/ 60370 h 62428"/>
                      <a:gd name="connsiteX10" fmla="*/ 125877 w 125876"/>
                      <a:gd name="connsiteY10" fmla="*/ 29529 h 62428"/>
                      <a:gd name="connsiteX11" fmla="*/ 103695 w 125876"/>
                      <a:gd name="connsiteY11" fmla="*/ 14151 h 6242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 w="125876" h="62428">
                        <a:moveTo>
                          <a:pt x="103695" y="14151"/>
                        </a:moveTo>
                        <a:cubicBezTo>
                          <a:pt x="98335" y="17243"/>
                          <a:pt x="84111" y="11058"/>
                          <a:pt x="79699" y="3843"/>
                        </a:cubicBezTo>
                        <a:cubicBezTo>
                          <a:pt x="76112" y="-1929"/>
                          <a:pt x="65104" y="215"/>
                          <a:pt x="55373" y="1287"/>
                        </a:cubicBezTo>
                        <a:cubicBezTo>
                          <a:pt x="58053" y="3027"/>
                          <a:pt x="60197" y="5447"/>
                          <a:pt x="61599" y="8296"/>
                        </a:cubicBezTo>
                        <a:cubicBezTo>
                          <a:pt x="66917" y="19304"/>
                          <a:pt x="40283" y="20665"/>
                          <a:pt x="48570" y="33652"/>
                        </a:cubicBezTo>
                        <a:cubicBezTo>
                          <a:pt x="56857" y="46640"/>
                          <a:pt x="29645" y="47382"/>
                          <a:pt x="29645" y="33652"/>
                        </a:cubicBezTo>
                        <a:cubicBezTo>
                          <a:pt x="29645" y="19923"/>
                          <a:pt x="1196" y="26808"/>
                          <a:pt x="2392" y="35714"/>
                        </a:cubicBezTo>
                        <a:cubicBezTo>
                          <a:pt x="2722" y="39528"/>
                          <a:pt x="1897" y="43350"/>
                          <a:pt x="1" y="46681"/>
                        </a:cubicBezTo>
                        <a:cubicBezTo>
                          <a:pt x="7752" y="49897"/>
                          <a:pt x="16740" y="53649"/>
                          <a:pt x="20245" y="55257"/>
                        </a:cubicBezTo>
                        <a:cubicBezTo>
                          <a:pt x="25646" y="57731"/>
                          <a:pt x="96645" y="66307"/>
                          <a:pt x="124393" y="60370"/>
                        </a:cubicBezTo>
                        <a:cubicBezTo>
                          <a:pt x="122909" y="54350"/>
                          <a:pt x="125877" y="36415"/>
                          <a:pt x="125877" y="29529"/>
                        </a:cubicBezTo>
                        <a:cubicBezTo>
                          <a:pt x="125877" y="21325"/>
                          <a:pt x="108973" y="11058"/>
                          <a:pt x="103695" y="14151"/>
                        </a:cubicBezTo>
                        <a:close/>
                      </a:path>
                    </a:pathLst>
                  </a:custGeom>
                  <a:grpFill/>
                  <a:ln w="6350" cap="flat">
                    <a:solidFill>
                      <a:schemeClr val="bg1"/>
                    </a:solidFill>
                    <a:prstDash val="solid"/>
                    <a:miter/>
                  </a:ln>
                </p:spPr>
                <p:txBody>
                  <a:bodyPr rtlCol="0" anchor="ctr"/>
                  <a:lstStyle>
                    <a:defPPr>
                      <a:defRPr lang="en-US"/>
                    </a:defPPr>
                  </a:lstStyle>
                  <a:p>
                    <a:pPr marL="0" marR="0" lvl="0" indent="0" algn="l" defTabSz="1462923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normalizeH="0" noProof="0">
                        <a:solidFill>
                          <a:srgbClr val="000000"/>
                        </a:solidFill>
                        <a:uLnTx/>
                        <a:uFillTx/>
                        <a:latin typeface="+mn-lt"/>
                        <a:ea typeface="+mn-ea"/>
                        <a:cs typeface="+mn-cs"/>
                      </a:defRPr>
                    </a:pPr>
                    <a:endParaRPr kumimoji="0" lang="en-US" sz="288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itchFamily="34" charset="0"/>
                      <a:cs typeface="Arial" pitchFamily="34" charset="0"/>
                    </a:endParaRPr>
                  </a:p>
                </p:txBody>
              </p:sp>
              <p:grpSp>
                <p:nvGrpSpPr>
                  <p:cNvPr id="152" name="Russia">
                    <a:extLst>
                      <a:ext uri="{FF2B5EF4-FFF2-40B4-BE49-F238E27FC236}">
                        <a16:creationId xmlns:a16="http://schemas.microsoft.com/office/drawing/2014/main" id="{14CCD2F6-8629-1BFD-DF95-7D5E2C711AA2}"/>
                      </a:ext>
                    </a:extLst>
                  </p:cNvPr>
                  <p:cNvGrpSpPr/>
                  <p:nvPr>
                    <p:custDataLst>
                      <p:tags r:id="rId417"/>
                    </p:custDataLst>
                  </p:nvPr>
                </p:nvGrpSpPr>
                <p:grpSpPr>
                  <a:xfrm>
                    <a:off x="7652892" y="837956"/>
                    <a:ext cx="5584515" cy="2584899"/>
                    <a:chOff x="7652893" y="837958"/>
                    <a:chExt cx="5584515" cy="2584899"/>
                  </a:xfrm>
                  <a:grpFill/>
                </p:grpSpPr>
                <p:sp>
                  <p:nvSpPr>
                    <p:cNvPr id="153" name="Russia group">
                      <a:extLst>
                        <a:ext uri="{FF2B5EF4-FFF2-40B4-BE49-F238E27FC236}">
                          <a16:creationId xmlns:a16="http://schemas.microsoft.com/office/drawing/2014/main" id="{10FDEA7E-911C-621E-E717-3D5B2E6A7D29}"/>
                        </a:ext>
                      </a:extLst>
                    </p:cNvPr>
                    <p:cNvSpPr/>
                    <p:nvPr>
                      <p:custDataLst>
                        <p:tags r:id="rId418"/>
                      </p:custDataLst>
                    </p:nvPr>
                  </p:nvSpPr>
                  <p:spPr>
                    <a:xfrm>
                      <a:off x="8373202" y="1807929"/>
                      <a:ext cx="74567" cy="52628"/>
                    </a:xfrm>
                    <a:custGeom>
                      <a:avLst/>
                      <a:gdLst>
                        <a:gd name="connsiteX0" fmla="*/ 7729 w 87070"/>
                        <a:gd name="connsiteY0" fmla="*/ 49366 h 61453"/>
                        <a:gd name="connsiteX1" fmla="*/ 82355 w 87070"/>
                        <a:gd name="connsiteY1" fmla="*/ 31596 h 61453"/>
                        <a:gd name="connsiteX2" fmla="*/ 46856 w 87070"/>
                        <a:gd name="connsiteY2" fmla="*/ 1374 h 61453"/>
                        <a:gd name="connsiteX3" fmla="*/ 7729 w 87070"/>
                        <a:gd name="connsiteY3" fmla="*/ 49366 h 6145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87070" h="61453">
                          <a:moveTo>
                            <a:pt x="7729" y="49366"/>
                          </a:moveTo>
                          <a:cubicBezTo>
                            <a:pt x="39724" y="83670"/>
                            <a:pt x="67018" y="34317"/>
                            <a:pt x="82355" y="31596"/>
                          </a:cubicBezTo>
                          <a:cubicBezTo>
                            <a:pt x="97693" y="28874"/>
                            <a:pt x="72914" y="9620"/>
                            <a:pt x="46856" y="1374"/>
                          </a:cubicBezTo>
                          <a:cubicBezTo>
                            <a:pt x="20799" y="-6872"/>
                            <a:pt x="-16226" y="23514"/>
                            <a:pt x="7729" y="49366"/>
                          </a:cubicBezTo>
                          <a:close/>
                        </a:path>
                      </a:pathLst>
                    </a:custGeom>
                    <a:solidFill>
                      <a:schemeClr val="bg1">
                        <a:lumMod val="85000"/>
                      </a:schemeClr>
                    </a:solidFill>
                    <a:ln w="6350" cap="flat">
                      <a:solidFill>
                        <a:schemeClr val="bg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>
                      <a:defPPr>
                        <a:defRPr lang="en-US"/>
                      </a:defPPr>
                    </a:lstStyle>
                    <a:p>
                      <a:pPr marL="0" marR="0" lvl="0" indent="0" algn="l" defTabSz="1462923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 kumimoji="0" sz="2160" b="0" i="0" normalizeH="0" noProof="0">
                          <a:solidFill>
                            <a:srgbClr val="000000"/>
                          </a:solidFill>
                          <a:uLnTx/>
                          <a:uFillTx/>
                          <a:latin typeface="+mn-lt"/>
                          <a:ea typeface="+mn-ea"/>
                          <a:cs typeface="+mn-cs"/>
                        </a:defRPr>
                      </a:pPr>
                      <a:endParaRPr kumimoji="0" lang="en-US" sz="288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cs typeface="Arial" pitchFamily="34" charset="0"/>
                      </a:endParaRPr>
                    </a:p>
                  </p:txBody>
                </p:sp>
                <p:sp>
                  <p:nvSpPr>
                    <p:cNvPr id="154" name="Russia group">
                      <a:extLst>
                        <a:ext uri="{FF2B5EF4-FFF2-40B4-BE49-F238E27FC236}">
                          <a16:creationId xmlns:a16="http://schemas.microsoft.com/office/drawing/2014/main" id="{8B229545-E9DC-2A8F-9502-6B92C8B6A3AF}"/>
                        </a:ext>
                      </a:extLst>
                    </p:cNvPr>
                    <p:cNvSpPr/>
                    <p:nvPr>
                      <p:custDataLst>
                        <p:tags r:id="rId419"/>
                      </p:custDataLst>
                    </p:nvPr>
                  </p:nvSpPr>
                  <p:spPr>
                    <a:xfrm>
                      <a:off x="11562091" y="2810280"/>
                      <a:ext cx="61447" cy="386866"/>
                    </a:xfrm>
                    <a:custGeom>
                      <a:avLst/>
                      <a:gdLst>
                        <a:gd name="connsiteX0" fmla="*/ 58029 w 71751"/>
                        <a:gd name="connsiteY0" fmla="*/ 409950 h 451736"/>
                        <a:gd name="connsiteX1" fmla="*/ 30735 w 71751"/>
                        <a:gd name="connsiteY1" fmla="*/ 355073 h 451736"/>
                        <a:gd name="connsiteX2" fmla="*/ 42609 w 71751"/>
                        <a:gd name="connsiteY2" fmla="*/ 279621 h 451736"/>
                        <a:gd name="connsiteX3" fmla="*/ 69615 w 71751"/>
                        <a:gd name="connsiteY3" fmla="*/ 260325 h 451736"/>
                        <a:gd name="connsiteX4" fmla="*/ 61162 w 71751"/>
                        <a:gd name="connsiteY4" fmla="*/ 204870 h 451736"/>
                        <a:gd name="connsiteX5" fmla="*/ 37002 w 71751"/>
                        <a:gd name="connsiteY5" fmla="*/ 88517 h 451736"/>
                        <a:gd name="connsiteX6" fmla="*/ 2822 w 71751"/>
                        <a:gd name="connsiteY6" fmla="*/ -4 h 451736"/>
                        <a:gd name="connsiteX7" fmla="*/ 2327 w 71751"/>
                        <a:gd name="connsiteY7" fmla="*/ 46421 h 451736"/>
                        <a:gd name="connsiteX8" fmla="*/ 15356 w 71751"/>
                        <a:gd name="connsiteY8" fmla="*/ 138324 h 451736"/>
                        <a:gd name="connsiteX9" fmla="*/ 11810 w 71751"/>
                        <a:gd name="connsiteY9" fmla="*/ 316687 h 451736"/>
                        <a:gd name="connsiteX10" fmla="*/ 4718 w 71751"/>
                        <a:gd name="connsiteY10" fmla="*/ 446975 h 451736"/>
                        <a:gd name="connsiteX11" fmla="*/ 30735 w 71751"/>
                        <a:gd name="connsiteY11" fmla="*/ 416836 h 451736"/>
                        <a:gd name="connsiteX12" fmla="*/ 65121 w 71751"/>
                        <a:gd name="connsiteY12" fmla="*/ 451098 h 451736"/>
                        <a:gd name="connsiteX13" fmla="*/ 58029 w 71751"/>
                        <a:gd name="connsiteY13" fmla="*/ 409950 h 45173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</a:cxnLst>
                      <a:rect l="l" t="t" r="r" b="b"/>
                      <a:pathLst>
                        <a:path w="71751" h="451736">
                          <a:moveTo>
                            <a:pt x="58029" y="409950"/>
                          </a:moveTo>
                          <a:cubicBezTo>
                            <a:pt x="46155" y="412713"/>
                            <a:pt x="36713" y="376966"/>
                            <a:pt x="30735" y="355073"/>
                          </a:cubicBezTo>
                          <a:cubicBezTo>
                            <a:pt x="24756" y="333179"/>
                            <a:pt x="42609" y="307039"/>
                            <a:pt x="42609" y="279621"/>
                          </a:cubicBezTo>
                          <a:cubicBezTo>
                            <a:pt x="42609" y="261438"/>
                            <a:pt x="55638" y="255954"/>
                            <a:pt x="69615" y="260325"/>
                          </a:cubicBezTo>
                          <a:cubicBezTo>
                            <a:pt x="66235" y="240575"/>
                            <a:pt x="63843" y="221321"/>
                            <a:pt x="61162" y="204870"/>
                          </a:cubicBezTo>
                          <a:cubicBezTo>
                            <a:pt x="55143" y="165688"/>
                            <a:pt x="47103" y="126854"/>
                            <a:pt x="37002" y="88517"/>
                          </a:cubicBezTo>
                          <a:cubicBezTo>
                            <a:pt x="28055" y="56028"/>
                            <a:pt x="9872" y="31207"/>
                            <a:pt x="2822" y="-4"/>
                          </a:cubicBezTo>
                          <a:cubicBezTo>
                            <a:pt x="-1673" y="7829"/>
                            <a:pt x="7893" y="25023"/>
                            <a:pt x="2327" y="46421"/>
                          </a:cubicBezTo>
                          <a:cubicBezTo>
                            <a:pt x="-4806" y="73839"/>
                            <a:pt x="5873" y="113627"/>
                            <a:pt x="15356" y="138324"/>
                          </a:cubicBezTo>
                          <a:cubicBezTo>
                            <a:pt x="24839" y="163021"/>
                            <a:pt x="2327" y="294711"/>
                            <a:pt x="11810" y="316687"/>
                          </a:cubicBezTo>
                          <a:cubicBezTo>
                            <a:pt x="21293" y="338663"/>
                            <a:pt x="-3611" y="435719"/>
                            <a:pt x="4718" y="446975"/>
                          </a:cubicBezTo>
                          <a:cubicBezTo>
                            <a:pt x="18942" y="466230"/>
                            <a:pt x="9419" y="420917"/>
                            <a:pt x="30735" y="416836"/>
                          </a:cubicBezTo>
                          <a:cubicBezTo>
                            <a:pt x="52051" y="412754"/>
                            <a:pt x="52051" y="444254"/>
                            <a:pt x="65121" y="451098"/>
                          </a:cubicBezTo>
                          <a:cubicBezTo>
                            <a:pt x="78191" y="457943"/>
                            <a:pt x="69862" y="407064"/>
                            <a:pt x="58029" y="409950"/>
                          </a:cubicBezTo>
                          <a:close/>
                        </a:path>
                      </a:pathLst>
                    </a:custGeom>
                    <a:solidFill>
                      <a:schemeClr val="bg1">
                        <a:lumMod val="85000"/>
                      </a:schemeClr>
                    </a:solidFill>
                    <a:ln w="635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>
                      <a:defPPr>
                        <a:defRPr lang="en-US"/>
                      </a:defPPr>
                    </a:lstStyle>
                    <a:p>
                      <a:pPr marL="0" marR="0" lvl="0" indent="0" algn="l" defTabSz="1462923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 kumimoji="0" sz="2160" b="0" i="0" normalizeH="0" noProof="0">
                          <a:solidFill>
                            <a:srgbClr val="000000"/>
                          </a:solidFill>
                          <a:uLnTx/>
                          <a:uFillTx/>
                          <a:latin typeface="+mn-lt"/>
                          <a:ea typeface="+mn-ea"/>
                          <a:cs typeface="+mn-cs"/>
                        </a:defRPr>
                      </a:pPr>
                      <a:endParaRPr kumimoji="0" lang="en-US" sz="288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cs typeface="Arial" pitchFamily="34" charset="0"/>
                      </a:endParaRPr>
                    </a:p>
                  </p:txBody>
                </p:sp>
                <p:grpSp>
                  <p:nvGrpSpPr>
                    <p:cNvPr id="155" name="Russia group">
                      <a:extLst>
                        <a:ext uri="{FF2B5EF4-FFF2-40B4-BE49-F238E27FC236}">
                          <a16:creationId xmlns:a16="http://schemas.microsoft.com/office/drawing/2014/main" id="{E340273B-E0EC-9EF3-B1B8-3B846FC6C66A}"/>
                        </a:ext>
                      </a:extLst>
                    </p:cNvPr>
                    <p:cNvGrpSpPr/>
                    <p:nvPr>
                      <p:custDataLst>
                        <p:tags r:id="rId420"/>
                      </p:custDataLst>
                    </p:nvPr>
                  </p:nvGrpSpPr>
                  <p:grpSpPr>
                    <a:xfrm>
                      <a:off x="7652893" y="837958"/>
                      <a:ext cx="5584515" cy="2584898"/>
                      <a:chOff x="7652894" y="837958"/>
                      <a:chExt cx="5584515" cy="2584898"/>
                    </a:xfrm>
                    <a:grpFill/>
                  </p:grpSpPr>
                  <p:sp>
                    <p:nvSpPr>
                      <p:cNvPr id="156" name="Russia group">
                        <a:extLst>
                          <a:ext uri="{FF2B5EF4-FFF2-40B4-BE49-F238E27FC236}">
                            <a16:creationId xmlns:a16="http://schemas.microsoft.com/office/drawing/2014/main" id="{F7BA4FC5-7EE6-893F-C1A9-412FB49BF6F4}"/>
                          </a:ext>
                        </a:extLst>
                      </p:cNvPr>
                      <p:cNvSpPr/>
                      <p:nvPr>
                        <p:custDataLst>
                          <p:tags r:id="rId421"/>
                        </p:custDataLst>
                      </p:nvPr>
                    </p:nvSpPr>
                    <p:spPr>
                      <a:xfrm>
                        <a:off x="9933898" y="954781"/>
                        <a:ext cx="181598" cy="121297"/>
                      </a:xfrm>
                      <a:custGeom>
                        <a:avLst/>
                        <a:gdLst>
                          <a:gd name="connsiteX0" fmla="*/ 212049 w 212048"/>
                          <a:gd name="connsiteY0" fmla="*/ 55048 h 141636"/>
                          <a:gd name="connsiteX1" fmla="*/ 206689 w 212048"/>
                          <a:gd name="connsiteY1" fmla="*/ 29155 h 141636"/>
                          <a:gd name="connsiteX2" fmla="*/ 152842 w 212048"/>
                          <a:gd name="connsiteY2" fmla="*/ 25032 h 141636"/>
                          <a:gd name="connsiteX3" fmla="*/ 123198 w 212048"/>
                          <a:gd name="connsiteY3" fmla="*/ 4417 h 141636"/>
                          <a:gd name="connsiteX4" fmla="*/ 11875 w 212048"/>
                          <a:gd name="connsiteY4" fmla="*/ 31877 h 141636"/>
                          <a:gd name="connsiteX5" fmla="*/ 1 w 212048"/>
                          <a:gd name="connsiteY5" fmla="*/ 48987 h 141636"/>
                          <a:gd name="connsiteX6" fmla="*/ 9855 w 212048"/>
                          <a:gd name="connsiteY6" fmla="*/ 56491 h 141636"/>
                          <a:gd name="connsiteX7" fmla="*/ 22677 w 212048"/>
                          <a:gd name="connsiteY7" fmla="*/ 84487 h 141636"/>
                          <a:gd name="connsiteX8" fmla="*/ 25522 w 212048"/>
                          <a:gd name="connsiteY8" fmla="*/ 85435 h 141636"/>
                          <a:gd name="connsiteX9" fmla="*/ 55002 w 212048"/>
                          <a:gd name="connsiteY9" fmla="*/ 113966 h 141636"/>
                          <a:gd name="connsiteX10" fmla="*/ 92563 w 212048"/>
                          <a:gd name="connsiteY10" fmla="*/ 121470 h 141636"/>
                          <a:gd name="connsiteX11" fmla="*/ 114374 w 212048"/>
                          <a:gd name="connsiteY11" fmla="*/ 119904 h 141636"/>
                          <a:gd name="connsiteX12" fmla="*/ 150409 w 212048"/>
                          <a:gd name="connsiteY12" fmla="*/ 139612 h 141636"/>
                          <a:gd name="connsiteX13" fmla="*/ 166901 w 212048"/>
                          <a:gd name="connsiteY13" fmla="*/ 141632 h 141636"/>
                          <a:gd name="connsiteX14" fmla="*/ 194114 w 212048"/>
                          <a:gd name="connsiteY14" fmla="*/ 107328 h 141636"/>
                          <a:gd name="connsiteX15" fmla="*/ 211884 w 212048"/>
                          <a:gd name="connsiteY15" fmla="*/ 55213 h 14163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212048" h="141636">
                            <a:moveTo>
                              <a:pt x="212049" y="55048"/>
                            </a:moveTo>
                            <a:cubicBezTo>
                              <a:pt x="207679" y="47165"/>
                              <a:pt x="205782" y="38131"/>
                              <a:pt x="206689" y="29155"/>
                            </a:cubicBezTo>
                            <a:cubicBezTo>
                              <a:pt x="189743" y="13694"/>
                              <a:pt x="152842" y="7963"/>
                              <a:pt x="152842" y="25032"/>
                            </a:cubicBezTo>
                            <a:cubicBezTo>
                              <a:pt x="152842" y="49771"/>
                              <a:pt x="130330" y="19590"/>
                              <a:pt x="123198" y="4417"/>
                            </a:cubicBezTo>
                            <a:cubicBezTo>
                              <a:pt x="116065" y="-10756"/>
                              <a:pt x="11875" y="16786"/>
                              <a:pt x="11875" y="31877"/>
                            </a:cubicBezTo>
                            <a:cubicBezTo>
                              <a:pt x="11875" y="37649"/>
                              <a:pt x="6309" y="43421"/>
                              <a:pt x="1" y="48987"/>
                            </a:cubicBezTo>
                            <a:cubicBezTo>
                              <a:pt x="3629" y="51012"/>
                              <a:pt x="6928" y="53539"/>
                              <a:pt x="9855" y="56491"/>
                            </a:cubicBezTo>
                            <a:cubicBezTo>
                              <a:pt x="17070" y="64177"/>
                              <a:pt x="21564" y="74006"/>
                              <a:pt x="22677" y="84487"/>
                            </a:cubicBezTo>
                            <a:lnTo>
                              <a:pt x="25522" y="85435"/>
                            </a:lnTo>
                            <a:cubicBezTo>
                              <a:pt x="39004" y="90230"/>
                              <a:pt x="49766" y="100637"/>
                              <a:pt x="55002" y="113966"/>
                            </a:cubicBezTo>
                            <a:cubicBezTo>
                              <a:pt x="63620" y="112565"/>
                              <a:pt x="77184" y="116275"/>
                              <a:pt x="92563" y="121470"/>
                            </a:cubicBezTo>
                            <a:cubicBezTo>
                              <a:pt x="99819" y="120728"/>
                              <a:pt x="107076" y="120027"/>
                              <a:pt x="114374" y="119904"/>
                            </a:cubicBezTo>
                            <a:cubicBezTo>
                              <a:pt x="129176" y="118984"/>
                              <a:pt x="143194" y="126649"/>
                              <a:pt x="150409" y="139612"/>
                            </a:cubicBezTo>
                            <a:cubicBezTo>
                              <a:pt x="155811" y="140836"/>
                              <a:pt x="161336" y="141512"/>
                              <a:pt x="166901" y="141632"/>
                            </a:cubicBezTo>
                            <a:cubicBezTo>
                              <a:pt x="201247" y="141632"/>
                              <a:pt x="204793" y="108648"/>
                              <a:pt x="194114" y="107328"/>
                            </a:cubicBezTo>
                            <a:cubicBezTo>
                              <a:pt x="183435" y="106009"/>
                              <a:pt x="192959" y="86713"/>
                              <a:pt x="211884" y="55213"/>
                            </a:cubicBezTo>
                            <a:close/>
                          </a:path>
                        </a:pathLst>
                      </a:custGeom>
                      <a:grpFill/>
                      <a:ln w="635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>
                        <a:defPPr>
                          <a:defRPr lang="en-US"/>
                        </a:defPPr>
                      </a:lstStyle>
                      <a:p>
                        <a:pPr marL="0" marR="0" lvl="0" indent="0" algn="l" defTabSz="1462923" rtl="0" eaLnBrk="1" fontAlgn="auto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defRPr kumimoji="0" sz="2160" b="0" i="0" normalizeH="0" noProof="0">
                            <a:solidFill>
                              <a:srgbClr val="000000"/>
                            </a:solidFill>
                            <a:uLnTx/>
                            <a:uFillTx/>
                            <a:latin typeface="+mn-lt"/>
                            <a:ea typeface="+mn-ea"/>
                            <a:cs typeface="+mn-cs"/>
                          </a:defRPr>
                        </a:pPr>
                        <a:endParaRPr kumimoji="0" lang="en-US" sz="288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cs typeface="Arial" pitchFamily="34" charset="0"/>
                        </a:endParaRPr>
                      </a:p>
                    </p:txBody>
                  </p:sp>
                  <p:sp>
                    <p:nvSpPr>
                      <p:cNvPr id="157" name="Russia group">
                        <a:extLst>
                          <a:ext uri="{FF2B5EF4-FFF2-40B4-BE49-F238E27FC236}">
                            <a16:creationId xmlns:a16="http://schemas.microsoft.com/office/drawing/2014/main" id="{6719BE27-FF0E-577B-BBC2-1C5B313ED023}"/>
                          </a:ext>
                        </a:extLst>
                      </p:cNvPr>
                      <p:cNvSpPr/>
                      <p:nvPr>
                        <p:custDataLst>
                          <p:tags r:id="rId422"/>
                        </p:custDataLst>
                      </p:nvPr>
                    </p:nvSpPr>
                    <p:spPr>
                      <a:xfrm>
                        <a:off x="12844630" y="1672002"/>
                        <a:ext cx="133019" cy="48640"/>
                      </a:xfrm>
                      <a:custGeom>
                        <a:avLst/>
                        <a:gdLst>
                          <a:gd name="connsiteX0" fmla="*/ 63481 w 155324"/>
                          <a:gd name="connsiteY0" fmla="*/ 41102 h 56796"/>
                          <a:gd name="connsiteX1" fmla="*/ 154188 w 155324"/>
                          <a:gd name="connsiteY1" fmla="*/ 35824 h 56796"/>
                          <a:gd name="connsiteX2" fmla="*/ 102608 w 155324"/>
                          <a:gd name="connsiteY2" fmla="*/ 985 h 56796"/>
                          <a:gd name="connsiteX3" fmla="*/ 5429 w 155324"/>
                          <a:gd name="connsiteY3" fmla="*/ 53100 h 56796"/>
                          <a:gd name="connsiteX4" fmla="*/ 47236 w 155324"/>
                          <a:gd name="connsiteY4" fmla="*/ 47781 h 56796"/>
                          <a:gd name="connsiteX5" fmla="*/ 63481 w 155324"/>
                          <a:gd name="connsiteY5" fmla="*/ 41102 h 5679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</a:cxnLst>
                        <a:rect l="l" t="t" r="r" b="b"/>
                        <a:pathLst>
                          <a:path w="155324" h="56796">
                            <a:moveTo>
                              <a:pt x="63481" y="41102"/>
                            </a:moveTo>
                            <a:cubicBezTo>
                              <a:pt x="93373" y="35651"/>
                              <a:pt x="123843" y="33878"/>
                              <a:pt x="154188" y="35824"/>
                            </a:cubicBezTo>
                            <a:cubicBezTo>
                              <a:pt x="159754" y="26424"/>
                              <a:pt x="145241" y="7540"/>
                              <a:pt x="102608" y="985"/>
                            </a:cubicBezTo>
                            <a:cubicBezTo>
                              <a:pt x="49298" y="-7261"/>
                              <a:pt x="-20011" y="38340"/>
                              <a:pt x="5429" y="53100"/>
                            </a:cubicBezTo>
                            <a:cubicBezTo>
                              <a:pt x="22539" y="62995"/>
                              <a:pt x="34661" y="50131"/>
                              <a:pt x="47236" y="47781"/>
                            </a:cubicBezTo>
                            <a:cubicBezTo>
                              <a:pt x="52101" y="44425"/>
                              <a:pt x="57668" y="42149"/>
                              <a:pt x="63481" y="41102"/>
                            </a:cubicBezTo>
                            <a:close/>
                          </a:path>
                        </a:pathLst>
                      </a:custGeom>
                      <a:grpFill/>
                      <a:ln w="6350" cap="flat">
                        <a:solidFill>
                          <a:schemeClr val="bg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>
                        <a:defPPr>
                          <a:defRPr lang="en-US"/>
                        </a:defPPr>
                      </a:lstStyle>
                      <a:p>
                        <a:pPr marL="0" marR="0" lvl="0" indent="0" algn="l" defTabSz="1462923" rtl="0" eaLnBrk="1" fontAlgn="auto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defRPr kumimoji="0" sz="2160" b="0" i="0" normalizeH="0" noProof="0">
                            <a:solidFill>
                              <a:srgbClr val="000000"/>
                            </a:solidFill>
                            <a:uLnTx/>
                            <a:uFillTx/>
                            <a:latin typeface="+mn-lt"/>
                            <a:ea typeface="+mn-ea"/>
                            <a:cs typeface="+mn-cs"/>
                          </a:defRPr>
                        </a:pPr>
                        <a:endParaRPr kumimoji="0" lang="en-US" sz="288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cs typeface="Arial" pitchFamily="34" charset="0"/>
                        </a:endParaRPr>
                      </a:p>
                    </p:txBody>
                  </p:sp>
                  <p:sp>
                    <p:nvSpPr>
                      <p:cNvPr id="158" name="Russia group">
                        <a:extLst>
                          <a:ext uri="{FF2B5EF4-FFF2-40B4-BE49-F238E27FC236}">
                            <a16:creationId xmlns:a16="http://schemas.microsoft.com/office/drawing/2014/main" id="{38884533-FEAC-AAD2-68CF-FF249EFBA434}"/>
                          </a:ext>
                        </a:extLst>
                      </p:cNvPr>
                      <p:cNvSpPr/>
                      <p:nvPr>
                        <p:custDataLst>
                          <p:tags r:id="rId423"/>
                        </p:custDataLst>
                      </p:nvPr>
                    </p:nvSpPr>
                    <p:spPr>
                      <a:xfrm>
                        <a:off x="9815318" y="855686"/>
                        <a:ext cx="48780" cy="22397"/>
                      </a:xfrm>
                      <a:custGeom>
                        <a:avLst/>
                        <a:gdLst>
                          <a:gd name="connsiteX0" fmla="*/ 56751 w 56960"/>
                          <a:gd name="connsiteY0" fmla="*/ 11734 h 26153"/>
                          <a:gd name="connsiteX1" fmla="*/ 3439 w 56960"/>
                          <a:gd name="connsiteY1" fmla="*/ 19980 h 26153"/>
                          <a:gd name="connsiteX2" fmla="*/ 56751 w 56960"/>
                          <a:gd name="connsiteY2" fmla="*/ 11734 h 2615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56960" h="26152">
                            <a:moveTo>
                              <a:pt x="56751" y="11734"/>
                            </a:moveTo>
                            <a:cubicBezTo>
                              <a:pt x="61533" y="-8881"/>
                              <a:pt x="-17135" y="66"/>
                              <a:pt x="3439" y="19980"/>
                            </a:cubicBezTo>
                            <a:cubicBezTo>
                              <a:pt x="10572" y="26783"/>
                              <a:pt x="52133" y="32308"/>
                              <a:pt x="56751" y="11734"/>
                            </a:cubicBezTo>
                            <a:close/>
                          </a:path>
                        </a:pathLst>
                      </a:custGeom>
                      <a:grpFill/>
                      <a:ln w="635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>
                        <a:defPPr>
                          <a:defRPr lang="en-US"/>
                        </a:defPPr>
                      </a:lstStyle>
                      <a:p>
                        <a:pPr marL="0" marR="0" lvl="0" indent="0" algn="l" defTabSz="1462923" rtl="0" eaLnBrk="1" fontAlgn="auto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defRPr kumimoji="0" sz="2160" b="0" i="0" normalizeH="0" noProof="0">
                            <a:solidFill>
                              <a:srgbClr val="000000"/>
                            </a:solidFill>
                            <a:uLnTx/>
                            <a:uFillTx/>
                            <a:latin typeface="+mn-lt"/>
                            <a:ea typeface="+mn-ea"/>
                            <a:cs typeface="+mn-cs"/>
                          </a:defRPr>
                        </a:pPr>
                        <a:endParaRPr kumimoji="0" lang="en-US" sz="288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cs typeface="Arial" pitchFamily="34" charset="0"/>
                        </a:endParaRPr>
                      </a:p>
                    </p:txBody>
                  </p:sp>
                  <p:sp>
                    <p:nvSpPr>
                      <p:cNvPr id="159" name="Russia group">
                        <a:extLst>
                          <a:ext uri="{FF2B5EF4-FFF2-40B4-BE49-F238E27FC236}">
                            <a16:creationId xmlns:a16="http://schemas.microsoft.com/office/drawing/2014/main" id="{4E7CF18D-5454-4C7C-F48B-6B817D94C0C9}"/>
                          </a:ext>
                        </a:extLst>
                      </p:cNvPr>
                      <p:cNvSpPr/>
                      <p:nvPr>
                        <p:custDataLst>
                          <p:tags r:id="rId424"/>
                        </p:custDataLst>
                      </p:nvPr>
                    </p:nvSpPr>
                    <p:spPr>
                      <a:xfrm>
                        <a:off x="9853151" y="882688"/>
                        <a:ext cx="176915" cy="119700"/>
                      </a:xfrm>
                      <a:custGeom>
                        <a:avLst/>
                        <a:gdLst>
                          <a:gd name="connsiteX0" fmla="*/ 205623 w 206580"/>
                          <a:gd name="connsiteY0" fmla="*/ 53884 h 139771"/>
                          <a:gd name="connsiteX1" fmla="*/ 173752 w 206580"/>
                          <a:gd name="connsiteY1" fmla="*/ 68809 h 139771"/>
                          <a:gd name="connsiteX2" fmla="*/ 130048 w 206580"/>
                          <a:gd name="connsiteY2" fmla="*/ 23745 h 139771"/>
                          <a:gd name="connsiteX3" fmla="*/ 130048 w 206580"/>
                          <a:gd name="connsiteY3" fmla="*/ 9396 h 139771"/>
                          <a:gd name="connsiteX4" fmla="*/ 126296 w 206580"/>
                          <a:gd name="connsiteY4" fmla="*/ 5974 h 139771"/>
                          <a:gd name="connsiteX5" fmla="*/ 96610 w 206580"/>
                          <a:gd name="connsiteY5" fmla="*/ 8613 h 139771"/>
                          <a:gd name="connsiteX6" fmla="*/ 58967 w 206580"/>
                          <a:gd name="connsiteY6" fmla="*/ -4 h 139771"/>
                          <a:gd name="connsiteX7" fmla="*/ 59998 w 206580"/>
                          <a:gd name="connsiteY7" fmla="*/ 14426 h 139771"/>
                          <a:gd name="connsiteX8" fmla="*/ 42227 w 206580"/>
                          <a:gd name="connsiteY8" fmla="*/ 46050 h 139771"/>
                          <a:gd name="connsiteX9" fmla="*/ 43382 w 206580"/>
                          <a:gd name="connsiteY9" fmla="*/ 77550 h 139771"/>
                          <a:gd name="connsiteX10" fmla="*/ 33899 w 206580"/>
                          <a:gd name="connsiteY10" fmla="*/ 95403 h 139771"/>
                          <a:gd name="connsiteX11" fmla="*/ 5490 w 206580"/>
                          <a:gd name="connsiteY11" fmla="*/ 111895 h 139771"/>
                          <a:gd name="connsiteX12" fmla="*/ 41031 w 206580"/>
                          <a:gd name="connsiteY12" fmla="*/ 139314 h 139771"/>
                          <a:gd name="connsiteX13" fmla="*/ 43299 w 206580"/>
                          <a:gd name="connsiteY13" fmla="*/ 139767 h 139771"/>
                          <a:gd name="connsiteX14" fmla="*/ 73274 w 206580"/>
                          <a:gd name="connsiteY14" fmla="*/ 127398 h 139771"/>
                          <a:gd name="connsiteX15" fmla="*/ 79170 w 206580"/>
                          <a:gd name="connsiteY15" fmla="*/ 127769 h 139771"/>
                          <a:gd name="connsiteX16" fmla="*/ 88405 w 206580"/>
                          <a:gd name="connsiteY16" fmla="*/ 106370 h 139771"/>
                          <a:gd name="connsiteX17" fmla="*/ 198573 w 206580"/>
                          <a:gd name="connsiteY17" fmla="*/ 67944 h 139771"/>
                          <a:gd name="connsiteX18" fmla="*/ 205623 w 206580"/>
                          <a:gd name="connsiteY18" fmla="*/ 53884 h 13977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</a:cxnLst>
                        <a:rect l="l" t="t" r="r" b="b"/>
                        <a:pathLst>
                          <a:path w="206580" h="139771">
                            <a:moveTo>
                              <a:pt x="205623" y="53884"/>
                            </a:moveTo>
                            <a:cubicBezTo>
                              <a:pt x="197377" y="62875"/>
                              <a:pt x="185915" y="68241"/>
                              <a:pt x="173752" y="68809"/>
                            </a:cubicBezTo>
                            <a:cubicBezTo>
                              <a:pt x="150168" y="69881"/>
                              <a:pt x="130048" y="47287"/>
                              <a:pt x="130048" y="23745"/>
                            </a:cubicBezTo>
                            <a:lnTo>
                              <a:pt x="130048" y="9396"/>
                            </a:lnTo>
                            <a:cubicBezTo>
                              <a:pt x="128687" y="8324"/>
                              <a:pt x="127533" y="7129"/>
                              <a:pt x="126296" y="5974"/>
                            </a:cubicBezTo>
                            <a:cubicBezTo>
                              <a:pt x="117101" y="10560"/>
                              <a:pt x="106505" y="11502"/>
                              <a:pt x="96610" y="8613"/>
                            </a:cubicBezTo>
                            <a:cubicBezTo>
                              <a:pt x="84241" y="4490"/>
                              <a:pt x="71336" y="3707"/>
                              <a:pt x="58967" y="-4"/>
                            </a:cubicBezTo>
                            <a:cubicBezTo>
                              <a:pt x="52576" y="5067"/>
                              <a:pt x="52370" y="10056"/>
                              <a:pt x="59998" y="14426"/>
                            </a:cubicBezTo>
                            <a:cubicBezTo>
                              <a:pt x="76490" y="24074"/>
                              <a:pt x="59998" y="47411"/>
                              <a:pt x="42227" y="46050"/>
                            </a:cubicBezTo>
                            <a:cubicBezTo>
                              <a:pt x="24457" y="44690"/>
                              <a:pt x="20910" y="66665"/>
                              <a:pt x="43382" y="77550"/>
                            </a:cubicBezTo>
                            <a:cubicBezTo>
                              <a:pt x="65852" y="88435"/>
                              <a:pt x="57606" y="95403"/>
                              <a:pt x="33899" y="95403"/>
                            </a:cubicBezTo>
                            <a:cubicBezTo>
                              <a:pt x="10191" y="95403"/>
                              <a:pt x="-10135" y="104639"/>
                              <a:pt x="5490" y="111895"/>
                            </a:cubicBezTo>
                            <a:cubicBezTo>
                              <a:pt x="17365" y="117379"/>
                              <a:pt x="16128" y="132510"/>
                              <a:pt x="41031" y="139314"/>
                            </a:cubicBezTo>
                            <a:cubicBezTo>
                              <a:pt x="41773" y="139314"/>
                              <a:pt x="42556" y="139602"/>
                              <a:pt x="43299" y="139767"/>
                            </a:cubicBezTo>
                            <a:cubicBezTo>
                              <a:pt x="51339" y="131970"/>
                              <a:pt x="62059" y="127546"/>
                              <a:pt x="73274" y="127398"/>
                            </a:cubicBezTo>
                            <a:cubicBezTo>
                              <a:pt x="75253" y="127320"/>
                              <a:pt x="77232" y="127443"/>
                              <a:pt x="79170" y="127769"/>
                            </a:cubicBezTo>
                            <a:cubicBezTo>
                              <a:pt x="85643" y="121213"/>
                              <a:pt x="89395" y="113215"/>
                              <a:pt x="88405" y="106370"/>
                            </a:cubicBezTo>
                            <a:cubicBezTo>
                              <a:pt x="86013" y="89878"/>
                              <a:pt x="174989" y="74829"/>
                              <a:pt x="198573" y="67944"/>
                            </a:cubicBezTo>
                            <a:cubicBezTo>
                              <a:pt x="207273" y="65429"/>
                              <a:pt x="207520" y="59945"/>
                              <a:pt x="205623" y="53884"/>
                            </a:cubicBezTo>
                            <a:close/>
                          </a:path>
                        </a:pathLst>
                      </a:custGeom>
                      <a:grpFill/>
                      <a:ln w="635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>
                        <a:defPPr>
                          <a:defRPr lang="en-US"/>
                        </a:defPPr>
                      </a:lstStyle>
                      <a:p>
                        <a:pPr marL="0" marR="0" lvl="0" indent="0" algn="l" defTabSz="1462923" rtl="0" eaLnBrk="1" fontAlgn="auto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defRPr kumimoji="0" sz="2160" b="0" i="0" normalizeH="0" noProof="0">
                            <a:solidFill>
                              <a:srgbClr val="000000"/>
                            </a:solidFill>
                            <a:uLnTx/>
                            <a:uFillTx/>
                            <a:latin typeface="+mn-lt"/>
                            <a:ea typeface="+mn-ea"/>
                            <a:cs typeface="+mn-cs"/>
                          </a:defRPr>
                        </a:pPr>
                        <a:endParaRPr kumimoji="0" lang="en-US" sz="288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cs typeface="Arial" pitchFamily="34" charset="0"/>
                        </a:endParaRPr>
                      </a:p>
                    </p:txBody>
                  </p:sp>
                  <p:sp>
                    <p:nvSpPr>
                      <p:cNvPr id="160" name="Russia group">
                        <a:extLst>
                          <a:ext uri="{FF2B5EF4-FFF2-40B4-BE49-F238E27FC236}">
                            <a16:creationId xmlns:a16="http://schemas.microsoft.com/office/drawing/2014/main" id="{98396FD1-990E-1F27-E4FA-37E6DEF4CBC8}"/>
                          </a:ext>
                        </a:extLst>
                      </p:cNvPr>
                      <p:cNvSpPr/>
                      <p:nvPr>
                        <p:custDataLst>
                          <p:tags r:id="rId425"/>
                        </p:custDataLst>
                      </p:nvPr>
                    </p:nvSpPr>
                    <p:spPr>
                      <a:xfrm>
                        <a:off x="10097846" y="1038616"/>
                        <a:ext cx="212618" cy="111518"/>
                      </a:xfrm>
                      <a:custGeom>
                        <a:avLst/>
                        <a:gdLst>
                          <a:gd name="connsiteX0" fmla="*/ 233492 w 248271"/>
                          <a:gd name="connsiteY0" fmla="*/ 42463 h 130218"/>
                          <a:gd name="connsiteX1" fmla="*/ 208506 w 248271"/>
                          <a:gd name="connsiteY1" fmla="*/ 42875 h 130218"/>
                          <a:gd name="connsiteX2" fmla="*/ 150248 w 248271"/>
                          <a:gd name="connsiteY2" fmla="*/ 22260 h 130218"/>
                          <a:gd name="connsiteX3" fmla="*/ 137879 w 248271"/>
                          <a:gd name="connsiteY3" fmla="*/ 35330 h 130218"/>
                          <a:gd name="connsiteX4" fmla="*/ 137549 w 248271"/>
                          <a:gd name="connsiteY4" fmla="*/ 17106 h 130218"/>
                          <a:gd name="connsiteX5" fmla="*/ 123366 w 248271"/>
                          <a:gd name="connsiteY5" fmla="*/ 10427 h 130218"/>
                          <a:gd name="connsiteX6" fmla="*/ 88773 w 248271"/>
                          <a:gd name="connsiteY6" fmla="*/ 6675 h 130218"/>
                          <a:gd name="connsiteX7" fmla="*/ 76116 w 248271"/>
                          <a:gd name="connsiteY7" fmla="*/ -4 h 130218"/>
                          <a:gd name="connsiteX8" fmla="*/ 62097 w 248271"/>
                          <a:gd name="connsiteY8" fmla="*/ 35330 h 130218"/>
                          <a:gd name="connsiteX9" fmla="*/ 32494 w 248271"/>
                          <a:gd name="connsiteY9" fmla="*/ 61429 h 130218"/>
                          <a:gd name="connsiteX10" fmla="*/ 4045 w 248271"/>
                          <a:gd name="connsiteY10" fmla="*/ 127398 h 130218"/>
                          <a:gd name="connsiteX11" fmla="*/ 109430 w 248271"/>
                          <a:gd name="connsiteY11" fmla="*/ 115029 h 130218"/>
                          <a:gd name="connsiteX12" fmla="*/ 248047 w 248271"/>
                          <a:gd name="connsiteY12" fmla="*/ 61429 h 130218"/>
                          <a:gd name="connsiteX13" fmla="*/ 233492 w 248271"/>
                          <a:gd name="connsiteY13" fmla="*/ 42463 h 1302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</a:cxnLst>
                        <a:rect l="l" t="t" r="r" b="b"/>
                        <a:pathLst>
                          <a:path w="248271" h="130218">
                            <a:moveTo>
                              <a:pt x="233492" y="42463"/>
                            </a:moveTo>
                            <a:cubicBezTo>
                              <a:pt x="225494" y="45630"/>
                              <a:pt x="216629" y="45774"/>
                              <a:pt x="208506" y="42875"/>
                            </a:cubicBezTo>
                            <a:cubicBezTo>
                              <a:pt x="189170" y="35578"/>
                              <a:pt x="169420" y="29682"/>
                              <a:pt x="150248" y="22260"/>
                            </a:cubicBezTo>
                            <a:cubicBezTo>
                              <a:pt x="145136" y="25575"/>
                              <a:pt x="140930" y="30057"/>
                              <a:pt x="137879" y="35330"/>
                            </a:cubicBezTo>
                            <a:cubicBezTo>
                              <a:pt x="130292" y="50379"/>
                              <a:pt x="121840" y="39082"/>
                              <a:pt x="137549" y="17106"/>
                            </a:cubicBezTo>
                            <a:cubicBezTo>
                              <a:pt x="132767" y="15045"/>
                              <a:pt x="128066" y="12983"/>
                              <a:pt x="123366" y="10427"/>
                            </a:cubicBezTo>
                            <a:cubicBezTo>
                              <a:pt x="111780" y="13491"/>
                              <a:pt x="99452" y="12155"/>
                              <a:pt x="88773" y="6675"/>
                            </a:cubicBezTo>
                            <a:cubicBezTo>
                              <a:pt x="84650" y="4490"/>
                              <a:pt x="80280" y="2263"/>
                              <a:pt x="76116" y="-4"/>
                            </a:cubicBezTo>
                            <a:cubicBezTo>
                              <a:pt x="74961" y="13849"/>
                              <a:pt x="60942" y="20858"/>
                              <a:pt x="62097" y="35330"/>
                            </a:cubicBezTo>
                            <a:cubicBezTo>
                              <a:pt x="63252" y="49802"/>
                              <a:pt x="33648" y="27084"/>
                              <a:pt x="32494" y="61429"/>
                            </a:cubicBezTo>
                            <a:cubicBezTo>
                              <a:pt x="31339" y="95774"/>
                              <a:pt x="-13436" y="115730"/>
                              <a:pt x="4045" y="127398"/>
                            </a:cubicBezTo>
                            <a:cubicBezTo>
                              <a:pt x="20537" y="138365"/>
                              <a:pt x="74137" y="113668"/>
                              <a:pt x="109430" y="115029"/>
                            </a:cubicBezTo>
                            <a:cubicBezTo>
                              <a:pt x="144723" y="116389"/>
                              <a:pt x="244459" y="83446"/>
                              <a:pt x="248047" y="61429"/>
                            </a:cubicBezTo>
                            <a:cubicBezTo>
                              <a:pt x="249613" y="51946"/>
                              <a:pt x="242810" y="46792"/>
                              <a:pt x="233492" y="42463"/>
                            </a:cubicBezTo>
                            <a:close/>
                          </a:path>
                        </a:pathLst>
                      </a:custGeom>
                      <a:grpFill/>
                      <a:ln w="635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>
                        <a:defPPr>
                          <a:defRPr lang="en-US"/>
                        </a:defPPr>
                      </a:lstStyle>
                      <a:p>
                        <a:pPr marL="0" marR="0" lvl="0" indent="0" algn="l" defTabSz="1462923" rtl="0" eaLnBrk="1" fontAlgn="auto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defRPr kumimoji="0" sz="2160" b="0" i="0" normalizeH="0" noProof="0">
                            <a:solidFill>
                              <a:srgbClr val="000000"/>
                            </a:solidFill>
                            <a:uLnTx/>
                            <a:uFillTx/>
                            <a:latin typeface="+mn-lt"/>
                            <a:ea typeface="+mn-ea"/>
                            <a:cs typeface="+mn-cs"/>
                          </a:defRPr>
                        </a:pPr>
                        <a:endParaRPr kumimoji="0" lang="en-US" sz="288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cs typeface="Arial" pitchFamily="34" charset="0"/>
                        </a:endParaRPr>
                      </a:p>
                    </p:txBody>
                  </p:sp>
                  <p:sp>
                    <p:nvSpPr>
                      <p:cNvPr id="161" name="Russia group">
                        <a:extLst>
                          <a:ext uri="{FF2B5EF4-FFF2-40B4-BE49-F238E27FC236}">
                            <a16:creationId xmlns:a16="http://schemas.microsoft.com/office/drawing/2014/main" id="{C0E0FE33-ADB3-2908-C658-5B5B147B02B9}"/>
                          </a:ext>
                        </a:extLst>
                      </p:cNvPr>
                      <p:cNvSpPr/>
                      <p:nvPr>
                        <p:custDataLst>
                          <p:tags r:id="rId426"/>
                        </p:custDataLst>
                      </p:nvPr>
                    </p:nvSpPr>
                    <p:spPr>
                      <a:xfrm>
                        <a:off x="11431340" y="1318548"/>
                        <a:ext cx="244846" cy="99787"/>
                      </a:xfrm>
                      <a:custGeom>
                        <a:avLst/>
                        <a:gdLst>
                          <a:gd name="connsiteX0" fmla="*/ 262783 w 285902"/>
                          <a:gd name="connsiteY0" fmla="*/ 19953 h 116519"/>
                          <a:gd name="connsiteX1" fmla="*/ 213307 w 285902"/>
                          <a:gd name="connsiteY1" fmla="*/ 7584 h 116519"/>
                          <a:gd name="connsiteX2" fmla="*/ 178920 w 285902"/>
                          <a:gd name="connsiteY2" fmla="*/ 24076 h 116519"/>
                          <a:gd name="connsiteX3" fmla="*/ 119796 w 285902"/>
                          <a:gd name="connsiteY3" fmla="*/ 14264 h 116519"/>
                          <a:gd name="connsiteX4" fmla="*/ 119508 w 285902"/>
                          <a:gd name="connsiteY4" fmla="*/ 17232 h 116519"/>
                          <a:gd name="connsiteX5" fmla="*/ 84214 w 285902"/>
                          <a:gd name="connsiteY5" fmla="*/ 5688 h 116519"/>
                          <a:gd name="connsiteX6" fmla="*/ 54776 w 285902"/>
                          <a:gd name="connsiteY6" fmla="*/ 493 h 116519"/>
                          <a:gd name="connsiteX7" fmla="*/ 10989 w 285902"/>
                          <a:gd name="connsiteY7" fmla="*/ 95323 h 116519"/>
                          <a:gd name="connsiteX8" fmla="*/ 23358 w 285902"/>
                          <a:gd name="connsiteY8" fmla="*/ 116515 h 116519"/>
                          <a:gd name="connsiteX9" fmla="*/ 66321 w 285902"/>
                          <a:gd name="connsiteY9" fmla="*/ 102291 h 116519"/>
                          <a:gd name="connsiteX10" fmla="*/ 104252 w 285902"/>
                          <a:gd name="connsiteY10" fmla="*/ 110537 h 116519"/>
                          <a:gd name="connsiteX11" fmla="*/ 175334 w 285902"/>
                          <a:gd name="connsiteY11" fmla="*/ 102291 h 116519"/>
                          <a:gd name="connsiteX12" fmla="*/ 171787 w 285902"/>
                          <a:gd name="connsiteY12" fmla="*/ 48691 h 116519"/>
                          <a:gd name="connsiteX13" fmla="*/ 193063 w 285902"/>
                          <a:gd name="connsiteY13" fmla="*/ 56937 h 116519"/>
                          <a:gd name="connsiteX14" fmla="*/ 245178 w 285902"/>
                          <a:gd name="connsiteY14" fmla="*/ 99487 h 116519"/>
                          <a:gd name="connsiteX15" fmla="*/ 273627 w 285902"/>
                          <a:gd name="connsiteY15" fmla="*/ 59700 h 116519"/>
                          <a:gd name="connsiteX16" fmla="*/ 262783 w 285902"/>
                          <a:gd name="connsiteY16" fmla="*/ 19953 h 11651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</a:cxnLst>
                        <a:rect l="l" t="t" r="r" b="b"/>
                        <a:pathLst>
                          <a:path w="285902" h="116519">
                            <a:moveTo>
                              <a:pt x="262783" y="19953"/>
                            </a:moveTo>
                            <a:cubicBezTo>
                              <a:pt x="247693" y="9316"/>
                              <a:pt x="230047" y="8368"/>
                              <a:pt x="213307" y="7584"/>
                            </a:cubicBezTo>
                            <a:cubicBezTo>
                              <a:pt x="205679" y="18890"/>
                              <a:pt x="192527" y="25194"/>
                              <a:pt x="178920" y="24076"/>
                            </a:cubicBezTo>
                            <a:cubicBezTo>
                              <a:pt x="158924" y="22798"/>
                              <a:pt x="139133" y="19512"/>
                              <a:pt x="119796" y="14264"/>
                            </a:cubicBezTo>
                            <a:cubicBezTo>
                              <a:pt x="119796" y="15253"/>
                              <a:pt x="119549" y="16160"/>
                              <a:pt x="119508" y="17232"/>
                            </a:cubicBezTo>
                            <a:cubicBezTo>
                              <a:pt x="118848" y="34219"/>
                              <a:pt x="102768" y="21644"/>
                              <a:pt x="84214" y="5688"/>
                            </a:cubicBezTo>
                            <a:cubicBezTo>
                              <a:pt x="74484" y="3453"/>
                              <a:pt x="64671" y="1717"/>
                              <a:pt x="54776" y="493"/>
                            </a:cubicBezTo>
                            <a:cubicBezTo>
                              <a:pt x="-556" y="-6063"/>
                              <a:pt x="-11564" y="53680"/>
                              <a:pt x="10989" y="95323"/>
                            </a:cubicBezTo>
                            <a:cubicBezTo>
                              <a:pt x="15112" y="102621"/>
                              <a:pt x="19235" y="109671"/>
                              <a:pt x="23358" y="116515"/>
                            </a:cubicBezTo>
                            <a:cubicBezTo>
                              <a:pt x="37788" y="114536"/>
                              <a:pt x="56796" y="105960"/>
                              <a:pt x="66321" y="102291"/>
                            </a:cubicBezTo>
                            <a:cubicBezTo>
                              <a:pt x="80545" y="96848"/>
                              <a:pt x="81741" y="127029"/>
                              <a:pt x="104252" y="110537"/>
                            </a:cubicBezTo>
                            <a:cubicBezTo>
                              <a:pt x="126764" y="94045"/>
                              <a:pt x="149235" y="102291"/>
                              <a:pt x="175334" y="102291"/>
                            </a:cubicBezTo>
                            <a:cubicBezTo>
                              <a:pt x="201432" y="102291"/>
                              <a:pt x="170550" y="65183"/>
                              <a:pt x="171787" y="48691"/>
                            </a:cubicBezTo>
                            <a:cubicBezTo>
                              <a:pt x="173025" y="32199"/>
                              <a:pt x="202545" y="43207"/>
                              <a:pt x="193063" y="56937"/>
                            </a:cubicBezTo>
                            <a:cubicBezTo>
                              <a:pt x="183580" y="70667"/>
                              <a:pt x="207287" y="102291"/>
                              <a:pt x="245178" y="99487"/>
                            </a:cubicBezTo>
                            <a:cubicBezTo>
                              <a:pt x="283068" y="96683"/>
                              <a:pt x="254661" y="69306"/>
                              <a:pt x="273627" y="59700"/>
                            </a:cubicBezTo>
                            <a:cubicBezTo>
                              <a:pt x="292593" y="50093"/>
                              <a:pt x="290037" y="39167"/>
                              <a:pt x="262783" y="19953"/>
                            </a:cubicBezTo>
                            <a:close/>
                          </a:path>
                        </a:pathLst>
                      </a:custGeom>
                      <a:grpFill/>
                      <a:ln w="635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>
                        <a:defPPr>
                          <a:defRPr lang="en-US"/>
                        </a:defPPr>
                      </a:lstStyle>
                      <a:p>
                        <a:pPr marL="0" marR="0" lvl="0" indent="0" algn="l" defTabSz="1462923" rtl="0" eaLnBrk="1" fontAlgn="auto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defRPr kumimoji="0" sz="2160" b="0" i="0" normalizeH="0" noProof="0">
                            <a:solidFill>
                              <a:srgbClr val="000000"/>
                            </a:solidFill>
                            <a:uLnTx/>
                            <a:uFillTx/>
                            <a:latin typeface="+mn-lt"/>
                            <a:ea typeface="+mn-ea"/>
                            <a:cs typeface="+mn-cs"/>
                          </a:defRPr>
                        </a:pPr>
                        <a:endParaRPr kumimoji="0" lang="en-US" sz="288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cs typeface="Arial" pitchFamily="34" charset="0"/>
                        </a:endParaRPr>
                      </a:p>
                    </p:txBody>
                  </p:sp>
                  <p:sp>
                    <p:nvSpPr>
                      <p:cNvPr id="162" name="Russia group">
                        <a:extLst>
                          <a:ext uri="{FF2B5EF4-FFF2-40B4-BE49-F238E27FC236}">
                            <a16:creationId xmlns:a16="http://schemas.microsoft.com/office/drawing/2014/main" id="{93878403-FD31-315D-6202-D24C22CA0342}"/>
                          </a:ext>
                        </a:extLst>
                      </p:cNvPr>
                      <p:cNvSpPr/>
                      <p:nvPr>
                        <p:custDataLst>
                          <p:tags r:id="rId427"/>
                        </p:custDataLst>
                      </p:nvPr>
                    </p:nvSpPr>
                    <p:spPr>
                      <a:xfrm>
                        <a:off x="11714115" y="1357727"/>
                        <a:ext cx="168448" cy="62586"/>
                      </a:xfrm>
                      <a:custGeom>
                        <a:avLst/>
                        <a:gdLst>
                          <a:gd name="connsiteX0" fmla="*/ 65519 w 196693"/>
                          <a:gd name="connsiteY0" fmla="*/ 49905 h 73080"/>
                          <a:gd name="connsiteX1" fmla="*/ 153876 w 196693"/>
                          <a:gd name="connsiteY1" fmla="*/ 73077 h 73080"/>
                          <a:gd name="connsiteX2" fmla="*/ 196673 w 196693"/>
                          <a:gd name="connsiteY2" fmla="*/ 52461 h 73080"/>
                          <a:gd name="connsiteX3" fmla="*/ 131529 w 196693"/>
                          <a:gd name="connsiteY3" fmla="*/ 29125 h 73080"/>
                          <a:gd name="connsiteX4" fmla="*/ 85310 w 196693"/>
                          <a:gd name="connsiteY4" fmla="*/ 18158 h 73080"/>
                          <a:gd name="connsiteX5" fmla="*/ 30845 w 196693"/>
                          <a:gd name="connsiteY5" fmla="*/ 4428 h 73080"/>
                          <a:gd name="connsiteX6" fmla="*/ 3591 w 196693"/>
                          <a:gd name="connsiteY6" fmla="*/ 35969 h 73080"/>
                          <a:gd name="connsiteX7" fmla="*/ 36575 w 196693"/>
                          <a:gd name="connsiteY7" fmla="*/ 50895 h 73080"/>
                          <a:gd name="connsiteX8" fmla="*/ 65519 w 196693"/>
                          <a:gd name="connsiteY8" fmla="*/ 49905 h 7308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196693" h="73080">
                            <a:moveTo>
                              <a:pt x="65519" y="49905"/>
                            </a:moveTo>
                            <a:cubicBezTo>
                              <a:pt x="94669" y="59388"/>
                              <a:pt x="123737" y="68624"/>
                              <a:pt x="153876" y="73077"/>
                            </a:cubicBezTo>
                            <a:cubicBezTo>
                              <a:pt x="179562" y="69325"/>
                              <a:pt x="195930" y="61202"/>
                              <a:pt x="196673" y="52461"/>
                            </a:cubicBezTo>
                            <a:cubicBezTo>
                              <a:pt x="197869" y="38732"/>
                              <a:pt x="146949" y="18158"/>
                              <a:pt x="131529" y="29125"/>
                            </a:cubicBezTo>
                            <a:cubicBezTo>
                              <a:pt x="116109" y="40092"/>
                              <a:pt x="104275" y="11272"/>
                              <a:pt x="85310" y="18158"/>
                            </a:cubicBezTo>
                            <a:cubicBezTo>
                              <a:pt x="66343" y="25043"/>
                              <a:pt x="40327" y="23641"/>
                              <a:pt x="30845" y="4428"/>
                            </a:cubicBezTo>
                            <a:cubicBezTo>
                              <a:pt x="21361" y="-14786"/>
                              <a:pt x="-10634" y="34608"/>
                              <a:pt x="3591" y="35969"/>
                            </a:cubicBezTo>
                            <a:cubicBezTo>
                              <a:pt x="15754" y="37165"/>
                              <a:pt x="25319" y="43597"/>
                              <a:pt x="36575" y="50895"/>
                            </a:cubicBezTo>
                            <a:cubicBezTo>
                              <a:pt x="45728" y="46809"/>
                              <a:pt x="56118" y="46450"/>
                              <a:pt x="65519" y="49905"/>
                            </a:cubicBezTo>
                            <a:close/>
                          </a:path>
                        </a:pathLst>
                      </a:custGeom>
                      <a:grpFill/>
                      <a:ln w="635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>
                        <a:defPPr>
                          <a:defRPr lang="en-US"/>
                        </a:defPPr>
                      </a:lstStyle>
                      <a:p>
                        <a:pPr marL="0" marR="0" lvl="0" indent="0" algn="l" defTabSz="1462923" rtl="0" eaLnBrk="1" fontAlgn="auto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defRPr kumimoji="0" sz="2160" b="0" i="0" normalizeH="0" noProof="0">
                            <a:solidFill>
                              <a:srgbClr val="000000"/>
                            </a:solidFill>
                            <a:uLnTx/>
                            <a:uFillTx/>
                            <a:latin typeface="+mn-lt"/>
                            <a:ea typeface="+mn-ea"/>
                            <a:cs typeface="+mn-cs"/>
                          </a:defRPr>
                        </a:pPr>
                        <a:endParaRPr kumimoji="0" lang="en-US" sz="288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cs typeface="Arial" pitchFamily="34" charset="0"/>
                        </a:endParaRPr>
                      </a:p>
                    </p:txBody>
                  </p:sp>
                  <p:sp>
                    <p:nvSpPr>
                      <p:cNvPr id="163" name="Russia group">
                        <a:extLst>
                          <a:ext uri="{FF2B5EF4-FFF2-40B4-BE49-F238E27FC236}">
                            <a16:creationId xmlns:a16="http://schemas.microsoft.com/office/drawing/2014/main" id="{B02F87A9-A3E0-A269-7E94-BB5D11464BD8}"/>
                          </a:ext>
                        </a:extLst>
                      </p:cNvPr>
                      <p:cNvSpPr/>
                      <p:nvPr>
                        <p:custDataLst>
                          <p:tags r:id="rId428"/>
                        </p:custDataLst>
                      </p:nvPr>
                    </p:nvSpPr>
                    <p:spPr>
                      <a:xfrm>
                        <a:off x="8887009" y="874355"/>
                        <a:ext cx="77370" cy="25445"/>
                      </a:xfrm>
                      <a:custGeom>
                        <a:avLst/>
                        <a:gdLst>
                          <a:gd name="connsiteX0" fmla="*/ 53443 w 90344"/>
                          <a:gd name="connsiteY0" fmla="*/ -4 h 29712"/>
                          <a:gd name="connsiteX1" fmla="*/ 48620 w 90344"/>
                          <a:gd name="connsiteY1" fmla="*/ 820 h 29712"/>
                          <a:gd name="connsiteX2" fmla="*/ 1246 w 90344"/>
                          <a:gd name="connsiteY2" fmla="*/ 21436 h 29712"/>
                          <a:gd name="connsiteX3" fmla="*/ 67586 w 90344"/>
                          <a:gd name="connsiteY3" fmla="*/ 25559 h 29712"/>
                          <a:gd name="connsiteX4" fmla="*/ 90345 w 90344"/>
                          <a:gd name="connsiteY4" fmla="*/ 19168 h 29712"/>
                          <a:gd name="connsiteX5" fmla="*/ 53443 w 90344"/>
                          <a:gd name="connsiteY5" fmla="*/ -4 h 2971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</a:cxnLst>
                        <a:rect l="l" t="t" r="r" b="b"/>
                        <a:pathLst>
                          <a:path w="90344" h="29712">
                            <a:moveTo>
                              <a:pt x="53443" y="-4"/>
                            </a:moveTo>
                            <a:cubicBezTo>
                              <a:pt x="51959" y="729"/>
                              <a:pt x="50268" y="1015"/>
                              <a:pt x="48620" y="820"/>
                            </a:cubicBezTo>
                            <a:cubicBezTo>
                              <a:pt x="36787" y="-540"/>
                              <a:pt x="-7990" y="9520"/>
                              <a:pt x="1246" y="21436"/>
                            </a:cubicBezTo>
                            <a:cubicBezTo>
                              <a:pt x="11884" y="35165"/>
                              <a:pt x="45073" y="28280"/>
                              <a:pt x="67586" y="25559"/>
                            </a:cubicBezTo>
                            <a:cubicBezTo>
                              <a:pt x="75502" y="24795"/>
                              <a:pt x="83211" y="22631"/>
                              <a:pt x="90345" y="19168"/>
                            </a:cubicBezTo>
                            <a:cubicBezTo>
                              <a:pt x="77728" y="13396"/>
                              <a:pt x="65648" y="6758"/>
                              <a:pt x="53443" y="-4"/>
                            </a:cubicBezTo>
                            <a:close/>
                          </a:path>
                        </a:pathLst>
                      </a:custGeom>
                      <a:grpFill/>
                      <a:ln w="635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>
                        <a:defPPr>
                          <a:defRPr lang="en-US"/>
                        </a:defPPr>
                      </a:lstStyle>
                      <a:p>
                        <a:pPr marL="0" marR="0" lvl="0" indent="0" algn="l" defTabSz="1462923" rtl="0" eaLnBrk="1" fontAlgn="auto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defRPr kumimoji="0" sz="2160" b="0" i="0" normalizeH="0" noProof="0">
                            <a:solidFill>
                              <a:srgbClr val="000000"/>
                            </a:solidFill>
                            <a:uLnTx/>
                            <a:uFillTx/>
                            <a:latin typeface="+mn-lt"/>
                            <a:ea typeface="+mn-ea"/>
                            <a:cs typeface="+mn-cs"/>
                          </a:defRPr>
                        </a:pPr>
                        <a:endParaRPr kumimoji="0" lang="en-US" sz="288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cs typeface="Arial" pitchFamily="34" charset="0"/>
                        </a:endParaRPr>
                      </a:p>
                    </p:txBody>
                  </p:sp>
                  <p:sp>
                    <p:nvSpPr>
                      <p:cNvPr id="164" name="Russia group">
                        <a:extLst>
                          <a:ext uri="{FF2B5EF4-FFF2-40B4-BE49-F238E27FC236}">
                            <a16:creationId xmlns:a16="http://schemas.microsoft.com/office/drawing/2014/main" id="{1B7E601A-3AE8-4E01-3490-F81D5A0D4FA3}"/>
                          </a:ext>
                        </a:extLst>
                      </p:cNvPr>
                      <p:cNvSpPr/>
                      <p:nvPr>
                        <p:custDataLst>
                          <p:tags r:id="rId429"/>
                        </p:custDataLst>
                      </p:nvPr>
                    </p:nvSpPr>
                    <p:spPr>
                      <a:xfrm>
                        <a:off x="11502769" y="1456240"/>
                        <a:ext cx="37949" cy="23686"/>
                      </a:xfrm>
                      <a:custGeom>
                        <a:avLst/>
                        <a:gdLst>
                          <a:gd name="connsiteX0" fmla="*/ 44313 w 44312"/>
                          <a:gd name="connsiteY0" fmla="*/ 7357 h 27656"/>
                          <a:gd name="connsiteX1" fmla="*/ 6464 w 44312"/>
                          <a:gd name="connsiteY1" fmla="*/ 25169 h 27656"/>
                          <a:gd name="connsiteX2" fmla="*/ 44313 w 44312"/>
                          <a:gd name="connsiteY2" fmla="*/ 7357 h 2765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44312" h="27656">
                            <a:moveTo>
                              <a:pt x="44313" y="7357"/>
                            </a:moveTo>
                            <a:cubicBezTo>
                              <a:pt x="44313" y="-13258"/>
                              <a:pt x="-20212" y="14902"/>
                              <a:pt x="6464" y="25169"/>
                            </a:cubicBezTo>
                            <a:cubicBezTo>
                              <a:pt x="20688" y="30694"/>
                              <a:pt x="44313" y="27931"/>
                              <a:pt x="44313" y="7357"/>
                            </a:cubicBezTo>
                            <a:close/>
                          </a:path>
                        </a:pathLst>
                      </a:custGeom>
                      <a:grpFill/>
                      <a:ln w="635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>
                        <a:defPPr>
                          <a:defRPr lang="en-US"/>
                        </a:defPPr>
                      </a:lstStyle>
                      <a:p>
                        <a:pPr marL="0" marR="0" lvl="0" indent="0" algn="l" defTabSz="1462923" rtl="0" eaLnBrk="1" fontAlgn="auto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defRPr kumimoji="0" sz="2160" b="0" i="0" normalizeH="0" noProof="0">
                            <a:solidFill>
                              <a:srgbClr val="000000"/>
                            </a:solidFill>
                            <a:uLnTx/>
                            <a:uFillTx/>
                            <a:latin typeface="+mn-lt"/>
                            <a:ea typeface="+mn-ea"/>
                            <a:cs typeface="+mn-cs"/>
                          </a:defRPr>
                        </a:pPr>
                        <a:endParaRPr kumimoji="0" lang="en-US" sz="288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cs typeface="Arial" pitchFamily="34" charset="0"/>
                        </a:endParaRPr>
                      </a:p>
                    </p:txBody>
                  </p:sp>
                  <p:sp>
                    <p:nvSpPr>
                      <p:cNvPr id="165" name="Russia group">
                        <a:extLst>
                          <a:ext uri="{FF2B5EF4-FFF2-40B4-BE49-F238E27FC236}">
                            <a16:creationId xmlns:a16="http://schemas.microsoft.com/office/drawing/2014/main" id="{32A414DA-9307-619E-C7F1-1189B9E4993B}"/>
                          </a:ext>
                        </a:extLst>
                      </p:cNvPr>
                      <p:cNvSpPr/>
                      <p:nvPr>
                        <p:custDataLst>
                          <p:tags r:id="rId430"/>
                        </p:custDataLst>
                      </p:nvPr>
                    </p:nvSpPr>
                    <p:spPr>
                      <a:xfrm>
                        <a:off x="11520131" y="1489828"/>
                        <a:ext cx="107166" cy="51554"/>
                      </a:xfrm>
                      <a:custGeom>
                        <a:avLst/>
                        <a:gdLst>
                          <a:gd name="connsiteX0" fmla="*/ 118863 w 125136"/>
                          <a:gd name="connsiteY0" fmla="*/ 58638 h 60199"/>
                          <a:gd name="connsiteX1" fmla="*/ 66706 w 125136"/>
                          <a:gd name="connsiteY1" fmla="*/ 915 h 60199"/>
                          <a:gd name="connsiteX2" fmla="*/ 407 w 125136"/>
                          <a:gd name="connsiteY2" fmla="*/ 36621 h 60199"/>
                          <a:gd name="connsiteX3" fmla="*/ 118863 w 125136"/>
                          <a:gd name="connsiteY3" fmla="*/ 58638 h 6019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125133" h="60199">
                            <a:moveTo>
                              <a:pt x="118863" y="58638"/>
                            </a:moveTo>
                            <a:cubicBezTo>
                              <a:pt x="140137" y="53195"/>
                              <a:pt x="103442" y="7924"/>
                              <a:pt x="66706" y="915"/>
                            </a:cubicBezTo>
                            <a:cubicBezTo>
                              <a:pt x="29969" y="-6094"/>
                              <a:pt x="-4128" y="29034"/>
                              <a:pt x="407" y="36621"/>
                            </a:cubicBezTo>
                            <a:cubicBezTo>
                              <a:pt x="11087" y="54556"/>
                              <a:pt x="97505" y="64163"/>
                              <a:pt x="118863" y="58638"/>
                            </a:cubicBezTo>
                            <a:close/>
                          </a:path>
                        </a:pathLst>
                      </a:custGeom>
                      <a:grpFill/>
                      <a:ln w="635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>
                        <a:defPPr>
                          <a:defRPr lang="en-US"/>
                        </a:defPPr>
                      </a:lstStyle>
                      <a:p>
                        <a:pPr marL="0" marR="0" lvl="0" indent="0" algn="l" defTabSz="1462923" rtl="0" eaLnBrk="1" fontAlgn="auto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defRPr kumimoji="0" sz="2160" b="0" i="0" normalizeH="0" noProof="0">
                            <a:solidFill>
                              <a:srgbClr val="000000"/>
                            </a:solidFill>
                            <a:uLnTx/>
                            <a:uFillTx/>
                            <a:latin typeface="+mn-lt"/>
                            <a:ea typeface="+mn-ea"/>
                            <a:cs typeface="+mn-cs"/>
                          </a:defRPr>
                        </a:pPr>
                        <a:endParaRPr kumimoji="0" lang="en-US" sz="288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cs typeface="Arial" pitchFamily="34" charset="0"/>
                        </a:endParaRPr>
                      </a:p>
                    </p:txBody>
                  </p:sp>
                  <p:sp>
                    <p:nvSpPr>
                      <p:cNvPr id="166" name="Russia group">
                        <a:extLst>
                          <a:ext uri="{FF2B5EF4-FFF2-40B4-BE49-F238E27FC236}">
                            <a16:creationId xmlns:a16="http://schemas.microsoft.com/office/drawing/2014/main" id="{D47FBC0E-4812-212F-4B44-AB77314DA293}"/>
                          </a:ext>
                        </a:extLst>
                      </p:cNvPr>
                      <p:cNvSpPr/>
                      <p:nvPr>
                        <p:custDataLst>
                          <p:tags r:id="rId431"/>
                        </p:custDataLst>
                      </p:nvPr>
                    </p:nvSpPr>
                    <p:spPr>
                      <a:xfrm>
                        <a:off x="8522552" y="931955"/>
                        <a:ext cx="43958" cy="19111"/>
                      </a:xfrm>
                      <a:custGeom>
                        <a:avLst/>
                        <a:gdLst>
                          <a:gd name="connsiteX0" fmla="*/ 51330 w 51329"/>
                          <a:gd name="connsiteY0" fmla="*/ 9055 h 22316"/>
                          <a:gd name="connsiteX1" fmla="*/ 1565 w 51329"/>
                          <a:gd name="connsiteY1" fmla="*/ 15941 h 22316"/>
                          <a:gd name="connsiteX2" fmla="*/ 51330 w 51329"/>
                          <a:gd name="connsiteY2" fmla="*/ 9055 h 2231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51329" h="22316">
                            <a:moveTo>
                              <a:pt x="51330" y="9055"/>
                            </a:moveTo>
                            <a:cubicBezTo>
                              <a:pt x="51330" y="-12879"/>
                              <a:pt x="-10516" y="11323"/>
                              <a:pt x="1565" y="15941"/>
                            </a:cubicBezTo>
                            <a:cubicBezTo>
                              <a:pt x="12202" y="20023"/>
                              <a:pt x="51330" y="30990"/>
                              <a:pt x="51330" y="9055"/>
                            </a:cubicBezTo>
                            <a:close/>
                          </a:path>
                        </a:pathLst>
                      </a:custGeom>
                      <a:grpFill/>
                      <a:ln w="635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>
                        <a:defPPr>
                          <a:defRPr lang="en-US"/>
                        </a:defPPr>
                      </a:lstStyle>
                      <a:p>
                        <a:pPr marL="0" marR="0" lvl="0" indent="0" algn="l" defTabSz="1462923" rtl="0" eaLnBrk="1" fontAlgn="auto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defRPr kumimoji="0" sz="2160" b="0" i="0" normalizeH="0" noProof="0">
                            <a:solidFill>
                              <a:srgbClr val="000000"/>
                            </a:solidFill>
                            <a:uLnTx/>
                            <a:uFillTx/>
                            <a:latin typeface="+mn-lt"/>
                            <a:ea typeface="+mn-ea"/>
                            <a:cs typeface="+mn-cs"/>
                          </a:defRPr>
                        </a:pPr>
                        <a:endParaRPr kumimoji="0" lang="en-US" sz="288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cs typeface="Arial" pitchFamily="34" charset="0"/>
                        </a:endParaRPr>
                      </a:p>
                    </p:txBody>
                  </p:sp>
                  <p:sp>
                    <p:nvSpPr>
                      <p:cNvPr id="167" name="Russia group">
                        <a:extLst>
                          <a:ext uri="{FF2B5EF4-FFF2-40B4-BE49-F238E27FC236}">
                            <a16:creationId xmlns:a16="http://schemas.microsoft.com/office/drawing/2014/main" id="{A801625B-0F9A-93F3-3BCA-5B3E443B7046}"/>
                          </a:ext>
                        </a:extLst>
                      </p:cNvPr>
                      <p:cNvSpPr/>
                      <p:nvPr>
                        <p:custDataLst>
                          <p:tags r:id="rId432"/>
                        </p:custDataLst>
                      </p:nvPr>
                    </p:nvSpPr>
                    <p:spPr>
                      <a:xfrm>
                        <a:off x="8770999" y="871901"/>
                        <a:ext cx="101329" cy="53104"/>
                      </a:xfrm>
                      <a:custGeom>
                        <a:avLst/>
                        <a:gdLst>
                          <a:gd name="connsiteX0" fmla="*/ 116586 w 118320"/>
                          <a:gd name="connsiteY0" fmla="*/ 35267 h 62008"/>
                          <a:gd name="connsiteX1" fmla="*/ 98816 w 118320"/>
                          <a:gd name="connsiteY1" fmla="*/ 10529 h 62008"/>
                          <a:gd name="connsiteX2" fmla="*/ 33671 w 118320"/>
                          <a:gd name="connsiteY2" fmla="*/ 9127 h 62008"/>
                          <a:gd name="connsiteX3" fmla="*/ 2872 w 118320"/>
                          <a:gd name="connsiteY3" fmla="*/ 51636 h 62008"/>
                          <a:gd name="connsiteX4" fmla="*/ 116586 w 118320"/>
                          <a:gd name="connsiteY4" fmla="*/ 35267 h 6200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18320" h="62008">
                            <a:moveTo>
                              <a:pt x="116586" y="35267"/>
                            </a:moveTo>
                            <a:cubicBezTo>
                              <a:pt x="124832" y="22898"/>
                              <a:pt x="101125" y="22898"/>
                              <a:pt x="98816" y="10529"/>
                            </a:cubicBezTo>
                            <a:cubicBezTo>
                              <a:pt x="96506" y="-1840"/>
                              <a:pt x="30084" y="-4561"/>
                              <a:pt x="33671" y="9127"/>
                            </a:cubicBezTo>
                            <a:cubicBezTo>
                              <a:pt x="37258" y="22816"/>
                              <a:pt x="-12219" y="37782"/>
                              <a:pt x="2872" y="51636"/>
                            </a:cubicBezTo>
                            <a:cubicBezTo>
                              <a:pt x="31279" y="77817"/>
                              <a:pt x="108257" y="47636"/>
                              <a:pt x="116586" y="35267"/>
                            </a:cubicBezTo>
                            <a:close/>
                          </a:path>
                        </a:pathLst>
                      </a:custGeom>
                      <a:grpFill/>
                      <a:ln w="635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>
                        <a:defPPr>
                          <a:defRPr lang="en-US"/>
                        </a:defPPr>
                      </a:lstStyle>
                      <a:p>
                        <a:pPr marL="0" marR="0" lvl="0" indent="0" algn="l" defTabSz="1462923" rtl="0" eaLnBrk="1" fontAlgn="auto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defRPr kumimoji="0" sz="2160" b="0" i="0" normalizeH="0" noProof="0">
                            <a:solidFill>
                              <a:srgbClr val="000000"/>
                            </a:solidFill>
                            <a:uLnTx/>
                            <a:uFillTx/>
                            <a:latin typeface="+mn-lt"/>
                            <a:ea typeface="+mn-ea"/>
                            <a:cs typeface="+mn-cs"/>
                          </a:defRPr>
                        </a:pPr>
                        <a:endParaRPr kumimoji="0" lang="en-US" sz="288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cs typeface="Arial" pitchFamily="34" charset="0"/>
                        </a:endParaRPr>
                      </a:p>
                    </p:txBody>
                  </p:sp>
                  <p:sp>
                    <p:nvSpPr>
                      <p:cNvPr id="168" name="Russia group">
                        <a:extLst>
                          <a:ext uri="{FF2B5EF4-FFF2-40B4-BE49-F238E27FC236}">
                            <a16:creationId xmlns:a16="http://schemas.microsoft.com/office/drawing/2014/main" id="{CF6549B4-9D05-3036-B370-0F1B932BBF5D}"/>
                          </a:ext>
                        </a:extLst>
                      </p:cNvPr>
                      <p:cNvSpPr/>
                      <p:nvPr>
                        <p:custDataLst>
                          <p:tags r:id="rId433"/>
                        </p:custDataLst>
                      </p:nvPr>
                    </p:nvSpPr>
                    <p:spPr>
                      <a:xfrm>
                        <a:off x="10518291" y="1434255"/>
                        <a:ext cx="62867" cy="33895"/>
                      </a:xfrm>
                      <a:custGeom>
                        <a:avLst/>
                        <a:gdLst>
                          <a:gd name="connsiteX0" fmla="*/ 24816 w 73408"/>
                          <a:gd name="connsiteY0" fmla="*/ 8331 h 39578"/>
                          <a:gd name="connsiteX1" fmla="*/ 1149 w 73408"/>
                          <a:gd name="connsiteY1" fmla="*/ 30266 h 39578"/>
                          <a:gd name="connsiteX2" fmla="*/ 73385 w 73408"/>
                          <a:gd name="connsiteY2" fmla="*/ 16536 h 39578"/>
                          <a:gd name="connsiteX3" fmla="*/ 24816 w 73408"/>
                          <a:gd name="connsiteY3" fmla="*/ 8331 h 3957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73408" h="39578">
                            <a:moveTo>
                              <a:pt x="24816" y="8331"/>
                            </a:moveTo>
                            <a:cubicBezTo>
                              <a:pt x="20075" y="19299"/>
                              <a:pt x="-5695" y="19999"/>
                              <a:pt x="1149" y="30266"/>
                            </a:cubicBezTo>
                            <a:cubicBezTo>
                              <a:pt x="12983" y="48119"/>
                              <a:pt x="72189" y="38512"/>
                              <a:pt x="73385" y="16536"/>
                            </a:cubicBezTo>
                            <a:cubicBezTo>
                              <a:pt x="74581" y="-5440"/>
                              <a:pt x="29558" y="-2636"/>
                              <a:pt x="24816" y="8331"/>
                            </a:cubicBezTo>
                            <a:close/>
                          </a:path>
                        </a:pathLst>
                      </a:custGeom>
                      <a:grpFill/>
                      <a:ln w="6350" cap="flat">
                        <a:solidFill>
                          <a:schemeClr val="bg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>
                        <a:defPPr>
                          <a:defRPr lang="en-US"/>
                        </a:defPPr>
                      </a:lstStyle>
                      <a:p>
                        <a:pPr marL="0" marR="0" lvl="0" indent="0" algn="l" defTabSz="1462923" rtl="0" eaLnBrk="1" fontAlgn="auto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defRPr kumimoji="0" sz="2160" b="0" i="0" normalizeH="0" noProof="0">
                            <a:solidFill>
                              <a:srgbClr val="000000"/>
                            </a:solidFill>
                            <a:uLnTx/>
                            <a:uFillTx/>
                            <a:latin typeface="+mn-lt"/>
                            <a:ea typeface="+mn-ea"/>
                            <a:cs typeface="+mn-cs"/>
                          </a:defRPr>
                        </a:pPr>
                        <a:endParaRPr kumimoji="0" lang="en-US" sz="288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cs typeface="Arial" pitchFamily="34" charset="0"/>
                        </a:endParaRPr>
                      </a:p>
                    </p:txBody>
                  </p:sp>
                  <p:sp>
                    <p:nvSpPr>
                      <p:cNvPr id="169" name="Russia group">
                        <a:extLst>
                          <a:ext uri="{FF2B5EF4-FFF2-40B4-BE49-F238E27FC236}">
                            <a16:creationId xmlns:a16="http://schemas.microsoft.com/office/drawing/2014/main" id="{1A0C5946-CBA7-7356-A38B-1038962D6A76}"/>
                          </a:ext>
                        </a:extLst>
                      </p:cNvPr>
                      <p:cNvSpPr/>
                      <p:nvPr>
                        <p:custDataLst>
                          <p:tags r:id="rId434"/>
                        </p:custDataLst>
                      </p:nvPr>
                    </p:nvSpPr>
                    <p:spPr>
                      <a:xfrm>
                        <a:off x="11683045" y="1599848"/>
                        <a:ext cx="37260" cy="7106"/>
                      </a:xfrm>
                      <a:custGeom>
                        <a:avLst/>
                        <a:gdLst>
                          <a:gd name="connsiteX0" fmla="*/ 1 w 43508"/>
                          <a:gd name="connsiteY0" fmla="*/ 2817 h 8298"/>
                          <a:gd name="connsiteX1" fmla="*/ 3217 w 43508"/>
                          <a:gd name="connsiteY1" fmla="*/ 3601 h 8298"/>
                          <a:gd name="connsiteX2" fmla="*/ 43499 w 43508"/>
                          <a:gd name="connsiteY2" fmla="*/ 3601 h 8298"/>
                          <a:gd name="connsiteX3" fmla="*/ 43292 w 43508"/>
                          <a:gd name="connsiteY3" fmla="*/ 1952 h 8298"/>
                          <a:gd name="connsiteX4" fmla="*/ 1 w 43508"/>
                          <a:gd name="connsiteY4" fmla="*/ 2817 h 829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43508" h="8298">
                            <a:moveTo>
                              <a:pt x="1" y="2817"/>
                            </a:moveTo>
                            <a:cubicBezTo>
                              <a:pt x="1073" y="3019"/>
                              <a:pt x="2145" y="3283"/>
                              <a:pt x="3217" y="3601"/>
                            </a:cubicBezTo>
                            <a:cubicBezTo>
                              <a:pt x="17441" y="8425"/>
                              <a:pt x="42344" y="11146"/>
                              <a:pt x="43499" y="3601"/>
                            </a:cubicBezTo>
                            <a:cubicBezTo>
                              <a:pt x="43540" y="3044"/>
                              <a:pt x="43458" y="2483"/>
                              <a:pt x="43292" y="1952"/>
                            </a:cubicBezTo>
                            <a:cubicBezTo>
                              <a:pt x="28986" y="-922"/>
                              <a:pt x="14184" y="-625"/>
                              <a:pt x="1" y="2817"/>
                            </a:cubicBezTo>
                            <a:close/>
                          </a:path>
                        </a:pathLst>
                      </a:custGeom>
                      <a:grpFill/>
                      <a:ln w="6350" cap="flat">
                        <a:solidFill>
                          <a:schemeClr val="bg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>
                        <a:defPPr>
                          <a:defRPr lang="en-US"/>
                        </a:defPPr>
                      </a:lstStyle>
                      <a:p>
                        <a:pPr marL="0" marR="0" lvl="0" indent="0" algn="l" defTabSz="1462923" rtl="0" eaLnBrk="1" fontAlgn="auto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defRPr kumimoji="0" sz="2160" b="0" i="0" normalizeH="0" noProof="0">
                            <a:solidFill>
                              <a:srgbClr val="000000"/>
                            </a:solidFill>
                            <a:uLnTx/>
                            <a:uFillTx/>
                            <a:latin typeface="+mn-lt"/>
                            <a:ea typeface="+mn-ea"/>
                            <a:cs typeface="+mn-cs"/>
                          </a:defRPr>
                        </a:pPr>
                        <a:endParaRPr kumimoji="0" lang="en-US" sz="288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cs typeface="Arial" pitchFamily="34" charset="0"/>
                        </a:endParaRPr>
                      </a:p>
                    </p:txBody>
                  </p:sp>
                  <p:sp>
                    <p:nvSpPr>
                      <p:cNvPr id="170" name="Russia group">
                        <a:extLst>
                          <a:ext uri="{FF2B5EF4-FFF2-40B4-BE49-F238E27FC236}">
                            <a16:creationId xmlns:a16="http://schemas.microsoft.com/office/drawing/2014/main" id="{25F2D82A-CA33-0912-D180-E9320E73F10E}"/>
                          </a:ext>
                        </a:extLst>
                      </p:cNvPr>
                      <p:cNvSpPr/>
                      <p:nvPr>
                        <p:custDataLst>
                          <p:tags r:id="rId435"/>
                        </p:custDataLst>
                      </p:nvPr>
                    </p:nvSpPr>
                    <p:spPr>
                      <a:xfrm>
                        <a:off x="12498844" y="1789229"/>
                        <a:ext cx="24422" cy="27716"/>
                      </a:xfrm>
                      <a:custGeom>
                        <a:avLst/>
                        <a:gdLst>
                          <a:gd name="connsiteX0" fmla="*/ 1 w 28517"/>
                          <a:gd name="connsiteY0" fmla="*/ 28197 h 32364"/>
                          <a:gd name="connsiteX1" fmla="*/ 28449 w 28517"/>
                          <a:gd name="connsiteY1" fmla="*/ 14303 h 32364"/>
                          <a:gd name="connsiteX2" fmla="*/ 18554 w 28517"/>
                          <a:gd name="connsiteY2" fmla="*/ -4 h 32364"/>
                          <a:gd name="connsiteX3" fmla="*/ 1 w 28517"/>
                          <a:gd name="connsiteY3" fmla="*/ 28197 h 3236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28517" h="32364">
                            <a:moveTo>
                              <a:pt x="1" y="28197"/>
                            </a:moveTo>
                            <a:cubicBezTo>
                              <a:pt x="11709" y="38175"/>
                              <a:pt x="26759" y="28898"/>
                              <a:pt x="28449" y="14303"/>
                            </a:cubicBezTo>
                            <a:cubicBezTo>
                              <a:pt x="29108" y="8778"/>
                              <a:pt x="24944" y="3913"/>
                              <a:pt x="18554" y="-4"/>
                            </a:cubicBezTo>
                            <a:cubicBezTo>
                              <a:pt x="15626" y="11173"/>
                              <a:pt x="9112" y="21081"/>
                              <a:pt x="1" y="28197"/>
                            </a:cubicBezTo>
                            <a:close/>
                          </a:path>
                        </a:pathLst>
                      </a:custGeom>
                      <a:grpFill/>
                      <a:ln w="6350" cap="flat">
                        <a:solidFill>
                          <a:schemeClr val="bg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>
                        <a:defPPr>
                          <a:defRPr lang="en-US"/>
                        </a:defPPr>
                      </a:lstStyle>
                      <a:p>
                        <a:pPr marL="0" marR="0" lvl="0" indent="0" algn="l" defTabSz="1462923" rtl="0" eaLnBrk="1" fontAlgn="auto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defRPr kumimoji="0" sz="2160" b="0" i="0" normalizeH="0" noProof="0">
                            <a:solidFill>
                              <a:srgbClr val="000000"/>
                            </a:solidFill>
                            <a:uLnTx/>
                            <a:uFillTx/>
                            <a:latin typeface="+mn-lt"/>
                            <a:ea typeface="+mn-ea"/>
                            <a:cs typeface="+mn-cs"/>
                          </a:defRPr>
                        </a:pPr>
                        <a:endParaRPr kumimoji="0" lang="en-US" sz="288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cs typeface="Arial" pitchFamily="34" charset="0"/>
                        </a:endParaRPr>
                      </a:p>
                    </p:txBody>
                  </p:sp>
                  <p:sp>
                    <p:nvSpPr>
                      <p:cNvPr id="171" name="Russia group">
                        <a:extLst>
                          <a:ext uri="{FF2B5EF4-FFF2-40B4-BE49-F238E27FC236}">
                            <a16:creationId xmlns:a16="http://schemas.microsoft.com/office/drawing/2014/main" id="{C4435136-5688-E48E-B45E-B77D233D9F09}"/>
                          </a:ext>
                        </a:extLst>
                      </p:cNvPr>
                      <p:cNvSpPr/>
                      <p:nvPr>
                        <p:custDataLst>
                          <p:tags r:id="rId436"/>
                        </p:custDataLst>
                      </p:nvPr>
                    </p:nvSpPr>
                    <p:spPr>
                      <a:xfrm>
                        <a:off x="8343601" y="887808"/>
                        <a:ext cx="147036" cy="65716"/>
                      </a:xfrm>
                      <a:custGeom>
                        <a:avLst/>
                        <a:gdLst>
                          <a:gd name="connsiteX0" fmla="*/ 161699 w 171691"/>
                          <a:gd name="connsiteY0" fmla="*/ -4 h 76734"/>
                          <a:gd name="connsiteX1" fmla="*/ 154401 w 171691"/>
                          <a:gd name="connsiteY1" fmla="*/ 985 h 76734"/>
                          <a:gd name="connsiteX2" fmla="*/ 90742 w 171691"/>
                          <a:gd name="connsiteY2" fmla="*/ 12447 h 76734"/>
                          <a:gd name="connsiteX3" fmla="*/ 93256 w 171691"/>
                          <a:gd name="connsiteY3" fmla="*/ 15334 h 76734"/>
                          <a:gd name="connsiteX4" fmla="*/ 38791 w 171691"/>
                          <a:gd name="connsiteY4" fmla="*/ 38670 h 76734"/>
                          <a:gd name="connsiteX5" fmla="*/ 859 w 171691"/>
                          <a:gd name="connsiteY5" fmla="*/ 63408 h 76734"/>
                          <a:gd name="connsiteX6" fmla="*/ 67199 w 171691"/>
                          <a:gd name="connsiteY6" fmla="*/ 67531 h 76734"/>
                          <a:gd name="connsiteX7" fmla="*/ 99153 w 171691"/>
                          <a:gd name="connsiteY7" fmla="*/ 53760 h 76734"/>
                          <a:gd name="connsiteX8" fmla="*/ 146568 w 171691"/>
                          <a:gd name="connsiteY8" fmla="*/ 24899 h 76734"/>
                          <a:gd name="connsiteX9" fmla="*/ 161699 w 171691"/>
                          <a:gd name="connsiteY9" fmla="*/ -4 h 7673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</a:cxnLst>
                        <a:rect l="l" t="t" r="r" b="b"/>
                        <a:pathLst>
                          <a:path w="171691" h="76734">
                            <a:moveTo>
                              <a:pt x="161699" y="-4"/>
                            </a:moveTo>
                            <a:lnTo>
                              <a:pt x="154401" y="985"/>
                            </a:lnTo>
                            <a:cubicBezTo>
                              <a:pt x="133086" y="4119"/>
                              <a:pt x="111851" y="8077"/>
                              <a:pt x="90742" y="12447"/>
                            </a:cubicBezTo>
                            <a:cubicBezTo>
                              <a:pt x="91401" y="13552"/>
                              <a:pt x="92267" y="14529"/>
                              <a:pt x="93256" y="15334"/>
                            </a:cubicBezTo>
                            <a:cubicBezTo>
                              <a:pt x="109749" y="29063"/>
                              <a:pt x="47078" y="24940"/>
                              <a:pt x="38791" y="38670"/>
                            </a:cubicBezTo>
                            <a:cubicBezTo>
                              <a:pt x="30504" y="52400"/>
                              <a:pt x="-6026" y="47411"/>
                              <a:pt x="859" y="63408"/>
                            </a:cubicBezTo>
                            <a:cubicBezTo>
                              <a:pt x="7744" y="79406"/>
                              <a:pt x="67199" y="81261"/>
                              <a:pt x="67199" y="67531"/>
                            </a:cubicBezTo>
                            <a:cubicBezTo>
                              <a:pt x="67199" y="53802"/>
                              <a:pt x="97998" y="66129"/>
                              <a:pt x="99153" y="53760"/>
                            </a:cubicBezTo>
                            <a:cubicBezTo>
                              <a:pt x="100307" y="41391"/>
                              <a:pt x="113419" y="27744"/>
                              <a:pt x="146568" y="24899"/>
                            </a:cubicBezTo>
                            <a:cubicBezTo>
                              <a:pt x="174192" y="22673"/>
                              <a:pt x="178727" y="12736"/>
                              <a:pt x="161699" y="-4"/>
                            </a:cubicBezTo>
                            <a:close/>
                          </a:path>
                        </a:pathLst>
                      </a:custGeom>
                      <a:grpFill/>
                      <a:ln w="635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>
                        <a:defPPr>
                          <a:defRPr lang="en-US"/>
                        </a:defPPr>
                      </a:lstStyle>
                      <a:p>
                        <a:pPr marL="0" marR="0" lvl="0" indent="0" algn="l" defTabSz="1462923" rtl="0" eaLnBrk="1" fontAlgn="auto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defRPr kumimoji="0" sz="2160" b="0" i="0" normalizeH="0" noProof="0">
                            <a:solidFill>
                              <a:srgbClr val="000000"/>
                            </a:solidFill>
                            <a:uLnTx/>
                            <a:uFillTx/>
                            <a:latin typeface="+mn-lt"/>
                            <a:ea typeface="+mn-ea"/>
                            <a:cs typeface="+mn-cs"/>
                          </a:defRPr>
                        </a:pPr>
                        <a:endParaRPr kumimoji="0" lang="en-US" sz="288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cs typeface="Arial" pitchFamily="34" charset="0"/>
                        </a:endParaRPr>
                      </a:p>
                    </p:txBody>
                  </p:sp>
                  <p:sp>
                    <p:nvSpPr>
                      <p:cNvPr id="172" name="Russia group">
                        <a:extLst>
                          <a:ext uri="{FF2B5EF4-FFF2-40B4-BE49-F238E27FC236}">
                            <a16:creationId xmlns:a16="http://schemas.microsoft.com/office/drawing/2014/main" id="{C5ADA96E-A10B-3D5B-9A5C-BEF17C49FAE6}"/>
                          </a:ext>
                        </a:extLst>
                      </p:cNvPr>
                      <p:cNvSpPr/>
                      <p:nvPr>
                        <p:custDataLst>
                          <p:tags r:id="rId437"/>
                        </p:custDataLst>
                      </p:nvPr>
                    </p:nvSpPr>
                    <p:spPr>
                      <a:xfrm>
                        <a:off x="8648385" y="837958"/>
                        <a:ext cx="105823" cy="23050"/>
                      </a:xfrm>
                      <a:custGeom>
                        <a:avLst/>
                        <a:gdLst>
                          <a:gd name="connsiteX0" fmla="*/ 110251 w 123567"/>
                          <a:gd name="connsiteY0" fmla="*/ 3904 h 26914"/>
                          <a:gd name="connsiteX1" fmla="*/ 54053 w 123567"/>
                          <a:gd name="connsiteY1" fmla="*/ 976 h 26914"/>
                          <a:gd name="connsiteX2" fmla="*/ 13400 w 123567"/>
                          <a:gd name="connsiteY2" fmla="*/ 8233 h 26914"/>
                          <a:gd name="connsiteX3" fmla="*/ 1567 w 123567"/>
                          <a:gd name="connsiteY3" fmla="*/ 11449 h 26914"/>
                          <a:gd name="connsiteX4" fmla="*/ 1 w 123567"/>
                          <a:gd name="connsiteY4" fmla="*/ 11943 h 26914"/>
                          <a:gd name="connsiteX5" fmla="*/ 51291 w 123567"/>
                          <a:gd name="connsiteY5" fmla="*/ 26910 h 26914"/>
                          <a:gd name="connsiteX6" fmla="*/ 90336 w 123567"/>
                          <a:gd name="connsiteY6" fmla="*/ 9057 h 26914"/>
                          <a:gd name="connsiteX7" fmla="*/ 123568 w 123567"/>
                          <a:gd name="connsiteY7" fmla="*/ 6996 h 26914"/>
                          <a:gd name="connsiteX8" fmla="*/ 110251 w 123567"/>
                          <a:gd name="connsiteY8" fmla="*/ 3904 h 2691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123567" h="26914">
                            <a:moveTo>
                              <a:pt x="110251" y="3904"/>
                            </a:moveTo>
                            <a:cubicBezTo>
                              <a:pt x="91779" y="2"/>
                              <a:pt x="72813" y="-986"/>
                              <a:pt x="54053" y="976"/>
                            </a:cubicBezTo>
                            <a:cubicBezTo>
                              <a:pt x="54383" y="6955"/>
                              <a:pt x="29851" y="7491"/>
                              <a:pt x="13400" y="8233"/>
                            </a:cubicBezTo>
                            <a:cubicBezTo>
                              <a:pt x="9277" y="9264"/>
                              <a:pt x="5525" y="10294"/>
                              <a:pt x="1567" y="11449"/>
                            </a:cubicBezTo>
                            <a:lnTo>
                              <a:pt x="1" y="11943"/>
                            </a:lnTo>
                            <a:cubicBezTo>
                              <a:pt x="4329" y="19654"/>
                              <a:pt x="24739" y="26910"/>
                              <a:pt x="51291" y="26910"/>
                            </a:cubicBezTo>
                            <a:cubicBezTo>
                              <a:pt x="79698" y="26910"/>
                              <a:pt x="71411" y="6295"/>
                              <a:pt x="90336" y="9057"/>
                            </a:cubicBezTo>
                            <a:cubicBezTo>
                              <a:pt x="102705" y="10872"/>
                              <a:pt x="117218" y="10872"/>
                              <a:pt x="123568" y="6996"/>
                            </a:cubicBezTo>
                            <a:cubicBezTo>
                              <a:pt x="119156" y="5924"/>
                              <a:pt x="114744" y="4893"/>
                              <a:pt x="110251" y="3904"/>
                            </a:cubicBezTo>
                            <a:close/>
                          </a:path>
                        </a:pathLst>
                      </a:custGeom>
                      <a:grpFill/>
                      <a:ln w="635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>
                        <a:defPPr>
                          <a:defRPr lang="en-US"/>
                        </a:defPPr>
                      </a:lstStyle>
                      <a:p>
                        <a:pPr marL="0" marR="0" lvl="0" indent="0" algn="l" defTabSz="1462923" rtl="0" eaLnBrk="1" fontAlgn="auto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defRPr kumimoji="0" sz="2160" b="0" i="0" normalizeH="0" noProof="0">
                            <a:solidFill>
                              <a:srgbClr val="000000"/>
                            </a:solidFill>
                            <a:uLnTx/>
                            <a:uFillTx/>
                            <a:latin typeface="+mn-lt"/>
                            <a:ea typeface="+mn-ea"/>
                            <a:cs typeface="+mn-cs"/>
                          </a:defRPr>
                        </a:pPr>
                        <a:endParaRPr kumimoji="0" lang="en-US" sz="288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cs typeface="Arial" pitchFamily="34" charset="0"/>
                        </a:endParaRPr>
                      </a:p>
                    </p:txBody>
                  </p:sp>
                  <p:sp>
                    <p:nvSpPr>
                      <p:cNvPr id="173" name="Russia group">
                        <a:extLst>
                          <a:ext uri="{FF2B5EF4-FFF2-40B4-BE49-F238E27FC236}">
                            <a16:creationId xmlns:a16="http://schemas.microsoft.com/office/drawing/2014/main" id="{DB94D4E4-560F-32D0-BEFC-01EA7C103970}"/>
                          </a:ext>
                        </a:extLst>
                      </p:cNvPr>
                      <p:cNvSpPr/>
                      <p:nvPr>
                        <p:custDataLst>
                          <p:tags r:id="rId438"/>
                        </p:custDataLst>
                      </p:nvPr>
                    </p:nvSpPr>
                    <p:spPr>
                      <a:xfrm>
                        <a:off x="8647527" y="919890"/>
                        <a:ext cx="115914" cy="45307"/>
                      </a:xfrm>
                      <a:custGeom>
                        <a:avLst/>
                        <a:gdLst>
                          <a:gd name="connsiteX0" fmla="*/ 58184 w 135350"/>
                          <a:gd name="connsiteY0" fmla="*/ 5330 h 52904"/>
                          <a:gd name="connsiteX1" fmla="*/ 28581 w 135350"/>
                          <a:gd name="connsiteY1" fmla="*/ 17699 h 52904"/>
                          <a:gd name="connsiteX2" fmla="*/ 4873 w 135350"/>
                          <a:gd name="connsiteY2" fmla="*/ 45117 h 52904"/>
                          <a:gd name="connsiteX3" fmla="*/ 92529 w 135350"/>
                          <a:gd name="connsiteY3" fmla="*/ 36871 h 52904"/>
                          <a:gd name="connsiteX4" fmla="*/ 135161 w 135350"/>
                          <a:gd name="connsiteY4" fmla="*/ 17658 h 52904"/>
                          <a:gd name="connsiteX5" fmla="*/ 58184 w 135350"/>
                          <a:gd name="connsiteY5" fmla="*/ 5330 h 5290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</a:cxnLst>
                        <a:rect l="l" t="t" r="r" b="b"/>
                        <a:pathLst>
                          <a:path w="135350" h="52904">
                            <a:moveTo>
                              <a:pt x="58184" y="5330"/>
                            </a:moveTo>
                            <a:cubicBezTo>
                              <a:pt x="61730" y="16256"/>
                              <a:pt x="52288" y="17699"/>
                              <a:pt x="28581" y="17699"/>
                            </a:cubicBezTo>
                            <a:cubicBezTo>
                              <a:pt x="4873" y="17699"/>
                              <a:pt x="-7496" y="33202"/>
                              <a:pt x="4873" y="45117"/>
                            </a:cubicBezTo>
                            <a:cubicBezTo>
                              <a:pt x="19097" y="58847"/>
                              <a:pt x="81850" y="53363"/>
                              <a:pt x="92529" y="36871"/>
                            </a:cubicBezTo>
                            <a:cubicBezTo>
                              <a:pt x="103207" y="20379"/>
                              <a:pt x="130420" y="34109"/>
                              <a:pt x="135161" y="17658"/>
                            </a:cubicBezTo>
                            <a:cubicBezTo>
                              <a:pt x="139903" y="1207"/>
                              <a:pt x="54637" y="-5638"/>
                              <a:pt x="58184" y="5330"/>
                            </a:cubicBezTo>
                            <a:close/>
                          </a:path>
                        </a:pathLst>
                      </a:custGeom>
                      <a:grpFill/>
                      <a:ln w="635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>
                        <a:defPPr>
                          <a:defRPr lang="en-US"/>
                        </a:defPPr>
                      </a:lstStyle>
                      <a:p>
                        <a:pPr marL="0" marR="0" lvl="0" indent="0" algn="l" defTabSz="1462923" rtl="0" eaLnBrk="1" fontAlgn="auto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defRPr kumimoji="0" sz="2160" b="0" i="0" normalizeH="0" noProof="0">
                            <a:solidFill>
                              <a:srgbClr val="000000"/>
                            </a:solidFill>
                            <a:uLnTx/>
                            <a:uFillTx/>
                            <a:latin typeface="+mn-lt"/>
                            <a:ea typeface="+mn-ea"/>
                            <a:cs typeface="+mn-cs"/>
                          </a:defRPr>
                        </a:pPr>
                        <a:endParaRPr kumimoji="0" lang="en-US" sz="288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cs typeface="Arial" pitchFamily="34" charset="0"/>
                        </a:endParaRPr>
                      </a:p>
                    </p:txBody>
                  </p:sp>
                  <p:sp>
                    <p:nvSpPr>
                      <p:cNvPr id="174" name="Russia group">
                        <a:extLst>
                          <a:ext uri="{FF2B5EF4-FFF2-40B4-BE49-F238E27FC236}">
                            <a16:creationId xmlns:a16="http://schemas.microsoft.com/office/drawing/2014/main" id="{F6F5726F-BEC7-9BFF-34ED-8BC89D126D24}"/>
                          </a:ext>
                        </a:extLst>
                      </p:cNvPr>
                      <p:cNvSpPr/>
                      <p:nvPr>
                        <p:custDataLst>
                          <p:tags r:id="rId439"/>
                        </p:custDataLst>
                      </p:nvPr>
                    </p:nvSpPr>
                    <p:spPr>
                      <a:xfrm>
                        <a:off x="8588848" y="856957"/>
                        <a:ext cx="120870" cy="51535"/>
                      </a:xfrm>
                      <a:custGeom>
                        <a:avLst/>
                        <a:gdLst>
                          <a:gd name="connsiteX0" fmla="*/ 140925 w 141137"/>
                          <a:gd name="connsiteY0" fmla="*/ 30825 h 60177"/>
                          <a:gd name="connsiteX1" fmla="*/ 72194 w 141137"/>
                          <a:gd name="connsiteY1" fmla="*/ 10210 h 60177"/>
                          <a:gd name="connsiteX2" fmla="*/ 43786 w 141137"/>
                          <a:gd name="connsiteY2" fmla="*/ 17013 h 60177"/>
                          <a:gd name="connsiteX3" fmla="*/ 1113 w 141137"/>
                          <a:gd name="connsiteY3" fmla="*/ 45874 h 60177"/>
                          <a:gd name="connsiteX4" fmla="*/ 140925 w 141137"/>
                          <a:gd name="connsiteY4" fmla="*/ 30825 h 6017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41137" h="60177">
                            <a:moveTo>
                              <a:pt x="140925" y="30825"/>
                            </a:moveTo>
                            <a:cubicBezTo>
                              <a:pt x="144471" y="1964"/>
                              <a:pt x="103035" y="25300"/>
                              <a:pt x="72194" y="10210"/>
                            </a:cubicBezTo>
                            <a:cubicBezTo>
                              <a:pt x="41354" y="-4880"/>
                              <a:pt x="23253" y="-3767"/>
                              <a:pt x="43786" y="17013"/>
                            </a:cubicBezTo>
                            <a:cubicBezTo>
                              <a:pt x="53269" y="26620"/>
                              <a:pt x="-8988" y="34124"/>
                              <a:pt x="1113" y="45874"/>
                            </a:cubicBezTo>
                            <a:cubicBezTo>
                              <a:pt x="23625" y="71973"/>
                              <a:pt x="137339" y="59604"/>
                              <a:pt x="140925" y="30825"/>
                            </a:cubicBezTo>
                            <a:close/>
                          </a:path>
                        </a:pathLst>
                      </a:custGeom>
                      <a:grpFill/>
                      <a:ln w="635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>
                        <a:defPPr>
                          <a:defRPr lang="en-US"/>
                        </a:defPPr>
                      </a:lstStyle>
                      <a:p>
                        <a:pPr marL="0" marR="0" lvl="0" indent="0" algn="l" defTabSz="1462923" rtl="0" eaLnBrk="1" fontAlgn="auto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defRPr kumimoji="0" sz="2160" b="0" i="0" normalizeH="0" noProof="0">
                            <a:solidFill>
                              <a:srgbClr val="000000"/>
                            </a:solidFill>
                            <a:uLnTx/>
                            <a:uFillTx/>
                            <a:latin typeface="+mn-lt"/>
                            <a:ea typeface="+mn-ea"/>
                            <a:cs typeface="+mn-cs"/>
                          </a:defRPr>
                        </a:pPr>
                        <a:endParaRPr kumimoji="0" lang="en-US" sz="288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cs typeface="Arial" pitchFamily="34" charset="0"/>
                        </a:endParaRPr>
                      </a:p>
                    </p:txBody>
                  </p:sp>
                  <p:sp>
                    <p:nvSpPr>
                      <p:cNvPr id="175" name="Russia group">
                        <a:extLst>
                          <a:ext uri="{FF2B5EF4-FFF2-40B4-BE49-F238E27FC236}">
                            <a16:creationId xmlns:a16="http://schemas.microsoft.com/office/drawing/2014/main" id="{711028E3-EF35-79BF-046D-C6AD8040BADA}"/>
                          </a:ext>
                        </a:extLst>
                      </p:cNvPr>
                      <p:cNvSpPr/>
                      <p:nvPr>
                        <p:custDataLst>
                          <p:tags r:id="rId440"/>
                        </p:custDataLst>
                      </p:nvPr>
                    </p:nvSpPr>
                    <p:spPr>
                      <a:xfrm>
                        <a:off x="9853144" y="882688"/>
                        <a:ext cx="176915" cy="119700"/>
                      </a:xfrm>
                      <a:custGeom>
                        <a:avLst/>
                        <a:gdLst>
                          <a:gd name="connsiteX0" fmla="*/ 205623 w 206580"/>
                          <a:gd name="connsiteY0" fmla="*/ 53884 h 139771"/>
                          <a:gd name="connsiteX1" fmla="*/ 173752 w 206580"/>
                          <a:gd name="connsiteY1" fmla="*/ 68809 h 139771"/>
                          <a:gd name="connsiteX2" fmla="*/ 130048 w 206580"/>
                          <a:gd name="connsiteY2" fmla="*/ 23745 h 139771"/>
                          <a:gd name="connsiteX3" fmla="*/ 130048 w 206580"/>
                          <a:gd name="connsiteY3" fmla="*/ 9396 h 139771"/>
                          <a:gd name="connsiteX4" fmla="*/ 126296 w 206580"/>
                          <a:gd name="connsiteY4" fmla="*/ 5974 h 139771"/>
                          <a:gd name="connsiteX5" fmla="*/ 96610 w 206580"/>
                          <a:gd name="connsiteY5" fmla="*/ 8613 h 139771"/>
                          <a:gd name="connsiteX6" fmla="*/ 58967 w 206580"/>
                          <a:gd name="connsiteY6" fmla="*/ -4 h 139771"/>
                          <a:gd name="connsiteX7" fmla="*/ 59998 w 206580"/>
                          <a:gd name="connsiteY7" fmla="*/ 14426 h 139771"/>
                          <a:gd name="connsiteX8" fmla="*/ 42227 w 206580"/>
                          <a:gd name="connsiteY8" fmla="*/ 46050 h 139771"/>
                          <a:gd name="connsiteX9" fmla="*/ 43382 w 206580"/>
                          <a:gd name="connsiteY9" fmla="*/ 77550 h 139771"/>
                          <a:gd name="connsiteX10" fmla="*/ 33899 w 206580"/>
                          <a:gd name="connsiteY10" fmla="*/ 95403 h 139771"/>
                          <a:gd name="connsiteX11" fmla="*/ 5490 w 206580"/>
                          <a:gd name="connsiteY11" fmla="*/ 111895 h 139771"/>
                          <a:gd name="connsiteX12" fmla="*/ 41031 w 206580"/>
                          <a:gd name="connsiteY12" fmla="*/ 139314 h 139771"/>
                          <a:gd name="connsiteX13" fmla="*/ 43299 w 206580"/>
                          <a:gd name="connsiteY13" fmla="*/ 139767 h 139771"/>
                          <a:gd name="connsiteX14" fmla="*/ 73274 w 206580"/>
                          <a:gd name="connsiteY14" fmla="*/ 127398 h 139771"/>
                          <a:gd name="connsiteX15" fmla="*/ 79170 w 206580"/>
                          <a:gd name="connsiteY15" fmla="*/ 127769 h 139771"/>
                          <a:gd name="connsiteX16" fmla="*/ 88405 w 206580"/>
                          <a:gd name="connsiteY16" fmla="*/ 106370 h 139771"/>
                          <a:gd name="connsiteX17" fmla="*/ 198573 w 206580"/>
                          <a:gd name="connsiteY17" fmla="*/ 67944 h 139771"/>
                          <a:gd name="connsiteX18" fmla="*/ 205623 w 206580"/>
                          <a:gd name="connsiteY18" fmla="*/ 53884 h 13977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</a:cxnLst>
                        <a:rect l="l" t="t" r="r" b="b"/>
                        <a:pathLst>
                          <a:path w="206580" h="139771">
                            <a:moveTo>
                              <a:pt x="205623" y="53884"/>
                            </a:moveTo>
                            <a:cubicBezTo>
                              <a:pt x="197377" y="62875"/>
                              <a:pt x="185915" y="68241"/>
                              <a:pt x="173752" y="68809"/>
                            </a:cubicBezTo>
                            <a:cubicBezTo>
                              <a:pt x="150168" y="69881"/>
                              <a:pt x="130048" y="47287"/>
                              <a:pt x="130048" y="23745"/>
                            </a:cubicBezTo>
                            <a:lnTo>
                              <a:pt x="130048" y="9396"/>
                            </a:lnTo>
                            <a:cubicBezTo>
                              <a:pt x="128687" y="8324"/>
                              <a:pt x="127533" y="7129"/>
                              <a:pt x="126296" y="5974"/>
                            </a:cubicBezTo>
                            <a:cubicBezTo>
                              <a:pt x="117101" y="10560"/>
                              <a:pt x="106505" y="11502"/>
                              <a:pt x="96610" y="8613"/>
                            </a:cubicBezTo>
                            <a:cubicBezTo>
                              <a:pt x="84241" y="4490"/>
                              <a:pt x="71336" y="3707"/>
                              <a:pt x="58967" y="-4"/>
                            </a:cubicBezTo>
                            <a:cubicBezTo>
                              <a:pt x="52576" y="5067"/>
                              <a:pt x="52370" y="10056"/>
                              <a:pt x="59998" y="14426"/>
                            </a:cubicBezTo>
                            <a:cubicBezTo>
                              <a:pt x="76490" y="24074"/>
                              <a:pt x="59998" y="47411"/>
                              <a:pt x="42227" y="46050"/>
                            </a:cubicBezTo>
                            <a:cubicBezTo>
                              <a:pt x="24457" y="44690"/>
                              <a:pt x="20910" y="66665"/>
                              <a:pt x="43382" y="77550"/>
                            </a:cubicBezTo>
                            <a:cubicBezTo>
                              <a:pt x="65852" y="88435"/>
                              <a:pt x="57606" y="95403"/>
                              <a:pt x="33899" y="95403"/>
                            </a:cubicBezTo>
                            <a:cubicBezTo>
                              <a:pt x="10191" y="95403"/>
                              <a:pt x="-10135" y="104639"/>
                              <a:pt x="5490" y="111895"/>
                            </a:cubicBezTo>
                            <a:cubicBezTo>
                              <a:pt x="17365" y="117379"/>
                              <a:pt x="16128" y="132510"/>
                              <a:pt x="41031" y="139314"/>
                            </a:cubicBezTo>
                            <a:cubicBezTo>
                              <a:pt x="41773" y="139314"/>
                              <a:pt x="42556" y="139602"/>
                              <a:pt x="43299" y="139767"/>
                            </a:cubicBezTo>
                            <a:cubicBezTo>
                              <a:pt x="51339" y="131970"/>
                              <a:pt x="62059" y="127546"/>
                              <a:pt x="73274" y="127398"/>
                            </a:cubicBezTo>
                            <a:cubicBezTo>
                              <a:pt x="75253" y="127320"/>
                              <a:pt x="77232" y="127443"/>
                              <a:pt x="79170" y="127769"/>
                            </a:cubicBezTo>
                            <a:cubicBezTo>
                              <a:pt x="85643" y="121213"/>
                              <a:pt x="89395" y="113215"/>
                              <a:pt x="88405" y="106370"/>
                            </a:cubicBezTo>
                            <a:cubicBezTo>
                              <a:pt x="86013" y="89878"/>
                              <a:pt x="174989" y="74829"/>
                              <a:pt x="198573" y="67944"/>
                            </a:cubicBezTo>
                            <a:cubicBezTo>
                              <a:pt x="207273" y="65429"/>
                              <a:pt x="207520" y="59945"/>
                              <a:pt x="205623" y="53884"/>
                            </a:cubicBezTo>
                            <a:close/>
                          </a:path>
                        </a:pathLst>
                      </a:custGeom>
                      <a:solidFill>
                        <a:schemeClr val="bg1">
                          <a:lumMod val="85000"/>
                        </a:schemeClr>
                      </a:solidFill>
                      <a:ln w="635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>
                        <a:defPPr>
                          <a:defRPr lang="en-US"/>
                        </a:defPPr>
                      </a:lstStyle>
                      <a:p>
                        <a:pPr marL="0" marR="0" lvl="0" indent="0" algn="l" defTabSz="1462923" rtl="0" eaLnBrk="1" fontAlgn="auto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defRPr kumimoji="0" sz="2160" b="0" i="0" normalizeH="0" noProof="0">
                            <a:solidFill>
                              <a:srgbClr val="000000"/>
                            </a:solidFill>
                            <a:uLnTx/>
                            <a:uFillTx/>
                            <a:latin typeface="+mn-lt"/>
                            <a:ea typeface="+mn-ea"/>
                            <a:cs typeface="+mn-cs"/>
                          </a:defRPr>
                        </a:pPr>
                        <a:endParaRPr kumimoji="0" lang="en-US" sz="288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cs typeface="Arial" pitchFamily="34" charset="0"/>
                        </a:endParaRPr>
                      </a:p>
                    </p:txBody>
                  </p:sp>
                  <p:sp>
                    <p:nvSpPr>
                      <p:cNvPr id="176" name="Russia group">
                        <a:extLst>
                          <a:ext uri="{FF2B5EF4-FFF2-40B4-BE49-F238E27FC236}">
                            <a16:creationId xmlns:a16="http://schemas.microsoft.com/office/drawing/2014/main" id="{095C0F09-D0F7-3DDD-4A81-0A1C765D5051}"/>
                          </a:ext>
                        </a:extLst>
                      </p:cNvPr>
                      <p:cNvSpPr/>
                      <p:nvPr>
                        <p:custDataLst>
                          <p:tags r:id="rId441"/>
                        </p:custDataLst>
                      </p:nvPr>
                    </p:nvSpPr>
                    <p:spPr>
                      <a:xfrm>
                        <a:off x="10097840" y="1038616"/>
                        <a:ext cx="212618" cy="111518"/>
                      </a:xfrm>
                      <a:custGeom>
                        <a:avLst/>
                        <a:gdLst>
                          <a:gd name="connsiteX0" fmla="*/ 233492 w 248271"/>
                          <a:gd name="connsiteY0" fmla="*/ 42463 h 130218"/>
                          <a:gd name="connsiteX1" fmla="*/ 208506 w 248271"/>
                          <a:gd name="connsiteY1" fmla="*/ 42875 h 130218"/>
                          <a:gd name="connsiteX2" fmla="*/ 150248 w 248271"/>
                          <a:gd name="connsiteY2" fmla="*/ 22260 h 130218"/>
                          <a:gd name="connsiteX3" fmla="*/ 137879 w 248271"/>
                          <a:gd name="connsiteY3" fmla="*/ 35330 h 130218"/>
                          <a:gd name="connsiteX4" fmla="*/ 137549 w 248271"/>
                          <a:gd name="connsiteY4" fmla="*/ 17106 h 130218"/>
                          <a:gd name="connsiteX5" fmla="*/ 123366 w 248271"/>
                          <a:gd name="connsiteY5" fmla="*/ 10427 h 130218"/>
                          <a:gd name="connsiteX6" fmla="*/ 88773 w 248271"/>
                          <a:gd name="connsiteY6" fmla="*/ 6675 h 130218"/>
                          <a:gd name="connsiteX7" fmla="*/ 76116 w 248271"/>
                          <a:gd name="connsiteY7" fmla="*/ -4 h 130218"/>
                          <a:gd name="connsiteX8" fmla="*/ 62097 w 248271"/>
                          <a:gd name="connsiteY8" fmla="*/ 35330 h 130218"/>
                          <a:gd name="connsiteX9" fmla="*/ 32494 w 248271"/>
                          <a:gd name="connsiteY9" fmla="*/ 61429 h 130218"/>
                          <a:gd name="connsiteX10" fmla="*/ 4045 w 248271"/>
                          <a:gd name="connsiteY10" fmla="*/ 127398 h 130218"/>
                          <a:gd name="connsiteX11" fmla="*/ 109430 w 248271"/>
                          <a:gd name="connsiteY11" fmla="*/ 115029 h 130218"/>
                          <a:gd name="connsiteX12" fmla="*/ 248047 w 248271"/>
                          <a:gd name="connsiteY12" fmla="*/ 61429 h 130218"/>
                          <a:gd name="connsiteX13" fmla="*/ 233492 w 248271"/>
                          <a:gd name="connsiteY13" fmla="*/ 42463 h 1302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</a:cxnLst>
                        <a:rect l="l" t="t" r="r" b="b"/>
                        <a:pathLst>
                          <a:path w="248271" h="130218">
                            <a:moveTo>
                              <a:pt x="233492" y="42463"/>
                            </a:moveTo>
                            <a:cubicBezTo>
                              <a:pt x="225494" y="45630"/>
                              <a:pt x="216629" y="45774"/>
                              <a:pt x="208506" y="42875"/>
                            </a:cubicBezTo>
                            <a:cubicBezTo>
                              <a:pt x="189170" y="35578"/>
                              <a:pt x="169420" y="29682"/>
                              <a:pt x="150248" y="22260"/>
                            </a:cubicBezTo>
                            <a:cubicBezTo>
                              <a:pt x="145136" y="25575"/>
                              <a:pt x="140930" y="30057"/>
                              <a:pt x="137879" y="35330"/>
                            </a:cubicBezTo>
                            <a:cubicBezTo>
                              <a:pt x="130292" y="50379"/>
                              <a:pt x="121840" y="39082"/>
                              <a:pt x="137549" y="17106"/>
                            </a:cubicBezTo>
                            <a:cubicBezTo>
                              <a:pt x="132767" y="15045"/>
                              <a:pt x="128066" y="12983"/>
                              <a:pt x="123366" y="10427"/>
                            </a:cubicBezTo>
                            <a:cubicBezTo>
                              <a:pt x="111780" y="13491"/>
                              <a:pt x="99452" y="12155"/>
                              <a:pt x="88773" y="6675"/>
                            </a:cubicBezTo>
                            <a:cubicBezTo>
                              <a:pt x="84650" y="4490"/>
                              <a:pt x="80280" y="2263"/>
                              <a:pt x="76116" y="-4"/>
                            </a:cubicBezTo>
                            <a:cubicBezTo>
                              <a:pt x="74961" y="13849"/>
                              <a:pt x="60942" y="20858"/>
                              <a:pt x="62097" y="35330"/>
                            </a:cubicBezTo>
                            <a:cubicBezTo>
                              <a:pt x="63252" y="49802"/>
                              <a:pt x="33648" y="27084"/>
                              <a:pt x="32494" y="61429"/>
                            </a:cubicBezTo>
                            <a:cubicBezTo>
                              <a:pt x="31339" y="95774"/>
                              <a:pt x="-13436" y="115730"/>
                              <a:pt x="4045" y="127398"/>
                            </a:cubicBezTo>
                            <a:cubicBezTo>
                              <a:pt x="20537" y="138365"/>
                              <a:pt x="74137" y="113668"/>
                              <a:pt x="109430" y="115029"/>
                            </a:cubicBezTo>
                            <a:cubicBezTo>
                              <a:pt x="144723" y="116389"/>
                              <a:pt x="244459" y="83446"/>
                              <a:pt x="248047" y="61429"/>
                            </a:cubicBezTo>
                            <a:cubicBezTo>
                              <a:pt x="249613" y="51946"/>
                              <a:pt x="242810" y="46792"/>
                              <a:pt x="233492" y="42463"/>
                            </a:cubicBezTo>
                            <a:close/>
                          </a:path>
                        </a:pathLst>
                      </a:custGeom>
                      <a:solidFill>
                        <a:schemeClr val="bg1">
                          <a:lumMod val="85000"/>
                        </a:schemeClr>
                      </a:solidFill>
                      <a:ln w="635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>
                        <a:defPPr>
                          <a:defRPr lang="en-US"/>
                        </a:defPPr>
                      </a:lstStyle>
                      <a:p>
                        <a:pPr marL="0" marR="0" lvl="0" indent="0" algn="l" defTabSz="1462923" rtl="0" eaLnBrk="1" fontAlgn="auto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defRPr kumimoji="0" sz="2160" b="0" i="0" normalizeH="0" noProof="0">
                            <a:solidFill>
                              <a:srgbClr val="000000"/>
                            </a:solidFill>
                            <a:uLnTx/>
                            <a:uFillTx/>
                            <a:latin typeface="+mn-lt"/>
                            <a:ea typeface="+mn-ea"/>
                            <a:cs typeface="+mn-cs"/>
                          </a:defRPr>
                        </a:pPr>
                        <a:endParaRPr kumimoji="0" lang="en-US" sz="288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cs typeface="Arial" pitchFamily="34" charset="0"/>
                        </a:endParaRPr>
                      </a:p>
                    </p:txBody>
                  </p:sp>
                  <p:sp>
                    <p:nvSpPr>
                      <p:cNvPr id="177" name="Russia group">
                        <a:extLst>
                          <a:ext uri="{FF2B5EF4-FFF2-40B4-BE49-F238E27FC236}">
                            <a16:creationId xmlns:a16="http://schemas.microsoft.com/office/drawing/2014/main" id="{468F377B-66B8-8A67-BBF3-4221980EE7C2}"/>
                          </a:ext>
                        </a:extLst>
                      </p:cNvPr>
                      <p:cNvSpPr/>
                      <p:nvPr>
                        <p:custDataLst>
                          <p:tags r:id="rId442"/>
                        </p:custDataLst>
                      </p:nvPr>
                    </p:nvSpPr>
                    <p:spPr>
                      <a:xfrm>
                        <a:off x="9933902" y="954782"/>
                        <a:ext cx="181598" cy="121297"/>
                      </a:xfrm>
                      <a:custGeom>
                        <a:avLst/>
                        <a:gdLst>
                          <a:gd name="connsiteX0" fmla="*/ 212049 w 212048"/>
                          <a:gd name="connsiteY0" fmla="*/ 55048 h 141636"/>
                          <a:gd name="connsiteX1" fmla="*/ 206689 w 212048"/>
                          <a:gd name="connsiteY1" fmla="*/ 29155 h 141636"/>
                          <a:gd name="connsiteX2" fmla="*/ 152842 w 212048"/>
                          <a:gd name="connsiteY2" fmla="*/ 25032 h 141636"/>
                          <a:gd name="connsiteX3" fmla="*/ 123198 w 212048"/>
                          <a:gd name="connsiteY3" fmla="*/ 4417 h 141636"/>
                          <a:gd name="connsiteX4" fmla="*/ 11875 w 212048"/>
                          <a:gd name="connsiteY4" fmla="*/ 31877 h 141636"/>
                          <a:gd name="connsiteX5" fmla="*/ 1 w 212048"/>
                          <a:gd name="connsiteY5" fmla="*/ 48987 h 141636"/>
                          <a:gd name="connsiteX6" fmla="*/ 9855 w 212048"/>
                          <a:gd name="connsiteY6" fmla="*/ 56491 h 141636"/>
                          <a:gd name="connsiteX7" fmla="*/ 22677 w 212048"/>
                          <a:gd name="connsiteY7" fmla="*/ 84487 h 141636"/>
                          <a:gd name="connsiteX8" fmla="*/ 25522 w 212048"/>
                          <a:gd name="connsiteY8" fmla="*/ 85435 h 141636"/>
                          <a:gd name="connsiteX9" fmla="*/ 55002 w 212048"/>
                          <a:gd name="connsiteY9" fmla="*/ 113966 h 141636"/>
                          <a:gd name="connsiteX10" fmla="*/ 92563 w 212048"/>
                          <a:gd name="connsiteY10" fmla="*/ 121470 h 141636"/>
                          <a:gd name="connsiteX11" fmla="*/ 114374 w 212048"/>
                          <a:gd name="connsiteY11" fmla="*/ 119904 h 141636"/>
                          <a:gd name="connsiteX12" fmla="*/ 150409 w 212048"/>
                          <a:gd name="connsiteY12" fmla="*/ 139612 h 141636"/>
                          <a:gd name="connsiteX13" fmla="*/ 166901 w 212048"/>
                          <a:gd name="connsiteY13" fmla="*/ 141632 h 141636"/>
                          <a:gd name="connsiteX14" fmla="*/ 194114 w 212048"/>
                          <a:gd name="connsiteY14" fmla="*/ 107328 h 141636"/>
                          <a:gd name="connsiteX15" fmla="*/ 211884 w 212048"/>
                          <a:gd name="connsiteY15" fmla="*/ 55213 h 14163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212048" h="141636">
                            <a:moveTo>
                              <a:pt x="212049" y="55048"/>
                            </a:moveTo>
                            <a:cubicBezTo>
                              <a:pt x="207679" y="47165"/>
                              <a:pt x="205782" y="38131"/>
                              <a:pt x="206689" y="29155"/>
                            </a:cubicBezTo>
                            <a:cubicBezTo>
                              <a:pt x="189743" y="13694"/>
                              <a:pt x="152842" y="7963"/>
                              <a:pt x="152842" y="25032"/>
                            </a:cubicBezTo>
                            <a:cubicBezTo>
                              <a:pt x="152842" y="49771"/>
                              <a:pt x="130330" y="19590"/>
                              <a:pt x="123198" y="4417"/>
                            </a:cubicBezTo>
                            <a:cubicBezTo>
                              <a:pt x="116065" y="-10756"/>
                              <a:pt x="11875" y="16786"/>
                              <a:pt x="11875" y="31877"/>
                            </a:cubicBezTo>
                            <a:cubicBezTo>
                              <a:pt x="11875" y="37649"/>
                              <a:pt x="6309" y="43421"/>
                              <a:pt x="1" y="48987"/>
                            </a:cubicBezTo>
                            <a:cubicBezTo>
                              <a:pt x="3629" y="51012"/>
                              <a:pt x="6928" y="53539"/>
                              <a:pt x="9855" y="56491"/>
                            </a:cubicBezTo>
                            <a:cubicBezTo>
                              <a:pt x="17070" y="64177"/>
                              <a:pt x="21564" y="74006"/>
                              <a:pt x="22677" y="84487"/>
                            </a:cubicBezTo>
                            <a:lnTo>
                              <a:pt x="25522" y="85435"/>
                            </a:lnTo>
                            <a:cubicBezTo>
                              <a:pt x="39004" y="90230"/>
                              <a:pt x="49766" y="100637"/>
                              <a:pt x="55002" y="113966"/>
                            </a:cubicBezTo>
                            <a:cubicBezTo>
                              <a:pt x="63620" y="112565"/>
                              <a:pt x="77184" y="116275"/>
                              <a:pt x="92563" y="121470"/>
                            </a:cubicBezTo>
                            <a:cubicBezTo>
                              <a:pt x="99819" y="120728"/>
                              <a:pt x="107076" y="120027"/>
                              <a:pt x="114374" y="119904"/>
                            </a:cubicBezTo>
                            <a:cubicBezTo>
                              <a:pt x="129176" y="118984"/>
                              <a:pt x="143194" y="126649"/>
                              <a:pt x="150409" y="139612"/>
                            </a:cubicBezTo>
                            <a:cubicBezTo>
                              <a:pt x="155811" y="140836"/>
                              <a:pt x="161336" y="141512"/>
                              <a:pt x="166901" y="141632"/>
                            </a:cubicBezTo>
                            <a:cubicBezTo>
                              <a:pt x="201247" y="141632"/>
                              <a:pt x="204793" y="108648"/>
                              <a:pt x="194114" y="107328"/>
                            </a:cubicBezTo>
                            <a:cubicBezTo>
                              <a:pt x="183435" y="106009"/>
                              <a:pt x="192959" y="86713"/>
                              <a:pt x="211884" y="55213"/>
                            </a:cubicBezTo>
                            <a:close/>
                          </a:path>
                        </a:pathLst>
                      </a:custGeom>
                      <a:solidFill>
                        <a:schemeClr val="bg1">
                          <a:lumMod val="85000"/>
                        </a:schemeClr>
                      </a:solidFill>
                      <a:ln w="635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>
                        <a:defPPr>
                          <a:defRPr lang="en-US"/>
                        </a:defPPr>
                      </a:lstStyle>
                      <a:p>
                        <a:pPr marL="0" marR="0" lvl="0" indent="0" algn="l" defTabSz="1462923" rtl="0" eaLnBrk="1" fontAlgn="auto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defRPr kumimoji="0" sz="2160" b="0" i="0" normalizeH="0" noProof="0">
                            <a:solidFill>
                              <a:srgbClr val="000000"/>
                            </a:solidFill>
                            <a:uLnTx/>
                            <a:uFillTx/>
                            <a:latin typeface="+mn-lt"/>
                            <a:ea typeface="+mn-ea"/>
                            <a:cs typeface="+mn-cs"/>
                          </a:defRPr>
                        </a:pPr>
                        <a:endParaRPr kumimoji="0" lang="en-US" sz="288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cs typeface="Arial" pitchFamily="34" charset="0"/>
                        </a:endParaRPr>
                      </a:p>
                    </p:txBody>
                  </p:sp>
                  <p:sp>
                    <p:nvSpPr>
                      <p:cNvPr id="178" name="Russia group">
                        <a:extLst>
                          <a:ext uri="{FF2B5EF4-FFF2-40B4-BE49-F238E27FC236}">
                            <a16:creationId xmlns:a16="http://schemas.microsoft.com/office/drawing/2014/main" id="{A226510C-0425-D17D-89F1-89E2C837BBA8}"/>
                          </a:ext>
                        </a:extLst>
                      </p:cNvPr>
                      <p:cNvSpPr/>
                      <p:nvPr>
                        <p:custDataLst>
                          <p:tags r:id="rId443"/>
                        </p:custDataLst>
                      </p:nvPr>
                    </p:nvSpPr>
                    <p:spPr>
                      <a:xfrm>
                        <a:off x="9815315" y="855686"/>
                        <a:ext cx="48780" cy="22397"/>
                      </a:xfrm>
                      <a:custGeom>
                        <a:avLst/>
                        <a:gdLst>
                          <a:gd name="connsiteX0" fmla="*/ 56751 w 56960"/>
                          <a:gd name="connsiteY0" fmla="*/ 11734 h 26153"/>
                          <a:gd name="connsiteX1" fmla="*/ 3439 w 56960"/>
                          <a:gd name="connsiteY1" fmla="*/ 19980 h 26153"/>
                          <a:gd name="connsiteX2" fmla="*/ 56751 w 56960"/>
                          <a:gd name="connsiteY2" fmla="*/ 11734 h 2615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56960" h="26152">
                            <a:moveTo>
                              <a:pt x="56751" y="11734"/>
                            </a:moveTo>
                            <a:cubicBezTo>
                              <a:pt x="61533" y="-8881"/>
                              <a:pt x="-17135" y="66"/>
                              <a:pt x="3439" y="19980"/>
                            </a:cubicBezTo>
                            <a:cubicBezTo>
                              <a:pt x="10572" y="26783"/>
                              <a:pt x="52133" y="32308"/>
                              <a:pt x="56751" y="11734"/>
                            </a:cubicBezTo>
                            <a:close/>
                          </a:path>
                        </a:pathLst>
                      </a:custGeom>
                      <a:solidFill>
                        <a:schemeClr val="bg1">
                          <a:lumMod val="85000"/>
                        </a:schemeClr>
                      </a:solidFill>
                      <a:ln w="635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>
                        <a:defPPr>
                          <a:defRPr lang="en-US"/>
                        </a:defPPr>
                      </a:lstStyle>
                      <a:p>
                        <a:pPr marL="0" marR="0" lvl="0" indent="0" algn="l" defTabSz="1462923" rtl="0" eaLnBrk="1" fontAlgn="auto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defRPr kumimoji="0" sz="2160" b="0" i="0" normalizeH="0" noProof="0">
                            <a:solidFill>
                              <a:srgbClr val="000000"/>
                            </a:solidFill>
                            <a:uLnTx/>
                            <a:uFillTx/>
                            <a:latin typeface="+mn-lt"/>
                            <a:ea typeface="+mn-ea"/>
                            <a:cs typeface="+mn-cs"/>
                          </a:defRPr>
                        </a:pPr>
                        <a:endParaRPr kumimoji="0" lang="en-US" sz="288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cs typeface="Arial" pitchFamily="34" charset="0"/>
                        </a:endParaRPr>
                      </a:p>
                    </p:txBody>
                  </p:sp>
                  <p:sp>
                    <p:nvSpPr>
                      <p:cNvPr id="179" name="Russia group">
                        <a:extLst>
                          <a:ext uri="{FF2B5EF4-FFF2-40B4-BE49-F238E27FC236}">
                            <a16:creationId xmlns:a16="http://schemas.microsoft.com/office/drawing/2014/main" id="{76F91132-822A-0F0D-56E0-E8A1FFF61B34}"/>
                          </a:ext>
                        </a:extLst>
                      </p:cNvPr>
                      <p:cNvSpPr/>
                      <p:nvPr>
                        <p:custDataLst>
                          <p:tags r:id="rId444"/>
                        </p:custDataLst>
                      </p:nvPr>
                    </p:nvSpPr>
                    <p:spPr>
                      <a:xfrm>
                        <a:off x="11502754" y="1456240"/>
                        <a:ext cx="37949" cy="23686"/>
                      </a:xfrm>
                      <a:custGeom>
                        <a:avLst/>
                        <a:gdLst>
                          <a:gd name="connsiteX0" fmla="*/ 44313 w 44312"/>
                          <a:gd name="connsiteY0" fmla="*/ 7357 h 27656"/>
                          <a:gd name="connsiteX1" fmla="*/ 6464 w 44312"/>
                          <a:gd name="connsiteY1" fmla="*/ 25169 h 27656"/>
                          <a:gd name="connsiteX2" fmla="*/ 44313 w 44312"/>
                          <a:gd name="connsiteY2" fmla="*/ 7357 h 2765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44312" h="27656">
                            <a:moveTo>
                              <a:pt x="44313" y="7357"/>
                            </a:moveTo>
                            <a:cubicBezTo>
                              <a:pt x="44313" y="-13258"/>
                              <a:pt x="-20212" y="14902"/>
                              <a:pt x="6464" y="25169"/>
                            </a:cubicBezTo>
                            <a:cubicBezTo>
                              <a:pt x="20688" y="30694"/>
                              <a:pt x="44313" y="27931"/>
                              <a:pt x="44313" y="7357"/>
                            </a:cubicBezTo>
                            <a:close/>
                          </a:path>
                        </a:pathLst>
                      </a:custGeom>
                      <a:grpFill/>
                      <a:ln w="635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>
                        <a:defPPr>
                          <a:defRPr lang="en-US"/>
                        </a:defPPr>
                      </a:lstStyle>
                      <a:p>
                        <a:pPr marL="0" marR="0" lvl="0" indent="0" algn="l" defTabSz="1462923" rtl="0" eaLnBrk="1" fontAlgn="auto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defRPr kumimoji="0" sz="2160" b="0" i="0" normalizeH="0" noProof="0">
                            <a:solidFill>
                              <a:srgbClr val="000000"/>
                            </a:solidFill>
                            <a:uLnTx/>
                            <a:uFillTx/>
                            <a:latin typeface="+mn-lt"/>
                            <a:ea typeface="+mn-ea"/>
                            <a:cs typeface="+mn-cs"/>
                          </a:defRPr>
                        </a:pPr>
                        <a:endParaRPr kumimoji="0" lang="en-US" sz="288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cs typeface="Arial" pitchFamily="34" charset="0"/>
                        </a:endParaRPr>
                      </a:p>
                    </p:txBody>
                  </p:sp>
                  <p:sp>
                    <p:nvSpPr>
                      <p:cNvPr id="180" name="Russia group">
                        <a:extLst>
                          <a:ext uri="{FF2B5EF4-FFF2-40B4-BE49-F238E27FC236}">
                            <a16:creationId xmlns:a16="http://schemas.microsoft.com/office/drawing/2014/main" id="{E5B8F74B-1C38-2631-97ED-C08CE670A856}"/>
                          </a:ext>
                        </a:extLst>
                      </p:cNvPr>
                      <p:cNvSpPr/>
                      <p:nvPr>
                        <p:custDataLst>
                          <p:tags r:id="rId445"/>
                        </p:custDataLst>
                      </p:nvPr>
                    </p:nvSpPr>
                    <p:spPr>
                      <a:xfrm>
                        <a:off x="11714107" y="1357727"/>
                        <a:ext cx="168448" cy="62586"/>
                      </a:xfrm>
                      <a:custGeom>
                        <a:avLst/>
                        <a:gdLst>
                          <a:gd name="connsiteX0" fmla="*/ 65519 w 196693"/>
                          <a:gd name="connsiteY0" fmla="*/ 49905 h 73080"/>
                          <a:gd name="connsiteX1" fmla="*/ 153876 w 196693"/>
                          <a:gd name="connsiteY1" fmla="*/ 73077 h 73080"/>
                          <a:gd name="connsiteX2" fmla="*/ 196673 w 196693"/>
                          <a:gd name="connsiteY2" fmla="*/ 52461 h 73080"/>
                          <a:gd name="connsiteX3" fmla="*/ 131529 w 196693"/>
                          <a:gd name="connsiteY3" fmla="*/ 29125 h 73080"/>
                          <a:gd name="connsiteX4" fmla="*/ 85310 w 196693"/>
                          <a:gd name="connsiteY4" fmla="*/ 18158 h 73080"/>
                          <a:gd name="connsiteX5" fmla="*/ 30845 w 196693"/>
                          <a:gd name="connsiteY5" fmla="*/ 4428 h 73080"/>
                          <a:gd name="connsiteX6" fmla="*/ 3591 w 196693"/>
                          <a:gd name="connsiteY6" fmla="*/ 35969 h 73080"/>
                          <a:gd name="connsiteX7" fmla="*/ 36575 w 196693"/>
                          <a:gd name="connsiteY7" fmla="*/ 50895 h 73080"/>
                          <a:gd name="connsiteX8" fmla="*/ 65519 w 196693"/>
                          <a:gd name="connsiteY8" fmla="*/ 49905 h 7308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196693" h="73080">
                            <a:moveTo>
                              <a:pt x="65519" y="49905"/>
                            </a:moveTo>
                            <a:cubicBezTo>
                              <a:pt x="94669" y="59388"/>
                              <a:pt x="123737" y="68624"/>
                              <a:pt x="153876" y="73077"/>
                            </a:cubicBezTo>
                            <a:cubicBezTo>
                              <a:pt x="179562" y="69325"/>
                              <a:pt x="195930" y="61202"/>
                              <a:pt x="196673" y="52461"/>
                            </a:cubicBezTo>
                            <a:cubicBezTo>
                              <a:pt x="197869" y="38732"/>
                              <a:pt x="146949" y="18158"/>
                              <a:pt x="131529" y="29125"/>
                            </a:cubicBezTo>
                            <a:cubicBezTo>
                              <a:pt x="116109" y="40092"/>
                              <a:pt x="104275" y="11272"/>
                              <a:pt x="85310" y="18158"/>
                            </a:cubicBezTo>
                            <a:cubicBezTo>
                              <a:pt x="66343" y="25043"/>
                              <a:pt x="40327" y="23641"/>
                              <a:pt x="30845" y="4428"/>
                            </a:cubicBezTo>
                            <a:cubicBezTo>
                              <a:pt x="21361" y="-14786"/>
                              <a:pt x="-10634" y="34608"/>
                              <a:pt x="3591" y="35969"/>
                            </a:cubicBezTo>
                            <a:cubicBezTo>
                              <a:pt x="15754" y="37165"/>
                              <a:pt x="25319" y="43597"/>
                              <a:pt x="36575" y="50895"/>
                            </a:cubicBezTo>
                            <a:cubicBezTo>
                              <a:pt x="45728" y="46809"/>
                              <a:pt x="56118" y="46450"/>
                              <a:pt x="65519" y="49905"/>
                            </a:cubicBezTo>
                            <a:close/>
                          </a:path>
                        </a:pathLst>
                      </a:custGeom>
                      <a:grpFill/>
                      <a:ln w="635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>
                        <a:defPPr>
                          <a:defRPr lang="en-US"/>
                        </a:defPPr>
                      </a:lstStyle>
                      <a:p>
                        <a:pPr marL="0" marR="0" lvl="0" indent="0" algn="l" defTabSz="1462923" rtl="0" eaLnBrk="1" fontAlgn="auto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defRPr kumimoji="0" sz="2160" b="0" i="0" normalizeH="0" noProof="0">
                            <a:solidFill>
                              <a:srgbClr val="000000"/>
                            </a:solidFill>
                            <a:uLnTx/>
                            <a:uFillTx/>
                            <a:latin typeface="+mn-lt"/>
                            <a:ea typeface="+mn-ea"/>
                            <a:cs typeface="+mn-cs"/>
                          </a:defRPr>
                        </a:pPr>
                        <a:endParaRPr kumimoji="0" lang="en-US" sz="288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cs typeface="Arial" pitchFamily="34" charset="0"/>
                        </a:endParaRPr>
                      </a:p>
                    </p:txBody>
                  </p:sp>
                  <p:sp>
                    <p:nvSpPr>
                      <p:cNvPr id="181" name="Russia group">
                        <a:extLst>
                          <a:ext uri="{FF2B5EF4-FFF2-40B4-BE49-F238E27FC236}">
                            <a16:creationId xmlns:a16="http://schemas.microsoft.com/office/drawing/2014/main" id="{9D261EBB-3551-0300-68EB-52E18D85B1D5}"/>
                          </a:ext>
                        </a:extLst>
                      </p:cNvPr>
                      <p:cNvSpPr/>
                      <p:nvPr>
                        <p:custDataLst>
                          <p:tags r:id="rId446"/>
                        </p:custDataLst>
                      </p:nvPr>
                    </p:nvSpPr>
                    <p:spPr>
                      <a:xfrm>
                        <a:off x="8886996" y="874355"/>
                        <a:ext cx="77370" cy="25445"/>
                      </a:xfrm>
                      <a:custGeom>
                        <a:avLst/>
                        <a:gdLst>
                          <a:gd name="connsiteX0" fmla="*/ 53443 w 90344"/>
                          <a:gd name="connsiteY0" fmla="*/ -4 h 29712"/>
                          <a:gd name="connsiteX1" fmla="*/ 48620 w 90344"/>
                          <a:gd name="connsiteY1" fmla="*/ 820 h 29712"/>
                          <a:gd name="connsiteX2" fmla="*/ 1246 w 90344"/>
                          <a:gd name="connsiteY2" fmla="*/ 21436 h 29712"/>
                          <a:gd name="connsiteX3" fmla="*/ 67586 w 90344"/>
                          <a:gd name="connsiteY3" fmla="*/ 25559 h 29712"/>
                          <a:gd name="connsiteX4" fmla="*/ 90345 w 90344"/>
                          <a:gd name="connsiteY4" fmla="*/ 19168 h 29712"/>
                          <a:gd name="connsiteX5" fmla="*/ 53443 w 90344"/>
                          <a:gd name="connsiteY5" fmla="*/ -4 h 2971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</a:cxnLst>
                        <a:rect l="l" t="t" r="r" b="b"/>
                        <a:pathLst>
                          <a:path w="90344" h="29712">
                            <a:moveTo>
                              <a:pt x="53443" y="-4"/>
                            </a:moveTo>
                            <a:cubicBezTo>
                              <a:pt x="51959" y="729"/>
                              <a:pt x="50268" y="1015"/>
                              <a:pt x="48620" y="820"/>
                            </a:cubicBezTo>
                            <a:cubicBezTo>
                              <a:pt x="36787" y="-540"/>
                              <a:pt x="-7990" y="9520"/>
                              <a:pt x="1246" y="21436"/>
                            </a:cubicBezTo>
                            <a:cubicBezTo>
                              <a:pt x="11884" y="35165"/>
                              <a:pt x="45073" y="28280"/>
                              <a:pt x="67586" y="25559"/>
                            </a:cubicBezTo>
                            <a:cubicBezTo>
                              <a:pt x="75502" y="24795"/>
                              <a:pt x="83211" y="22631"/>
                              <a:pt x="90345" y="19168"/>
                            </a:cubicBezTo>
                            <a:cubicBezTo>
                              <a:pt x="77728" y="13396"/>
                              <a:pt x="65648" y="6758"/>
                              <a:pt x="53443" y="-4"/>
                            </a:cubicBezTo>
                            <a:close/>
                          </a:path>
                        </a:pathLst>
                      </a:custGeom>
                      <a:solidFill>
                        <a:schemeClr val="bg1">
                          <a:lumMod val="85000"/>
                        </a:schemeClr>
                      </a:solidFill>
                      <a:ln w="635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>
                        <a:defPPr>
                          <a:defRPr lang="en-US"/>
                        </a:defPPr>
                      </a:lstStyle>
                      <a:p>
                        <a:pPr marL="0" marR="0" lvl="0" indent="0" algn="l" defTabSz="1462923" rtl="0" eaLnBrk="1" fontAlgn="auto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defRPr kumimoji="0" sz="2160" b="0" i="0" normalizeH="0" noProof="0">
                            <a:solidFill>
                              <a:srgbClr val="000000"/>
                            </a:solidFill>
                            <a:uLnTx/>
                            <a:uFillTx/>
                            <a:latin typeface="+mn-lt"/>
                            <a:ea typeface="+mn-ea"/>
                            <a:cs typeface="+mn-cs"/>
                          </a:defRPr>
                        </a:pPr>
                        <a:endParaRPr kumimoji="0" lang="en-US" sz="288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cs typeface="Arial" pitchFamily="34" charset="0"/>
                        </a:endParaRPr>
                      </a:p>
                    </p:txBody>
                  </p:sp>
                  <p:sp>
                    <p:nvSpPr>
                      <p:cNvPr id="182" name="Russia group">
                        <a:extLst>
                          <a:ext uri="{FF2B5EF4-FFF2-40B4-BE49-F238E27FC236}">
                            <a16:creationId xmlns:a16="http://schemas.microsoft.com/office/drawing/2014/main" id="{0855AA06-5D7B-6C21-241C-9A756B23B238}"/>
                          </a:ext>
                        </a:extLst>
                      </p:cNvPr>
                      <p:cNvSpPr/>
                      <p:nvPr>
                        <p:custDataLst>
                          <p:tags r:id="rId447"/>
                        </p:custDataLst>
                      </p:nvPr>
                    </p:nvSpPr>
                    <p:spPr>
                      <a:xfrm>
                        <a:off x="11431332" y="1318548"/>
                        <a:ext cx="244846" cy="99787"/>
                      </a:xfrm>
                      <a:custGeom>
                        <a:avLst/>
                        <a:gdLst>
                          <a:gd name="connsiteX0" fmla="*/ 262783 w 285902"/>
                          <a:gd name="connsiteY0" fmla="*/ 19953 h 116519"/>
                          <a:gd name="connsiteX1" fmla="*/ 213307 w 285902"/>
                          <a:gd name="connsiteY1" fmla="*/ 7584 h 116519"/>
                          <a:gd name="connsiteX2" fmla="*/ 178920 w 285902"/>
                          <a:gd name="connsiteY2" fmla="*/ 24076 h 116519"/>
                          <a:gd name="connsiteX3" fmla="*/ 119796 w 285902"/>
                          <a:gd name="connsiteY3" fmla="*/ 14264 h 116519"/>
                          <a:gd name="connsiteX4" fmla="*/ 119508 w 285902"/>
                          <a:gd name="connsiteY4" fmla="*/ 17232 h 116519"/>
                          <a:gd name="connsiteX5" fmla="*/ 84214 w 285902"/>
                          <a:gd name="connsiteY5" fmla="*/ 5688 h 116519"/>
                          <a:gd name="connsiteX6" fmla="*/ 54776 w 285902"/>
                          <a:gd name="connsiteY6" fmla="*/ 493 h 116519"/>
                          <a:gd name="connsiteX7" fmla="*/ 10989 w 285902"/>
                          <a:gd name="connsiteY7" fmla="*/ 95323 h 116519"/>
                          <a:gd name="connsiteX8" fmla="*/ 23358 w 285902"/>
                          <a:gd name="connsiteY8" fmla="*/ 116515 h 116519"/>
                          <a:gd name="connsiteX9" fmla="*/ 66321 w 285902"/>
                          <a:gd name="connsiteY9" fmla="*/ 102291 h 116519"/>
                          <a:gd name="connsiteX10" fmla="*/ 104252 w 285902"/>
                          <a:gd name="connsiteY10" fmla="*/ 110537 h 116519"/>
                          <a:gd name="connsiteX11" fmla="*/ 175334 w 285902"/>
                          <a:gd name="connsiteY11" fmla="*/ 102291 h 116519"/>
                          <a:gd name="connsiteX12" fmla="*/ 171787 w 285902"/>
                          <a:gd name="connsiteY12" fmla="*/ 48691 h 116519"/>
                          <a:gd name="connsiteX13" fmla="*/ 193063 w 285902"/>
                          <a:gd name="connsiteY13" fmla="*/ 56937 h 116519"/>
                          <a:gd name="connsiteX14" fmla="*/ 245178 w 285902"/>
                          <a:gd name="connsiteY14" fmla="*/ 99487 h 116519"/>
                          <a:gd name="connsiteX15" fmla="*/ 273627 w 285902"/>
                          <a:gd name="connsiteY15" fmla="*/ 59700 h 116519"/>
                          <a:gd name="connsiteX16" fmla="*/ 262783 w 285902"/>
                          <a:gd name="connsiteY16" fmla="*/ 19953 h 11651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</a:cxnLst>
                        <a:rect l="l" t="t" r="r" b="b"/>
                        <a:pathLst>
                          <a:path w="285902" h="116519">
                            <a:moveTo>
                              <a:pt x="262783" y="19953"/>
                            </a:moveTo>
                            <a:cubicBezTo>
                              <a:pt x="247693" y="9316"/>
                              <a:pt x="230047" y="8368"/>
                              <a:pt x="213307" y="7584"/>
                            </a:cubicBezTo>
                            <a:cubicBezTo>
                              <a:pt x="205679" y="18890"/>
                              <a:pt x="192527" y="25194"/>
                              <a:pt x="178920" y="24076"/>
                            </a:cubicBezTo>
                            <a:cubicBezTo>
                              <a:pt x="158924" y="22798"/>
                              <a:pt x="139133" y="19512"/>
                              <a:pt x="119796" y="14264"/>
                            </a:cubicBezTo>
                            <a:cubicBezTo>
                              <a:pt x="119796" y="15253"/>
                              <a:pt x="119549" y="16160"/>
                              <a:pt x="119508" y="17232"/>
                            </a:cubicBezTo>
                            <a:cubicBezTo>
                              <a:pt x="118848" y="34219"/>
                              <a:pt x="102768" y="21644"/>
                              <a:pt x="84214" y="5688"/>
                            </a:cubicBezTo>
                            <a:cubicBezTo>
                              <a:pt x="74484" y="3453"/>
                              <a:pt x="64671" y="1717"/>
                              <a:pt x="54776" y="493"/>
                            </a:cubicBezTo>
                            <a:cubicBezTo>
                              <a:pt x="-556" y="-6063"/>
                              <a:pt x="-11564" y="53680"/>
                              <a:pt x="10989" y="95323"/>
                            </a:cubicBezTo>
                            <a:cubicBezTo>
                              <a:pt x="15112" y="102621"/>
                              <a:pt x="19235" y="109671"/>
                              <a:pt x="23358" y="116515"/>
                            </a:cubicBezTo>
                            <a:cubicBezTo>
                              <a:pt x="37788" y="114536"/>
                              <a:pt x="56796" y="105960"/>
                              <a:pt x="66321" y="102291"/>
                            </a:cubicBezTo>
                            <a:cubicBezTo>
                              <a:pt x="80545" y="96848"/>
                              <a:pt x="81741" y="127029"/>
                              <a:pt x="104252" y="110537"/>
                            </a:cubicBezTo>
                            <a:cubicBezTo>
                              <a:pt x="126764" y="94045"/>
                              <a:pt x="149235" y="102291"/>
                              <a:pt x="175334" y="102291"/>
                            </a:cubicBezTo>
                            <a:cubicBezTo>
                              <a:pt x="201432" y="102291"/>
                              <a:pt x="170550" y="65183"/>
                              <a:pt x="171787" y="48691"/>
                            </a:cubicBezTo>
                            <a:cubicBezTo>
                              <a:pt x="173025" y="32199"/>
                              <a:pt x="202545" y="43207"/>
                              <a:pt x="193063" y="56937"/>
                            </a:cubicBezTo>
                            <a:cubicBezTo>
                              <a:pt x="183580" y="70667"/>
                              <a:pt x="207287" y="102291"/>
                              <a:pt x="245178" y="99487"/>
                            </a:cubicBezTo>
                            <a:cubicBezTo>
                              <a:pt x="283068" y="96683"/>
                              <a:pt x="254661" y="69306"/>
                              <a:pt x="273627" y="59700"/>
                            </a:cubicBezTo>
                            <a:cubicBezTo>
                              <a:pt x="292593" y="50093"/>
                              <a:pt x="290037" y="39167"/>
                              <a:pt x="262783" y="19953"/>
                            </a:cubicBezTo>
                            <a:close/>
                          </a:path>
                        </a:pathLst>
                      </a:custGeom>
                      <a:solidFill>
                        <a:schemeClr val="bg1">
                          <a:lumMod val="85000"/>
                        </a:schemeClr>
                      </a:solidFill>
                      <a:ln w="635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>
                        <a:defPPr>
                          <a:defRPr lang="en-US"/>
                        </a:defPPr>
                      </a:lstStyle>
                      <a:p>
                        <a:pPr marL="0" marR="0" lvl="0" indent="0" algn="l" defTabSz="1462923" rtl="0" eaLnBrk="1" fontAlgn="auto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defRPr kumimoji="0" sz="2160" b="0" i="0" normalizeH="0" noProof="0">
                            <a:solidFill>
                              <a:srgbClr val="000000"/>
                            </a:solidFill>
                            <a:uLnTx/>
                            <a:uFillTx/>
                            <a:latin typeface="+mn-lt"/>
                            <a:ea typeface="+mn-ea"/>
                            <a:cs typeface="+mn-cs"/>
                          </a:defRPr>
                        </a:pPr>
                        <a:endParaRPr kumimoji="0" lang="en-US" sz="288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cs typeface="Arial" pitchFamily="34" charset="0"/>
                        </a:endParaRPr>
                      </a:p>
                    </p:txBody>
                  </p:sp>
                  <p:sp>
                    <p:nvSpPr>
                      <p:cNvPr id="183" name="Russia group">
                        <a:extLst>
                          <a:ext uri="{FF2B5EF4-FFF2-40B4-BE49-F238E27FC236}">
                            <a16:creationId xmlns:a16="http://schemas.microsoft.com/office/drawing/2014/main" id="{6B53ACC3-486B-11EA-6028-97A3E147771F}"/>
                          </a:ext>
                        </a:extLst>
                      </p:cNvPr>
                      <p:cNvSpPr/>
                      <p:nvPr>
                        <p:custDataLst>
                          <p:tags r:id="rId448"/>
                        </p:custDataLst>
                      </p:nvPr>
                    </p:nvSpPr>
                    <p:spPr>
                      <a:xfrm>
                        <a:off x="11520126" y="1489828"/>
                        <a:ext cx="107166" cy="51554"/>
                      </a:xfrm>
                      <a:custGeom>
                        <a:avLst/>
                        <a:gdLst>
                          <a:gd name="connsiteX0" fmla="*/ 118863 w 125136"/>
                          <a:gd name="connsiteY0" fmla="*/ 58638 h 60199"/>
                          <a:gd name="connsiteX1" fmla="*/ 66706 w 125136"/>
                          <a:gd name="connsiteY1" fmla="*/ 915 h 60199"/>
                          <a:gd name="connsiteX2" fmla="*/ 407 w 125136"/>
                          <a:gd name="connsiteY2" fmla="*/ 36621 h 60199"/>
                          <a:gd name="connsiteX3" fmla="*/ 118863 w 125136"/>
                          <a:gd name="connsiteY3" fmla="*/ 58638 h 6019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125133" h="60199">
                            <a:moveTo>
                              <a:pt x="118863" y="58638"/>
                            </a:moveTo>
                            <a:cubicBezTo>
                              <a:pt x="140137" y="53195"/>
                              <a:pt x="103442" y="7924"/>
                              <a:pt x="66706" y="915"/>
                            </a:cubicBezTo>
                            <a:cubicBezTo>
                              <a:pt x="29969" y="-6094"/>
                              <a:pt x="-4128" y="29034"/>
                              <a:pt x="407" y="36621"/>
                            </a:cubicBezTo>
                            <a:cubicBezTo>
                              <a:pt x="11087" y="54556"/>
                              <a:pt x="97505" y="64163"/>
                              <a:pt x="118863" y="58638"/>
                            </a:cubicBezTo>
                            <a:close/>
                          </a:path>
                        </a:pathLst>
                      </a:custGeom>
                      <a:grpFill/>
                      <a:ln w="635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>
                        <a:defPPr>
                          <a:defRPr lang="en-US"/>
                        </a:defPPr>
                      </a:lstStyle>
                      <a:p>
                        <a:pPr marL="0" marR="0" lvl="0" indent="0" algn="l" defTabSz="1462923" rtl="0" eaLnBrk="1" fontAlgn="auto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defRPr kumimoji="0" sz="2160" b="0" i="0" normalizeH="0" noProof="0">
                            <a:solidFill>
                              <a:srgbClr val="000000"/>
                            </a:solidFill>
                            <a:uLnTx/>
                            <a:uFillTx/>
                            <a:latin typeface="+mn-lt"/>
                            <a:ea typeface="+mn-ea"/>
                            <a:cs typeface="+mn-cs"/>
                          </a:defRPr>
                        </a:pPr>
                        <a:endParaRPr kumimoji="0" lang="en-US" sz="288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cs typeface="Arial" pitchFamily="34" charset="0"/>
                        </a:endParaRPr>
                      </a:p>
                    </p:txBody>
                  </p:sp>
                  <p:sp>
                    <p:nvSpPr>
                      <p:cNvPr id="184" name="Russia group">
                        <a:extLst>
                          <a:ext uri="{FF2B5EF4-FFF2-40B4-BE49-F238E27FC236}">
                            <a16:creationId xmlns:a16="http://schemas.microsoft.com/office/drawing/2014/main" id="{BF31C5FC-3F27-1B0F-492E-2C8DA436B9AF}"/>
                          </a:ext>
                        </a:extLst>
                      </p:cNvPr>
                      <p:cNvSpPr/>
                      <p:nvPr>
                        <p:custDataLst>
                          <p:tags r:id="rId449"/>
                        </p:custDataLst>
                      </p:nvPr>
                    </p:nvSpPr>
                    <p:spPr>
                      <a:xfrm>
                        <a:off x="8770989" y="871901"/>
                        <a:ext cx="101329" cy="53104"/>
                      </a:xfrm>
                      <a:custGeom>
                        <a:avLst/>
                        <a:gdLst>
                          <a:gd name="connsiteX0" fmla="*/ 116586 w 118320"/>
                          <a:gd name="connsiteY0" fmla="*/ 35267 h 62008"/>
                          <a:gd name="connsiteX1" fmla="*/ 98816 w 118320"/>
                          <a:gd name="connsiteY1" fmla="*/ 10529 h 62008"/>
                          <a:gd name="connsiteX2" fmla="*/ 33671 w 118320"/>
                          <a:gd name="connsiteY2" fmla="*/ 9127 h 62008"/>
                          <a:gd name="connsiteX3" fmla="*/ 2872 w 118320"/>
                          <a:gd name="connsiteY3" fmla="*/ 51636 h 62008"/>
                          <a:gd name="connsiteX4" fmla="*/ 116586 w 118320"/>
                          <a:gd name="connsiteY4" fmla="*/ 35267 h 6200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18320" h="62008">
                            <a:moveTo>
                              <a:pt x="116586" y="35267"/>
                            </a:moveTo>
                            <a:cubicBezTo>
                              <a:pt x="124832" y="22898"/>
                              <a:pt x="101125" y="22898"/>
                              <a:pt x="98816" y="10529"/>
                            </a:cubicBezTo>
                            <a:cubicBezTo>
                              <a:pt x="96506" y="-1840"/>
                              <a:pt x="30084" y="-4561"/>
                              <a:pt x="33671" y="9127"/>
                            </a:cubicBezTo>
                            <a:cubicBezTo>
                              <a:pt x="37258" y="22816"/>
                              <a:pt x="-12219" y="37782"/>
                              <a:pt x="2872" y="51636"/>
                            </a:cubicBezTo>
                            <a:cubicBezTo>
                              <a:pt x="31279" y="77817"/>
                              <a:pt x="108257" y="47636"/>
                              <a:pt x="116586" y="35267"/>
                            </a:cubicBezTo>
                            <a:close/>
                          </a:path>
                        </a:pathLst>
                      </a:custGeom>
                      <a:solidFill>
                        <a:schemeClr val="bg1">
                          <a:lumMod val="85000"/>
                        </a:schemeClr>
                      </a:solidFill>
                      <a:ln w="635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>
                        <a:defPPr>
                          <a:defRPr lang="en-US"/>
                        </a:defPPr>
                      </a:lstStyle>
                      <a:p>
                        <a:pPr marL="0" marR="0" lvl="0" indent="0" algn="l" defTabSz="1462923" rtl="0" eaLnBrk="1" fontAlgn="auto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defRPr kumimoji="0" sz="2160" b="0" i="0" normalizeH="0" noProof="0">
                            <a:solidFill>
                              <a:srgbClr val="000000"/>
                            </a:solidFill>
                            <a:uLnTx/>
                            <a:uFillTx/>
                            <a:latin typeface="+mn-lt"/>
                            <a:ea typeface="+mn-ea"/>
                            <a:cs typeface="+mn-cs"/>
                          </a:defRPr>
                        </a:pPr>
                        <a:endParaRPr kumimoji="0" lang="en-US" sz="288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cs typeface="Arial" pitchFamily="34" charset="0"/>
                        </a:endParaRPr>
                      </a:p>
                    </p:txBody>
                  </p:sp>
                  <p:sp>
                    <p:nvSpPr>
                      <p:cNvPr id="185" name="Russia group">
                        <a:extLst>
                          <a:ext uri="{FF2B5EF4-FFF2-40B4-BE49-F238E27FC236}">
                            <a16:creationId xmlns:a16="http://schemas.microsoft.com/office/drawing/2014/main" id="{D593CDDD-D8A6-7B34-F3C1-52AE5193CE15}"/>
                          </a:ext>
                        </a:extLst>
                      </p:cNvPr>
                      <p:cNvSpPr/>
                      <p:nvPr>
                        <p:custDataLst>
                          <p:tags r:id="rId450"/>
                        </p:custDataLst>
                      </p:nvPr>
                    </p:nvSpPr>
                    <p:spPr>
                      <a:xfrm>
                        <a:off x="8343598" y="887808"/>
                        <a:ext cx="147036" cy="65716"/>
                      </a:xfrm>
                      <a:custGeom>
                        <a:avLst/>
                        <a:gdLst>
                          <a:gd name="connsiteX0" fmla="*/ 161699 w 171691"/>
                          <a:gd name="connsiteY0" fmla="*/ -4 h 76734"/>
                          <a:gd name="connsiteX1" fmla="*/ 154401 w 171691"/>
                          <a:gd name="connsiteY1" fmla="*/ 985 h 76734"/>
                          <a:gd name="connsiteX2" fmla="*/ 90742 w 171691"/>
                          <a:gd name="connsiteY2" fmla="*/ 12447 h 76734"/>
                          <a:gd name="connsiteX3" fmla="*/ 93256 w 171691"/>
                          <a:gd name="connsiteY3" fmla="*/ 15334 h 76734"/>
                          <a:gd name="connsiteX4" fmla="*/ 38791 w 171691"/>
                          <a:gd name="connsiteY4" fmla="*/ 38670 h 76734"/>
                          <a:gd name="connsiteX5" fmla="*/ 859 w 171691"/>
                          <a:gd name="connsiteY5" fmla="*/ 63408 h 76734"/>
                          <a:gd name="connsiteX6" fmla="*/ 67199 w 171691"/>
                          <a:gd name="connsiteY6" fmla="*/ 67531 h 76734"/>
                          <a:gd name="connsiteX7" fmla="*/ 99153 w 171691"/>
                          <a:gd name="connsiteY7" fmla="*/ 53760 h 76734"/>
                          <a:gd name="connsiteX8" fmla="*/ 146568 w 171691"/>
                          <a:gd name="connsiteY8" fmla="*/ 24899 h 76734"/>
                          <a:gd name="connsiteX9" fmla="*/ 161699 w 171691"/>
                          <a:gd name="connsiteY9" fmla="*/ -4 h 7673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</a:cxnLst>
                        <a:rect l="l" t="t" r="r" b="b"/>
                        <a:pathLst>
                          <a:path w="171691" h="76734">
                            <a:moveTo>
                              <a:pt x="161699" y="-4"/>
                            </a:moveTo>
                            <a:lnTo>
                              <a:pt x="154401" y="985"/>
                            </a:lnTo>
                            <a:cubicBezTo>
                              <a:pt x="133086" y="4119"/>
                              <a:pt x="111851" y="8077"/>
                              <a:pt x="90742" y="12447"/>
                            </a:cubicBezTo>
                            <a:cubicBezTo>
                              <a:pt x="91401" y="13552"/>
                              <a:pt x="92267" y="14529"/>
                              <a:pt x="93256" y="15334"/>
                            </a:cubicBezTo>
                            <a:cubicBezTo>
                              <a:pt x="109749" y="29063"/>
                              <a:pt x="47078" y="24940"/>
                              <a:pt x="38791" y="38670"/>
                            </a:cubicBezTo>
                            <a:cubicBezTo>
                              <a:pt x="30504" y="52400"/>
                              <a:pt x="-6026" y="47411"/>
                              <a:pt x="859" y="63408"/>
                            </a:cubicBezTo>
                            <a:cubicBezTo>
                              <a:pt x="7744" y="79406"/>
                              <a:pt x="67199" y="81261"/>
                              <a:pt x="67199" y="67531"/>
                            </a:cubicBezTo>
                            <a:cubicBezTo>
                              <a:pt x="67199" y="53802"/>
                              <a:pt x="97998" y="66129"/>
                              <a:pt x="99153" y="53760"/>
                            </a:cubicBezTo>
                            <a:cubicBezTo>
                              <a:pt x="100307" y="41391"/>
                              <a:pt x="113419" y="27744"/>
                              <a:pt x="146568" y="24899"/>
                            </a:cubicBezTo>
                            <a:cubicBezTo>
                              <a:pt x="174192" y="22673"/>
                              <a:pt x="178727" y="12736"/>
                              <a:pt x="161699" y="-4"/>
                            </a:cubicBezTo>
                            <a:close/>
                          </a:path>
                        </a:pathLst>
                      </a:custGeom>
                      <a:solidFill>
                        <a:schemeClr val="bg1">
                          <a:lumMod val="85000"/>
                        </a:schemeClr>
                      </a:solidFill>
                      <a:ln w="635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>
                        <a:defPPr>
                          <a:defRPr lang="en-US"/>
                        </a:defPPr>
                      </a:lstStyle>
                      <a:p>
                        <a:pPr marL="0" marR="0" lvl="0" indent="0" algn="l" defTabSz="1462923" rtl="0" eaLnBrk="1" fontAlgn="auto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defRPr kumimoji="0" sz="2160" b="0" i="0" normalizeH="0" noProof="0">
                            <a:solidFill>
                              <a:srgbClr val="000000"/>
                            </a:solidFill>
                            <a:uLnTx/>
                            <a:uFillTx/>
                            <a:latin typeface="+mn-lt"/>
                            <a:ea typeface="+mn-ea"/>
                            <a:cs typeface="+mn-cs"/>
                          </a:defRPr>
                        </a:pPr>
                        <a:endParaRPr kumimoji="0" lang="en-US" sz="288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cs typeface="Arial" pitchFamily="34" charset="0"/>
                        </a:endParaRPr>
                      </a:p>
                    </p:txBody>
                  </p:sp>
                  <p:sp>
                    <p:nvSpPr>
                      <p:cNvPr id="186" name="Russia group">
                        <a:extLst>
                          <a:ext uri="{FF2B5EF4-FFF2-40B4-BE49-F238E27FC236}">
                            <a16:creationId xmlns:a16="http://schemas.microsoft.com/office/drawing/2014/main" id="{51D3811C-039B-1765-ECFF-77E7475B8DD3}"/>
                          </a:ext>
                        </a:extLst>
                      </p:cNvPr>
                      <p:cNvSpPr/>
                      <p:nvPr>
                        <p:custDataLst>
                          <p:tags r:id="rId451"/>
                        </p:custDataLst>
                      </p:nvPr>
                    </p:nvSpPr>
                    <p:spPr>
                      <a:xfrm>
                        <a:off x="7652894" y="1171940"/>
                        <a:ext cx="5584516" cy="2250917"/>
                      </a:xfrm>
                      <a:custGeom>
                        <a:avLst/>
                        <a:gdLst>
                          <a:gd name="connsiteX0" fmla="*/ 6343270 w 6520931"/>
                          <a:gd name="connsiteY0" fmla="*/ 946198 h 2628352"/>
                          <a:gd name="connsiteX1" fmla="*/ 6338447 w 6520931"/>
                          <a:gd name="connsiteY1" fmla="*/ 950321 h 2628352"/>
                          <a:gd name="connsiteX2" fmla="*/ 6356794 w 6520931"/>
                          <a:gd name="connsiteY2" fmla="*/ 971637 h 2628352"/>
                          <a:gd name="connsiteX3" fmla="*/ 6350857 w 6520931"/>
                          <a:gd name="connsiteY3" fmla="*/ 1001117 h 2628352"/>
                          <a:gd name="connsiteX4" fmla="*/ 6325418 w 6520931"/>
                          <a:gd name="connsiteY4" fmla="*/ 988088 h 2628352"/>
                          <a:gd name="connsiteX5" fmla="*/ 6323644 w 6520931"/>
                          <a:gd name="connsiteY5" fmla="*/ 940755 h 2628352"/>
                          <a:gd name="connsiteX6" fmla="*/ 6323644 w 6520931"/>
                          <a:gd name="connsiteY6" fmla="*/ 937910 h 2628352"/>
                          <a:gd name="connsiteX7" fmla="*/ 6297175 w 6520931"/>
                          <a:gd name="connsiteY7" fmla="*/ 902535 h 2628352"/>
                          <a:gd name="connsiteX8" fmla="*/ 6295855 w 6520931"/>
                          <a:gd name="connsiteY8" fmla="*/ 901463 h 2628352"/>
                          <a:gd name="connsiteX9" fmla="*/ 6259326 w 6520931"/>
                          <a:gd name="connsiteY9" fmla="*/ 897092 h 2628352"/>
                          <a:gd name="connsiteX10" fmla="*/ 6167216 w 6520931"/>
                          <a:gd name="connsiteY10" fmla="*/ 883074 h 2628352"/>
                          <a:gd name="connsiteX11" fmla="*/ 6143591 w 6520931"/>
                          <a:gd name="connsiteY11" fmla="*/ 814260 h 2628352"/>
                          <a:gd name="connsiteX12" fmla="*/ 6108050 w 6520931"/>
                          <a:gd name="connsiteY12" fmla="*/ 795294 h 2628352"/>
                          <a:gd name="connsiteX13" fmla="*/ 5996110 w 6520931"/>
                          <a:gd name="connsiteY13" fmla="*/ 741695 h 2628352"/>
                          <a:gd name="connsiteX14" fmla="*/ 5966218 w 6520931"/>
                          <a:gd name="connsiteY14" fmla="*/ 724708 h 2628352"/>
                          <a:gd name="connsiteX15" fmla="*/ 5952365 w 6520931"/>
                          <a:gd name="connsiteY15" fmla="*/ 729697 h 2628352"/>
                          <a:gd name="connsiteX16" fmla="*/ 5782784 w 6520931"/>
                          <a:gd name="connsiteY16" fmla="*/ 725202 h 2628352"/>
                          <a:gd name="connsiteX17" fmla="*/ 5755159 w 6520931"/>
                          <a:gd name="connsiteY17" fmla="*/ 700876 h 2628352"/>
                          <a:gd name="connsiteX18" fmla="*/ 5736069 w 6520931"/>
                          <a:gd name="connsiteY18" fmla="*/ 701948 h 2628352"/>
                          <a:gd name="connsiteX19" fmla="*/ 5723041 w 6520931"/>
                          <a:gd name="connsiteY19" fmla="*/ 731428 h 2628352"/>
                          <a:gd name="connsiteX20" fmla="*/ 5742625 w 6520931"/>
                          <a:gd name="connsiteY20" fmla="*/ 768536 h 2628352"/>
                          <a:gd name="connsiteX21" fmla="*/ 5732524 w 6520931"/>
                          <a:gd name="connsiteY21" fmla="*/ 813889 h 2628352"/>
                          <a:gd name="connsiteX22" fmla="*/ 5677440 w 6520931"/>
                          <a:gd name="connsiteY22" fmla="*/ 789893 h 2628352"/>
                          <a:gd name="connsiteX23" fmla="*/ 5638683 w 6520931"/>
                          <a:gd name="connsiteY23" fmla="*/ 761320 h 2628352"/>
                          <a:gd name="connsiteX24" fmla="*/ 5498500 w 6520931"/>
                          <a:gd name="connsiteY24" fmla="*/ 763464 h 2628352"/>
                          <a:gd name="connsiteX25" fmla="*/ 5433273 w 6520931"/>
                          <a:gd name="connsiteY25" fmla="*/ 738726 h 2628352"/>
                          <a:gd name="connsiteX26" fmla="*/ 5368211 w 6520931"/>
                          <a:gd name="connsiteY26" fmla="*/ 749240 h 2628352"/>
                          <a:gd name="connsiteX27" fmla="*/ 5359965 w 6520931"/>
                          <a:gd name="connsiteY27" fmla="*/ 792490 h 2628352"/>
                          <a:gd name="connsiteX28" fmla="*/ 5349328 w 6520931"/>
                          <a:gd name="connsiteY28" fmla="*/ 747879 h 2628352"/>
                          <a:gd name="connsiteX29" fmla="*/ 5318487 w 6520931"/>
                          <a:gd name="connsiteY29" fmla="*/ 734850 h 2628352"/>
                          <a:gd name="connsiteX30" fmla="*/ 5297171 w 6520931"/>
                          <a:gd name="connsiteY30" fmla="*/ 725244 h 2628352"/>
                          <a:gd name="connsiteX31" fmla="*/ 5304263 w 6520931"/>
                          <a:gd name="connsiteY31" fmla="*/ 695764 h 2628352"/>
                          <a:gd name="connsiteX32" fmla="*/ 5305624 w 6520931"/>
                          <a:gd name="connsiteY32" fmla="*/ 683147 h 2628352"/>
                          <a:gd name="connsiteX33" fmla="*/ 5221184 w 6520931"/>
                          <a:gd name="connsiteY33" fmla="*/ 657172 h 2628352"/>
                          <a:gd name="connsiteX34" fmla="*/ 5077949 w 6520931"/>
                          <a:gd name="connsiteY34" fmla="*/ 633094 h 2628352"/>
                          <a:gd name="connsiteX35" fmla="*/ 4993962 w 6520931"/>
                          <a:gd name="connsiteY35" fmla="*/ 636763 h 2628352"/>
                          <a:gd name="connsiteX36" fmla="*/ 4983325 w 6520931"/>
                          <a:gd name="connsiteY36" fmla="*/ 614128 h 2628352"/>
                          <a:gd name="connsiteX37" fmla="*/ 4974254 w 6520931"/>
                          <a:gd name="connsiteY37" fmla="*/ 605387 h 2628352"/>
                          <a:gd name="connsiteX38" fmla="*/ 4954876 w 6520931"/>
                          <a:gd name="connsiteY38" fmla="*/ 598996 h 2628352"/>
                          <a:gd name="connsiteX39" fmla="*/ 4944362 w 6520931"/>
                          <a:gd name="connsiteY39" fmla="*/ 593801 h 2628352"/>
                          <a:gd name="connsiteX40" fmla="*/ 4932942 w 6520931"/>
                          <a:gd name="connsiteY40" fmla="*/ 596976 h 2628352"/>
                          <a:gd name="connsiteX41" fmla="*/ 4917562 w 6520931"/>
                          <a:gd name="connsiteY41" fmla="*/ 589430 h 2628352"/>
                          <a:gd name="connsiteX42" fmla="*/ 4867220 w 6520931"/>
                          <a:gd name="connsiteY42" fmla="*/ 570217 h 2628352"/>
                          <a:gd name="connsiteX43" fmla="*/ 4863097 w 6520931"/>
                          <a:gd name="connsiteY43" fmla="*/ 555127 h 2628352"/>
                          <a:gd name="connsiteX44" fmla="*/ 4895793 w 6520931"/>
                          <a:gd name="connsiteY44" fmla="*/ 537563 h 2628352"/>
                          <a:gd name="connsiteX45" fmla="*/ 4864127 w 6520931"/>
                          <a:gd name="connsiteY45" fmla="*/ 535955 h 2628352"/>
                          <a:gd name="connsiteX46" fmla="*/ 4833989 w 6520931"/>
                          <a:gd name="connsiteY46" fmla="*/ 549437 h 2628352"/>
                          <a:gd name="connsiteX47" fmla="*/ 4781337 w 6520931"/>
                          <a:gd name="connsiteY47" fmla="*/ 511464 h 2628352"/>
                          <a:gd name="connsiteX48" fmla="*/ 4766576 w 6520931"/>
                          <a:gd name="connsiteY48" fmla="*/ 512618 h 2628352"/>
                          <a:gd name="connsiteX49" fmla="*/ 4742869 w 6520931"/>
                          <a:gd name="connsiteY49" fmla="*/ 557972 h 2628352"/>
                          <a:gd name="connsiteX50" fmla="*/ 4700236 w 6520931"/>
                          <a:gd name="connsiteY50" fmla="*/ 553849 h 2628352"/>
                          <a:gd name="connsiteX51" fmla="*/ 4731613 w 6520931"/>
                          <a:gd name="connsiteY51" fmla="*/ 531213 h 2628352"/>
                          <a:gd name="connsiteX52" fmla="*/ 4686630 w 6520931"/>
                          <a:gd name="connsiteY52" fmla="*/ 515422 h 2628352"/>
                          <a:gd name="connsiteX53" fmla="*/ 4686630 w 6520931"/>
                          <a:gd name="connsiteY53" fmla="*/ 507176 h 2628352"/>
                          <a:gd name="connsiteX54" fmla="*/ 4647421 w 6520931"/>
                          <a:gd name="connsiteY54" fmla="*/ 475923 h 2628352"/>
                          <a:gd name="connsiteX55" fmla="*/ 4599634 w 6520931"/>
                          <a:gd name="connsiteY55" fmla="*/ 472336 h 2628352"/>
                          <a:gd name="connsiteX56" fmla="*/ 4539231 w 6520931"/>
                          <a:gd name="connsiteY56" fmla="*/ 457947 h 2628352"/>
                          <a:gd name="connsiteX57" fmla="*/ 4530367 w 6520931"/>
                          <a:gd name="connsiteY57" fmla="*/ 479180 h 2628352"/>
                          <a:gd name="connsiteX58" fmla="*/ 4494827 w 6520931"/>
                          <a:gd name="connsiteY58" fmla="*/ 493611 h 2628352"/>
                          <a:gd name="connsiteX59" fmla="*/ 4481097 w 6520931"/>
                          <a:gd name="connsiteY59" fmla="*/ 493982 h 2628352"/>
                          <a:gd name="connsiteX60" fmla="*/ 4483241 w 6520931"/>
                          <a:gd name="connsiteY60" fmla="*/ 504455 h 2628352"/>
                          <a:gd name="connsiteX61" fmla="*/ 4486786 w 6520931"/>
                          <a:gd name="connsiteY61" fmla="*/ 522225 h 2628352"/>
                          <a:gd name="connsiteX62" fmla="*/ 4490085 w 6520931"/>
                          <a:gd name="connsiteY62" fmla="*/ 523091 h 2628352"/>
                          <a:gd name="connsiteX63" fmla="*/ 4487776 w 6520931"/>
                          <a:gd name="connsiteY63" fmla="*/ 530760 h 2628352"/>
                          <a:gd name="connsiteX64" fmla="*/ 4486498 w 6520931"/>
                          <a:gd name="connsiteY64" fmla="*/ 553890 h 2628352"/>
                          <a:gd name="connsiteX65" fmla="*/ 4491857 w 6520931"/>
                          <a:gd name="connsiteY65" fmla="*/ 579329 h 2628352"/>
                          <a:gd name="connsiteX66" fmla="*/ 4467119 w 6520931"/>
                          <a:gd name="connsiteY66" fmla="*/ 585266 h 2628352"/>
                          <a:gd name="connsiteX67" fmla="*/ 4450998 w 6520931"/>
                          <a:gd name="connsiteY67" fmla="*/ 594254 h 2628352"/>
                          <a:gd name="connsiteX68" fmla="*/ 4425601 w 6520931"/>
                          <a:gd name="connsiteY68" fmla="*/ 597965 h 2628352"/>
                          <a:gd name="connsiteX69" fmla="*/ 4410139 w 6520931"/>
                          <a:gd name="connsiteY69" fmla="*/ 605428 h 2628352"/>
                          <a:gd name="connsiteX70" fmla="*/ 4389895 w 6520931"/>
                          <a:gd name="connsiteY70" fmla="*/ 592853 h 2628352"/>
                          <a:gd name="connsiteX71" fmla="*/ 4357199 w 6520931"/>
                          <a:gd name="connsiteY71" fmla="*/ 607572 h 2628352"/>
                          <a:gd name="connsiteX72" fmla="*/ 4303599 w 6520931"/>
                          <a:gd name="connsiteY72" fmla="*/ 603160 h 2628352"/>
                          <a:gd name="connsiteX73" fmla="*/ 4251608 w 6520931"/>
                          <a:gd name="connsiteY73" fmla="*/ 599037 h 2628352"/>
                          <a:gd name="connsiteX74" fmla="*/ 4236600 w 6520931"/>
                          <a:gd name="connsiteY74" fmla="*/ 592317 h 2628352"/>
                          <a:gd name="connsiteX75" fmla="*/ 4223983 w 6520931"/>
                          <a:gd name="connsiteY75" fmla="*/ 590173 h 2628352"/>
                          <a:gd name="connsiteX76" fmla="*/ 4177558 w 6520931"/>
                          <a:gd name="connsiteY76" fmla="*/ 585225 h 2628352"/>
                          <a:gd name="connsiteX77" fmla="*/ 4165477 w 6520931"/>
                          <a:gd name="connsiteY77" fmla="*/ 607984 h 2628352"/>
                          <a:gd name="connsiteX78" fmla="*/ 4139997 w 6520931"/>
                          <a:gd name="connsiteY78" fmla="*/ 643649 h 2628352"/>
                          <a:gd name="connsiteX79" fmla="*/ 4115259 w 6520931"/>
                          <a:gd name="connsiteY79" fmla="*/ 634743 h 2628352"/>
                          <a:gd name="connsiteX80" fmla="*/ 4055433 w 6520931"/>
                          <a:gd name="connsiteY80" fmla="*/ 572320 h 2628352"/>
                          <a:gd name="connsiteX81" fmla="*/ 4018738 w 6520931"/>
                          <a:gd name="connsiteY81" fmla="*/ 524987 h 2628352"/>
                          <a:gd name="connsiteX82" fmla="*/ 4034694 w 6520931"/>
                          <a:gd name="connsiteY82" fmla="*/ 525688 h 2628352"/>
                          <a:gd name="connsiteX83" fmla="*/ 4063556 w 6520931"/>
                          <a:gd name="connsiteY83" fmla="*/ 529110 h 2628352"/>
                          <a:gd name="connsiteX84" fmla="*/ 4069040 w 6520931"/>
                          <a:gd name="connsiteY84" fmla="*/ 517401 h 2628352"/>
                          <a:gd name="connsiteX85" fmla="*/ 4039394 w 6520931"/>
                          <a:gd name="connsiteY85" fmla="*/ 490766 h 2628352"/>
                          <a:gd name="connsiteX86" fmla="*/ 4015604 w 6520931"/>
                          <a:gd name="connsiteY86" fmla="*/ 459554 h 2628352"/>
                          <a:gd name="connsiteX87" fmla="*/ 4004802 w 6520931"/>
                          <a:gd name="connsiteY87" fmla="*/ 446402 h 2628352"/>
                          <a:gd name="connsiteX88" fmla="*/ 3943946 w 6520931"/>
                          <a:gd name="connsiteY88" fmla="*/ 447763 h 2628352"/>
                          <a:gd name="connsiteX89" fmla="*/ 3821120 w 6520931"/>
                          <a:gd name="connsiteY89" fmla="*/ 404264 h 2628352"/>
                          <a:gd name="connsiteX90" fmla="*/ 3822523 w 6520931"/>
                          <a:gd name="connsiteY90" fmla="*/ 409047 h 2628352"/>
                          <a:gd name="connsiteX91" fmla="*/ 3821904 w 6520931"/>
                          <a:gd name="connsiteY91" fmla="*/ 444052 h 2628352"/>
                          <a:gd name="connsiteX92" fmla="*/ 3798237 w 6520931"/>
                          <a:gd name="connsiteY92" fmla="*/ 446113 h 2628352"/>
                          <a:gd name="connsiteX93" fmla="*/ 3749668 w 6520931"/>
                          <a:gd name="connsiteY93" fmla="*/ 451597 h 2628352"/>
                          <a:gd name="connsiteX94" fmla="*/ 3743154 w 6520931"/>
                          <a:gd name="connsiteY94" fmla="*/ 449907 h 2628352"/>
                          <a:gd name="connsiteX95" fmla="*/ 3730207 w 6520931"/>
                          <a:gd name="connsiteY95" fmla="*/ 451927 h 2628352"/>
                          <a:gd name="connsiteX96" fmla="*/ 3679288 w 6520931"/>
                          <a:gd name="connsiteY96" fmla="*/ 441331 h 2628352"/>
                          <a:gd name="connsiteX97" fmla="*/ 3675824 w 6520931"/>
                          <a:gd name="connsiteY97" fmla="*/ 439764 h 2628352"/>
                          <a:gd name="connsiteX98" fmla="*/ 3622225 w 6520931"/>
                          <a:gd name="connsiteY98" fmla="*/ 427395 h 2628352"/>
                          <a:gd name="connsiteX99" fmla="*/ 3621730 w 6520931"/>
                          <a:gd name="connsiteY99" fmla="*/ 420097 h 2628352"/>
                          <a:gd name="connsiteX100" fmla="*/ 3578685 w 6520931"/>
                          <a:gd name="connsiteY100" fmla="*/ 411851 h 2628352"/>
                          <a:gd name="connsiteX101" fmla="*/ 3520179 w 6520931"/>
                          <a:gd name="connsiteY101" fmla="*/ 387113 h 2628352"/>
                          <a:gd name="connsiteX102" fmla="*/ 3518159 w 6520931"/>
                          <a:gd name="connsiteY102" fmla="*/ 385546 h 2628352"/>
                          <a:gd name="connsiteX103" fmla="*/ 3427947 w 6520931"/>
                          <a:gd name="connsiteY103" fmla="*/ 399399 h 2628352"/>
                          <a:gd name="connsiteX104" fmla="*/ 3422628 w 6520931"/>
                          <a:gd name="connsiteY104" fmla="*/ 424138 h 2628352"/>
                          <a:gd name="connsiteX105" fmla="*/ 3416114 w 6520931"/>
                          <a:gd name="connsiteY105" fmla="*/ 378784 h 2628352"/>
                          <a:gd name="connsiteX106" fmla="*/ 3395952 w 6520931"/>
                          <a:gd name="connsiteY106" fmla="*/ 373300 h 2628352"/>
                          <a:gd name="connsiteX107" fmla="*/ 3354516 w 6520931"/>
                          <a:gd name="connsiteY107" fmla="*/ 380103 h 2628352"/>
                          <a:gd name="connsiteX108" fmla="*/ 3308338 w 6520931"/>
                          <a:gd name="connsiteY108" fmla="*/ 352685 h 2628352"/>
                          <a:gd name="connsiteX109" fmla="*/ 3263313 w 6520931"/>
                          <a:gd name="connsiteY109" fmla="*/ 382907 h 2628352"/>
                          <a:gd name="connsiteX110" fmla="*/ 3287599 w 6520931"/>
                          <a:gd name="connsiteY110" fmla="*/ 390411 h 2628352"/>
                          <a:gd name="connsiteX111" fmla="*/ 3238451 w 6520931"/>
                          <a:gd name="connsiteY111" fmla="*/ 406903 h 2628352"/>
                          <a:gd name="connsiteX112" fmla="*/ 3177431 w 6520931"/>
                          <a:gd name="connsiteY112" fmla="*/ 431642 h 2628352"/>
                          <a:gd name="connsiteX113" fmla="*/ 3111709 w 6520931"/>
                          <a:gd name="connsiteY113" fmla="*/ 454978 h 2628352"/>
                          <a:gd name="connsiteX114" fmla="*/ 3121770 w 6520931"/>
                          <a:gd name="connsiteY114" fmla="*/ 422736 h 2628352"/>
                          <a:gd name="connsiteX115" fmla="*/ 3158877 w 6520931"/>
                          <a:gd name="connsiteY115" fmla="*/ 400100 h 2628352"/>
                          <a:gd name="connsiteX116" fmla="*/ 3202705 w 6520931"/>
                          <a:gd name="connsiteY116" fmla="*/ 384309 h 2628352"/>
                          <a:gd name="connsiteX117" fmla="*/ 3234700 w 6520931"/>
                          <a:gd name="connsiteY117" fmla="*/ 359571 h 2628352"/>
                          <a:gd name="connsiteX118" fmla="*/ 3275930 w 6520931"/>
                          <a:gd name="connsiteY118" fmla="*/ 330050 h 2628352"/>
                          <a:gd name="connsiteX119" fmla="*/ 3344661 w 6520931"/>
                          <a:gd name="connsiteY119" fmla="*/ 297807 h 2628352"/>
                          <a:gd name="connsiteX120" fmla="*/ 3363586 w 6520931"/>
                          <a:gd name="connsiteY120" fmla="*/ 273069 h 2628352"/>
                          <a:gd name="connsiteX121" fmla="*/ 3412156 w 6520931"/>
                          <a:gd name="connsiteY121" fmla="*/ 251135 h 2628352"/>
                          <a:gd name="connsiteX122" fmla="*/ 3430503 w 6520931"/>
                          <a:gd name="connsiteY122" fmla="*/ 223015 h 2628352"/>
                          <a:gd name="connsiteX123" fmla="*/ 3412732 w 6520931"/>
                          <a:gd name="connsiteY123" fmla="*/ 207224 h 2628352"/>
                          <a:gd name="connsiteX124" fmla="*/ 3432853 w 6520931"/>
                          <a:gd name="connsiteY124" fmla="*/ 198978 h 2628352"/>
                          <a:gd name="connsiteX125" fmla="*/ 3422835 w 6520931"/>
                          <a:gd name="connsiteY125" fmla="*/ 177703 h 2628352"/>
                          <a:gd name="connsiteX126" fmla="*/ 3420691 w 6520931"/>
                          <a:gd name="connsiteY126" fmla="*/ 172013 h 2628352"/>
                          <a:gd name="connsiteX127" fmla="*/ 3388737 w 6520931"/>
                          <a:gd name="connsiteY127" fmla="*/ 157129 h 2628352"/>
                          <a:gd name="connsiteX128" fmla="*/ 3368122 w 6520931"/>
                          <a:gd name="connsiteY128" fmla="*/ 126041 h 2628352"/>
                          <a:gd name="connsiteX129" fmla="*/ 3259190 w 6520931"/>
                          <a:gd name="connsiteY129" fmla="*/ 103076 h 2628352"/>
                          <a:gd name="connsiteX130" fmla="*/ 3248141 w 6520931"/>
                          <a:gd name="connsiteY130" fmla="*/ 98664 h 2628352"/>
                          <a:gd name="connsiteX131" fmla="*/ 3217672 w 6520931"/>
                          <a:gd name="connsiteY131" fmla="*/ 96067 h 2628352"/>
                          <a:gd name="connsiteX132" fmla="*/ 3191655 w 6520931"/>
                          <a:gd name="connsiteY132" fmla="*/ 113219 h 2628352"/>
                          <a:gd name="connsiteX133" fmla="*/ 3141313 w 6520931"/>
                          <a:gd name="connsiteY133" fmla="*/ 118702 h 2628352"/>
                          <a:gd name="connsiteX134" fmla="*/ 3170174 w 6520931"/>
                          <a:gd name="connsiteY134" fmla="*/ 75493 h 2628352"/>
                          <a:gd name="connsiteX135" fmla="*/ 3104452 w 6520931"/>
                          <a:gd name="connsiteY135" fmla="*/ 70050 h 2628352"/>
                          <a:gd name="connsiteX136" fmla="*/ 3057078 w 6520931"/>
                          <a:gd name="connsiteY136" fmla="*/ 61804 h 2628352"/>
                          <a:gd name="connsiteX137" fmla="*/ 3068912 w 6520931"/>
                          <a:gd name="connsiteY137" fmla="*/ 56321 h 2628352"/>
                          <a:gd name="connsiteX138" fmla="*/ 3106226 w 6520931"/>
                          <a:gd name="connsiteY138" fmla="*/ 39828 h 2628352"/>
                          <a:gd name="connsiteX139" fmla="*/ 3110967 w 6520931"/>
                          <a:gd name="connsiteY139" fmla="*/ 21976 h 2628352"/>
                          <a:gd name="connsiteX140" fmla="*/ 3077199 w 6520931"/>
                          <a:gd name="connsiteY140" fmla="*/ 12410 h 2628352"/>
                          <a:gd name="connsiteX141" fmla="*/ 3035145 w 6520931"/>
                          <a:gd name="connsiteY141" fmla="*/ 41 h 2628352"/>
                          <a:gd name="connsiteX142" fmla="*/ 2982452 w 6520931"/>
                          <a:gd name="connsiteY142" fmla="*/ 13070 h 2628352"/>
                          <a:gd name="connsiteX143" fmla="*/ 2938047 w 6520931"/>
                          <a:gd name="connsiteY143" fmla="*/ 51497 h 2628352"/>
                          <a:gd name="connsiteX144" fmla="*/ 2925678 w 6520931"/>
                          <a:gd name="connsiteY144" fmla="*/ 61021 h 2628352"/>
                          <a:gd name="connsiteX145" fmla="*/ 2918091 w 6520931"/>
                          <a:gd name="connsiteY145" fmla="*/ 108271 h 2628352"/>
                          <a:gd name="connsiteX146" fmla="*/ 2918421 w 6520931"/>
                          <a:gd name="connsiteY146" fmla="*/ 111858 h 2628352"/>
                          <a:gd name="connsiteX147" fmla="*/ 2899743 w 6520931"/>
                          <a:gd name="connsiteY147" fmla="*/ 120681 h 2628352"/>
                          <a:gd name="connsiteX148" fmla="*/ 2867955 w 6520931"/>
                          <a:gd name="connsiteY148" fmla="*/ 118991 h 2628352"/>
                          <a:gd name="connsiteX149" fmla="*/ 2834971 w 6520931"/>
                          <a:gd name="connsiteY149" fmla="*/ 129711 h 2628352"/>
                          <a:gd name="connsiteX150" fmla="*/ 2861070 w 6520931"/>
                          <a:gd name="connsiteY150" fmla="*/ 153006 h 2628352"/>
                          <a:gd name="connsiteX151" fmla="*/ 2830889 w 6520931"/>
                          <a:gd name="connsiteY151" fmla="*/ 146162 h 2628352"/>
                          <a:gd name="connsiteX152" fmla="*/ 2795925 w 6520931"/>
                          <a:gd name="connsiteY152" fmla="*/ 155068 h 2628352"/>
                          <a:gd name="connsiteX153" fmla="*/ 2769867 w 6520931"/>
                          <a:gd name="connsiteY153" fmla="*/ 161252 h 2628352"/>
                          <a:gd name="connsiteX154" fmla="*/ 2749252 w 6520931"/>
                          <a:gd name="connsiteY154" fmla="*/ 164056 h 2628352"/>
                          <a:gd name="connsiteX155" fmla="*/ 2724514 w 6520931"/>
                          <a:gd name="connsiteY155" fmla="*/ 172302 h 2628352"/>
                          <a:gd name="connsiteX156" fmla="*/ 2701013 w 6520931"/>
                          <a:gd name="connsiteY156" fmla="*/ 165004 h 2628352"/>
                          <a:gd name="connsiteX157" fmla="*/ 2667698 w 6520931"/>
                          <a:gd name="connsiteY157" fmla="*/ 181496 h 2628352"/>
                          <a:gd name="connsiteX158" fmla="*/ 2649392 w 6520931"/>
                          <a:gd name="connsiteY158" fmla="*/ 181496 h 2628352"/>
                          <a:gd name="connsiteX159" fmla="*/ 2650134 w 6520931"/>
                          <a:gd name="connsiteY159" fmla="*/ 182651 h 2628352"/>
                          <a:gd name="connsiteX160" fmla="*/ 2583795 w 6520931"/>
                          <a:gd name="connsiteY160" fmla="*/ 194319 h 2628352"/>
                          <a:gd name="connsiteX161" fmla="*/ 2568993 w 6520931"/>
                          <a:gd name="connsiteY161" fmla="*/ 200875 h 2628352"/>
                          <a:gd name="connsiteX162" fmla="*/ 2395371 w 6520931"/>
                          <a:gd name="connsiteY162" fmla="*/ 274512 h 2628352"/>
                          <a:gd name="connsiteX163" fmla="*/ 2394753 w 6520931"/>
                          <a:gd name="connsiteY163" fmla="*/ 274512 h 2628352"/>
                          <a:gd name="connsiteX164" fmla="*/ 2403534 w 6520931"/>
                          <a:gd name="connsiteY164" fmla="*/ 286015 h 2628352"/>
                          <a:gd name="connsiteX165" fmla="*/ 2401391 w 6520931"/>
                          <a:gd name="connsiteY165" fmla="*/ 291004 h 2628352"/>
                          <a:gd name="connsiteX166" fmla="*/ 2367046 w 6520931"/>
                          <a:gd name="connsiteY166" fmla="*/ 288943 h 2628352"/>
                          <a:gd name="connsiteX167" fmla="*/ 2388940 w 6520931"/>
                          <a:gd name="connsiteY167" fmla="*/ 303374 h 2628352"/>
                          <a:gd name="connsiteX168" fmla="*/ 2406709 w 6520931"/>
                          <a:gd name="connsiteY168" fmla="*/ 319124 h 2628352"/>
                          <a:gd name="connsiteX169" fmla="*/ 2376529 w 6520931"/>
                          <a:gd name="connsiteY169" fmla="*/ 321185 h 2628352"/>
                          <a:gd name="connsiteX170" fmla="*/ 2391908 w 6520931"/>
                          <a:gd name="connsiteY170" fmla="*/ 333554 h 2628352"/>
                          <a:gd name="connsiteX171" fmla="*/ 2404937 w 6520931"/>
                          <a:gd name="connsiteY171" fmla="*/ 350046 h 2628352"/>
                          <a:gd name="connsiteX172" fmla="*/ 2406874 w 6520931"/>
                          <a:gd name="connsiteY172" fmla="*/ 352314 h 2628352"/>
                          <a:gd name="connsiteX173" fmla="*/ 2402751 w 6520931"/>
                          <a:gd name="connsiteY173" fmla="*/ 371981 h 2628352"/>
                          <a:gd name="connsiteX174" fmla="*/ 2391454 w 6520931"/>
                          <a:gd name="connsiteY174" fmla="*/ 376104 h 2628352"/>
                          <a:gd name="connsiteX175" fmla="*/ 2353605 w 6520931"/>
                          <a:gd name="connsiteY175" fmla="*/ 374043 h 2628352"/>
                          <a:gd name="connsiteX176" fmla="*/ 2334597 w 6520931"/>
                          <a:gd name="connsiteY176" fmla="*/ 381588 h 2628352"/>
                          <a:gd name="connsiteX177" fmla="*/ 2332041 w 6520931"/>
                          <a:gd name="connsiteY177" fmla="*/ 379938 h 2628352"/>
                          <a:gd name="connsiteX178" fmla="*/ 2314023 w 6520931"/>
                          <a:gd name="connsiteY178" fmla="*/ 384062 h 2628352"/>
                          <a:gd name="connsiteX179" fmla="*/ 2216431 w 6520931"/>
                          <a:gd name="connsiteY179" fmla="*/ 409501 h 2628352"/>
                          <a:gd name="connsiteX180" fmla="*/ 2171532 w 6520931"/>
                          <a:gd name="connsiteY180" fmla="*/ 395235 h 2628352"/>
                          <a:gd name="connsiteX181" fmla="*/ 2158132 w 6520931"/>
                          <a:gd name="connsiteY181" fmla="*/ 441042 h 2628352"/>
                          <a:gd name="connsiteX182" fmla="*/ 2158708 w 6520931"/>
                          <a:gd name="connsiteY182" fmla="*/ 474026 h 2628352"/>
                          <a:gd name="connsiteX183" fmla="*/ 2213215 w 6520931"/>
                          <a:gd name="connsiteY183" fmla="*/ 507629 h 2628352"/>
                          <a:gd name="connsiteX184" fmla="*/ 2236304 w 6520931"/>
                          <a:gd name="connsiteY184" fmla="*/ 552983 h 2628352"/>
                          <a:gd name="connsiteX185" fmla="*/ 2168192 w 6520931"/>
                          <a:gd name="connsiteY185" fmla="*/ 527626 h 2628352"/>
                          <a:gd name="connsiteX186" fmla="*/ 2076413 w 6520931"/>
                          <a:gd name="connsiteY186" fmla="*/ 500208 h 2628352"/>
                          <a:gd name="connsiteX187" fmla="*/ 2047551 w 6520931"/>
                          <a:gd name="connsiteY187" fmla="*/ 483015 h 2628352"/>
                          <a:gd name="connsiteX188" fmla="*/ 2022071 w 6520931"/>
                          <a:gd name="connsiteY188" fmla="*/ 506351 h 2628352"/>
                          <a:gd name="connsiteX189" fmla="*/ 2038563 w 6520931"/>
                          <a:gd name="connsiteY189" fmla="*/ 513195 h 2628352"/>
                          <a:gd name="connsiteX190" fmla="*/ 2060456 w 6520931"/>
                          <a:gd name="connsiteY190" fmla="*/ 528286 h 2628352"/>
                          <a:gd name="connsiteX191" fmla="*/ 2027265 w 6520931"/>
                          <a:gd name="connsiteY191" fmla="*/ 535171 h 2628352"/>
                          <a:gd name="connsiteX192" fmla="*/ 1984056 w 6520931"/>
                          <a:gd name="connsiteY192" fmla="*/ 545438 h 2628352"/>
                          <a:gd name="connsiteX193" fmla="*/ 2037367 w 6520931"/>
                          <a:gd name="connsiteY193" fmla="*/ 593471 h 2628352"/>
                          <a:gd name="connsiteX194" fmla="*/ 2073485 w 6520931"/>
                          <a:gd name="connsiteY194" fmla="*/ 616766 h 2628352"/>
                          <a:gd name="connsiteX195" fmla="*/ 2067589 w 6520931"/>
                          <a:gd name="connsiteY195" fmla="*/ 630496 h 2628352"/>
                          <a:gd name="connsiteX196" fmla="*/ 2021369 w 6520931"/>
                          <a:gd name="connsiteY196" fmla="*/ 603078 h 2628352"/>
                          <a:gd name="connsiteX197" fmla="*/ 1953298 w 6520931"/>
                          <a:gd name="connsiteY197" fmla="*/ 596192 h 2628352"/>
                          <a:gd name="connsiteX198" fmla="*/ 1950866 w 6520931"/>
                          <a:gd name="connsiteY198" fmla="*/ 566053 h 2628352"/>
                          <a:gd name="connsiteX199" fmla="*/ 1960389 w 6520931"/>
                          <a:gd name="connsiteY199" fmla="*/ 520081 h 2628352"/>
                          <a:gd name="connsiteX200" fmla="*/ 1943197 w 6520931"/>
                          <a:gd name="connsiteY200" fmla="*/ 462358 h 2628352"/>
                          <a:gd name="connsiteX201" fmla="*/ 1932518 w 6520931"/>
                          <a:gd name="connsiteY201" fmla="*/ 480871 h 2628352"/>
                          <a:gd name="connsiteX202" fmla="*/ 1922458 w 6520931"/>
                          <a:gd name="connsiteY202" fmla="*/ 529605 h 2628352"/>
                          <a:gd name="connsiteX203" fmla="*/ 1874466 w 6520931"/>
                          <a:gd name="connsiteY203" fmla="*/ 558466 h 2628352"/>
                          <a:gd name="connsiteX204" fmla="*/ 1858468 w 6520931"/>
                          <a:gd name="connsiteY204" fmla="*/ 587328 h 2628352"/>
                          <a:gd name="connsiteX205" fmla="*/ 1904110 w 6520931"/>
                          <a:gd name="connsiteY205" fmla="*/ 651111 h 2628352"/>
                          <a:gd name="connsiteX206" fmla="*/ 1880403 w 6520931"/>
                          <a:gd name="connsiteY206" fmla="*/ 729449 h 2628352"/>
                          <a:gd name="connsiteX207" fmla="*/ 1882175 w 6520931"/>
                          <a:gd name="connsiteY207" fmla="*/ 776081 h 2628352"/>
                          <a:gd name="connsiteX208" fmla="*/ 1912974 w 6520931"/>
                          <a:gd name="connsiteY208" fmla="*/ 782265 h 2628352"/>
                          <a:gd name="connsiteX209" fmla="*/ 1959771 w 6520931"/>
                          <a:gd name="connsiteY209" fmla="*/ 770597 h 2628352"/>
                          <a:gd name="connsiteX210" fmla="*/ 2036748 w 6520931"/>
                          <a:gd name="connsiteY210" fmla="*/ 800778 h 2628352"/>
                          <a:gd name="connsiteX211" fmla="*/ 2051550 w 6520931"/>
                          <a:gd name="connsiteY211" fmla="*/ 836442 h 2628352"/>
                          <a:gd name="connsiteX212" fmla="*/ 2033203 w 6520931"/>
                          <a:gd name="connsiteY212" fmla="*/ 870746 h 2628352"/>
                          <a:gd name="connsiteX213" fmla="*/ 2079381 w 6520931"/>
                          <a:gd name="connsiteY213" fmla="*/ 906410 h 2628352"/>
                          <a:gd name="connsiteX214" fmla="*/ 2034399 w 6520931"/>
                          <a:gd name="connsiteY214" fmla="*/ 902287 h 2628352"/>
                          <a:gd name="connsiteX215" fmla="*/ 2016051 w 6520931"/>
                          <a:gd name="connsiteY215" fmla="*/ 872807 h 2628352"/>
                          <a:gd name="connsiteX216" fmla="*/ 2026070 w 6520931"/>
                          <a:gd name="connsiteY216" fmla="*/ 839205 h 2628352"/>
                          <a:gd name="connsiteX217" fmla="*/ 2005991 w 6520931"/>
                          <a:gd name="connsiteY217" fmla="*/ 809684 h 2628352"/>
                          <a:gd name="connsiteX218" fmla="*/ 1980510 w 6520931"/>
                          <a:gd name="connsiteY218" fmla="*/ 790512 h 2628352"/>
                          <a:gd name="connsiteX219" fmla="*/ 1918912 w 6520931"/>
                          <a:gd name="connsiteY219" fmla="*/ 809684 h 2628352"/>
                          <a:gd name="connsiteX220" fmla="*/ 1927158 w 6520931"/>
                          <a:gd name="connsiteY220" fmla="*/ 874168 h 2628352"/>
                          <a:gd name="connsiteX221" fmla="*/ 1893968 w 6520931"/>
                          <a:gd name="connsiteY221" fmla="*/ 929046 h 2628352"/>
                          <a:gd name="connsiteX222" fmla="*/ 1863787 w 6520931"/>
                          <a:gd name="connsiteY222" fmla="*/ 959927 h 2628352"/>
                          <a:gd name="connsiteX223" fmla="*/ 1827051 w 6520931"/>
                          <a:gd name="connsiteY223" fmla="*/ 997035 h 2628352"/>
                          <a:gd name="connsiteX224" fmla="*/ 1790933 w 6520931"/>
                          <a:gd name="connsiteY224" fmla="*/ 997035 h 2628352"/>
                          <a:gd name="connsiteX225" fmla="*/ 1744755 w 6520931"/>
                          <a:gd name="connsiteY225" fmla="*/ 1001158 h 2628352"/>
                          <a:gd name="connsiteX226" fmla="*/ 1712760 w 6520931"/>
                          <a:gd name="connsiteY226" fmla="*/ 989490 h 2628352"/>
                          <a:gd name="connsiteX227" fmla="*/ 1693217 w 6520931"/>
                          <a:gd name="connsiteY227" fmla="*/ 969575 h 2628352"/>
                          <a:gd name="connsiteX228" fmla="*/ 1714533 w 6520931"/>
                          <a:gd name="connsiteY228" fmla="*/ 975760 h 2628352"/>
                          <a:gd name="connsiteX229" fmla="*/ 1737621 w 6520931"/>
                          <a:gd name="connsiteY229" fmla="*/ 973039 h 2628352"/>
                          <a:gd name="connsiteX230" fmla="*/ 1760752 w 6520931"/>
                          <a:gd name="connsiteY230" fmla="*/ 984006 h 2628352"/>
                          <a:gd name="connsiteX231" fmla="*/ 1781367 w 6520931"/>
                          <a:gd name="connsiteY231" fmla="*/ 975059 h 2628352"/>
                          <a:gd name="connsiteX232" fmla="*/ 1790850 w 6520931"/>
                          <a:gd name="connsiteY232" fmla="*/ 964092 h 2628352"/>
                          <a:gd name="connsiteX233" fmla="*/ 1808621 w 6520931"/>
                          <a:gd name="connsiteY233" fmla="*/ 946981 h 2628352"/>
                          <a:gd name="connsiteX234" fmla="*/ 1820990 w 6520931"/>
                          <a:gd name="connsiteY234" fmla="*/ 922243 h 2628352"/>
                          <a:gd name="connsiteX235" fmla="*/ 1831627 w 6520931"/>
                          <a:gd name="connsiteY235" fmla="*/ 907152 h 2628352"/>
                          <a:gd name="connsiteX236" fmla="*/ 1851170 w 6520931"/>
                          <a:gd name="connsiteY236" fmla="*/ 892021 h 2628352"/>
                          <a:gd name="connsiteX237" fmla="*/ 1858261 w 6520931"/>
                          <a:gd name="connsiteY237" fmla="*/ 870086 h 2628352"/>
                          <a:gd name="connsiteX238" fmla="*/ 1868941 w 6520931"/>
                          <a:gd name="connsiteY238" fmla="*/ 839246 h 2628352"/>
                          <a:gd name="connsiteX239" fmla="*/ 1870136 w 6520931"/>
                          <a:gd name="connsiteY239" fmla="*/ 822094 h 2628352"/>
                          <a:gd name="connsiteX240" fmla="*/ 1838760 w 6520931"/>
                          <a:gd name="connsiteY240" fmla="*/ 782307 h 2628352"/>
                          <a:gd name="connsiteX241" fmla="*/ 1837523 w 6520931"/>
                          <a:gd name="connsiteY241" fmla="*/ 734974 h 2628352"/>
                          <a:gd name="connsiteX242" fmla="*/ 1836946 w 6520931"/>
                          <a:gd name="connsiteY242" fmla="*/ 691064 h 2628352"/>
                          <a:gd name="connsiteX243" fmla="*/ 1847047 w 6520931"/>
                          <a:gd name="connsiteY243" fmla="*/ 642370 h 2628352"/>
                          <a:gd name="connsiteX244" fmla="*/ 1814475 w 6520931"/>
                          <a:gd name="connsiteY244" fmla="*/ 589554 h 2628352"/>
                          <a:gd name="connsiteX245" fmla="*/ 1827504 w 6520931"/>
                          <a:gd name="connsiteY245" fmla="*/ 554550 h 2628352"/>
                          <a:gd name="connsiteX246" fmla="*/ 1844698 w 6520931"/>
                          <a:gd name="connsiteY246" fmla="*/ 475676 h 2628352"/>
                          <a:gd name="connsiteX247" fmla="*/ 1794932 w 6520931"/>
                          <a:gd name="connsiteY247" fmla="*/ 456462 h 2628352"/>
                          <a:gd name="connsiteX248" fmla="*/ 1747146 w 6520931"/>
                          <a:gd name="connsiteY248" fmla="*/ 455390 h 2628352"/>
                          <a:gd name="connsiteX249" fmla="*/ 1740260 w 6520931"/>
                          <a:gd name="connsiteY249" fmla="*/ 456627 h 2628352"/>
                          <a:gd name="connsiteX250" fmla="*/ 1735601 w 6520931"/>
                          <a:gd name="connsiteY250" fmla="*/ 488292 h 2628352"/>
                          <a:gd name="connsiteX251" fmla="*/ 1648316 w 6520931"/>
                          <a:gd name="connsiteY251" fmla="*/ 599120 h 2628352"/>
                          <a:gd name="connsiteX252" fmla="*/ 1643575 w 6520931"/>
                          <a:gd name="connsiteY252" fmla="*/ 600274 h 2628352"/>
                          <a:gd name="connsiteX253" fmla="*/ 1621310 w 6520931"/>
                          <a:gd name="connsiteY253" fmla="*/ 638000 h 2628352"/>
                          <a:gd name="connsiteX254" fmla="*/ 1621970 w 6520931"/>
                          <a:gd name="connsiteY254" fmla="*/ 638247 h 2628352"/>
                          <a:gd name="connsiteX255" fmla="*/ 1617228 w 6520931"/>
                          <a:gd name="connsiteY255" fmla="*/ 675355 h 2628352"/>
                          <a:gd name="connsiteX256" fmla="*/ 1614879 w 6520931"/>
                          <a:gd name="connsiteY256" fmla="*/ 697289 h 2628352"/>
                          <a:gd name="connsiteX257" fmla="*/ 1601231 w 6520931"/>
                          <a:gd name="connsiteY257" fmla="*/ 728831 h 2628352"/>
                          <a:gd name="connsiteX258" fmla="*/ 1648605 w 6520931"/>
                          <a:gd name="connsiteY258" fmla="*/ 749446 h 2628352"/>
                          <a:gd name="connsiteX259" fmla="*/ 1665839 w 6520931"/>
                          <a:gd name="connsiteY259" fmla="*/ 787172 h 2628352"/>
                          <a:gd name="connsiteX260" fmla="*/ 1690083 w 6520931"/>
                          <a:gd name="connsiteY260" fmla="*/ 801603 h 2628352"/>
                          <a:gd name="connsiteX261" fmla="*/ 1665345 w 6520931"/>
                          <a:gd name="connsiteY261" fmla="*/ 847533 h 2628352"/>
                          <a:gd name="connsiteX262" fmla="*/ 1616817 w 6520931"/>
                          <a:gd name="connsiteY262" fmla="*/ 802963 h 2628352"/>
                          <a:gd name="connsiteX263" fmla="*/ 1552290 w 6520931"/>
                          <a:gd name="connsiteY263" fmla="*/ 770721 h 2628352"/>
                          <a:gd name="connsiteX264" fmla="*/ 1499969 w 6520931"/>
                          <a:gd name="connsiteY264" fmla="*/ 745983 h 2628352"/>
                          <a:gd name="connsiteX265" fmla="*/ 1477829 w 6520931"/>
                          <a:gd name="connsiteY265" fmla="*/ 749405 h 2628352"/>
                          <a:gd name="connsiteX266" fmla="*/ 1415694 w 6520931"/>
                          <a:gd name="connsiteY266" fmla="*/ 737489 h 2628352"/>
                          <a:gd name="connsiteX267" fmla="*/ 1390956 w 6520931"/>
                          <a:gd name="connsiteY267" fmla="*/ 720213 h 2628352"/>
                          <a:gd name="connsiteX268" fmla="*/ 1352281 w 6520931"/>
                          <a:gd name="connsiteY268" fmla="*/ 715060 h 2628352"/>
                          <a:gd name="connsiteX269" fmla="*/ 1322678 w 6520931"/>
                          <a:gd name="connsiteY269" fmla="*/ 689703 h 2628352"/>
                          <a:gd name="connsiteX270" fmla="*/ 1274109 w 6520931"/>
                          <a:gd name="connsiteY270" fmla="*/ 671191 h 2628352"/>
                          <a:gd name="connsiteX271" fmla="*/ 1285364 w 6520931"/>
                          <a:gd name="connsiteY271" fmla="*/ 709576 h 2628352"/>
                          <a:gd name="connsiteX272" fmla="*/ 1314969 w 6520931"/>
                          <a:gd name="connsiteY272" fmla="*/ 723306 h 2628352"/>
                          <a:gd name="connsiteX273" fmla="*/ 1340449 w 6520931"/>
                          <a:gd name="connsiteY273" fmla="*/ 744581 h 2628352"/>
                          <a:gd name="connsiteX274" fmla="*/ 1358796 w 6520931"/>
                          <a:gd name="connsiteY274" fmla="*/ 782966 h 2628352"/>
                          <a:gd name="connsiteX275" fmla="*/ 1346427 w 6520931"/>
                          <a:gd name="connsiteY275" fmla="*/ 808364 h 2628352"/>
                          <a:gd name="connsiteX276" fmla="*/ 1319214 w 6520931"/>
                          <a:gd name="connsiteY276" fmla="*/ 824156 h 2628352"/>
                          <a:gd name="connsiteX277" fmla="*/ 1298599 w 6520931"/>
                          <a:gd name="connsiteY277" fmla="*/ 833762 h 2628352"/>
                          <a:gd name="connsiteX278" fmla="*/ 1298599 w 6520931"/>
                          <a:gd name="connsiteY278" fmla="*/ 806303 h 2628352"/>
                          <a:gd name="connsiteX279" fmla="*/ 1274315 w 6520931"/>
                          <a:gd name="connsiteY279" fmla="*/ 785028 h 2628352"/>
                          <a:gd name="connsiteX280" fmla="*/ 1212758 w 6520931"/>
                          <a:gd name="connsiteY280" fmla="*/ 820692 h 2628352"/>
                          <a:gd name="connsiteX281" fmla="*/ 1145222 w 6520931"/>
                          <a:gd name="connsiteY281" fmla="*/ 820692 h 2628352"/>
                          <a:gd name="connsiteX282" fmla="*/ 1107908 w 6520931"/>
                          <a:gd name="connsiteY282" fmla="*/ 852275 h 2628352"/>
                          <a:gd name="connsiteX283" fmla="*/ 1053980 w 6520931"/>
                          <a:gd name="connsiteY283" fmla="*/ 847451 h 2628352"/>
                          <a:gd name="connsiteX284" fmla="*/ 1064081 w 6520931"/>
                          <a:gd name="connsiteY284" fmla="*/ 835082 h 2628352"/>
                          <a:gd name="connsiteX285" fmla="*/ 1073523 w 6520931"/>
                          <a:gd name="connsiteY285" fmla="*/ 821352 h 2628352"/>
                          <a:gd name="connsiteX286" fmla="*/ 1082428 w 6520931"/>
                          <a:gd name="connsiteY286" fmla="*/ 789811 h 2628352"/>
                          <a:gd name="connsiteX287" fmla="*/ 1027963 w 6520931"/>
                          <a:gd name="connsiteY287" fmla="*/ 808323 h 2628352"/>
                          <a:gd name="connsiteX288" fmla="*/ 1020252 w 6520931"/>
                          <a:gd name="connsiteY288" fmla="*/ 834381 h 2628352"/>
                          <a:gd name="connsiteX289" fmla="*/ 1002441 w 6520931"/>
                          <a:gd name="connsiteY289" fmla="*/ 822012 h 2628352"/>
                          <a:gd name="connsiteX290" fmla="*/ 910704 w 6520931"/>
                          <a:gd name="connsiteY290" fmla="*/ 853553 h 2628352"/>
                          <a:gd name="connsiteX291" fmla="*/ 872194 w 6520931"/>
                          <a:gd name="connsiteY291" fmla="*/ 881012 h 2628352"/>
                          <a:gd name="connsiteX292" fmla="*/ 828325 w 6520931"/>
                          <a:gd name="connsiteY292" fmla="*/ 896762 h 2628352"/>
                          <a:gd name="connsiteX293" fmla="*/ 819460 w 6520931"/>
                          <a:gd name="connsiteY293" fmla="*/ 945456 h 2628352"/>
                          <a:gd name="connsiteX294" fmla="*/ 751347 w 6520931"/>
                          <a:gd name="connsiteY294" fmla="*/ 955763 h 2628352"/>
                          <a:gd name="connsiteX295" fmla="*/ 719353 w 6520931"/>
                          <a:gd name="connsiteY295" fmla="*/ 920759 h 2628352"/>
                          <a:gd name="connsiteX296" fmla="*/ 718158 w 6520931"/>
                          <a:gd name="connsiteY296" fmla="*/ 891279 h 2628352"/>
                          <a:gd name="connsiteX297" fmla="*/ 745988 w 6520931"/>
                          <a:gd name="connsiteY297" fmla="*/ 878910 h 2628352"/>
                          <a:gd name="connsiteX298" fmla="*/ 781528 w 6520931"/>
                          <a:gd name="connsiteY298" fmla="*/ 876807 h 2628352"/>
                          <a:gd name="connsiteX299" fmla="*/ 757285 w 6520931"/>
                          <a:gd name="connsiteY299" fmla="*/ 832237 h 2628352"/>
                          <a:gd name="connsiteX300" fmla="*/ 706324 w 6520931"/>
                          <a:gd name="connsiteY300" fmla="*/ 815745 h 2628352"/>
                          <a:gd name="connsiteX301" fmla="*/ 682163 w 6520931"/>
                          <a:gd name="connsiteY301" fmla="*/ 817600 h 2628352"/>
                          <a:gd name="connsiteX302" fmla="*/ 674123 w 6520931"/>
                          <a:gd name="connsiteY302" fmla="*/ 835700 h 2628352"/>
                          <a:gd name="connsiteX303" fmla="*/ 675525 w 6520931"/>
                          <a:gd name="connsiteY303" fmla="*/ 859655 h 2628352"/>
                          <a:gd name="connsiteX304" fmla="*/ 660105 w 6520931"/>
                          <a:gd name="connsiteY304" fmla="*/ 911111 h 2628352"/>
                          <a:gd name="connsiteX305" fmla="*/ 673175 w 6520931"/>
                          <a:gd name="connsiteY305" fmla="*/ 927603 h 2628352"/>
                          <a:gd name="connsiteX306" fmla="*/ 687977 w 6520931"/>
                          <a:gd name="connsiteY306" fmla="*/ 968833 h 2628352"/>
                          <a:gd name="connsiteX307" fmla="*/ 675608 w 6520931"/>
                          <a:gd name="connsiteY307" fmla="*/ 1004498 h 2628352"/>
                          <a:gd name="connsiteX308" fmla="*/ 658414 w 6520931"/>
                          <a:gd name="connsiteY308" fmla="*/ 1003797 h 2628352"/>
                          <a:gd name="connsiteX309" fmla="*/ 646581 w 6520931"/>
                          <a:gd name="connsiteY309" fmla="*/ 990067 h 2628352"/>
                          <a:gd name="connsiteX310" fmla="*/ 606299 w 6520931"/>
                          <a:gd name="connsiteY310" fmla="*/ 981161 h 2628352"/>
                          <a:gd name="connsiteX311" fmla="*/ 580860 w 6520931"/>
                          <a:gd name="connsiteY311" fmla="*/ 995551 h 2628352"/>
                          <a:gd name="connsiteX312" fmla="*/ 545319 w 6520931"/>
                          <a:gd name="connsiteY312" fmla="*/ 1013403 h 2628352"/>
                          <a:gd name="connsiteX313" fmla="*/ 506810 w 6520931"/>
                          <a:gd name="connsiteY313" fmla="*/ 1045687 h 2628352"/>
                          <a:gd name="connsiteX314" fmla="*/ 509160 w 6520931"/>
                          <a:gd name="connsiteY314" fmla="*/ 1086134 h 2628352"/>
                          <a:gd name="connsiteX315" fmla="*/ 525652 w 6520931"/>
                          <a:gd name="connsiteY315" fmla="*/ 1122458 h 2628352"/>
                          <a:gd name="connsiteX316" fmla="*/ 477701 w 6520931"/>
                          <a:gd name="connsiteY316" fmla="*/ 1119036 h 2628352"/>
                          <a:gd name="connsiteX317" fmla="*/ 436223 w 6520931"/>
                          <a:gd name="connsiteY317" fmla="*/ 1108068 h 2628352"/>
                          <a:gd name="connsiteX318" fmla="*/ 390870 w 6520931"/>
                          <a:gd name="connsiteY318" fmla="*/ 1076527 h 2628352"/>
                          <a:gd name="connsiteX319" fmla="*/ 366585 w 6520931"/>
                          <a:gd name="connsiteY319" fmla="*/ 1102585 h 2628352"/>
                          <a:gd name="connsiteX320" fmla="*/ 378418 w 6520931"/>
                          <a:gd name="connsiteY320" fmla="*/ 1129343 h 2628352"/>
                          <a:gd name="connsiteX321" fmla="*/ 417504 w 6520931"/>
                          <a:gd name="connsiteY321" fmla="*/ 1145093 h 2628352"/>
                          <a:gd name="connsiteX322" fmla="*/ 421051 w 6520931"/>
                          <a:gd name="connsiteY322" fmla="*/ 1173254 h 2628352"/>
                          <a:gd name="connsiteX323" fmla="*/ 390870 w 6520931"/>
                          <a:gd name="connsiteY323" fmla="*/ 1178738 h 2628352"/>
                          <a:gd name="connsiteX324" fmla="*/ 359452 w 6520931"/>
                          <a:gd name="connsiteY324" fmla="*/ 1167729 h 2628352"/>
                          <a:gd name="connsiteX325" fmla="*/ 322716 w 6520931"/>
                          <a:gd name="connsiteY325" fmla="*/ 1143733 h 2628352"/>
                          <a:gd name="connsiteX326" fmla="*/ 302100 w 6520931"/>
                          <a:gd name="connsiteY326" fmla="*/ 1116974 h 2628352"/>
                          <a:gd name="connsiteX327" fmla="*/ 292576 w 6520931"/>
                          <a:gd name="connsiteY327" fmla="*/ 1083371 h 2628352"/>
                          <a:gd name="connsiteX328" fmla="*/ 293772 w 6520931"/>
                          <a:gd name="connsiteY328" fmla="*/ 1053191 h 2628352"/>
                          <a:gd name="connsiteX329" fmla="*/ 296782 w 6520931"/>
                          <a:gd name="connsiteY329" fmla="*/ 1023711 h 2628352"/>
                          <a:gd name="connsiteX330" fmla="*/ 265941 w 6520931"/>
                          <a:gd name="connsiteY330" fmla="*/ 997653 h 2628352"/>
                          <a:gd name="connsiteX331" fmla="*/ 241698 w 6520931"/>
                          <a:gd name="connsiteY331" fmla="*/ 977038 h 2628352"/>
                          <a:gd name="connsiteX332" fmla="*/ 202611 w 6520931"/>
                          <a:gd name="connsiteY332" fmla="*/ 939312 h 2628352"/>
                          <a:gd name="connsiteX333" fmla="*/ 188387 w 6520931"/>
                          <a:gd name="connsiteY333" fmla="*/ 924222 h 2628352"/>
                          <a:gd name="connsiteX334" fmla="*/ 220382 w 6520931"/>
                          <a:gd name="connsiteY334" fmla="*/ 937910 h 2628352"/>
                          <a:gd name="connsiteX335" fmla="*/ 276002 w 6520931"/>
                          <a:gd name="connsiteY335" fmla="*/ 965370 h 2628352"/>
                          <a:gd name="connsiteX336" fmla="*/ 345887 w 6520931"/>
                          <a:gd name="connsiteY336" fmla="*/ 990727 h 2628352"/>
                          <a:gd name="connsiteX337" fmla="*/ 439481 w 6520931"/>
                          <a:gd name="connsiteY337" fmla="*/ 1008579 h 2628352"/>
                          <a:gd name="connsiteX338" fmla="*/ 555585 w 6520931"/>
                          <a:gd name="connsiteY338" fmla="*/ 949579 h 2628352"/>
                          <a:gd name="connsiteX339" fmla="*/ 552906 w 6520931"/>
                          <a:gd name="connsiteY339" fmla="*/ 900556 h 2628352"/>
                          <a:gd name="connsiteX340" fmla="*/ 503140 w 6520931"/>
                          <a:gd name="connsiteY340" fmla="*/ 869138 h 2628352"/>
                          <a:gd name="connsiteX341" fmla="*/ 499965 w 6520931"/>
                          <a:gd name="connsiteY341" fmla="*/ 865840 h 2628352"/>
                          <a:gd name="connsiteX342" fmla="*/ 492503 w 6520931"/>
                          <a:gd name="connsiteY342" fmla="*/ 865056 h 2628352"/>
                          <a:gd name="connsiteX343" fmla="*/ 442408 w 6520931"/>
                          <a:gd name="connsiteY343" fmla="*/ 839864 h 2628352"/>
                          <a:gd name="connsiteX344" fmla="*/ 431111 w 6520931"/>
                          <a:gd name="connsiteY344" fmla="*/ 816033 h 2628352"/>
                          <a:gd name="connsiteX345" fmla="*/ 406620 w 6520931"/>
                          <a:gd name="connsiteY345" fmla="*/ 797273 h 2628352"/>
                          <a:gd name="connsiteX346" fmla="*/ 383448 w 6520931"/>
                          <a:gd name="connsiteY346" fmla="*/ 785770 h 2628352"/>
                          <a:gd name="connsiteX347" fmla="*/ 360648 w 6520931"/>
                          <a:gd name="connsiteY347" fmla="*/ 785770 h 2628352"/>
                          <a:gd name="connsiteX348" fmla="*/ 333724 w 6520931"/>
                          <a:gd name="connsiteY348" fmla="*/ 775669 h 2628352"/>
                          <a:gd name="connsiteX349" fmla="*/ 297936 w 6520931"/>
                          <a:gd name="connsiteY349" fmla="*/ 756867 h 2628352"/>
                          <a:gd name="connsiteX350" fmla="*/ 292700 w 6520931"/>
                          <a:gd name="connsiteY350" fmla="*/ 754064 h 2628352"/>
                          <a:gd name="connsiteX351" fmla="*/ 284454 w 6520931"/>
                          <a:gd name="connsiteY351" fmla="*/ 749735 h 2628352"/>
                          <a:gd name="connsiteX352" fmla="*/ 272951 w 6520931"/>
                          <a:gd name="connsiteY352" fmla="*/ 743096 h 2628352"/>
                          <a:gd name="connsiteX353" fmla="*/ 260582 w 6520931"/>
                          <a:gd name="connsiteY353" fmla="*/ 749281 h 2628352"/>
                          <a:gd name="connsiteX354" fmla="*/ 223845 w 6520931"/>
                          <a:gd name="connsiteY354" fmla="*/ 746519 h 2628352"/>
                          <a:gd name="connsiteX355" fmla="*/ 201333 w 6520931"/>
                          <a:gd name="connsiteY355" fmla="*/ 731469 h 2628352"/>
                          <a:gd name="connsiteX356" fmla="*/ 230937 w 6520931"/>
                          <a:gd name="connsiteY356" fmla="*/ 720502 h 2628352"/>
                          <a:gd name="connsiteX357" fmla="*/ 204302 w 6520931"/>
                          <a:gd name="connsiteY357" fmla="*/ 708133 h 2628352"/>
                          <a:gd name="connsiteX358" fmla="*/ 175853 w 6520931"/>
                          <a:gd name="connsiteY358" fmla="*/ 714318 h 2628352"/>
                          <a:gd name="connsiteX359" fmla="*/ 151568 w 6520931"/>
                          <a:gd name="connsiteY359" fmla="*/ 712957 h 2628352"/>
                          <a:gd name="connsiteX360" fmla="*/ 148847 w 6520931"/>
                          <a:gd name="connsiteY360" fmla="*/ 710731 h 2628352"/>
                          <a:gd name="connsiteX361" fmla="*/ 128479 w 6520931"/>
                          <a:gd name="connsiteY361" fmla="*/ 727223 h 2628352"/>
                          <a:gd name="connsiteX362" fmla="*/ 95495 w 6520931"/>
                          <a:gd name="connsiteY362" fmla="*/ 745034 h 2628352"/>
                          <a:gd name="connsiteX363" fmla="*/ 68200 w 6520931"/>
                          <a:gd name="connsiteY363" fmla="*/ 772494 h 2628352"/>
                          <a:gd name="connsiteX364" fmla="*/ 52862 w 6520931"/>
                          <a:gd name="connsiteY364" fmla="*/ 786182 h 2628352"/>
                          <a:gd name="connsiteX365" fmla="*/ 46925 w 6520931"/>
                          <a:gd name="connsiteY365" fmla="*/ 810921 h 2628352"/>
                          <a:gd name="connsiteX366" fmla="*/ 52862 w 6520931"/>
                          <a:gd name="connsiteY366" fmla="*/ 836978 h 2628352"/>
                          <a:gd name="connsiteX367" fmla="*/ 77601 w 6520931"/>
                          <a:gd name="connsiteY367" fmla="*/ 853470 h 2628352"/>
                          <a:gd name="connsiteX368" fmla="*/ 106050 w 6520931"/>
                          <a:gd name="connsiteY368" fmla="*/ 887774 h 2628352"/>
                          <a:gd name="connsiteX369" fmla="*/ 81312 w 6520931"/>
                          <a:gd name="connsiteY369" fmla="*/ 922078 h 2628352"/>
                          <a:gd name="connsiteX370" fmla="*/ 69437 w 6520931"/>
                          <a:gd name="connsiteY370" fmla="*/ 949496 h 2628352"/>
                          <a:gd name="connsiteX371" fmla="*/ 107369 w 6520931"/>
                          <a:gd name="connsiteY371" fmla="*/ 1019588 h 2628352"/>
                          <a:gd name="connsiteX372" fmla="*/ 94340 w 6520931"/>
                          <a:gd name="connsiteY372" fmla="*/ 1047006 h 2628352"/>
                          <a:gd name="connsiteX373" fmla="*/ 100236 w 6520931"/>
                          <a:gd name="connsiteY373" fmla="*/ 1082712 h 2628352"/>
                          <a:gd name="connsiteX374" fmla="*/ 90794 w 6520931"/>
                          <a:gd name="connsiteY374" fmla="*/ 1096400 h 2628352"/>
                          <a:gd name="connsiteX375" fmla="*/ 110915 w 6520931"/>
                          <a:gd name="connsiteY375" fmla="*/ 1111491 h 2628352"/>
                          <a:gd name="connsiteX376" fmla="*/ 104978 w 6520931"/>
                          <a:gd name="connsiteY376" fmla="*/ 1134827 h 2628352"/>
                          <a:gd name="connsiteX377" fmla="*/ 126294 w 6520931"/>
                          <a:gd name="connsiteY377" fmla="*/ 1159565 h 2628352"/>
                          <a:gd name="connsiteX378" fmla="*/ 101555 w 6520931"/>
                          <a:gd name="connsiteY378" fmla="*/ 1185664 h 2628352"/>
                          <a:gd name="connsiteX379" fmla="*/ 152517 w 6520931"/>
                          <a:gd name="connsiteY379" fmla="*/ 1231018 h 2628352"/>
                          <a:gd name="connsiteX380" fmla="*/ 163154 w 6520931"/>
                          <a:gd name="connsiteY380" fmla="*/ 1268125 h 2628352"/>
                          <a:gd name="connsiteX381" fmla="*/ 103906 w 6520931"/>
                          <a:gd name="connsiteY381" fmla="*/ 1334094 h 2628352"/>
                          <a:gd name="connsiteX382" fmla="*/ 42348 w 6520931"/>
                          <a:gd name="connsiteY382" fmla="*/ 1391817 h 2628352"/>
                          <a:gd name="connsiteX383" fmla="*/ 23218 w 6520931"/>
                          <a:gd name="connsiteY383" fmla="*/ 1420018 h 2628352"/>
                          <a:gd name="connsiteX384" fmla="*/ 39957 w 6520931"/>
                          <a:gd name="connsiteY384" fmla="*/ 1413091 h 2628352"/>
                          <a:gd name="connsiteX385" fmla="*/ 65438 w 6520931"/>
                          <a:gd name="connsiteY385" fmla="*/ 1443272 h 2628352"/>
                          <a:gd name="connsiteX386" fmla="*/ 100360 w 6520931"/>
                          <a:gd name="connsiteY386" fmla="*/ 1452178 h 2628352"/>
                          <a:gd name="connsiteX387" fmla="*/ 81435 w 6520931"/>
                          <a:gd name="connsiteY387" fmla="*/ 1458321 h 2628352"/>
                          <a:gd name="connsiteX388" fmla="*/ 42926 w 6520931"/>
                          <a:gd name="connsiteY388" fmla="*/ 1473412 h 2628352"/>
                          <a:gd name="connsiteX389" fmla="*/ 23259 w 6520931"/>
                          <a:gd name="connsiteY389" fmla="*/ 1491306 h 2628352"/>
                          <a:gd name="connsiteX390" fmla="*/ 15013 w 6520931"/>
                          <a:gd name="connsiteY390" fmla="*/ 1521775 h 2628352"/>
                          <a:gd name="connsiteX391" fmla="*/ 1695 w 6520931"/>
                          <a:gd name="connsiteY391" fmla="*/ 1545441 h 2628352"/>
                          <a:gd name="connsiteX392" fmla="*/ 4375 w 6520931"/>
                          <a:gd name="connsiteY392" fmla="*/ 1572200 h 2628352"/>
                          <a:gd name="connsiteX393" fmla="*/ 13240 w 6520931"/>
                          <a:gd name="connsiteY393" fmla="*/ 1596938 h 2628352"/>
                          <a:gd name="connsiteX394" fmla="*/ 2562 w 6520931"/>
                          <a:gd name="connsiteY394" fmla="*/ 1612358 h 2628352"/>
                          <a:gd name="connsiteX395" fmla="*/ 7880 w 6520931"/>
                          <a:gd name="connsiteY395" fmla="*/ 1637097 h 2628352"/>
                          <a:gd name="connsiteX396" fmla="*/ 12333 w 6520931"/>
                          <a:gd name="connsiteY396" fmla="*/ 1662824 h 2628352"/>
                          <a:gd name="connsiteX397" fmla="*/ 24702 w 6520931"/>
                          <a:gd name="connsiteY397" fmla="*/ 1689583 h 2628352"/>
                          <a:gd name="connsiteX398" fmla="*/ 35340 w 6520931"/>
                          <a:gd name="connsiteY398" fmla="*/ 1721454 h 2628352"/>
                          <a:gd name="connsiteX399" fmla="*/ 56697 w 6520931"/>
                          <a:gd name="connsiteY399" fmla="*/ 1728669 h 2628352"/>
                          <a:gd name="connsiteX400" fmla="*/ 77312 w 6520931"/>
                          <a:gd name="connsiteY400" fmla="*/ 1740008 h 2628352"/>
                          <a:gd name="connsiteX401" fmla="*/ 98669 w 6520931"/>
                          <a:gd name="connsiteY401" fmla="*/ 1740008 h 2628352"/>
                          <a:gd name="connsiteX402" fmla="*/ 135777 w 6520931"/>
                          <a:gd name="connsiteY402" fmla="*/ 1752377 h 2628352"/>
                          <a:gd name="connsiteX403" fmla="*/ 139323 w 6520931"/>
                          <a:gd name="connsiteY403" fmla="*/ 1784248 h 2628352"/>
                          <a:gd name="connsiteX404" fmla="*/ 143776 w 6520931"/>
                          <a:gd name="connsiteY404" fmla="*/ 1817233 h 2628352"/>
                          <a:gd name="connsiteX405" fmla="*/ 162453 w 6520931"/>
                          <a:gd name="connsiteY405" fmla="*/ 1846094 h 2628352"/>
                          <a:gd name="connsiteX406" fmla="*/ 185542 w 6520931"/>
                          <a:gd name="connsiteY406" fmla="*/ 1871822 h 2628352"/>
                          <a:gd name="connsiteX407" fmla="*/ 207765 w 6520931"/>
                          <a:gd name="connsiteY407" fmla="*/ 1895488 h 2628352"/>
                          <a:gd name="connsiteX408" fmla="*/ 187150 w 6520931"/>
                          <a:gd name="connsiteY408" fmla="*/ 1917051 h 2628352"/>
                          <a:gd name="connsiteX409" fmla="*/ 158742 w 6520931"/>
                          <a:gd name="connsiteY409" fmla="*/ 1911939 h 2628352"/>
                          <a:gd name="connsiteX410" fmla="*/ 164927 w 6520931"/>
                          <a:gd name="connsiteY410" fmla="*/ 1955148 h 2628352"/>
                          <a:gd name="connsiteX411" fmla="*/ 181831 w 6520931"/>
                          <a:gd name="connsiteY411" fmla="*/ 1979887 h 2628352"/>
                          <a:gd name="connsiteX412" fmla="*/ 200468 w 6520931"/>
                          <a:gd name="connsiteY412" fmla="*/ 1968548 h 2628352"/>
                          <a:gd name="connsiteX413" fmla="*/ 227144 w 6520931"/>
                          <a:gd name="connsiteY413" fmla="*/ 1967559 h 2628352"/>
                          <a:gd name="connsiteX414" fmla="*/ 260128 w 6520931"/>
                          <a:gd name="connsiteY414" fmla="*/ 1971682 h 2628352"/>
                          <a:gd name="connsiteX415" fmla="*/ 265446 w 6520931"/>
                          <a:gd name="connsiteY415" fmla="*/ 2006686 h 2628352"/>
                          <a:gd name="connsiteX416" fmla="*/ 274352 w 6520931"/>
                          <a:gd name="connsiteY416" fmla="*/ 2032414 h 2628352"/>
                          <a:gd name="connsiteX417" fmla="*/ 303667 w 6520931"/>
                          <a:gd name="connsiteY417" fmla="*/ 2040660 h 2628352"/>
                          <a:gd name="connsiteX418" fmla="*/ 321438 w 6520931"/>
                          <a:gd name="connsiteY418" fmla="*/ 2076655 h 2628352"/>
                          <a:gd name="connsiteX419" fmla="*/ 336528 w 6520931"/>
                          <a:gd name="connsiteY419" fmla="*/ 2085890 h 2628352"/>
                          <a:gd name="connsiteX420" fmla="*/ 356071 w 6520931"/>
                          <a:gd name="connsiteY420" fmla="*/ 2096198 h 2628352"/>
                          <a:gd name="connsiteX421" fmla="*/ 376687 w 6520931"/>
                          <a:gd name="connsiteY421" fmla="*/ 2094136 h 2628352"/>
                          <a:gd name="connsiteX422" fmla="*/ 398869 w 6520931"/>
                          <a:gd name="connsiteY422" fmla="*/ 2092075 h 2628352"/>
                          <a:gd name="connsiteX423" fmla="*/ 416639 w 6520931"/>
                          <a:gd name="connsiteY423" fmla="*/ 2116813 h 2628352"/>
                          <a:gd name="connsiteX424" fmla="*/ 449623 w 6520931"/>
                          <a:gd name="connsiteY424" fmla="*/ 2122998 h 2628352"/>
                          <a:gd name="connsiteX425" fmla="*/ 483391 w 6520931"/>
                          <a:gd name="connsiteY425" fmla="*/ 2133305 h 2628352"/>
                          <a:gd name="connsiteX426" fmla="*/ 506480 w 6520931"/>
                          <a:gd name="connsiteY426" fmla="*/ 2149797 h 2628352"/>
                          <a:gd name="connsiteX427" fmla="*/ 494935 w 6520931"/>
                          <a:gd name="connsiteY427" fmla="*/ 2169341 h 2628352"/>
                          <a:gd name="connsiteX428" fmla="*/ 504707 w 6520931"/>
                          <a:gd name="connsiteY428" fmla="*/ 2182699 h 2628352"/>
                          <a:gd name="connsiteX429" fmla="*/ 490524 w 6520931"/>
                          <a:gd name="connsiteY429" fmla="*/ 2193996 h 2628352"/>
                          <a:gd name="connsiteX430" fmla="*/ 499389 w 6520931"/>
                          <a:gd name="connsiteY430" fmla="*/ 2211519 h 2628352"/>
                          <a:gd name="connsiteX431" fmla="*/ 492255 w 6520931"/>
                          <a:gd name="connsiteY431" fmla="*/ 2239309 h 2628352"/>
                          <a:gd name="connsiteX432" fmla="*/ 459271 w 6520931"/>
                          <a:gd name="connsiteY432" fmla="*/ 2238237 h 2628352"/>
                          <a:gd name="connsiteX433" fmla="*/ 428183 w 6520931"/>
                          <a:gd name="connsiteY433" fmla="*/ 2262975 h 2628352"/>
                          <a:gd name="connsiteX434" fmla="*/ 427317 w 6520931"/>
                          <a:gd name="connsiteY434" fmla="*/ 2284992 h 2628352"/>
                          <a:gd name="connsiteX435" fmla="*/ 468177 w 6520931"/>
                          <a:gd name="connsiteY435" fmla="*/ 2283920 h 2628352"/>
                          <a:gd name="connsiteX436" fmla="*/ 418412 w 6520931"/>
                          <a:gd name="connsiteY436" fmla="*/ 2317523 h 2628352"/>
                          <a:gd name="connsiteX437" fmla="*/ 433832 w 6520931"/>
                          <a:gd name="connsiteY437" fmla="*/ 2343622 h 2628352"/>
                          <a:gd name="connsiteX438" fmla="*/ 410125 w 6520931"/>
                          <a:gd name="connsiteY438" fmla="*/ 2370339 h 2628352"/>
                          <a:gd name="connsiteX439" fmla="*/ 388190 w 6520931"/>
                          <a:gd name="connsiteY439" fmla="*/ 2390253 h 2628352"/>
                          <a:gd name="connsiteX440" fmla="*/ 377552 w 6520931"/>
                          <a:gd name="connsiteY440" fmla="*/ 2401221 h 2628352"/>
                          <a:gd name="connsiteX441" fmla="*/ 408970 w 6520931"/>
                          <a:gd name="connsiteY441" fmla="*/ 2430701 h 2628352"/>
                          <a:gd name="connsiteX442" fmla="*/ 483597 w 6520931"/>
                          <a:gd name="connsiteY442" fmla="*/ 2493124 h 2628352"/>
                          <a:gd name="connsiteX443" fmla="*/ 493987 w 6520931"/>
                          <a:gd name="connsiteY443" fmla="*/ 2502606 h 2628352"/>
                          <a:gd name="connsiteX444" fmla="*/ 509036 w 6520931"/>
                          <a:gd name="connsiteY444" fmla="*/ 2494360 h 2628352"/>
                          <a:gd name="connsiteX445" fmla="*/ 556987 w 6520931"/>
                          <a:gd name="connsiteY445" fmla="*/ 2510853 h 2628352"/>
                          <a:gd name="connsiteX446" fmla="*/ 619205 w 6520931"/>
                          <a:gd name="connsiteY446" fmla="*/ 2517037 h 2628352"/>
                          <a:gd name="connsiteX447" fmla="*/ 643943 w 6520931"/>
                          <a:gd name="connsiteY447" fmla="*/ 2535550 h 2628352"/>
                          <a:gd name="connsiteX448" fmla="*/ 668681 w 6520931"/>
                          <a:gd name="connsiteY448" fmla="*/ 2549980 h 2628352"/>
                          <a:gd name="connsiteX449" fmla="*/ 709581 w 6520931"/>
                          <a:gd name="connsiteY449" fmla="*/ 2543796 h 2628352"/>
                          <a:gd name="connsiteX450" fmla="*/ 723764 w 6520931"/>
                          <a:gd name="connsiteY450" fmla="*/ 2549980 h 2628352"/>
                          <a:gd name="connsiteX451" fmla="*/ 736134 w 6520931"/>
                          <a:gd name="connsiteY451" fmla="*/ 2578842 h 2628352"/>
                          <a:gd name="connsiteX452" fmla="*/ 773447 w 6520931"/>
                          <a:gd name="connsiteY452" fmla="*/ 2599457 h 2628352"/>
                          <a:gd name="connsiteX453" fmla="*/ 803670 w 6520931"/>
                          <a:gd name="connsiteY453" fmla="*/ 2624195 h 2628352"/>
                          <a:gd name="connsiteX454" fmla="*/ 821439 w 6520931"/>
                          <a:gd name="connsiteY454" fmla="*/ 2624195 h 2628352"/>
                          <a:gd name="connsiteX455" fmla="*/ 847249 w 6520931"/>
                          <a:gd name="connsiteY455" fmla="*/ 2602260 h 2628352"/>
                          <a:gd name="connsiteX456" fmla="*/ 801319 w 6520931"/>
                          <a:gd name="connsiteY456" fmla="*/ 2521284 h 2628352"/>
                          <a:gd name="connsiteX457" fmla="*/ 785899 w 6520931"/>
                          <a:gd name="connsiteY457" fmla="*/ 2458201 h 2628352"/>
                          <a:gd name="connsiteX458" fmla="*/ 806060 w 6520931"/>
                          <a:gd name="connsiteY458" fmla="*/ 2390954 h 2628352"/>
                          <a:gd name="connsiteX459" fmla="*/ 877100 w 6520931"/>
                          <a:gd name="connsiteY459" fmla="*/ 2340859 h 2628352"/>
                          <a:gd name="connsiteX460" fmla="*/ 864113 w 6520931"/>
                          <a:gd name="connsiteY460" fmla="*/ 2331995 h 2628352"/>
                          <a:gd name="connsiteX461" fmla="*/ 855208 w 6520931"/>
                          <a:gd name="connsiteY461" fmla="*/ 2311380 h 2628352"/>
                          <a:gd name="connsiteX462" fmla="*/ 849848 w 6520931"/>
                          <a:gd name="connsiteY462" fmla="*/ 2282518 h 2628352"/>
                          <a:gd name="connsiteX463" fmla="*/ 825109 w 6520931"/>
                          <a:gd name="connsiteY463" fmla="*/ 2249534 h 2628352"/>
                          <a:gd name="connsiteX464" fmla="*/ 796701 w 6520931"/>
                          <a:gd name="connsiteY464" fmla="*/ 2251595 h 2628352"/>
                          <a:gd name="connsiteX465" fmla="*/ 789568 w 6520931"/>
                          <a:gd name="connsiteY465" fmla="*/ 2226857 h 2628352"/>
                          <a:gd name="connsiteX466" fmla="*/ 766480 w 6520931"/>
                          <a:gd name="connsiteY466" fmla="*/ 2208345 h 2628352"/>
                          <a:gd name="connsiteX467" fmla="*/ 775385 w 6520931"/>
                          <a:gd name="connsiteY467" fmla="*/ 2179483 h 2628352"/>
                          <a:gd name="connsiteX468" fmla="*/ 789568 w 6520931"/>
                          <a:gd name="connsiteY468" fmla="*/ 2165094 h 2628352"/>
                          <a:gd name="connsiteX469" fmla="*/ 777199 w 6520931"/>
                          <a:gd name="connsiteY469" fmla="*/ 2142458 h 2628352"/>
                          <a:gd name="connsiteX470" fmla="*/ 798516 w 6520931"/>
                          <a:gd name="connsiteY470" fmla="*/ 2113597 h 2628352"/>
                          <a:gd name="connsiteX471" fmla="*/ 821646 w 6520931"/>
                          <a:gd name="connsiteY471" fmla="*/ 2097105 h 2628352"/>
                          <a:gd name="connsiteX472" fmla="*/ 853640 w 6520931"/>
                          <a:gd name="connsiteY472" fmla="*/ 2127945 h 2628352"/>
                          <a:gd name="connsiteX473" fmla="*/ 857187 w 6520931"/>
                          <a:gd name="connsiteY473" fmla="*/ 2099084 h 2628352"/>
                          <a:gd name="connsiteX474" fmla="*/ 867865 w 6520931"/>
                          <a:gd name="connsiteY474" fmla="*/ 2074346 h 2628352"/>
                          <a:gd name="connsiteX475" fmla="*/ 889182 w 6520931"/>
                          <a:gd name="connsiteY475" fmla="*/ 2051710 h 2628352"/>
                          <a:gd name="connsiteX476" fmla="*/ 931813 w 6520931"/>
                          <a:gd name="connsiteY476" fmla="*/ 2029074 h 2628352"/>
                          <a:gd name="connsiteX477" fmla="*/ 961994 w 6520931"/>
                          <a:gd name="connsiteY477" fmla="*/ 2018767 h 2628352"/>
                          <a:gd name="connsiteX478" fmla="*/ 983351 w 6520931"/>
                          <a:gd name="connsiteY478" fmla="*/ 2018767 h 2628352"/>
                          <a:gd name="connsiteX479" fmla="*/ 1011760 w 6520931"/>
                          <a:gd name="connsiteY479" fmla="*/ 2018767 h 2628352"/>
                          <a:gd name="connsiteX480" fmla="*/ 1057938 w 6520931"/>
                          <a:gd name="connsiteY480" fmla="*/ 2035259 h 2628352"/>
                          <a:gd name="connsiteX481" fmla="*/ 1091705 w 6520931"/>
                          <a:gd name="connsiteY481" fmla="*/ 2068243 h 2628352"/>
                          <a:gd name="connsiteX482" fmla="*/ 1102384 w 6520931"/>
                          <a:gd name="connsiteY482" fmla="*/ 2074428 h 2628352"/>
                          <a:gd name="connsiteX483" fmla="*/ 1125473 w 6520931"/>
                          <a:gd name="connsiteY483" fmla="*/ 2074428 h 2628352"/>
                          <a:gd name="connsiteX484" fmla="*/ 1162580 w 6520931"/>
                          <a:gd name="connsiteY484" fmla="*/ 2070305 h 2628352"/>
                          <a:gd name="connsiteX485" fmla="*/ 1201666 w 6520931"/>
                          <a:gd name="connsiteY485" fmla="*/ 2055915 h 2628352"/>
                          <a:gd name="connsiteX486" fmla="*/ 1224756 w 6520931"/>
                          <a:gd name="connsiteY486" fmla="*/ 2057977 h 2628352"/>
                          <a:gd name="connsiteX487" fmla="*/ 1263842 w 6520931"/>
                          <a:gd name="connsiteY487" fmla="*/ 2059997 h 2628352"/>
                          <a:gd name="connsiteX488" fmla="*/ 1290518 w 6520931"/>
                          <a:gd name="connsiteY488" fmla="*/ 2074428 h 2628352"/>
                          <a:gd name="connsiteX489" fmla="*/ 1310020 w 6520931"/>
                          <a:gd name="connsiteY489" fmla="*/ 2088818 h 2628352"/>
                          <a:gd name="connsiteX490" fmla="*/ 1324245 w 6520931"/>
                          <a:gd name="connsiteY490" fmla="*/ 2066182 h 2628352"/>
                          <a:gd name="connsiteX491" fmla="*/ 1354467 w 6520931"/>
                          <a:gd name="connsiteY491" fmla="*/ 2080571 h 2628352"/>
                          <a:gd name="connsiteX492" fmla="*/ 1379205 w 6520931"/>
                          <a:gd name="connsiteY492" fmla="*/ 2064079 h 2628352"/>
                          <a:gd name="connsiteX493" fmla="*/ 1368568 w 6520931"/>
                          <a:gd name="connsiteY493" fmla="*/ 2031095 h 2628352"/>
                          <a:gd name="connsiteX494" fmla="*/ 1340119 w 6520931"/>
                          <a:gd name="connsiteY494" fmla="*/ 2020787 h 2628352"/>
                          <a:gd name="connsiteX495" fmla="*/ 1329481 w 6520931"/>
                          <a:gd name="connsiteY495" fmla="*/ 1996049 h 2628352"/>
                          <a:gd name="connsiteX496" fmla="*/ 1354219 w 6520931"/>
                          <a:gd name="connsiteY496" fmla="*/ 1971311 h 2628352"/>
                          <a:gd name="connsiteX497" fmla="*/ 1361312 w 6520931"/>
                          <a:gd name="connsiteY497" fmla="*/ 1938326 h 2628352"/>
                          <a:gd name="connsiteX498" fmla="*/ 1403985 w 6520931"/>
                          <a:gd name="connsiteY498" fmla="*/ 1930080 h 2628352"/>
                          <a:gd name="connsiteX499" fmla="*/ 1368444 w 6520931"/>
                          <a:gd name="connsiteY499" fmla="*/ 1909465 h 2628352"/>
                          <a:gd name="connsiteX500" fmla="*/ 1366630 w 6520931"/>
                          <a:gd name="connsiteY500" fmla="*/ 1870378 h 2628352"/>
                          <a:gd name="connsiteX501" fmla="*/ 1400439 w 6520931"/>
                          <a:gd name="connsiteY501" fmla="*/ 1868317 h 2628352"/>
                          <a:gd name="connsiteX502" fmla="*/ 1448390 w 6520931"/>
                          <a:gd name="connsiteY502" fmla="*/ 1862132 h 2628352"/>
                          <a:gd name="connsiteX503" fmla="*/ 1508792 w 6520931"/>
                          <a:gd name="connsiteY503" fmla="*/ 1847702 h 2628352"/>
                          <a:gd name="connsiteX504" fmla="*/ 1549693 w 6520931"/>
                          <a:gd name="connsiteY504" fmla="*/ 1833312 h 2628352"/>
                          <a:gd name="connsiteX505" fmla="*/ 1606509 w 6520931"/>
                          <a:gd name="connsiteY505" fmla="*/ 1820943 h 2628352"/>
                          <a:gd name="connsiteX506" fmla="*/ 1665139 w 6520931"/>
                          <a:gd name="connsiteY506" fmla="*/ 1798308 h 2628352"/>
                          <a:gd name="connsiteX507" fmla="*/ 1714904 w 6520931"/>
                          <a:gd name="connsiteY507" fmla="*/ 1784949 h 2628352"/>
                          <a:gd name="connsiteX508" fmla="*/ 1745991 w 6520931"/>
                          <a:gd name="connsiteY508" fmla="*/ 1790062 h 2628352"/>
                          <a:gd name="connsiteX509" fmla="*/ 1771760 w 6520931"/>
                          <a:gd name="connsiteY509" fmla="*/ 1808615 h 2628352"/>
                          <a:gd name="connsiteX510" fmla="*/ 1778893 w 6520931"/>
                          <a:gd name="connsiteY510" fmla="*/ 1841600 h 2628352"/>
                          <a:gd name="connsiteX511" fmla="*/ 1774441 w 6520931"/>
                          <a:gd name="connsiteY511" fmla="*/ 1861143 h 2628352"/>
                          <a:gd name="connsiteX512" fmla="*/ 1810846 w 6520931"/>
                          <a:gd name="connsiteY512" fmla="*/ 1853969 h 2628352"/>
                          <a:gd name="connsiteX513" fmla="*/ 1825937 w 6520931"/>
                          <a:gd name="connsiteY513" fmla="*/ 1865266 h 2628352"/>
                          <a:gd name="connsiteX514" fmla="*/ 1837482 w 6520931"/>
                          <a:gd name="connsiteY514" fmla="*/ 1868358 h 2628352"/>
                          <a:gd name="connsiteX515" fmla="*/ 1856159 w 6520931"/>
                          <a:gd name="connsiteY515" fmla="*/ 1871450 h 2628352"/>
                          <a:gd name="connsiteX516" fmla="*/ 1877517 w 6520931"/>
                          <a:gd name="connsiteY516" fmla="*/ 1874543 h 2628352"/>
                          <a:gd name="connsiteX517" fmla="*/ 1863251 w 6520931"/>
                          <a:gd name="connsiteY517" fmla="*/ 1904352 h 2628352"/>
                          <a:gd name="connsiteX518" fmla="*/ 1893472 w 6520931"/>
                          <a:gd name="connsiteY518" fmla="*/ 1896106 h 2628352"/>
                          <a:gd name="connsiteX519" fmla="*/ 1937012 w 6520931"/>
                          <a:gd name="connsiteY519" fmla="*/ 1875491 h 2628352"/>
                          <a:gd name="connsiteX520" fmla="*/ 1973419 w 6520931"/>
                          <a:gd name="connsiteY520" fmla="*/ 1851866 h 2628352"/>
                          <a:gd name="connsiteX521" fmla="*/ 2000095 w 6520931"/>
                          <a:gd name="connsiteY521" fmla="*/ 1854917 h 2628352"/>
                          <a:gd name="connsiteX522" fmla="*/ 2011640 w 6520931"/>
                          <a:gd name="connsiteY522" fmla="*/ 1889922 h 2628352"/>
                          <a:gd name="connsiteX523" fmla="*/ 2085359 w 6520931"/>
                          <a:gd name="connsiteY523" fmla="*/ 1990730 h 2628352"/>
                          <a:gd name="connsiteX524" fmla="*/ 2127085 w 6520931"/>
                          <a:gd name="connsiteY524" fmla="*/ 2074098 h 2628352"/>
                          <a:gd name="connsiteX525" fmla="*/ 2150215 w 6520931"/>
                          <a:gd name="connsiteY525" fmla="*/ 2044247 h 2628352"/>
                          <a:gd name="connsiteX526" fmla="*/ 2181303 w 6520931"/>
                          <a:gd name="connsiteY526" fmla="*/ 2069975 h 2628352"/>
                          <a:gd name="connsiteX527" fmla="*/ 2220389 w 6520931"/>
                          <a:gd name="connsiteY527" fmla="*/ 2077149 h 2628352"/>
                          <a:gd name="connsiteX528" fmla="*/ 2260341 w 6520931"/>
                          <a:gd name="connsiteY528" fmla="*/ 2063832 h 2628352"/>
                          <a:gd name="connsiteX529" fmla="*/ 2286151 w 6520931"/>
                          <a:gd name="connsiteY529" fmla="*/ 2088570 h 2628352"/>
                          <a:gd name="connsiteX530" fmla="*/ 2310890 w 6520931"/>
                          <a:gd name="connsiteY530" fmla="*/ 2112278 h 2628352"/>
                          <a:gd name="connsiteX531" fmla="*/ 2319507 w 6520931"/>
                          <a:gd name="connsiteY531" fmla="*/ 2129759 h 2628352"/>
                          <a:gd name="connsiteX532" fmla="*/ 2339627 w 6520931"/>
                          <a:gd name="connsiteY532" fmla="*/ 2148973 h 2628352"/>
                          <a:gd name="connsiteX533" fmla="*/ 2371581 w 6520931"/>
                          <a:gd name="connsiteY533" fmla="*/ 2142087 h 2628352"/>
                          <a:gd name="connsiteX534" fmla="*/ 2385806 w 6520931"/>
                          <a:gd name="connsiteY534" fmla="*/ 2143489 h 2628352"/>
                          <a:gd name="connsiteX535" fmla="*/ 2404772 w 6520931"/>
                          <a:gd name="connsiteY535" fmla="*/ 2168227 h 2628352"/>
                          <a:gd name="connsiteX536" fmla="*/ 2427283 w 6520931"/>
                          <a:gd name="connsiteY536" fmla="*/ 2168227 h 2628352"/>
                          <a:gd name="connsiteX537" fmla="*/ 2454537 w 6520931"/>
                          <a:gd name="connsiteY537" fmla="*/ 2155858 h 2628352"/>
                          <a:gd name="connsiteX538" fmla="*/ 2491232 w 6520931"/>
                          <a:gd name="connsiteY538" fmla="*/ 2136645 h 2628352"/>
                          <a:gd name="connsiteX539" fmla="*/ 2522031 w 6520931"/>
                          <a:gd name="connsiteY539" fmla="*/ 2116030 h 2628352"/>
                          <a:gd name="connsiteX540" fmla="*/ 2548089 w 6520931"/>
                          <a:gd name="connsiteY540" fmla="*/ 2095414 h 2628352"/>
                          <a:gd name="connsiteX541" fmla="*/ 2575342 w 6520931"/>
                          <a:gd name="connsiteY541" fmla="*/ 2081685 h 2628352"/>
                          <a:gd name="connsiteX542" fmla="*/ 2603791 w 6520931"/>
                          <a:gd name="connsiteY542" fmla="*/ 2076201 h 2628352"/>
                          <a:gd name="connsiteX543" fmla="*/ 2659411 w 6520931"/>
                          <a:gd name="connsiteY543" fmla="*/ 2087168 h 2628352"/>
                          <a:gd name="connsiteX544" fmla="*/ 2672440 w 6520931"/>
                          <a:gd name="connsiteY544" fmla="*/ 2113226 h 2628352"/>
                          <a:gd name="connsiteX545" fmla="*/ 2705630 w 6520931"/>
                          <a:gd name="connsiteY545" fmla="*/ 2128358 h 2628352"/>
                          <a:gd name="connsiteX546" fmla="*/ 2737625 w 6520931"/>
                          <a:gd name="connsiteY546" fmla="*/ 2125554 h 2628352"/>
                          <a:gd name="connsiteX547" fmla="*/ 2766033 w 6520931"/>
                          <a:gd name="connsiteY547" fmla="*/ 2135202 h 2628352"/>
                          <a:gd name="connsiteX548" fmla="*/ 2799018 w 6520931"/>
                          <a:gd name="connsiteY548" fmla="*/ 2115988 h 2628352"/>
                          <a:gd name="connsiteX549" fmla="*/ 2800172 w 6520931"/>
                          <a:gd name="connsiteY549" fmla="*/ 2088529 h 2628352"/>
                          <a:gd name="connsiteX550" fmla="*/ 2785947 w 6520931"/>
                          <a:gd name="connsiteY550" fmla="*/ 2050143 h 2628352"/>
                          <a:gd name="connsiteX551" fmla="*/ 2802439 w 6520931"/>
                          <a:gd name="connsiteY551" fmla="*/ 2026807 h 2628352"/>
                          <a:gd name="connsiteX552" fmla="*/ 2823756 w 6520931"/>
                          <a:gd name="connsiteY552" fmla="*/ 2010315 h 2628352"/>
                          <a:gd name="connsiteX553" fmla="*/ 2837980 w 6520931"/>
                          <a:gd name="connsiteY553" fmla="*/ 1995266 h 2628352"/>
                          <a:gd name="connsiteX554" fmla="*/ 2867583 w 6520931"/>
                          <a:gd name="connsiteY554" fmla="*/ 2008995 h 2628352"/>
                          <a:gd name="connsiteX555" fmla="*/ 2892322 w 6520931"/>
                          <a:gd name="connsiteY555" fmla="*/ 2015840 h 2628352"/>
                          <a:gd name="connsiteX556" fmla="*/ 2921926 w 6520931"/>
                          <a:gd name="connsiteY556" fmla="*/ 2029569 h 2628352"/>
                          <a:gd name="connsiteX557" fmla="*/ 2961012 w 6520931"/>
                          <a:gd name="connsiteY557" fmla="*/ 2043299 h 2628352"/>
                          <a:gd name="connsiteX558" fmla="*/ 2965753 w 6520931"/>
                          <a:gd name="connsiteY558" fmla="*/ 2083086 h 2628352"/>
                          <a:gd name="connsiteX559" fmla="*/ 2990492 w 6520931"/>
                          <a:gd name="connsiteY559" fmla="*/ 2105021 h 2628352"/>
                          <a:gd name="connsiteX560" fmla="*/ 3026033 w 6520931"/>
                          <a:gd name="connsiteY560" fmla="*/ 2117390 h 2628352"/>
                          <a:gd name="connsiteX561" fmla="*/ 3054440 w 6520931"/>
                          <a:gd name="connsiteY561" fmla="*/ 2100898 h 2628352"/>
                          <a:gd name="connsiteX562" fmla="*/ 3091135 w 6520931"/>
                          <a:gd name="connsiteY562" fmla="*/ 2095456 h 2628352"/>
                          <a:gd name="connsiteX563" fmla="*/ 3127913 w 6520931"/>
                          <a:gd name="connsiteY563" fmla="*/ 2105062 h 2628352"/>
                          <a:gd name="connsiteX564" fmla="*/ 3158671 w 6520931"/>
                          <a:gd name="connsiteY564" fmla="*/ 2114669 h 2628352"/>
                          <a:gd name="connsiteX565" fmla="*/ 3191655 w 6520931"/>
                          <a:gd name="connsiteY565" fmla="*/ 2132481 h 2628352"/>
                          <a:gd name="connsiteX566" fmla="*/ 3213012 w 6520931"/>
                          <a:gd name="connsiteY566" fmla="*/ 2158538 h 2628352"/>
                          <a:gd name="connsiteX567" fmla="*/ 3263974 w 6520931"/>
                          <a:gd name="connsiteY567" fmla="*/ 2169547 h 2628352"/>
                          <a:gd name="connsiteX568" fmla="*/ 3317243 w 6520931"/>
                          <a:gd name="connsiteY568" fmla="*/ 2169547 h 2628352"/>
                          <a:gd name="connsiteX569" fmla="*/ 3369358 w 6520931"/>
                          <a:gd name="connsiteY569" fmla="*/ 2154415 h 2628352"/>
                          <a:gd name="connsiteX570" fmla="*/ 3401353 w 6520931"/>
                          <a:gd name="connsiteY570" fmla="*/ 2140727 h 2628352"/>
                          <a:gd name="connsiteX571" fmla="*/ 3433306 w 6520931"/>
                          <a:gd name="connsiteY571" fmla="*/ 2115988 h 2628352"/>
                          <a:gd name="connsiteX572" fmla="*/ 3483072 w 6520931"/>
                          <a:gd name="connsiteY572" fmla="*/ 2118751 h 2628352"/>
                          <a:gd name="connsiteX573" fmla="*/ 3517417 w 6520931"/>
                          <a:gd name="connsiteY573" fmla="*/ 2126997 h 2628352"/>
                          <a:gd name="connsiteX574" fmla="*/ 3555349 w 6520931"/>
                          <a:gd name="connsiteY574" fmla="*/ 2137964 h 2628352"/>
                          <a:gd name="connsiteX575" fmla="*/ 3594435 w 6520931"/>
                          <a:gd name="connsiteY575" fmla="*/ 2150333 h 2628352"/>
                          <a:gd name="connsiteX576" fmla="*/ 3632326 w 6520931"/>
                          <a:gd name="connsiteY576" fmla="*/ 2126997 h 2628352"/>
                          <a:gd name="connsiteX577" fmla="*/ 3650055 w 6520931"/>
                          <a:gd name="connsiteY577" fmla="*/ 2106382 h 2628352"/>
                          <a:gd name="connsiteX578" fmla="*/ 3669063 w 6520931"/>
                          <a:gd name="connsiteY578" fmla="*/ 2058389 h 2628352"/>
                          <a:gd name="connsiteX579" fmla="*/ 3693801 w 6520931"/>
                          <a:gd name="connsiteY579" fmla="*/ 2014479 h 2628352"/>
                          <a:gd name="connsiteX580" fmla="*/ 3711571 w 6520931"/>
                          <a:gd name="connsiteY580" fmla="*/ 1991143 h 2628352"/>
                          <a:gd name="connsiteX581" fmla="*/ 3699697 w 6520931"/>
                          <a:gd name="connsiteY581" fmla="*/ 1958158 h 2628352"/>
                          <a:gd name="connsiteX582" fmla="*/ 3696151 w 6520931"/>
                          <a:gd name="connsiteY582" fmla="*/ 1933420 h 2628352"/>
                          <a:gd name="connsiteX583" fmla="*/ 3747112 w 6520931"/>
                          <a:gd name="connsiteY583" fmla="*/ 1914248 h 2628352"/>
                          <a:gd name="connsiteX584" fmla="*/ 3806319 w 6520931"/>
                          <a:gd name="connsiteY584" fmla="*/ 1908764 h 2628352"/>
                          <a:gd name="connsiteX585" fmla="*/ 3851301 w 6520931"/>
                          <a:gd name="connsiteY585" fmla="*/ 1917010 h 2628352"/>
                          <a:gd name="connsiteX586" fmla="*/ 3899871 w 6520931"/>
                          <a:gd name="connsiteY586" fmla="*/ 1933502 h 2628352"/>
                          <a:gd name="connsiteX587" fmla="*/ 3925928 w 6520931"/>
                          <a:gd name="connsiteY587" fmla="*/ 1967847 h 2628352"/>
                          <a:gd name="connsiteX588" fmla="*/ 3944894 w 6520931"/>
                          <a:gd name="connsiteY588" fmla="*/ 2010315 h 2628352"/>
                          <a:gd name="connsiteX589" fmla="*/ 3968561 w 6520931"/>
                          <a:gd name="connsiteY589" fmla="*/ 2065192 h 2628352"/>
                          <a:gd name="connsiteX590" fmla="*/ 3988723 w 6520931"/>
                          <a:gd name="connsiteY590" fmla="*/ 2121472 h 2628352"/>
                          <a:gd name="connsiteX591" fmla="*/ 4004102 w 6520931"/>
                          <a:gd name="connsiteY591" fmla="*/ 2147530 h 2628352"/>
                          <a:gd name="connsiteX592" fmla="*/ 4043229 w 6520931"/>
                          <a:gd name="connsiteY592" fmla="*/ 2164022 h 2628352"/>
                          <a:gd name="connsiteX593" fmla="*/ 4083470 w 6520931"/>
                          <a:gd name="connsiteY593" fmla="*/ 2184637 h 2628352"/>
                          <a:gd name="connsiteX594" fmla="*/ 4111919 w 6520931"/>
                          <a:gd name="connsiteY594" fmla="*/ 2206613 h 2628352"/>
                          <a:gd name="connsiteX595" fmla="*/ 4120165 w 6520931"/>
                          <a:gd name="connsiteY595" fmla="*/ 2246359 h 2628352"/>
                          <a:gd name="connsiteX596" fmla="*/ 4159251 w 6520931"/>
                          <a:gd name="connsiteY596" fmla="*/ 2264212 h 2628352"/>
                          <a:gd name="connsiteX597" fmla="*/ 4194793 w 6520931"/>
                          <a:gd name="connsiteY597" fmla="*/ 2254564 h 2628352"/>
                          <a:gd name="connsiteX598" fmla="*/ 4233879 w 6520931"/>
                          <a:gd name="connsiteY598" fmla="*/ 2238072 h 2628352"/>
                          <a:gd name="connsiteX599" fmla="*/ 4265874 w 6520931"/>
                          <a:gd name="connsiteY599" fmla="*/ 2247678 h 2628352"/>
                          <a:gd name="connsiteX600" fmla="*/ 4267029 w 6520931"/>
                          <a:gd name="connsiteY600" fmla="*/ 2286064 h 2628352"/>
                          <a:gd name="connsiteX601" fmla="*/ 4245712 w 6520931"/>
                          <a:gd name="connsiteY601" fmla="*/ 2345065 h 2628352"/>
                          <a:gd name="connsiteX602" fmla="*/ 4222046 w 6520931"/>
                          <a:gd name="connsiteY602" fmla="*/ 2380729 h 2628352"/>
                          <a:gd name="connsiteX603" fmla="*/ 4203080 w 6520931"/>
                          <a:gd name="connsiteY603" fmla="*/ 2410910 h 2628352"/>
                          <a:gd name="connsiteX604" fmla="*/ 4167539 w 6520931"/>
                          <a:gd name="connsiteY604" fmla="*/ 2410910 h 2628352"/>
                          <a:gd name="connsiteX605" fmla="*/ 4134554 w 6520931"/>
                          <a:gd name="connsiteY605" fmla="*/ 2428763 h 2628352"/>
                          <a:gd name="connsiteX606" fmla="*/ 4128618 w 6520931"/>
                          <a:gd name="connsiteY606" fmla="*/ 2461747 h 2628352"/>
                          <a:gd name="connsiteX607" fmla="*/ 4131009 w 6520931"/>
                          <a:gd name="connsiteY607" fmla="*/ 2500133 h 2628352"/>
                          <a:gd name="connsiteX608" fmla="*/ 4133813 w 6520931"/>
                          <a:gd name="connsiteY608" fmla="*/ 2544497 h 2628352"/>
                          <a:gd name="connsiteX609" fmla="*/ 4167126 w 6520931"/>
                          <a:gd name="connsiteY609" fmla="*/ 2523469 h 2628352"/>
                          <a:gd name="connsiteX610" fmla="*/ 4213305 w 6520931"/>
                          <a:gd name="connsiteY610" fmla="*/ 2553609 h 2628352"/>
                          <a:gd name="connsiteX611" fmla="*/ 4305702 w 6520931"/>
                          <a:gd name="connsiteY611" fmla="*/ 2486444 h 2628352"/>
                          <a:gd name="connsiteX612" fmla="*/ 4370847 w 6520931"/>
                          <a:gd name="connsiteY612" fmla="*/ 2402746 h 2628352"/>
                          <a:gd name="connsiteX613" fmla="*/ 4429476 w 6520931"/>
                          <a:gd name="connsiteY613" fmla="*/ 2311503 h 2628352"/>
                          <a:gd name="connsiteX614" fmla="*/ 4472150 w 6520931"/>
                          <a:gd name="connsiteY614" fmla="*/ 2245534 h 2628352"/>
                          <a:gd name="connsiteX615" fmla="*/ 4496888 w 6520931"/>
                          <a:gd name="connsiteY615" fmla="*/ 2198243 h 2628352"/>
                          <a:gd name="connsiteX616" fmla="*/ 4514040 w 6520931"/>
                          <a:gd name="connsiteY616" fmla="*/ 2076119 h 2628352"/>
                          <a:gd name="connsiteX617" fmla="*/ 4521749 w 6520931"/>
                          <a:gd name="connsiteY617" fmla="*/ 2047257 h 2628352"/>
                          <a:gd name="connsiteX618" fmla="*/ 4536552 w 6520931"/>
                          <a:gd name="connsiteY618" fmla="*/ 2014273 h 2628352"/>
                          <a:gd name="connsiteX619" fmla="*/ 4543108 w 6520931"/>
                          <a:gd name="connsiteY619" fmla="*/ 1983391 h 2628352"/>
                          <a:gd name="connsiteX620" fmla="*/ 4540716 w 6520931"/>
                          <a:gd name="connsiteY620" fmla="*/ 1948387 h 2628352"/>
                          <a:gd name="connsiteX621" fmla="*/ 4545457 w 6520931"/>
                          <a:gd name="connsiteY621" fmla="*/ 1934698 h 2628352"/>
                          <a:gd name="connsiteX622" fmla="*/ 4530656 w 6520931"/>
                          <a:gd name="connsiteY622" fmla="*/ 1912063 h 2628352"/>
                          <a:gd name="connsiteX623" fmla="*/ 4506371 w 6520931"/>
                          <a:gd name="connsiteY623" fmla="*/ 1888726 h 2628352"/>
                          <a:gd name="connsiteX624" fmla="*/ 4474954 w 6520931"/>
                          <a:gd name="connsiteY624" fmla="*/ 1861267 h 2628352"/>
                          <a:gd name="connsiteX625" fmla="*/ 4459368 w 6520931"/>
                          <a:gd name="connsiteY625" fmla="*/ 1860071 h 2628352"/>
                          <a:gd name="connsiteX626" fmla="*/ 4441556 w 6520931"/>
                          <a:gd name="connsiteY626" fmla="*/ 1869595 h 2628352"/>
                          <a:gd name="connsiteX627" fmla="*/ 4432940 w 6520931"/>
                          <a:gd name="connsiteY627" fmla="*/ 1878418 h 2628352"/>
                          <a:gd name="connsiteX628" fmla="*/ 4415746 w 6520931"/>
                          <a:gd name="connsiteY628" fmla="*/ 1896271 h 2628352"/>
                          <a:gd name="connsiteX629" fmla="*/ 4393234 w 6520931"/>
                          <a:gd name="connsiteY629" fmla="*/ 1898333 h 2628352"/>
                          <a:gd name="connsiteX630" fmla="*/ 4391421 w 6520931"/>
                          <a:gd name="connsiteY630" fmla="*/ 1870914 h 2628352"/>
                          <a:gd name="connsiteX631" fmla="*/ 4394884 w 6520931"/>
                          <a:gd name="connsiteY631" fmla="*/ 1859040 h 2628352"/>
                          <a:gd name="connsiteX632" fmla="*/ 4387009 w 6520931"/>
                          <a:gd name="connsiteY632" fmla="*/ 1855164 h 2628352"/>
                          <a:gd name="connsiteX633" fmla="*/ 4365404 w 6520931"/>
                          <a:gd name="connsiteY633" fmla="*/ 1885304 h 2628352"/>
                          <a:gd name="connsiteX634" fmla="*/ 4360663 w 6520931"/>
                          <a:gd name="connsiteY634" fmla="*/ 1837971 h 2628352"/>
                          <a:gd name="connsiteX635" fmla="*/ 4360663 w 6520931"/>
                          <a:gd name="connsiteY635" fmla="*/ 1836858 h 2628352"/>
                          <a:gd name="connsiteX636" fmla="*/ 4357323 w 6520931"/>
                          <a:gd name="connsiteY636" fmla="*/ 1833642 h 2628352"/>
                          <a:gd name="connsiteX637" fmla="*/ 4314897 w 6520931"/>
                          <a:gd name="connsiteY637" fmla="*/ 1836611 h 2628352"/>
                          <a:gd name="connsiteX638" fmla="*/ 4316669 w 6520931"/>
                          <a:gd name="connsiteY638" fmla="*/ 1802307 h 2628352"/>
                          <a:gd name="connsiteX639" fmla="*/ 4334564 w 6520931"/>
                          <a:gd name="connsiteY639" fmla="*/ 1783630 h 2628352"/>
                          <a:gd name="connsiteX640" fmla="*/ 4376660 w 6520931"/>
                          <a:gd name="connsiteY640" fmla="*/ 1744048 h 2628352"/>
                          <a:gd name="connsiteX641" fmla="*/ 4387339 w 6520931"/>
                          <a:gd name="connsiteY641" fmla="*/ 1741822 h 2628352"/>
                          <a:gd name="connsiteX642" fmla="*/ 4393606 w 6520931"/>
                          <a:gd name="connsiteY642" fmla="*/ 1695603 h 2628352"/>
                          <a:gd name="connsiteX643" fmla="*/ 4463450 w 6520931"/>
                          <a:gd name="connsiteY643" fmla="*/ 1621388 h 2628352"/>
                          <a:gd name="connsiteX644" fmla="*/ 4537293 w 6520931"/>
                          <a:gd name="connsiteY644" fmla="*/ 1541277 h 2628352"/>
                          <a:gd name="connsiteX645" fmla="*/ 4654141 w 6520931"/>
                          <a:gd name="connsiteY645" fmla="*/ 1511550 h 2628352"/>
                          <a:gd name="connsiteX646" fmla="*/ 4655790 w 6520931"/>
                          <a:gd name="connsiteY646" fmla="*/ 1511962 h 2628352"/>
                          <a:gd name="connsiteX647" fmla="*/ 4724728 w 6520931"/>
                          <a:gd name="connsiteY647" fmla="*/ 1526558 h 2628352"/>
                          <a:gd name="connsiteX648" fmla="*/ 4725470 w 6520931"/>
                          <a:gd name="connsiteY648" fmla="*/ 1527300 h 2628352"/>
                          <a:gd name="connsiteX649" fmla="*/ 4769958 w 6520931"/>
                          <a:gd name="connsiteY649" fmla="*/ 1513941 h 2628352"/>
                          <a:gd name="connsiteX650" fmla="*/ 4837286 w 6520931"/>
                          <a:gd name="connsiteY650" fmla="*/ 1522435 h 2628352"/>
                          <a:gd name="connsiteX651" fmla="*/ 4854439 w 6520931"/>
                          <a:gd name="connsiteY651" fmla="*/ 1508045 h 2628352"/>
                          <a:gd name="connsiteX652" fmla="*/ 4910677 w 6520931"/>
                          <a:gd name="connsiteY652" fmla="*/ 1500500 h 2628352"/>
                          <a:gd name="connsiteX653" fmla="*/ 4940899 w 6520931"/>
                          <a:gd name="connsiteY653" fmla="*/ 1507344 h 2628352"/>
                          <a:gd name="connsiteX654" fmla="*/ 4968730 w 6520931"/>
                          <a:gd name="connsiteY654" fmla="*/ 1523836 h 2628352"/>
                          <a:gd name="connsiteX655" fmla="*/ 4961638 w 6520931"/>
                          <a:gd name="connsiteY655" fmla="*/ 1538226 h 2628352"/>
                          <a:gd name="connsiteX656" fmla="*/ 4948609 w 6520931"/>
                          <a:gd name="connsiteY656" fmla="*/ 1554017 h 2628352"/>
                          <a:gd name="connsiteX657" fmla="*/ 4988891 w 6520931"/>
                          <a:gd name="connsiteY657" fmla="*/ 1547132 h 2628352"/>
                          <a:gd name="connsiteX658" fmla="*/ 4993014 w 6520931"/>
                          <a:gd name="connsiteY658" fmla="*/ 1547627 h 2628352"/>
                          <a:gd name="connsiteX659" fmla="*/ 5036595 w 6520931"/>
                          <a:gd name="connsiteY659" fmla="*/ 1535958 h 2628352"/>
                          <a:gd name="connsiteX660" fmla="*/ 5059189 w 6520931"/>
                          <a:gd name="connsiteY660" fmla="*/ 1538226 h 2628352"/>
                          <a:gd name="connsiteX661" fmla="*/ 5100667 w 6520931"/>
                          <a:gd name="connsiteY661" fmla="*/ 1526558 h 2628352"/>
                          <a:gd name="connsiteX662" fmla="*/ 5084669 w 6520931"/>
                          <a:gd name="connsiteY662" fmla="*/ 1512168 h 2628352"/>
                          <a:gd name="connsiteX663" fmla="*/ 5081701 w 6520931"/>
                          <a:gd name="connsiteY663" fmla="*/ 1473040 h 2628352"/>
                          <a:gd name="connsiteX664" fmla="*/ 5140330 w 6520931"/>
                          <a:gd name="connsiteY664" fmla="*/ 1412720 h 2628352"/>
                          <a:gd name="connsiteX665" fmla="*/ 5169934 w 6520931"/>
                          <a:gd name="connsiteY665" fmla="*/ 1392806 h 2628352"/>
                          <a:gd name="connsiteX666" fmla="*/ 5191292 w 6520931"/>
                          <a:gd name="connsiteY666" fmla="*/ 1350297 h 2628352"/>
                          <a:gd name="connsiteX667" fmla="*/ 5257013 w 6520931"/>
                          <a:gd name="connsiteY667" fmla="*/ 1343412 h 2628352"/>
                          <a:gd name="connsiteX668" fmla="*/ 5283689 w 6520931"/>
                          <a:gd name="connsiteY668" fmla="*/ 1356482 h 2628352"/>
                          <a:gd name="connsiteX669" fmla="*/ 5312550 w 6520931"/>
                          <a:gd name="connsiteY669" fmla="*/ 1343412 h 2628352"/>
                          <a:gd name="connsiteX670" fmla="*/ 5293007 w 6520931"/>
                          <a:gd name="connsiteY670" fmla="*/ 1386621 h 2628352"/>
                          <a:gd name="connsiteX671" fmla="*/ 5315518 w 6520931"/>
                          <a:gd name="connsiteY671" fmla="*/ 1404474 h 2628352"/>
                          <a:gd name="connsiteX672" fmla="*/ 5304882 w 6520931"/>
                          <a:gd name="connsiteY672" fmla="*/ 1423646 h 2628352"/>
                          <a:gd name="connsiteX673" fmla="*/ 5353410 w 6520931"/>
                          <a:gd name="connsiteY673" fmla="*/ 1398908 h 2628352"/>
                          <a:gd name="connsiteX674" fmla="*/ 5419749 w 6520931"/>
                          <a:gd name="connsiteY674" fmla="*/ 1362543 h 2628352"/>
                          <a:gd name="connsiteX675" fmla="*/ 5427995 w 6520931"/>
                          <a:gd name="connsiteY675" fmla="*/ 1317189 h 2628352"/>
                          <a:gd name="connsiteX676" fmla="*/ 5496727 w 6520931"/>
                          <a:gd name="connsiteY676" fmla="*/ 1289070 h 2628352"/>
                          <a:gd name="connsiteX677" fmla="*/ 5496067 w 6520931"/>
                          <a:gd name="connsiteY677" fmla="*/ 1300038 h 2628352"/>
                          <a:gd name="connsiteX678" fmla="*/ 5465886 w 6520931"/>
                          <a:gd name="connsiteY678" fmla="*/ 1335042 h 2628352"/>
                          <a:gd name="connsiteX679" fmla="*/ 5459413 w 6520931"/>
                          <a:gd name="connsiteY679" fmla="*/ 1374830 h 2628352"/>
                          <a:gd name="connsiteX680" fmla="*/ 5447538 w 6520931"/>
                          <a:gd name="connsiteY680" fmla="*/ 1395445 h 2628352"/>
                          <a:gd name="connsiteX681" fmla="*/ 5435706 w 6520931"/>
                          <a:gd name="connsiteY681" fmla="*/ 1416720 h 2628352"/>
                          <a:gd name="connsiteX682" fmla="*/ 5383013 w 6520931"/>
                          <a:gd name="connsiteY682" fmla="*/ 1443437 h 2628352"/>
                          <a:gd name="connsiteX683" fmla="*/ 5350400 w 6520931"/>
                          <a:gd name="connsiteY683" fmla="*/ 1485245 h 2628352"/>
                          <a:gd name="connsiteX684" fmla="*/ 5276185 w 6520931"/>
                          <a:gd name="connsiteY684" fmla="*/ 1564201 h 2628352"/>
                          <a:gd name="connsiteX685" fmla="*/ 5210463 w 6520931"/>
                          <a:gd name="connsiteY685" fmla="*/ 1616275 h 2628352"/>
                          <a:gd name="connsiteX686" fmla="*/ 5173356 w 6520931"/>
                          <a:gd name="connsiteY686" fmla="*/ 1625222 h 2628352"/>
                          <a:gd name="connsiteX687" fmla="*/ 5159709 w 6520931"/>
                          <a:gd name="connsiteY687" fmla="*/ 1681460 h 2628352"/>
                          <a:gd name="connsiteX688" fmla="*/ 5155297 w 6520931"/>
                          <a:gd name="connsiteY688" fmla="*/ 1687521 h 2628352"/>
                          <a:gd name="connsiteX689" fmla="*/ 5156411 w 6520931"/>
                          <a:gd name="connsiteY689" fmla="*/ 1698200 h 2628352"/>
                          <a:gd name="connsiteX690" fmla="*/ 5181519 w 6520931"/>
                          <a:gd name="connsiteY690" fmla="*/ 1749903 h 2628352"/>
                          <a:gd name="connsiteX691" fmla="*/ 5151051 w 6520931"/>
                          <a:gd name="connsiteY691" fmla="*/ 1987267 h 2628352"/>
                          <a:gd name="connsiteX692" fmla="*/ 5151051 w 6520931"/>
                          <a:gd name="connsiteY692" fmla="*/ 1988215 h 2628352"/>
                          <a:gd name="connsiteX693" fmla="*/ 5157483 w 6520931"/>
                          <a:gd name="connsiteY693" fmla="*/ 2038145 h 2628352"/>
                          <a:gd name="connsiteX694" fmla="*/ 5168120 w 6520931"/>
                          <a:gd name="connsiteY694" fmla="*/ 2071748 h 2628352"/>
                          <a:gd name="connsiteX695" fmla="*/ 5210175 w 6520931"/>
                          <a:gd name="connsiteY695" fmla="*/ 2029899 h 2628352"/>
                          <a:gd name="connsiteX696" fmla="*/ 5230295 w 6520931"/>
                          <a:gd name="connsiteY696" fmla="*/ 2003141 h 2628352"/>
                          <a:gd name="connsiteX697" fmla="*/ 5239201 w 6520931"/>
                          <a:gd name="connsiteY697" fmla="*/ 1955808 h 2628352"/>
                          <a:gd name="connsiteX698" fmla="*/ 5266413 w 6520931"/>
                          <a:gd name="connsiteY698" fmla="*/ 1934574 h 2628352"/>
                          <a:gd name="connsiteX699" fmla="*/ 5284143 w 6520931"/>
                          <a:gd name="connsiteY699" fmla="*/ 1929050 h 2628352"/>
                          <a:gd name="connsiteX700" fmla="*/ 5299067 w 6520931"/>
                          <a:gd name="connsiteY700" fmla="*/ 1915402 h 2628352"/>
                          <a:gd name="connsiteX701" fmla="*/ 5292512 w 6520931"/>
                          <a:gd name="connsiteY701" fmla="*/ 1888602 h 2628352"/>
                          <a:gd name="connsiteX702" fmla="*/ 5293585 w 6520931"/>
                          <a:gd name="connsiteY702" fmla="*/ 1881263 h 2628352"/>
                          <a:gd name="connsiteX703" fmla="*/ 5297954 w 6520931"/>
                          <a:gd name="connsiteY703" fmla="*/ 1823211 h 2628352"/>
                          <a:gd name="connsiteX704" fmla="*/ 5364294 w 6520931"/>
                          <a:gd name="connsiteY704" fmla="*/ 1778888 h 2628352"/>
                          <a:gd name="connsiteX705" fmla="*/ 5388497 w 6520931"/>
                          <a:gd name="connsiteY705" fmla="*/ 1745244 h 2628352"/>
                          <a:gd name="connsiteX706" fmla="*/ 5400288 w 6520931"/>
                          <a:gd name="connsiteY706" fmla="*/ 1734277 h 2628352"/>
                          <a:gd name="connsiteX707" fmla="*/ 5431088 w 6520931"/>
                          <a:gd name="connsiteY707" fmla="*/ 1732215 h 2628352"/>
                          <a:gd name="connsiteX708" fmla="*/ 5412122 w 6520931"/>
                          <a:gd name="connsiteY708" fmla="*/ 1701375 h 2628352"/>
                          <a:gd name="connsiteX709" fmla="*/ 5420368 w 6520931"/>
                          <a:gd name="connsiteY709" fmla="*/ 1649259 h 2628352"/>
                          <a:gd name="connsiteX710" fmla="*/ 5419172 w 6520931"/>
                          <a:gd name="connsiteY710" fmla="*/ 1624521 h 2628352"/>
                          <a:gd name="connsiteX711" fmla="*/ 5393732 w 6520931"/>
                          <a:gd name="connsiteY711" fmla="*/ 1626542 h 2628352"/>
                          <a:gd name="connsiteX712" fmla="*/ 5388991 w 6520931"/>
                          <a:gd name="connsiteY712" fmla="*/ 1578549 h 2628352"/>
                          <a:gd name="connsiteX713" fmla="*/ 5422759 w 6520931"/>
                          <a:gd name="connsiteY713" fmla="*/ 1537319 h 2628352"/>
                          <a:gd name="connsiteX714" fmla="*/ 5452940 w 6520931"/>
                          <a:gd name="connsiteY714" fmla="*/ 1478978 h 2628352"/>
                          <a:gd name="connsiteX715" fmla="*/ 5487903 w 6520931"/>
                          <a:gd name="connsiteY715" fmla="*/ 1476916 h 2628352"/>
                          <a:gd name="connsiteX716" fmla="*/ 5503282 w 6520931"/>
                          <a:gd name="connsiteY716" fmla="*/ 1485162 h 2628352"/>
                          <a:gd name="connsiteX717" fmla="*/ 5543564 w 6520931"/>
                          <a:gd name="connsiteY717" fmla="*/ 1440633 h 2628352"/>
                          <a:gd name="connsiteX718" fmla="*/ 5551399 w 6520931"/>
                          <a:gd name="connsiteY718" fmla="*/ 1458734 h 2628352"/>
                          <a:gd name="connsiteX719" fmla="*/ 5577992 w 6520931"/>
                          <a:gd name="connsiteY719" fmla="*/ 1466114 h 2628352"/>
                          <a:gd name="connsiteX720" fmla="*/ 5589165 w 6520931"/>
                          <a:gd name="connsiteY720" fmla="*/ 1456425 h 2628352"/>
                          <a:gd name="connsiteX721" fmla="*/ 5689232 w 6520931"/>
                          <a:gd name="connsiteY721" fmla="*/ 1447478 h 2628352"/>
                          <a:gd name="connsiteX722" fmla="*/ 5702549 w 6520931"/>
                          <a:gd name="connsiteY722" fmla="*/ 1460177 h 2628352"/>
                          <a:gd name="connsiteX723" fmla="*/ 5766085 w 6520931"/>
                          <a:gd name="connsiteY723" fmla="*/ 1413339 h 2628352"/>
                          <a:gd name="connsiteX724" fmla="*/ 5908578 w 6520931"/>
                          <a:gd name="connsiteY724" fmla="*/ 1340237 h 2628352"/>
                          <a:gd name="connsiteX725" fmla="*/ 5991286 w 6520931"/>
                          <a:gd name="connsiteY725" fmla="*/ 1293152 h 2628352"/>
                          <a:gd name="connsiteX726" fmla="*/ 6007324 w 6520931"/>
                          <a:gd name="connsiteY726" fmla="*/ 1289029 h 2628352"/>
                          <a:gd name="connsiteX727" fmla="*/ 6042824 w 6520931"/>
                          <a:gd name="connsiteY727" fmla="*/ 1299295 h 2628352"/>
                          <a:gd name="connsiteX728" fmla="*/ 6086652 w 6520931"/>
                          <a:gd name="connsiteY728" fmla="*/ 1295172 h 2628352"/>
                          <a:gd name="connsiteX729" fmla="*/ 6092425 w 6520931"/>
                          <a:gd name="connsiteY729" fmla="*/ 1276990 h 2628352"/>
                          <a:gd name="connsiteX730" fmla="*/ 6073665 w 6520931"/>
                          <a:gd name="connsiteY730" fmla="*/ 1272867 h 2628352"/>
                          <a:gd name="connsiteX731" fmla="*/ 6043236 w 6520931"/>
                          <a:gd name="connsiteY731" fmla="*/ 1241696 h 2628352"/>
                          <a:gd name="connsiteX732" fmla="*/ 6003408 w 6520931"/>
                          <a:gd name="connsiteY732" fmla="*/ 1189210 h 2628352"/>
                          <a:gd name="connsiteX733" fmla="*/ 6009386 w 6520931"/>
                          <a:gd name="connsiteY733" fmla="*/ 1135610 h 2628352"/>
                          <a:gd name="connsiteX734" fmla="*/ 6000728 w 6520931"/>
                          <a:gd name="connsiteY734" fmla="*/ 1137218 h 2628352"/>
                          <a:gd name="connsiteX735" fmla="*/ 5967001 w 6520931"/>
                          <a:gd name="connsiteY735" fmla="*/ 1128972 h 2628352"/>
                          <a:gd name="connsiteX736" fmla="*/ 6006665 w 6520931"/>
                          <a:gd name="connsiteY736" fmla="*/ 1115985 h 2628352"/>
                          <a:gd name="connsiteX737" fmla="*/ 6019900 w 6520931"/>
                          <a:gd name="connsiteY737" fmla="*/ 1126622 h 2628352"/>
                          <a:gd name="connsiteX738" fmla="*/ 6040515 w 6520931"/>
                          <a:gd name="connsiteY738" fmla="*/ 1121592 h 2628352"/>
                          <a:gd name="connsiteX739" fmla="*/ 6066614 w 6520931"/>
                          <a:gd name="connsiteY739" fmla="*/ 1100647 h 2628352"/>
                          <a:gd name="connsiteX740" fmla="*/ 6129737 w 6520931"/>
                          <a:gd name="connsiteY740" fmla="*/ 1093720 h 2628352"/>
                          <a:gd name="connsiteX741" fmla="*/ 6137984 w 6520931"/>
                          <a:gd name="connsiteY741" fmla="*/ 1079578 h 2628352"/>
                          <a:gd name="connsiteX742" fmla="*/ 6130892 w 6520931"/>
                          <a:gd name="connsiteY742" fmla="*/ 1052160 h 2628352"/>
                          <a:gd name="connsiteX743" fmla="*/ 6133819 w 6520931"/>
                          <a:gd name="connsiteY743" fmla="*/ 1029524 h 2628352"/>
                          <a:gd name="connsiteX744" fmla="*/ 6148621 w 6520931"/>
                          <a:gd name="connsiteY744" fmla="*/ 1014434 h 2628352"/>
                          <a:gd name="connsiteX745" fmla="*/ 6169937 w 6520931"/>
                          <a:gd name="connsiteY745" fmla="*/ 1013073 h 2628352"/>
                          <a:gd name="connsiteX746" fmla="*/ 6164661 w 6520931"/>
                          <a:gd name="connsiteY746" fmla="*/ 1037812 h 2628352"/>
                          <a:gd name="connsiteX747" fmla="*/ 6178844 w 6520931"/>
                          <a:gd name="connsiteY747" fmla="*/ 1069353 h 2628352"/>
                          <a:gd name="connsiteX748" fmla="*/ 6220322 w 6520931"/>
                          <a:gd name="connsiteY748" fmla="*/ 1070714 h 2628352"/>
                          <a:gd name="connsiteX749" fmla="*/ 6283074 w 6520931"/>
                          <a:gd name="connsiteY749" fmla="*/ 1094710 h 2628352"/>
                          <a:gd name="connsiteX750" fmla="*/ 6293464 w 6520931"/>
                          <a:gd name="connsiteY750" fmla="*/ 1118417 h 2628352"/>
                          <a:gd name="connsiteX751" fmla="*/ 6338818 w 6520931"/>
                          <a:gd name="connsiteY751" fmla="*/ 1130003 h 2628352"/>
                          <a:gd name="connsiteX752" fmla="*/ 6369617 w 6520931"/>
                          <a:gd name="connsiteY752" fmla="*/ 1164513 h 2628352"/>
                          <a:gd name="connsiteX753" fmla="*/ 6372627 w 6520931"/>
                          <a:gd name="connsiteY753" fmla="*/ 1164018 h 2628352"/>
                          <a:gd name="connsiteX754" fmla="*/ 6396870 w 6520931"/>
                          <a:gd name="connsiteY754" fmla="*/ 1166739 h 2628352"/>
                          <a:gd name="connsiteX755" fmla="*/ 6418805 w 6520931"/>
                          <a:gd name="connsiteY755" fmla="*/ 1161297 h 2628352"/>
                          <a:gd name="connsiteX756" fmla="*/ 6401034 w 6520931"/>
                          <a:gd name="connsiteY756" fmla="*/ 1135899 h 2628352"/>
                          <a:gd name="connsiteX757" fmla="*/ 6420577 w 6520931"/>
                          <a:gd name="connsiteY757" fmla="*/ 1141383 h 2628352"/>
                          <a:gd name="connsiteX758" fmla="*/ 6424700 w 6520931"/>
                          <a:gd name="connsiteY758" fmla="*/ 1118747 h 2628352"/>
                          <a:gd name="connsiteX759" fmla="*/ 6418763 w 6520931"/>
                          <a:gd name="connsiteY759" fmla="*/ 1072775 h 2628352"/>
                          <a:gd name="connsiteX760" fmla="*/ 6431133 w 6520931"/>
                          <a:gd name="connsiteY760" fmla="*/ 1067292 h 2628352"/>
                          <a:gd name="connsiteX761" fmla="*/ 6476156 w 6520931"/>
                          <a:gd name="connsiteY761" fmla="*/ 1078259 h 2628352"/>
                          <a:gd name="connsiteX762" fmla="*/ 6466715 w 6520931"/>
                          <a:gd name="connsiteY762" fmla="*/ 1065230 h 2628352"/>
                          <a:gd name="connsiteX763" fmla="*/ 6475579 w 6520931"/>
                          <a:gd name="connsiteY763" fmla="*/ 1061107 h 2628352"/>
                          <a:gd name="connsiteX764" fmla="*/ 6497473 w 6520931"/>
                          <a:gd name="connsiteY764" fmla="*/ 1063869 h 2628352"/>
                          <a:gd name="connsiteX765" fmla="*/ 6518088 w 6520931"/>
                          <a:gd name="connsiteY765" fmla="*/ 1038471 h 2628352"/>
                          <a:gd name="connsiteX766" fmla="*/ 6520933 w 6520931"/>
                          <a:gd name="connsiteY766" fmla="*/ 1038471 h 2628352"/>
                          <a:gd name="connsiteX767" fmla="*/ 6343270 w 6520931"/>
                          <a:gd name="connsiteY767" fmla="*/ 946198 h 2628352"/>
                          <a:gd name="connsiteX768" fmla="*/ 3220352 w 6520931"/>
                          <a:gd name="connsiteY768" fmla="*/ 1925875 h 2628352"/>
                          <a:gd name="connsiteX769" fmla="*/ 3119089 w 6520931"/>
                          <a:gd name="connsiteY769" fmla="*/ 1997863 h 2628352"/>
                          <a:gd name="connsiteX770" fmla="*/ 3030237 w 6520931"/>
                          <a:gd name="connsiteY770" fmla="*/ 2028745 h 2628352"/>
                          <a:gd name="connsiteX771" fmla="*/ 3106638 w 6520931"/>
                          <a:gd name="connsiteY771" fmla="*/ 1973166 h 2628352"/>
                          <a:gd name="connsiteX772" fmla="*/ 3213260 w 6520931"/>
                          <a:gd name="connsiteY772" fmla="*/ 1855865 h 2628352"/>
                          <a:gd name="connsiteX773" fmla="*/ 3264757 w 6520931"/>
                          <a:gd name="connsiteY773" fmla="*/ 1761035 h 2628352"/>
                          <a:gd name="connsiteX774" fmla="*/ 3220352 w 6520931"/>
                          <a:gd name="connsiteY774" fmla="*/ 1925875 h 262835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  <a:cxn ang="0">
                            <a:pos x="connsiteX56" y="connsiteY56"/>
                          </a:cxn>
                          <a:cxn ang="0">
                            <a:pos x="connsiteX57" y="connsiteY57"/>
                          </a:cxn>
                          <a:cxn ang="0">
                            <a:pos x="connsiteX58" y="connsiteY58"/>
                          </a:cxn>
                          <a:cxn ang="0">
                            <a:pos x="connsiteX59" y="connsiteY59"/>
                          </a:cxn>
                          <a:cxn ang="0">
                            <a:pos x="connsiteX60" y="connsiteY60"/>
                          </a:cxn>
                          <a:cxn ang="0">
                            <a:pos x="connsiteX61" y="connsiteY61"/>
                          </a:cxn>
                          <a:cxn ang="0">
                            <a:pos x="connsiteX62" y="connsiteY62"/>
                          </a:cxn>
                          <a:cxn ang="0">
                            <a:pos x="connsiteX63" y="connsiteY63"/>
                          </a:cxn>
                          <a:cxn ang="0">
                            <a:pos x="connsiteX64" y="connsiteY64"/>
                          </a:cxn>
                          <a:cxn ang="0">
                            <a:pos x="connsiteX65" y="connsiteY65"/>
                          </a:cxn>
                          <a:cxn ang="0">
                            <a:pos x="connsiteX66" y="connsiteY66"/>
                          </a:cxn>
                          <a:cxn ang="0">
                            <a:pos x="connsiteX67" y="connsiteY67"/>
                          </a:cxn>
                          <a:cxn ang="0">
                            <a:pos x="connsiteX68" y="connsiteY68"/>
                          </a:cxn>
                          <a:cxn ang="0">
                            <a:pos x="connsiteX69" y="connsiteY69"/>
                          </a:cxn>
                          <a:cxn ang="0">
                            <a:pos x="connsiteX70" y="connsiteY70"/>
                          </a:cxn>
                          <a:cxn ang="0">
                            <a:pos x="connsiteX71" y="connsiteY71"/>
                          </a:cxn>
                          <a:cxn ang="0">
                            <a:pos x="connsiteX72" y="connsiteY72"/>
                          </a:cxn>
                          <a:cxn ang="0">
                            <a:pos x="connsiteX73" y="connsiteY73"/>
                          </a:cxn>
                          <a:cxn ang="0">
                            <a:pos x="connsiteX74" y="connsiteY74"/>
                          </a:cxn>
                          <a:cxn ang="0">
                            <a:pos x="connsiteX75" y="connsiteY75"/>
                          </a:cxn>
                          <a:cxn ang="0">
                            <a:pos x="connsiteX76" y="connsiteY76"/>
                          </a:cxn>
                          <a:cxn ang="0">
                            <a:pos x="connsiteX77" y="connsiteY77"/>
                          </a:cxn>
                          <a:cxn ang="0">
                            <a:pos x="connsiteX78" y="connsiteY78"/>
                          </a:cxn>
                          <a:cxn ang="0">
                            <a:pos x="connsiteX79" y="connsiteY79"/>
                          </a:cxn>
                          <a:cxn ang="0">
                            <a:pos x="connsiteX80" y="connsiteY80"/>
                          </a:cxn>
                          <a:cxn ang="0">
                            <a:pos x="connsiteX81" y="connsiteY81"/>
                          </a:cxn>
                          <a:cxn ang="0">
                            <a:pos x="connsiteX82" y="connsiteY82"/>
                          </a:cxn>
                          <a:cxn ang="0">
                            <a:pos x="connsiteX83" y="connsiteY83"/>
                          </a:cxn>
                          <a:cxn ang="0">
                            <a:pos x="connsiteX84" y="connsiteY84"/>
                          </a:cxn>
                          <a:cxn ang="0">
                            <a:pos x="connsiteX85" y="connsiteY85"/>
                          </a:cxn>
                          <a:cxn ang="0">
                            <a:pos x="connsiteX86" y="connsiteY86"/>
                          </a:cxn>
                          <a:cxn ang="0">
                            <a:pos x="connsiteX87" y="connsiteY87"/>
                          </a:cxn>
                          <a:cxn ang="0">
                            <a:pos x="connsiteX88" y="connsiteY88"/>
                          </a:cxn>
                          <a:cxn ang="0">
                            <a:pos x="connsiteX89" y="connsiteY89"/>
                          </a:cxn>
                          <a:cxn ang="0">
                            <a:pos x="connsiteX90" y="connsiteY90"/>
                          </a:cxn>
                          <a:cxn ang="0">
                            <a:pos x="connsiteX91" y="connsiteY91"/>
                          </a:cxn>
                          <a:cxn ang="0">
                            <a:pos x="connsiteX92" y="connsiteY92"/>
                          </a:cxn>
                          <a:cxn ang="0">
                            <a:pos x="connsiteX93" y="connsiteY93"/>
                          </a:cxn>
                          <a:cxn ang="0">
                            <a:pos x="connsiteX94" y="connsiteY94"/>
                          </a:cxn>
                          <a:cxn ang="0">
                            <a:pos x="connsiteX95" y="connsiteY95"/>
                          </a:cxn>
                          <a:cxn ang="0">
                            <a:pos x="connsiteX96" y="connsiteY96"/>
                          </a:cxn>
                          <a:cxn ang="0">
                            <a:pos x="connsiteX97" y="connsiteY97"/>
                          </a:cxn>
                          <a:cxn ang="0">
                            <a:pos x="connsiteX98" y="connsiteY98"/>
                          </a:cxn>
                          <a:cxn ang="0">
                            <a:pos x="connsiteX99" y="connsiteY99"/>
                          </a:cxn>
                          <a:cxn ang="0">
                            <a:pos x="connsiteX100" y="connsiteY100"/>
                          </a:cxn>
                          <a:cxn ang="0">
                            <a:pos x="connsiteX101" y="connsiteY101"/>
                          </a:cxn>
                          <a:cxn ang="0">
                            <a:pos x="connsiteX102" y="connsiteY102"/>
                          </a:cxn>
                          <a:cxn ang="0">
                            <a:pos x="connsiteX103" y="connsiteY103"/>
                          </a:cxn>
                          <a:cxn ang="0">
                            <a:pos x="connsiteX104" y="connsiteY104"/>
                          </a:cxn>
                          <a:cxn ang="0">
                            <a:pos x="connsiteX105" y="connsiteY105"/>
                          </a:cxn>
                          <a:cxn ang="0">
                            <a:pos x="connsiteX106" y="connsiteY106"/>
                          </a:cxn>
                          <a:cxn ang="0">
                            <a:pos x="connsiteX107" y="connsiteY107"/>
                          </a:cxn>
                          <a:cxn ang="0">
                            <a:pos x="connsiteX108" y="connsiteY108"/>
                          </a:cxn>
                          <a:cxn ang="0">
                            <a:pos x="connsiteX109" y="connsiteY109"/>
                          </a:cxn>
                          <a:cxn ang="0">
                            <a:pos x="connsiteX110" y="connsiteY110"/>
                          </a:cxn>
                          <a:cxn ang="0">
                            <a:pos x="connsiteX111" y="connsiteY111"/>
                          </a:cxn>
                          <a:cxn ang="0">
                            <a:pos x="connsiteX112" y="connsiteY112"/>
                          </a:cxn>
                          <a:cxn ang="0">
                            <a:pos x="connsiteX113" y="connsiteY113"/>
                          </a:cxn>
                          <a:cxn ang="0">
                            <a:pos x="connsiteX114" y="connsiteY114"/>
                          </a:cxn>
                          <a:cxn ang="0">
                            <a:pos x="connsiteX115" y="connsiteY115"/>
                          </a:cxn>
                          <a:cxn ang="0">
                            <a:pos x="connsiteX116" y="connsiteY116"/>
                          </a:cxn>
                          <a:cxn ang="0">
                            <a:pos x="connsiteX117" y="connsiteY117"/>
                          </a:cxn>
                          <a:cxn ang="0">
                            <a:pos x="connsiteX118" y="connsiteY118"/>
                          </a:cxn>
                          <a:cxn ang="0">
                            <a:pos x="connsiteX119" y="connsiteY119"/>
                          </a:cxn>
                          <a:cxn ang="0">
                            <a:pos x="connsiteX120" y="connsiteY120"/>
                          </a:cxn>
                          <a:cxn ang="0">
                            <a:pos x="connsiteX121" y="connsiteY121"/>
                          </a:cxn>
                          <a:cxn ang="0">
                            <a:pos x="connsiteX122" y="connsiteY122"/>
                          </a:cxn>
                          <a:cxn ang="0">
                            <a:pos x="connsiteX123" y="connsiteY123"/>
                          </a:cxn>
                          <a:cxn ang="0">
                            <a:pos x="connsiteX124" y="connsiteY124"/>
                          </a:cxn>
                          <a:cxn ang="0">
                            <a:pos x="connsiteX125" y="connsiteY125"/>
                          </a:cxn>
                          <a:cxn ang="0">
                            <a:pos x="connsiteX126" y="connsiteY126"/>
                          </a:cxn>
                          <a:cxn ang="0">
                            <a:pos x="connsiteX127" y="connsiteY127"/>
                          </a:cxn>
                          <a:cxn ang="0">
                            <a:pos x="connsiteX128" y="connsiteY128"/>
                          </a:cxn>
                          <a:cxn ang="0">
                            <a:pos x="connsiteX129" y="connsiteY129"/>
                          </a:cxn>
                          <a:cxn ang="0">
                            <a:pos x="connsiteX130" y="connsiteY130"/>
                          </a:cxn>
                          <a:cxn ang="0">
                            <a:pos x="connsiteX131" y="connsiteY131"/>
                          </a:cxn>
                          <a:cxn ang="0">
                            <a:pos x="connsiteX132" y="connsiteY132"/>
                          </a:cxn>
                          <a:cxn ang="0">
                            <a:pos x="connsiteX133" y="connsiteY133"/>
                          </a:cxn>
                          <a:cxn ang="0">
                            <a:pos x="connsiteX134" y="connsiteY134"/>
                          </a:cxn>
                          <a:cxn ang="0">
                            <a:pos x="connsiteX135" y="connsiteY135"/>
                          </a:cxn>
                          <a:cxn ang="0">
                            <a:pos x="connsiteX136" y="connsiteY136"/>
                          </a:cxn>
                          <a:cxn ang="0">
                            <a:pos x="connsiteX137" y="connsiteY137"/>
                          </a:cxn>
                          <a:cxn ang="0">
                            <a:pos x="connsiteX138" y="connsiteY138"/>
                          </a:cxn>
                          <a:cxn ang="0">
                            <a:pos x="connsiteX139" y="connsiteY139"/>
                          </a:cxn>
                          <a:cxn ang="0">
                            <a:pos x="connsiteX140" y="connsiteY140"/>
                          </a:cxn>
                          <a:cxn ang="0">
                            <a:pos x="connsiteX141" y="connsiteY141"/>
                          </a:cxn>
                          <a:cxn ang="0">
                            <a:pos x="connsiteX142" y="connsiteY142"/>
                          </a:cxn>
                          <a:cxn ang="0">
                            <a:pos x="connsiteX143" y="connsiteY143"/>
                          </a:cxn>
                          <a:cxn ang="0">
                            <a:pos x="connsiteX144" y="connsiteY144"/>
                          </a:cxn>
                          <a:cxn ang="0">
                            <a:pos x="connsiteX145" y="connsiteY145"/>
                          </a:cxn>
                          <a:cxn ang="0">
                            <a:pos x="connsiteX146" y="connsiteY146"/>
                          </a:cxn>
                          <a:cxn ang="0">
                            <a:pos x="connsiteX147" y="connsiteY147"/>
                          </a:cxn>
                          <a:cxn ang="0">
                            <a:pos x="connsiteX148" y="connsiteY148"/>
                          </a:cxn>
                          <a:cxn ang="0">
                            <a:pos x="connsiteX149" y="connsiteY149"/>
                          </a:cxn>
                          <a:cxn ang="0">
                            <a:pos x="connsiteX150" y="connsiteY150"/>
                          </a:cxn>
                          <a:cxn ang="0">
                            <a:pos x="connsiteX151" y="connsiteY151"/>
                          </a:cxn>
                          <a:cxn ang="0">
                            <a:pos x="connsiteX152" y="connsiteY152"/>
                          </a:cxn>
                          <a:cxn ang="0">
                            <a:pos x="connsiteX153" y="connsiteY153"/>
                          </a:cxn>
                          <a:cxn ang="0">
                            <a:pos x="connsiteX154" y="connsiteY154"/>
                          </a:cxn>
                          <a:cxn ang="0">
                            <a:pos x="connsiteX155" y="connsiteY155"/>
                          </a:cxn>
                          <a:cxn ang="0">
                            <a:pos x="connsiteX156" y="connsiteY156"/>
                          </a:cxn>
                          <a:cxn ang="0">
                            <a:pos x="connsiteX157" y="connsiteY157"/>
                          </a:cxn>
                          <a:cxn ang="0">
                            <a:pos x="connsiteX158" y="connsiteY158"/>
                          </a:cxn>
                          <a:cxn ang="0">
                            <a:pos x="connsiteX159" y="connsiteY159"/>
                          </a:cxn>
                          <a:cxn ang="0">
                            <a:pos x="connsiteX160" y="connsiteY160"/>
                          </a:cxn>
                          <a:cxn ang="0">
                            <a:pos x="connsiteX161" y="connsiteY161"/>
                          </a:cxn>
                          <a:cxn ang="0">
                            <a:pos x="connsiteX162" y="connsiteY162"/>
                          </a:cxn>
                          <a:cxn ang="0">
                            <a:pos x="connsiteX163" y="connsiteY163"/>
                          </a:cxn>
                          <a:cxn ang="0">
                            <a:pos x="connsiteX164" y="connsiteY164"/>
                          </a:cxn>
                          <a:cxn ang="0">
                            <a:pos x="connsiteX165" y="connsiteY165"/>
                          </a:cxn>
                          <a:cxn ang="0">
                            <a:pos x="connsiteX166" y="connsiteY166"/>
                          </a:cxn>
                          <a:cxn ang="0">
                            <a:pos x="connsiteX167" y="connsiteY167"/>
                          </a:cxn>
                          <a:cxn ang="0">
                            <a:pos x="connsiteX168" y="connsiteY168"/>
                          </a:cxn>
                          <a:cxn ang="0">
                            <a:pos x="connsiteX169" y="connsiteY169"/>
                          </a:cxn>
                          <a:cxn ang="0">
                            <a:pos x="connsiteX170" y="connsiteY170"/>
                          </a:cxn>
                          <a:cxn ang="0">
                            <a:pos x="connsiteX171" y="connsiteY171"/>
                          </a:cxn>
                          <a:cxn ang="0">
                            <a:pos x="connsiteX172" y="connsiteY172"/>
                          </a:cxn>
                          <a:cxn ang="0">
                            <a:pos x="connsiteX173" y="connsiteY173"/>
                          </a:cxn>
                          <a:cxn ang="0">
                            <a:pos x="connsiteX174" y="connsiteY174"/>
                          </a:cxn>
                          <a:cxn ang="0">
                            <a:pos x="connsiteX175" y="connsiteY175"/>
                          </a:cxn>
                          <a:cxn ang="0">
                            <a:pos x="connsiteX176" y="connsiteY176"/>
                          </a:cxn>
                          <a:cxn ang="0">
                            <a:pos x="connsiteX177" y="connsiteY177"/>
                          </a:cxn>
                          <a:cxn ang="0">
                            <a:pos x="connsiteX178" y="connsiteY178"/>
                          </a:cxn>
                          <a:cxn ang="0">
                            <a:pos x="connsiteX179" y="connsiteY179"/>
                          </a:cxn>
                          <a:cxn ang="0">
                            <a:pos x="connsiteX180" y="connsiteY180"/>
                          </a:cxn>
                          <a:cxn ang="0">
                            <a:pos x="connsiteX181" y="connsiteY181"/>
                          </a:cxn>
                          <a:cxn ang="0">
                            <a:pos x="connsiteX182" y="connsiteY182"/>
                          </a:cxn>
                          <a:cxn ang="0">
                            <a:pos x="connsiteX183" y="connsiteY183"/>
                          </a:cxn>
                          <a:cxn ang="0">
                            <a:pos x="connsiteX184" y="connsiteY184"/>
                          </a:cxn>
                          <a:cxn ang="0">
                            <a:pos x="connsiteX185" y="connsiteY185"/>
                          </a:cxn>
                          <a:cxn ang="0">
                            <a:pos x="connsiteX186" y="connsiteY186"/>
                          </a:cxn>
                          <a:cxn ang="0">
                            <a:pos x="connsiteX187" y="connsiteY187"/>
                          </a:cxn>
                          <a:cxn ang="0">
                            <a:pos x="connsiteX188" y="connsiteY188"/>
                          </a:cxn>
                          <a:cxn ang="0">
                            <a:pos x="connsiteX189" y="connsiteY189"/>
                          </a:cxn>
                          <a:cxn ang="0">
                            <a:pos x="connsiteX190" y="connsiteY190"/>
                          </a:cxn>
                          <a:cxn ang="0">
                            <a:pos x="connsiteX191" y="connsiteY191"/>
                          </a:cxn>
                          <a:cxn ang="0">
                            <a:pos x="connsiteX192" y="connsiteY192"/>
                          </a:cxn>
                          <a:cxn ang="0">
                            <a:pos x="connsiteX193" y="connsiteY193"/>
                          </a:cxn>
                          <a:cxn ang="0">
                            <a:pos x="connsiteX194" y="connsiteY194"/>
                          </a:cxn>
                          <a:cxn ang="0">
                            <a:pos x="connsiteX195" y="connsiteY195"/>
                          </a:cxn>
                          <a:cxn ang="0">
                            <a:pos x="connsiteX196" y="connsiteY196"/>
                          </a:cxn>
                          <a:cxn ang="0">
                            <a:pos x="connsiteX197" y="connsiteY197"/>
                          </a:cxn>
                          <a:cxn ang="0">
                            <a:pos x="connsiteX198" y="connsiteY198"/>
                          </a:cxn>
                          <a:cxn ang="0">
                            <a:pos x="connsiteX199" y="connsiteY199"/>
                          </a:cxn>
                          <a:cxn ang="0">
                            <a:pos x="connsiteX200" y="connsiteY200"/>
                          </a:cxn>
                          <a:cxn ang="0">
                            <a:pos x="connsiteX201" y="connsiteY201"/>
                          </a:cxn>
                          <a:cxn ang="0">
                            <a:pos x="connsiteX202" y="connsiteY202"/>
                          </a:cxn>
                          <a:cxn ang="0">
                            <a:pos x="connsiteX203" y="connsiteY203"/>
                          </a:cxn>
                          <a:cxn ang="0">
                            <a:pos x="connsiteX204" y="connsiteY204"/>
                          </a:cxn>
                          <a:cxn ang="0">
                            <a:pos x="connsiteX205" y="connsiteY205"/>
                          </a:cxn>
                          <a:cxn ang="0">
                            <a:pos x="connsiteX206" y="connsiteY206"/>
                          </a:cxn>
                          <a:cxn ang="0">
                            <a:pos x="connsiteX207" y="connsiteY207"/>
                          </a:cxn>
                          <a:cxn ang="0">
                            <a:pos x="connsiteX208" y="connsiteY208"/>
                          </a:cxn>
                          <a:cxn ang="0">
                            <a:pos x="connsiteX209" y="connsiteY209"/>
                          </a:cxn>
                          <a:cxn ang="0">
                            <a:pos x="connsiteX210" y="connsiteY210"/>
                          </a:cxn>
                          <a:cxn ang="0">
                            <a:pos x="connsiteX211" y="connsiteY211"/>
                          </a:cxn>
                          <a:cxn ang="0">
                            <a:pos x="connsiteX212" y="connsiteY212"/>
                          </a:cxn>
                          <a:cxn ang="0">
                            <a:pos x="connsiteX213" y="connsiteY213"/>
                          </a:cxn>
                          <a:cxn ang="0">
                            <a:pos x="connsiteX214" y="connsiteY214"/>
                          </a:cxn>
                          <a:cxn ang="0">
                            <a:pos x="connsiteX215" y="connsiteY215"/>
                          </a:cxn>
                          <a:cxn ang="0">
                            <a:pos x="connsiteX216" y="connsiteY216"/>
                          </a:cxn>
                          <a:cxn ang="0">
                            <a:pos x="connsiteX217" y="connsiteY217"/>
                          </a:cxn>
                          <a:cxn ang="0">
                            <a:pos x="connsiteX218" y="connsiteY218"/>
                          </a:cxn>
                          <a:cxn ang="0">
                            <a:pos x="connsiteX219" y="connsiteY219"/>
                          </a:cxn>
                          <a:cxn ang="0">
                            <a:pos x="connsiteX220" y="connsiteY220"/>
                          </a:cxn>
                          <a:cxn ang="0">
                            <a:pos x="connsiteX221" y="connsiteY221"/>
                          </a:cxn>
                          <a:cxn ang="0">
                            <a:pos x="connsiteX222" y="connsiteY222"/>
                          </a:cxn>
                          <a:cxn ang="0">
                            <a:pos x="connsiteX223" y="connsiteY223"/>
                          </a:cxn>
                          <a:cxn ang="0">
                            <a:pos x="connsiteX224" y="connsiteY224"/>
                          </a:cxn>
                          <a:cxn ang="0">
                            <a:pos x="connsiteX225" y="connsiteY225"/>
                          </a:cxn>
                          <a:cxn ang="0">
                            <a:pos x="connsiteX226" y="connsiteY226"/>
                          </a:cxn>
                          <a:cxn ang="0">
                            <a:pos x="connsiteX227" y="connsiteY227"/>
                          </a:cxn>
                          <a:cxn ang="0">
                            <a:pos x="connsiteX228" y="connsiteY228"/>
                          </a:cxn>
                          <a:cxn ang="0">
                            <a:pos x="connsiteX229" y="connsiteY229"/>
                          </a:cxn>
                          <a:cxn ang="0">
                            <a:pos x="connsiteX230" y="connsiteY230"/>
                          </a:cxn>
                          <a:cxn ang="0">
                            <a:pos x="connsiteX231" y="connsiteY231"/>
                          </a:cxn>
                          <a:cxn ang="0">
                            <a:pos x="connsiteX232" y="connsiteY232"/>
                          </a:cxn>
                          <a:cxn ang="0">
                            <a:pos x="connsiteX233" y="connsiteY233"/>
                          </a:cxn>
                          <a:cxn ang="0">
                            <a:pos x="connsiteX234" y="connsiteY234"/>
                          </a:cxn>
                          <a:cxn ang="0">
                            <a:pos x="connsiteX235" y="connsiteY235"/>
                          </a:cxn>
                          <a:cxn ang="0">
                            <a:pos x="connsiteX236" y="connsiteY236"/>
                          </a:cxn>
                          <a:cxn ang="0">
                            <a:pos x="connsiteX237" y="connsiteY237"/>
                          </a:cxn>
                          <a:cxn ang="0">
                            <a:pos x="connsiteX238" y="connsiteY238"/>
                          </a:cxn>
                          <a:cxn ang="0">
                            <a:pos x="connsiteX239" y="connsiteY239"/>
                          </a:cxn>
                          <a:cxn ang="0">
                            <a:pos x="connsiteX240" y="connsiteY240"/>
                          </a:cxn>
                          <a:cxn ang="0">
                            <a:pos x="connsiteX241" y="connsiteY241"/>
                          </a:cxn>
                          <a:cxn ang="0">
                            <a:pos x="connsiteX242" y="connsiteY242"/>
                          </a:cxn>
                          <a:cxn ang="0">
                            <a:pos x="connsiteX243" y="connsiteY243"/>
                          </a:cxn>
                          <a:cxn ang="0">
                            <a:pos x="connsiteX244" y="connsiteY244"/>
                          </a:cxn>
                          <a:cxn ang="0">
                            <a:pos x="connsiteX245" y="connsiteY245"/>
                          </a:cxn>
                          <a:cxn ang="0">
                            <a:pos x="connsiteX246" y="connsiteY246"/>
                          </a:cxn>
                          <a:cxn ang="0">
                            <a:pos x="connsiteX247" y="connsiteY247"/>
                          </a:cxn>
                          <a:cxn ang="0">
                            <a:pos x="connsiteX248" y="connsiteY248"/>
                          </a:cxn>
                          <a:cxn ang="0">
                            <a:pos x="connsiteX249" y="connsiteY249"/>
                          </a:cxn>
                          <a:cxn ang="0">
                            <a:pos x="connsiteX250" y="connsiteY250"/>
                          </a:cxn>
                          <a:cxn ang="0">
                            <a:pos x="connsiteX251" y="connsiteY251"/>
                          </a:cxn>
                          <a:cxn ang="0">
                            <a:pos x="connsiteX252" y="connsiteY252"/>
                          </a:cxn>
                          <a:cxn ang="0">
                            <a:pos x="connsiteX253" y="connsiteY253"/>
                          </a:cxn>
                          <a:cxn ang="0">
                            <a:pos x="connsiteX254" y="connsiteY254"/>
                          </a:cxn>
                          <a:cxn ang="0">
                            <a:pos x="connsiteX255" y="connsiteY255"/>
                          </a:cxn>
                          <a:cxn ang="0">
                            <a:pos x="connsiteX256" y="connsiteY256"/>
                          </a:cxn>
                          <a:cxn ang="0">
                            <a:pos x="connsiteX257" y="connsiteY257"/>
                          </a:cxn>
                          <a:cxn ang="0">
                            <a:pos x="connsiteX258" y="connsiteY258"/>
                          </a:cxn>
                          <a:cxn ang="0">
                            <a:pos x="connsiteX259" y="connsiteY259"/>
                          </a:cxn>
                          <a:cxn ang="0">
                            <a:pos x="connsiteX260" y="connsiteY260"/>
                          </a:cxn>
                          <a:cxn ang="0">
                            <a:pos x="connsiteX261" y="connsiteY261"/>
                          </a:cxn>
                          <a:cxn ang="0">
                            <a:pos x="connsiteX262" y="connsiteY262"/>
                          </a:cxn>
                          <a:cxn ang="0">
                            <a:pos x="connsiteX263" y="connsiteY263"/>
                          </a:cxn>
                          <a:cxn ang="0">
                            <a:pos x="connsiteX264" y="connsiteY264"/>
                          </a:cxn>
                          <a:cxn ang="0">
                            <a:pos x="connsiteX265" y="connsiteY265"/>
                          </a:cxn>
                          <a:cxn ang="0">
                            <a:pos x="connsiteX266" y="connsiteY266"/>
                          </a:cxn>
                          <a:cxn ang="0">
                            <a:pos x="connsiteX267" y="connsiteY267"/>
                          </a:cxn>
                          <a:cxn ang="0">
                            <a:pos x="connsiteX268" y="connsiteY268"/>
                          </a:cxn>
                          <a:cxn ang="0">
                            <a:pos x="connsiteX269" y="connsiteY269"/>
                          </a:cxn>
                          <a:cxn ang="0">
                            <a:pos x="connsiteX270" y="connsiteY270"/>
                          </a:cxn>
                          <a:cxn ang="0">
                            <a:pos x="connsiteX271" y="connsiteY271"/>
                          </a:cxn>
                          <a:cxn ang="0">
                            <a:pos x="connsiteX272" y="connsiteY272"/>
                          </a:cxn>
                          <a:cxn ang="0">
                            <a:pos x="connsiteX273" y="connsiteY273"/>
                          </a:cxn>
                          <a:cxn ang="0">
                            <a:pos x="connsiteX274" y="connsiteY274"/>
                          </a:cxn>
                          <a:cxn ang="0">
                            <a:pos x="connsiteX275" y="connsiteY275"/>
                          </a:cxn>
                          <a:cxn ang="0">
                            <a:pos x="connsiteX276" y="connsiteY276"/>
                          </a:cxn>
                          <a:cxn ang="0">
                            <a:pos x="connsiteX277" y="connsiteY277"/>
                          </a:cxn>
                          <a:cxn ang="0">
                            <a:pos x="connsiteX278" y="connsiteY278"/>
                          </a:cxn>
                          <a:cxn ang="0">
                            <a:pos x="connsiteX279" y="connsiteY279"/>
                          </a:cxn>
                          <a:cxn ang="0">
                            <a:pos x="connsiteX280" y="connsiteY280"/>
                          </a:cxn>
                          <a:cxn ang="0">
                            <a:pos x="connsiteX281" y="connsiteY281"/>
                          </a:cxn>
                          <a:cxn ang="0">
                            <a:pos x="connsiteX282" y="connsiteY282"/>
                          </a:cxn>
                          <a:cxn ang="0">
                            <a:pos x="connsiteX283" y="connsiteY283"/>
                          </a:cxn>
                          <a:cxn ang="0">
                            <a:pos x="connsiteX284" y="connsiteY284"/>
                          </a:cxn>
                          <a:cxn ang="0">
                            <a:pos x="connsiteX285" y="connsiteY285"/>
                          </a:cxn>
                          <a:cxn ang="0">
                            <a:pos x="connsiteX286" y="connsiteY286"/>
                          </a:cxn>
                          <a:cxn ang="0">
                            <a:pos x="connsiteX287" y="connsiteY287"/>
                          </a:cxn>
                          <a:cxn ang="0">
                            <a:pos x="connsiteX288" y="connsiteY288"/>
                          </a:cxn>
                          <a:cxn ang="0">
                            <a:pos x="connsiteX289" y="connsiteY289"/>
                          </a:cxn>
                          <a:cxn ang="0">
                            <a:pos x="connsiteX290" y="connsiteY290"/>
                          </a:cxn>
                          <a:cxn ang="0">
                            <a:pos x="connsiteX291" y="connsiteY291"/>
                          </a:cxn>
                          <a:cxn ang="0">
                            <a:pos x="connsiteX292" y="connsiteY292"/>
                          </a:cxn>
                          <a:cxn ang="0">
                            <a:pos x="connsiteX293" y="connsiteY293"/>
                          </a:cxn>
                          <a:cxn ang="0">
                            <a:pos x="connsiteX294" y="connsiteY294"/>
                          </a:cxn>
                          <a:cxn ang="0">
                            <a:pos x="connsiteX295" y="connsiteY295"/>
                          </a:cxn>
                          <a:cxn ang="0">
                            <a:pos x="connsiteX296" y="connsiteY296"/>
                          </a:cxn>
                          <a:cxn ang="0">
                            <a:pos x="connsiteX297" y="connsiteY297"/>
                          </a:cxn>
                          <a:cxn ang="0">
                            <a:pos x="connsiteX298" y="connsiteY298"/>
                          </a:cxn>
                          <a:cxn ang="0">
                            <a:pos x="connsiteX299" y="connsiteY299"/>
                          </a:cxn>
                          <a:cxn ang="0">
                            <a:pos x="connsiteX300" y="connsiteY300"/>
                          </a:cxn>
                          <a:cxn ang="0">
                            <a:pos x="connsiteX301" y="connsiteY301"/>
                          </a:cxn>
                          <a:cxn ang="0">
                            <a:pos x="connsiteX302" y="connsiteY302"/>
                          </a:cxn>
                          <a:cxn ang="0">
                            <a:pos x="connsiteX303" y="connsiteY303"/>
                          </a:cxn>
                          <a:cxn ang="0">
                            <a:pos x="connsiteX304" y="connsiteY304"/>
                          </a:cxn>
                          <a:cxn ang="0">
                            <a:pos x="connsiteX305" y="connsiteY305"/>
                          </a:cxn>
                          <a:cxn ang="0">
                            <a:pos x="connsiteX306" y="connsiteY306"/>
                          </a:cxn>
                          <a:cxn ang="0">
                            <a:pos x="connsiteX307" y="connsiteY307"/>
                          </a:cxn>
                          <a:cxn ang="0">
                            <a:pos x="connsiteX308" y="connsiteY308"/>
                          </a:cxn>
                          <a:cxn ang="0">
                            <a:pos x="connsiteX309" y="connsiteY309"/>
                          </a:cxn>
                          <a:cxn ang="0">
                            <a:pos x="connsiteX310" y="connsiteY310"/>
                          </a:cxn>
                          <a:cxn ang="0">
                            <a:pos x="connsiteX311" y="connsiteY311"/>
                          </a:cxn>
                          <a:cxn ang="0">
                            <a:pos x="connsiteX312" y="connsiteY312"/>
                          </a:cxn>
                          <a:cxn ang="0">
                            <a:pos x="connsiteX313" y="connsiteY313"/>
                          </a:cxn>
                          <a:cxn ang="0">
                            <a:pos x="connsiteX314" y="connsiteY314"/>
                          </a:cxn>
                          <a:cxn ang="0">
                            <a:pos x="connsiteX315" y="connsiteY315"/>
                          </a:cxn>
                          <a:cxn ang="0">
                            <a:pos x="connsiteX316" y="connsiteY316"/>
                          </a:cxn>
                          <a:cxn ang="0">
                            <a:pos x="connsiteX317" y="connsiteY317"/>
                          </a:cxn>
                          <a:cxn ang="0">
                            <a:pos x="connsiteX318" y="connsiteY318"/>
                          </a:cxn>
                          <a:cxn ang="0">
                            <a:pos x="connsiteX319" y="connsiteY319"/>
                          </a:cxn>
                          <a:cxn ang="0">
                            <a:pos x="connsiteX320" y="connsiteY320"/>
                          </a:cxn>
                          <a:cxn ang="0">
                            <a:pos x="connsiteX321" y="connsiteY321"/>
                          </a:cxn>
                          <a:cxn ang="0">
                            <a:pos x="connsiteX322" y="connsiteY322"/>
                          </a:cxn>
                          <a:cxn ang="0">
                            <a:pos x="connsiteX323" y="connsiteY323"/>
                          </a:cxn>
                          <a:cxn ang="0">
                            <a:pos x="connsiteX324" y="connsiteY324"/>
                          </a:cxn>
                          <a:cxn ang="0">
                            <a:pos x="connsiteX325" y="connsiteY325"/>
                          </a:cxn>
                          <a:cxn ang="0">
                            <a:pos x="connsiteX326" y="connsiteY326"/>
                          </a:cxn>
                          <a:cxn ang="0">
                            <a:pos x="connsiteX327" y="connsiteY327"/>
                          </a:cxn>
                          <a:cxn ang="0">
                            <a:pos x="connsiteX328" y="connsiteY328"/>
                          </a:cxn>
                          <a:cxn ang="0">
                            <a:pos x="connsiteX329" y="connsiteY329"/>
                          </a:cxn>
                          <a:cxn ang="0">
                            <a:pos x="connsiteX330" y="connsiteY330"/>
                          </a:cxn>
                          <a:cxn ang="0">
                            <a:pos x="connsiteX331" y="connsiteY331"/>
                          </a:cxn>
                          <a:cxn ang="0">
                            <a:pos x="connsiteX332" y="connsiteY332"/>
                          </a:cxn>
                          <a:cxn ang="0">
                            <a:pos x="connsiteX333" y="connsiteY333"/>
                          </a:cxn>
                          <a:cxn ang="0">
                            <a:pos x="connsiteX334" y="connsiteY334"/>
                          </a:cxn>
                          <a:cxn ang="0">
                            <a:pos x="connsiteX335" y="connsiteY335"/>
                          </a:cxn>
                          <a:cxn ang="0">
                            <a:pos x="connsiteX336" y="connsiteY336"/>
                          </a:cxn>
                          <a:cxn ang="0">
                            <a:pos x="connsiteX337" y="connsiteY337"/>
                          </a:cxn>
                          <a:cxn ang="0">
                            <a:pos x="connsiteX338" y="connsiteY338"/>
                          </a:cxn>
                          <a:cxn ang="0">
                            <a:pos x="connsiteX339" y="connsiteY339"/>
                          </a:cxn>
                          <a:cxn ang="0">
                            <a:pos x="connsiteX340" y="connsiteY340"/>
                          </a:cxn>
                          <a:cxn ang="0">
                            <a:pos x="connsiteX341" y="connsiteY341"/>
                          </a:cxn>
                          <a:cxn ang="0">
                            <a:pos x="connsiteX342" y="connsiteY342"/>
                          </a:cxn>
                          <a:cxn ang="0">
                            <a:pos x="connsiteX343" y="connsiteY343"/>
                          </a:cxn>
                          <a:cxn ang="0">
                            <a:pos x="connsiteX344" y="connsiteY344"/>
                          </a:cxn>
                          <a:cxn ang="0">
                            <a:pos x="connsiteX345" y="connsiteY345"/>
                          </a:cxn>
                          <a:cxn ang="0">
                            <a:pos x="connsiteX346" y="connsiteY346"/>
                          </a:cxn>
                          <a:cxn ang="0">
                            <a:pos x="connsiteX347" y="connsiteY347"/>
                          </a:cxn>
                          <a:cxn ang="0">
                            <a:pos x="connsiteX348" y="connsiteY348"/>
                          </a:cxn>
                          <a:cxn ang="0">
                            <a:pos x="connsiteX349" y="connsiteY349"/>
                          </a:cxn>
                          <a:cxn ang="0">
                            <a:pos x="connsiteX350" y="connsiteY350"/>
                          </a:cxn>
                          <a:cxn ang="0">
                            <a:pos x="connsiteX351" y="connsiteY351"/>
                          </a:cxn>
                          <a:cxn ang="0">
                            <a:pos x="connsiteX352" y="connsiteY352"/>
                          </a:cxn>
                          <a:cxn ang="0">
                            <a:pos x="connsiteX353" y="connsiteY353"/>
                          </a:cxn>
                          <a:cxn ang="0">
                            <a:pos x="connsiteX354" y="connsiteY354"/>
                          </a:cxn>
                          <a:cxn ang="0">
                            <a:pos x="connsiteX355" y="connsiteY355"/>
                          </a:cxn>
                          <a:cxn ang="0">
                            <a:pos x="connsiteX356" y="connsiteY356"/>
                          </a:cxn>
                          <a:cxn ang="0">
                            <a:pos x="connsiteX357" y="connsiteY357"/>
                          </a:cxn>
                          <a:cxn ang="0">
                            <a:pos x="connsiteX358" y="connsiteY358"/>
                          </a:cxn>
                          <a:cxn ang="0">
                            <a:pos x="connsiteX359" y="connsiteY359"/>
                          </a:cxn>
                          <a:cxn ang="0">
                            <a:pos x="connsiteX360" y="connsiteY360"/>
                          </a:cxn>
                          <a:cxn ang="0">
                            <a:pos x="connsiteX361" y="connsiteY361"/>
                          </a:cxn>
                          <a:cxn ang="0">
                            <a:pos x="connsiteX362" y="connsiteY362"/>
                          </a:cxn>
                          <a:cxn ang="0">
                            <a:pos x="connsiteX363" y="connsiteY363"/>
                          </a:cxn>
                          <a:cxn ang="0">
                            <a:pos x="connsiteX364" y="connsiteY364"/>
                          </a:cxn>
                          <a:cxn ang="0">
                            <a:pos x="connsiteX365" y="connsiteY365"/>
                          </a:cxn>
                          <a:cxn ang="0">
                            <a:pos x="connsiteX366" y="connsiteY366"/>
                          </a:cxn>
                          <a:cxn ang="0">
                            <a:pos x="connsiteX367" y="connsiteY367"/>
                          </a:cxn>
                          <a:cxn ang="0">
                            <a:pos x="connsiteX368" y="connsiteY368"/>
                          </a:cxn>
                          <a:cxn ang="0">
                            <a:pos x="connsiteX369" y="connsiteY369"/>
                          </a:cxn>
                          <a:cxn ang="0">
                            <a:pos x="connsiteX370" y="connsiteY370"/>
                          </a:cxn>
                          <a:cxn ang="0">
                            <a:pos x="connsiteX371" y="connsiteY371"/>
                          </a:cxn>
                          <a:cxn ang="0">
                            <a:pos x="connsiteX372" y="connsiteY372"/>
                          </a:cxn>
                          <a:cxn ang="0">
                            <a:pos x="connsiteX373" y="connsiteY373"/>
                          </a:cxn>
                          <a:cxn ang="0">
                            <a:pos x="connsiteX374" y="connsiteY374"/>
                          </a:cxn>
                          <a:cxn ang="0">
                            <a:pos x="connsiteX375" y="connsiteY375"/>
                          </a:cxn>
                          <a:cxn ang="0">
                            <a:pos x="connsiteX376" y="connsiteY376"/>
                          </a:cxn>
                          <a:cxn ang="0">
                            <a:pos x="connsiteX377" y="connsiteY377"/>
                          </a:cxn>
                          <a:cxn ang="0">
                            <a:pos x="connsiteX378" y="connsiteY378"/>
                          </a:cxn>
                          <a:cxn ang="0">
                            <a:pos x="connsiteX379" y="connsiteY379"/>
                          </a:cxn>
                          <a:cxn ang="0">
                            <a:pos x="connsiteX380" y="connsiteY380"/>
                          </a:cxn>
                          <a:cxn ang="0">
                            <a:pos x="connsiteX381" y="connsiteY381"/>
                          </a:cxn>
                          <a:cxn ang="0">
                            <a:pos x="connsiteX382" y="connsiteY382"/>
                          </a:cxn>
                          <a:cxn ang="0">
                            <a:pos x="connsiteX383" y="connsiteY383"/>
                          </a:cxn>
                          <a:cxn ang="0">
                            <a:pos x="connsiteX384" y="connsiteY384"/>
                          </a:cxn>
                          <a:cxn ang="0">
                            <a:pos x="connsiteX385" y="connsiteY385"/>
                          </a:cxn>
                          <a:cxn ang="0">
                            <a:pos x="connsiteX386" y="connsiteY386"/>
                          </a:cxn>
                          <a:cxn ang="0">
                            <a:pos x="connsiteX387" y="connsiteY387"/>
                          </a:cxn>
                          <a:cxn ang="0">
                            <a:pos x="connsiteX388" y="connsiteY388"/>
                          </a:cxn>
                          <a:cxn ang="0">
                            <a:pos x="connsiteX389" y="connsiteY389"/>
                          </a:cxn>
                          <a:cxn ang="0">
                            <a:pos x="connsiteX390" y="connsiteY390"/>
                          </a:cxn>
                          <a:cxn ang="0">
                            <a:pos x="connsiteX391" y="connsiteY391"/>
                          </a:cxn>
                          <a:cxn ang="0">
                            <a:pos x="connsiteX392" y="connsiteY392"/>
                          </a:cxn>
                          <a:cxn ang="0">
                            <a:pos x="connsiteX393" y="connsiteY393"/>
                          </a:cxn>
                          <a:cxn ang="0">
                            <a:pos x="connsiteX394" y="connsiteY394"/>
                          </a:cxn>
                          <a:cxn ang="0">
                            <a:pos x="connsiteX395" y="connsiteY395"/>
                          </a:cxn>
                          <a:cxn ang="0">
                            <a:pos x="connsiteX396" y="connsiteY396"/>
                          </a:cxn>
                          <a:cxn ang="0">
                            <a:pos x="connsiteX397" y="connsiteY397"/>
                          </a:cxn>
                          <a:cxn ang="0">
                            <a:pos x="connsiteX398" y="connsiteY398"/>
                          </a:cxn>
                          <a:cxn ang="0">
                            <a:pos x="connsiteX399" y="connsiteY399"/>
                          </a:cxn>
                          <a:cxn ang="0">
                            <a:pos x="connsiteX400" y="connsiteY400"/>
                          </a:cxn>
                          <a:cxn ang="0">
                            <a:pos x="connsiteX401" y="connsiteY401"/>
                          </a:cxn>
                          <a:cxn ang="0">
                            <a:pos x="connsiteX402" y="connsiteY402"/>
                          </a:cxn>
                          <a:cxn ang="0">
                            <a:pos x="connsiteX403" y="connsiteY403"/>
                          </a:cxn>
                          <a:cxn ang="0">
                            <a:pos x="connsiteX404" y="connsiteY404"/>
                          </a:cxn>
                          <a:cxn ang="0">
                            <a:pos x="connsiteX405" y="connsiteY405"/>
                          </a:cxn>
                          <a:cxn ang="0">
                            <a:pos x="connsiteX406" y="connsiteY406"/>
                          </a:cxn>
                          <a:cxn ang="0">
                            <a:pos x="connsiteX407" y="connsiteY407"/>
                          </a:cxn>
                          <a:cxn ang="0">
                            <a:pos x="connsiteX408" y="connsiteY408"/>
                          </a:cxn>
                          <a:cxn ang="0">
                            <a:pos x="connsiteX409" y="connsiteY409"/>
                          </a:cxn>
                          <a:cxn ang="0">
                            <a:pos x="connsiteX410" y="connsiteY410"/>
                          </a:cxn>
                          <a:cxn ang="0">
                            <a:pos x="connsiteX411" y="connsiteY411"/>
                          </a:cxn>
                          <a:cxn ang="0">
                            <a:pos x="connsiteX412" y="connsiteY412"/>
                          </a:cxn>
                          <a:cxn ang="0">
                            <a:pos x="connsiteX413" y="connsiteY413"/>
                          </a:cxn>
                          <a:cxn ang="0">
                            <a:pos x="connsiteX414" y="connsiteY414"/>
                          </a:cxn>
                          <a:cxn ang="0">
                            <a:pos x="connsiteX415" y="connsiteY415"/>
                          </a:cxn>
                          <a:cxn ang="0">
                            <a:pos x="connsiteX416" y="connsiteY416"/>
                          </a:cxn>
                          <a:cxn ang="0">
                            <a:pos x="connsiteX417" y="connsiteY417"/>
                          </a:cxn>
                          <a:cxn ang="0">
                            <a:pos x="connsiteX418" y="connsiteY418"/>
                          </a:cxn>
                          <a:cxn ang="0">
                            <a:pos x="connsiteX419" y="connsiteY419"/>
                          </a:cxn>
                          <a:cxn ang="0">
                            <a:pos x="connsiteX420" y="connsiteY420"/>
                          </a:cxn>
                          <a:cxn ang="0">
                            <a:pos x="connsiteX421" y="connsiteY421"/>
                          </a:cxn>
                          <a:cxn ang="0">
                            <a:pos x="connsiteX422" y="connsiteY422"/>
                          </a:cxn>
                          <a:cxn ang="0">
                            <a:pos x="connsiteX423" y="connsiteY423"/>
                          </a:cxn>
                          <a:cxn ang="0">
                            <a:pos x="connsiteX424" y="connsiteY424"/>
                          </a:cxn>
                          <a:cxn ang="0">
                            <a:pos x="connsiteX425" y="connsiteY425"/>
                          </a:cxn>
                          <a:cxn ang="0">
                            <a:pos x="connsiteX426" y="connsiteY426"/>
                          </a:cxn>
                          <a:cxn ang="0">
                            <a:pos x="connsiteX427" y="connsiteY427"/>
                          </a:cxn>
                          <a:cxn ang="0">
                            <a:pos x="connsiteX428" y="connsiteY428"/>
                          </a:cxn>
                          <a:cxn ang="0">
                            <a:pos x="connsiteX429" y="connsiteY429"/>
                          </a:cxn>
                          <a:cxn ang="0">
                            <a:pos x="connsiteX430" y="connsiteY430"/>
                          </a:cxn>
                          <a:cxn ang="0">
                            <a:pos x="connsiteX431" y="connsiteY431"/>
                          </a:cxn>
                          <a:cxn ang="0">
                            <a:pos x="connsiteX432" y="connsiteY432"/>
                          </a:cxn>
                          <a:cxn ang="0">
                            <a:pos x="connsiteX433" y="connsiteY433"/>
                          </a:cxn>
                          <a:cxn ang="0">
                            <a:pos x="connsiteX434" y="connsiteY434"/>
                          </a:cxn>
                          <a:cxn ang="0">
                            <a:pos x="connsiteX435" y="connsiteY435"/>
                          </a:cxn>
                          <a:cxn ang="0">
                            <a:pos x="connsiteX436" y="connsiteY436"/>
                          </a:cxn>
                          <a:cxn ang="0">
                            <a:pos x="connsiteX437" y="connsiteY437"/>
                          </a:cxn>
                          <a:cxn ang="0">
                            <a:pos x="connsiteX438" y="connsiteY438"/>
                          </a:cxn>
                          <a:cxn ang="0">
                            <a:pos x="connsiteX439" y="connsiteY439"/>
                          </a:cxn>
                          <a:cxn ang="0">
                            <a:pos x="connsiteX440" y="connsiteY440"/>
                          </a:cxn>
                          <a:cxn ang="0">
                            <a:pos x="connsiteX441" y="connsiteY441"/>
                          </a:cxn>
                          <a:cxn ang="0">
                            <a:pos x="connsiteX442" y="connsiteY442"/>
                          </a:cxn>
                          <a:cxn ang="0">
                            <a:pos x="connsiteX443" y="connsiteY443"/>
                          </a:cxn>
                          <a:cxn ang="0">
                            <a:pos x="connsiteX444" y="connsiteY444"/>
                          </a:cxn>
                          <a:cxn ang="0">
                            <a:pos x="connsiteX445" y="connsiteY445"/>
                          </a:cxn>
                          <a:cxn ang="0">
                            <a:pos x="connsiteX446" y="connsiteY446"/>
                          </a:cxn>
                          <a:cxn ang="0">
                            <a:pos x="connsiteX447" y="connsiteY447"/>
                          </a:cxn>
                          <a:cxn ang="0">
                            <a:pos x="connsiteX448" y="connsiteY448"/>
                          </a:cxn>
                          <a:cxn ang="0">
                            <a:pos x="connsiteX449" y="connsiteY449"/>
                          </a:cxn>
                          <a:cxn ang="0">
                            <a:pos x="connsiteX450" y="connsiteY450"/>
                          </a:cxn>
                          <a:cxn ang="0">
                            <a:pos x="connsiteX451" y="connsiteY451"/>
                          </a:cxn>
                          <a:cxn ang="0">
                            <a:pos x="connsiteX452" y="connsiteY452"/>
                          </a:cxn>
                          <a:cxn ang="0">
                            <a:pos x="connsiteX453" y="connsiteY453"/>
                          </a:cxn>
                          <a:cxn ang="0">
                            <a:pos x="connsiteX454" y="connsiteY454"/>
                          </a:cxn>
                          <a:cxn ang="0">
                            <a:pos x="connsiteX455" y="connsiteY455"/>
                          </a:cxn>
                          <a:cxn ang="0">
                            <a:pos x="connsiteX456" y="connsiteY456"/>
                          </a:cxn>
                          <a:cxn ang="0">
                            <a:pos x="connsiteX457" y="connsiteY457"/>
                          </a:cxn>
                          <a:cxn ang="0">
                            <a:pos x="connsiteX458" y="connsiteY458"/>
                          </a:cxn>
                          <a:cxn ang="0">
                            <a:pos x="connsiteX459" y="connsiteY459"/>
                          </a:cxn>
                          <a:cxn ang="0">
                            <a:pos x="connsiteX460" y="connsiteY460"/>
                          </a:cxn>
                          <a:cxn ang="0">
                            <a:pos x="connsiteX461" y="connsiteY461"/>
                          </a:cxn>
                          <a:cxn ang="0">
                            <a:pos x="connsiteX462" y="connsiteY462"/>
                          </a:cxn>
                          <a:cxn ang="0">
                            <a:pos x="connsiteX463" y="connsiteY463"/>
                          </a:cxn>
                          <a:cxn ang="0">
                            <a:pos x="connsiteX464" y="connsiteY464"/>
                          </a:cxn>
                          <a:cxn ang="0">
                            <a:pos x="connsiteX465" y="connsiteY465"/>
                          </a:cxn>
                          <a:cxn ang="0">
                            <a:pos x="connsiteX466" y="connsiteY466"/>
                          </a:cxn>
                          <a:cxn ang="0">
                            <a:pos x="connsiteX467" y="connsiteY467"/>
                          </a:cxn>
                          <a:cxn ang="0">
                            <a:pos x="connsiteX468" y="connsiteY468"/>
                          </a:cxn>
                          <a:cxn ang="0">
                            <a:pos x="connsiteX469" y="connsiteY469"/>
                          </a:cxn>
                          <a:cxn ang="0">
                            <a:pos x="connsiteX470" y="connsiteY470"/>
                          </a:cxn>
                          <a:cxn ang="0">
                            <a:pos x="connsiteX471" y="connsiteY471"/>
                          </a:cxn>
                          <a:cxn ang="0">
                            <a:pos x="connsiteX472" y="connsiteY472"/>
                          </a:cxn>
                          <a:cxn ang="0">
                            <a:pos x="connsiteX473" y="connsiteY473"/>
                          </a:cxn>
                          <a:cxn ang="0">
                            <a:pos x="connsiteX474" y="connsiteY474"/>
                          </a:cxn>
                          <a:cxn ang="0">
                            <a:pos x="connsiteX475" y="connsiteY475"/>
                          </a:cxn>
                          <a:cxn ang="0">
                            <a:pos x="connsiteX476" y="connsiteY476"/>
                          </a:cxn>
                          <a:cxn ang="0">
                            <a:pos x="connsiteX477" y="connsiteY477"/>
                          </a:cxn>
                          <a:cxn ang="0">
                            <a:pos x="connsiteX478" y="connsiteY478"/>
                          </a:cxn>
                          <a:cxn ang="0">
                            <a:pos x="connsiteX479" y="connsiteY479"/>
                          </a:cxn>
                          <a:cxn ang="0">
                            <a:pos x="connsiteX480" y="connsiteY480"/>
                          </a:cxn>
                          <a:cxn ang="0">
                            <a:pos x="connsiteX481" y="connsiteY481"/>
                          </a:cxn>
                          <a:cxn ang="0">
                            <a:pos x="connsiteX482" y="connsiteY482"/>
                          </a:cxn>
                          <a:cxn ang="0">
                            <a:pos x="connsiteX483" y="connsiteY483"/>
                          </a:cxn>
                          <a:cxn ang="0">
                            <a:pos x="connsiteX484" y="connsiteY484"/>
                          </a:cxn>
                          <a:cxn ang="0">
                            <a:pos x="connsiteX485" y="connsiteY485"/>
                          </a:cxn>
                          <a:cxn ang="0">
                            <a:pos x="connsiteX486" y="connsiteY486"/>
                          </a:cxn>
                          <a:cxn ang="0">
                            <a:pos x="connsiteX487" y="connsiteY487"/>
                          </a:cxn>
                          <a:cxn ang="0">
                            <a:pos x="connsiteX488" y="connsiteY488"/>
                          </a:cxn>
                          <a:cxn ang="0">
                            <a:pos x="connsiteX489" y="connsiteY489"/>
                          </a:cxn>
                          <a:cxn ang="0">
                            <a:pos x="connsiteX490" y="connsiteY490"/>
                          </a:cxn>
                          <a:cxn ang="0">
                            <a:pos x="connsiteX491" y="connsiteY491"/>
                          </a:cxn>
                          <a:cxn ang="0">
                            <a:pos x="connsiteX492" y="connsiteY492"/>
                          </a:cxn>
                          <a:cxn ang="0">
                            <a:pos x="connsiteX493" y="connsiteY493"/>
                          </a:cxn>
                          <a:cxn ang="0">
                            <a:pos x="connsiteX494" y="connsiteY494"/>
                          </a:cxn>
                          <a:cxn ang="0">
                            <a:pos x="connsiteX495" y="connsiteY495"/>
                          </a:cxn>
                          <a:cxn ang="0">
                            <a:pos x="connsiteX496" y="connsiteY496"/>
                          </a:cxn>
                          <a:cxn ang="0">
                            <a:pos x="connsiteX497" y="connsiteY497"/>
                          </a:cxn>
                          <a:cxn ang="0">
                            <a:pos x="connsiteX498" y="connsiteY498"/>
                          </a:cxn>
                          <a:cxn ang="0">
                            <a:pos x="connsiteX499" y="connsiteY499"/>
                          </a:cxn>
                          <a:cxn ang="0">
                            <a:pos x="connsiteX500" y="connsiteY500"/>
                          </a:cxn>
                          <a:cxn ang="0">
                            <a:pos x="connsiteX501" y="connsiteY501"/>
                          </a:cxn>
                          <a:cxn ang="0">
                            <a:pos x="connsiteX502" y="connsiteY502"/>
                          </a:cxn>
                          <a:cxn ang="0">
                            <a:pos x="connsiteX503" y="connsiteY503"/>
                          </a:cxn>
                          <a:cxn ang="0">
                            <a:pos x="connsiteX504" y="connsiteY504"/>
                          </a:cxn>
                          <a:cxn ang="0">
                            <a:pos x="connsiteX505" y="connsiteY505"/>
                          </a:cxn>
                          <a:cxn ang="0">
                            <a:pos x="connsiteX506" y="connsiteY506"/>
                          </a:cxn>
                          <a:cxn ang="0">
                            <a:pos x="connsiteX507" y="connsiteY507"/>
                          </a:cxn>
                          <a:cxn ang="0">
                            <a:pos x="connsiteX508" y="connsiteY508"/>
                          </a:cxn>
                          <a:cxn ang="0">
                            <a:pos x="connsiteX509" y="connsiteY509"/>
                          </a:cxn>
                          <a:cxn ang="0">
                            <a:pos x="connsiteX510" y="connsiteY510"/>
                          </a:cxn>
                          <a:cxn ang="0">
                            <a:pos x="connsiteX511" y="connsiteY511"/>
                          </a:cxn>
                          <a:cxn ang="0">
                            <a:pos x="connsiteX512" y="connsiteY512"/>
                          </a:cxn>
                          <a:cxn ang="0">
                            <a:pos x="connsiteX513" y="connsiteY513"/>
                          </a:cxn>
                          <a:cxn ang="0">
                            <a:pos x="connsiteX514" y="connsiteY514"/>
                          </a:cxn>
                          <a:cxn ang="0">
                            <a:pos x="connsiteX515" y="connsiteY515"/>
                          </a:cxn>
                          <a:cxn ang="0">
                            <a:pos x="connsiteX516" y="connsiteY516"/>
                          </a:cxn>
                          <a:cxn ang="0">
                            <a:pos x="connsiteX517" y="connsiteY517"/>
                          </a:cxn>
                          <a:cxn ang="0">
                            <a:pos x="connsiteX518" y="connsiteY518"/>
                          </a:cxn>
                          <a:cxn ang="0">
                            <a:pos x="connsiteX519" y="connsiteY519"/>
                          </a:cxn>
                          <a:cxn ang="0">
                            <a:pos x="connsiteX520" y="connsiteY520"/>
                          </a:cxn>
                          <a:cxn ang="0">
                            <a:pos x="connsiteX521" y="connsiteY521"/>
                          </a:cxn>
                          <a:cxn ang="0">
                            <a:pos x="connsiteX522" y="connsiteY522"/>
                          </a:cxn>
                          <a:cxn ang="0">
                            <a:pos x="connsiteX523" y="connsiteY523"/>
                          </a:cxn>
                          <a:cxn ang="0">
                            <a:pos x="connsiteX524" y="connsiteY524"/>
                          </a:cxn>
                          <a:cxn ang="0">
                            <a:pos x="connsiteX525" y="connsiteY525"/>
                          </a:cxn>
                          <a:cxn ang="0">
                            <a:pos x="connsiteX526" y="connsiteY526"/>
                          </a:cxn>
                          <a:cxn ang="0">
                            <a:pos x="connsiteX527" y="connsiteY527"/>
                          </a:cxn>
                          <a:cxn ang="0">
                            <a:pos x="connsiteX528" y="connsiteY528"/>
                          </a:cxn>
                          <a:cxn ang="0">
                            <a:pos x="connsiteX529" y="connsiteY529"/>
                          </a:cxn>
                          <a:cxn ang="0">
                            <a:pos x="connsiteX530" y="connsiteY530"/>
                          </a:cxn>
                          <a:cxn ang="0">
                            <a:pos x="connsiteX531" y="connsiteY531"/>
                          </a:cxn>
                          <a:cxn ang="0">
                            <a:pos x="connsiteX532" y="connsiteY532"/>
                          </a:cxn>
                          <a:cxn ang="0">
                            <a:pos x="connsiteX533" y="connsiteY533"/>
                          </a:cxn>
                          <a:cxn ang="0">
                            <a:pos x="connsiteX534" y="connsiteY534"/>
                          </a:cxn>
                          <a:cxn ang="0">
                            <a:pos x="connsiteX535" y="connsiteY535"/>
                          </a:cxn>
                          <a:cxn ang="0">
                            <a:pos x="connsiteX536" y="connsiteY536"/>
                          </a:cxn>
                          <a:cxn ang="0">
                            <a:pos x="connsiteX537" y="connsiteY537"/>
                          </a:cxn>
                          <a:cxn ang="0">
                            <a:pos x="connsiteX538" y="connsiteY538"/>
                          </a:cxn>
                          <a:cxn ang="0">
                            <a:pos x="connsiteX539" y="connsiteY539"/>
                          </a:cxn>
                          <a:cxn ang="0">
                            <a:pos x="connsiteX540" y="connsiteY540"/>
                          </a:cxn>
                          <a:cxn ang="0">
                            <a:pos x="connsiteX541" y="connsiteY541"/>
                          </a:cxn>
                          <a:cxn ang="0">
                            <a:pos x="connsiteX542" y="connsiteY542"/>
                          </a:cxn>
                          <a:cxn ang="0">
                            <a:pos x="connsiteX543" y="connsiteY543"/>
                          </a:cxn>
                          <a:cxn ang="0">
                            <a:pos x="connsiteX544" y="connsiteY544"/>
                          </a:cxn>
                          <a:cxn ang="0">
                            <a:pos x="connsiteX545" y="connsiteY545"/>
                          </a:cxn>
                          <a:cxn ang="0">
                            <a:pos x="connsiteX546" y="connsiteY546"/>
                          </a:cxn>
                          <a:cxn ang="0">
                            <a:pos x="connsiteX547" y="connsiteY547"/>
                          </a:cxn>
                          <a:cxn ang="0">
                            <a:pos x="connsiteX548" y="connsiteY548"/>
                          </a:cxn>
                          <a:cxn ang="0">
                            <a:pos x="connsiteX549" y="connsiteY549"/>
                          </a:cxn>
                          <a:cxn ang="0">
                            <a:pos x="connsiteX550" y="connsiteY550"/>
                          </a:cxn>
                          <a:cxn ang="0">
                            <a:pos x="connsiteX551" y="connsiteY551"/>
                          </a:cxn>
                          <a:cxn ang="0">
                            <a:pos x="connsiteX552" y="connsiteY552"/>
                          </a:cxn>
                          <a:cxn ang="0">
                            <a:pos x="connsiteX553" y="connsiteY553"/>
                          </a:cxn>
                          <a:cxn ang="0">
                            <a:pos x="connsiteX554" y="connsiteY554"/>
                          </a:cxn>
                          <a:cxn ang="0">
                            <a:pos x="connsiteX555" y="connsiteY555"/>
                          </a:cxn>
                          <a:cxn ang="0">
                            <a:pos x="connsiteX556" y="connsiteY556"/>
                          </a:cxn>
                          <a:cxn ang="0">
                            <a:pos x="connsiteX557" y="connsiteY557"/>
                          </a:cxn>
                          <a:cxn ang="0">
                            <a:pos x="connsiteX558" y="connsiteY558"/>
                          </a:cxn>
                          <a:cxn ang="0">
                            <a:pos x="connsiteX559" y="connsiteY559"/>
                          </a:cxn>
                          <a:cxn ang="0">
                            <a:pos x="connsiteX560" y="connsiteY560"/>
                          </a:cxn>
                          <a:cxn ang="0">
                            <a:pos x="connsiteX561" y="connsiteY561"/>
                          </a:cxn>
                          <a:cxn ang="0">
                            <a:pos x="connsiteX562" y="connsiteY562"/>
                          </a:cxn>
                          <a:cxn ang="0">
                            <a:pos x="connsiteX563" y="connsiteY563"/>
                          </a:cxn>
                          <a:cxn ang="0">
                            <a:pos x="connsiteX564" y="connsiteY564"/>
                          </a:cxn>
                          <a:cxn ang="0">
                            <a:pos x="connsiteX565" y="connsiteY565"/>
                          </a:cxn>
                          <a:cxn ang="0">
                            <a:pos x="connsiteX566" y="connsiteY566"/>
                          </a:cxn>
                          <a:cxn ang="0">
                            <a:pos x="connsiteX567" y="connsiteY567"/>
                          </a:cxn>
                          <a:cxn ang="0">
                            <a:pos x="connsiteX568" y="connsiteY568"/>
                          </a:cxn>
                          <a:cxn ang="0">
                            <a:pos x="connsiteX569" y="connsiteY569"/>
                          </a:cxn>
                          <a:cxn ang="0">
                            <a:pos x="connsiteX570" y="connsiteY570"/>
                          </a:cxn>
                          <a:cxn ang="0">
                            <a:pos x="connsiteX571" y="connsiteY571"/>
                          </a:cxn>
                          <a:cxn ang="0">
                            <a:pos x="connsiteX572" y="connsiteY572"/>
                          </a:cxn>
                          <a:cxn ang="0">
                            <a:pos x="connsiteX573" y="connsiteY573"/>
                          </a:cxn>
                          <a:cxn ang="0">
                            <a:pos x="connsiteX574" y="connsiteY574"/>
                          </a:cxn>
                          <a:cxn ang="0">
                            <a:pos x="connsiteX575" y="connsiteY575"/>
                          </a:cxn>
                          <a:cxn ang="0">
                            <a:pos x="connsiteX576" y="connsiteY576"/>
                          </a:cxn>
                          <a:cxn ang="0">
                            <a:pos x="connsiteX577" y="connsiteY577"/>
                          </a:cxn>
                          <a:cxn ang="0">
                            <a:pos x="connsiteX578" y="connsiteY578"/>
                          </a:cxn>
                          <a:cxn ang="0">
                            <a:pos x="connsiteX579" y="connsiteY579"/>
                          </a:cxn>
                          <a:cxn ang="0">
                            <a:pos x="connsiteX580" y="connsiteY580"/>
                          </a:cxn>
                          <a:cxn ang="0">
                            <a:pos x="connsiteX581" y="connsiteY581"/>
                          </a:cxn>
                          <a:cxn ang="0">
                            <a:pos x="connsiteX582" y="connsiteY582"/>
                          </a:cxn>
                          <a:cxn ang="0">
                            <a:pos x="connsiteX583" y="connsiteY583"/>
                          </a:cxn>
                          <a:cxn ang="0">
                            <a:pos x="connsiteX584" y="connsiteY584"/>
                          </a:cxn>
                          <a:cxn ang="0">
                            <a:pos x="connsiteX585" y="connsiteY585"/>
                          </a:cxn>
                          <a:cxn ang="0">
                            <a:pos x="connsiteX586" y="connsiteY586"/>
                          </a:cxn>
                          <a:cxn ang="0">
                            <a:pos x="connsiteX587" y="connsiteY587"/>
                          </a:cxn>
                          <a:cxn ang="0">
                            <a:pos x="connsiteX588" y="connsiteY588"/>
                          </a:cxn>
                          <a:cxn ang="0">
                            <a:pos x="connsiteX589" y="connsiteY589"/>
                          </a:cxn>
                          <a:cxn ang="0">
                            <a:pos x="connsiteX590" y="connsiteY590"/>
                          </a:cxn>
                          <a:cxn ang="0">
                            <a:pos x="connsiteX591" y="connsiteY591"/>
                          </a:cxn>
                          <a:cxn ang="0">
                            <a:pos x="connsiteX592" y="connsiteY592"/>
                          </a:cxn>
                          <a:cxn ang="0">
                            <a:pos x="connsiteX593" y="connsiteY593"/>
                          </a:cxn>
                          <a:cxn ang="0">
                            <a:pos x="connsiteX594" y="connsiteY594"/>
                          </a:cxn>
                          <a:cxn ang="0">
                            <a:pos x="connsiteX595" y="connsiteY595"/>
                          </a:cxn>
                          <a:cxn ang="0">
                            <a:pos x="connsiteX596" y="connsiteY596"/>
                          </a:cxn>
                          <a:cxn ang="0">
                            <a:pos x="connsiteX597" y="connsiteY597"/>
                          </a:cxn>
                          <a:cxn ang="0">
                            <a:pos x="connsiteX598" y="connsiteY598"/>
                          </a:cxn>
                          <a:cxn ang="0">
                            <a:pos x="connsiteX599" y="connsiteY599"/>
                          </a:cxn>
                          <a:cxn ang="0">
                            <a:pos x="connsiteX600" y="connsiteY600"/>
                          </a:cxn>
                          <a:cxn ang="0">
                            <a:pos x="connsiteX601" y="connsiteY601"/>
                          </a:cxn>
                          <a:cxn ang="0">
                            <a:pos x="connsiteX602" y="connsiteY602"/>
                          </a:cxn>
                          <a:cxn ang="0">
                            <a:pos x="connsiteX603" y="connsiteY603"/>
                          </a:cxn>
                          <a:cxn ang="0">
                            <a:pos x="connsiteX604" y="connsiteY604"/>
                          </a:cxn>
                          <a:cxn ang="0">
                            <a:pos x="connsiteX605" y="connsiteY605"/>
                          </a:cxn>
                          <a:cxn ang="0">
                            <a:pos x="connsiteX606" y="connsiteY606"/>
                          </a:cxn>
                          <a:cxn ang="0">
                            <a:pos x="connsiteX607" y="connsiteY607"/>
                          </a:cxn>
                          <a:cxn ang="0">
                            <a:pos x="connsiteX608" y="connsiteY608"/>
                          </a:cxn>
                          <a:cxn ang="0">
                            <a:pos x="connsiteX609" y="connsiteY609"/>
                          </a:cxn>
                          <a:cxn ang="0">
                            <a:pos x="connsiteX610" y="connsiteY610"/>
                          </a:cxn>
                          <a:cxn ang="0">
                            <a:pos x="connsiteX611" y="connsiteY611"/>
                          </a:cxn>
                          <a:cxn ang="0">
                            <a:pos x="connsiteX612" y="connsiteY612"/>
                          </a:cxn>
                          <a:cxn ang="0">
                            <a:pos x="connsiteX613" y="connsiteY613"/>
                          </a:cxn>
                          <a:cxn ang="0">
                            <a:pos x="connsiteX614" y="connsiteY614"/>
                          </a:cxn>
                          <a:cxn ang="0">
                            <a:pos x="connsiteX615" y="connsiteY615"/>
                          </a:cxn>
                          <a:cxn ang="0">
                            <a:pos x="connsiteX616" y="connsiteY616"/>
                          </a:cxn>
                          <a:cxn ang="0">
                            <a:pos x="connsiteX617" y="connsiteY617"/>
                          </a:cxn>
                          <a:cxn ang="0">
                            <a:pos x="connsiteX618" y="connsiteY618"/>
                          </a:cxn>
                          <a:cxn ang="0">
                            <a:pos x="connsiteX619" y="connsiteY619"/>
                          </a:cxn>
                          <a:cxn ang="0">
                            <a:pos x="connsiteX620" y="connsiteY620"/>
                          </a:cxn>
                          <a:cxn ang="0">
                            <a:pos x="connsiteX621" y="connsiteY621"/>
                          </a:cxn>
                          <a:cxn ang="0">
                            <a:pos x="connsiteX622" y="connsiteY622"/>
                          </a:cxn>
                          <a:cxn ang="0">
                            <a:pos x="connsiteX623" y="connsiteY623"/>
                          </a:cxn>
                          <a:cxn ang="0">
                            <a:pos x="connsiteX624" y="connsiteY624"/>
                          </a:cxn>
                          <a:cxn ang="0">
                            <a:pos x="connsiteX625" y="connsiteY625"/>
                          </a:cxn>
                          <a:cxn ang="0">
                            <a:pos x="connsiteX626" y="connsiteY626"/>
                          </a:cxn>
                          <a:cxn ang="0">
                            <a:pos x="connsiteX627" y="connsiteY627"/>
                          </a:cxn>
                          <a:cxn ang="0">
                            <a:pos x="connsiteX628" y="connsiteY628"/>
                          </a:cxn>
                          <a:cxn ang="0">
                            <a:pos x="connsiteX629" y="connsiteY629"/>
                          </a:cxn>
                          <a:cxn ang="0">
                            <a:pos x="connsiteX630" y="connsiteY630"/>
                          </a:cxn>
                          <a:cxn ang="0">
                            <a:pos x="connsiteX631" y="connsiteY631"/>
                          </a:cxn>
                          <a:cxn ang="0">
                            <a:pos x="connsiteX632" y="connsiteY632"/>
                          </a:cxn>
                          <a:cxn ang="0">
                            <a:pos x="connsiteX633" y="connsiteY633"/>
                          </a:cxn>
                          <a:cxn ang="0">
                            <a:pos x="connsiteX634" y="connsiteY634"/>
                          </a:cxn>
                          <a:cxn ang="0">
                            <a:pos x="connsiteX635" y="connsiteY635"/>
                          </a:cxn>
                          <a:cxn ang="0">
                            <a:pos x="connsiteX636" y="connsiteY636"/>
                          </a:cxn>
                          <a:cxn ang="0">
                            <a:pos x="connsiteX637" y="connsiteY637"/>
                          </a:cxn>
                          <a:cxn ang="0">
                            <a:pos x="connsiteX638" y="connsiteY638"/>
                          </a:cxn>
                          <a:cxn ang="0">
                            <a:pos x="connsiteX639" y="connsiteY639"/>
                          </a:cxn>
                          <a:cxn ang="0">
                            <a:pos x="connsiteX640" y="connsiteY640"/>
                          </a:cxn>
                          <a:cxn ang="0">
                            <a:pos x="connsiteX641" y="connsiteY641"/>
                          </a:cxn>
                          <a:cxn ang="0">
                            <a:pos x="connsiteX642" y="connsiteY642"/>
                          </a:cxn>
                          <a:cxn ang="0">
                            <a:pos x="connsiteX643" y="connsiteY643"/>
                          </a:cxn>
                          <a:cxn ang="0">
                            <a:pos x="connsiteX644" y="connsiteY644"/>
                          </a:cxn>
                          <a:cxn ang="0">
                            <a:pos x="connsiteX645" y="connsiteY645"/>
                          </a:cxn>
                          <a:cxn ang="0">
                            <a:pos x="connsiteX646" y="connsiteY646"/>
                          </a:cxn>
                          <a:cxn ang="0">
                            <a:pos x="connsiteX647" y="connsiteY647"/>
                          </a:cxn>
                          <a:cxn ang="0">
                            <a:pos x="connsiteX648" y="connsiteY648"/>
                          </a:cxn>
                          <a:cxn ang="0">
                            <a:pos x="connsiteX649" y="connsiteY649"/>
                          </a:cxn>
                          <a:cxn ang="0">
                            <a:pos x="connsiteX650" y="connsiteY650"/>
                          </a:cxn>
                          <a:cxn ang="0">
                            <a:pos x="connsiteX651" y="connsiteY651"/>
                          </a:cxn>
                          <a:cxn ang="0">
                            <a:pos x="connsiteX652" y="connsiteY652"/>
                          </a:cxn>
                          <a:cxn ang="0">
                            <a:pos x="connsiteX653" y="connsiteY653"/>
                          </a:cxn>
                          <a:cxn ang="0">
                            <a:pos x="connsiteX654" y="connsiteY654"/>
                          </a:cxn>
                          <a:cxn ang="0">
                            <a:pos x="connsiteX655" y="connsiteY655"/>
                          </a:cxn>
                          <a:cxn ang="0">
                            <a:pos x="connsiteX656" y="connsiteY656"/>
                          </a:cxn>
                          <a:cxn ang="0">
                            <a:pos x="connsiteX657" y="connsiteY657"/>
                          </a:cxn>
                          <a:cxn ang="0">
                            <a:pos x="connsiteX658" y="connsiteY658"/>
                          </a:cxn>
                          <a:cxn ang="0">
                            <a:pos x="connsiteX659" y="connsiteY659"/>
                          </a:cxn>
                          <a:cxn ang="0">
                            <a:pos x="connsiteX660" y="connsiteY660"/>
                          </a:cxn>
                          <a:cxn ang="0">
                            <a:pos x="connsiteX661" y="connsiteY661"/>
                          </a:cxn>
                          <a:cxn ang="0">
                            <a:pos x="connsiteX662" y="connsiteY662"/>
                          </a:cxn>
                          <a:cxn ang="0">
                            <a:pos x="connsiteX663" y="connsiteY663"/>
                          </a:cxn>
                          <a:cxn ang="0">
                            <a:pos x="connsiteX664" y="connsiteY664"/>
                          </a:cxn>
                          <a:cxn ang="0">
                            <a:pos x="connsiteX665" y="connsiteY665"/>
                          </a:cxn>
                          <a:cxn ang="0">
                            <a:pos x="connsiteX666" y="connsiteY666"/>
                          </a:cxn>
                          <a:cxn ang="0">
                            <a:pos x="connsiteX667" y="connsiteY667"/>
                          </a:cxn>
                          <a:cxn ang="0">
                            <a:pos x="connsiteX668" y="connsiteY668"/>
                          </a:cxn>
                          <a:cxn ang="0">
                            <a:pos x="connsiteX669" y="connsiteY669"/>
                          </a:cxn>
                          <a:cxn ang="0">
                            <a:pos x="connsiteX670" y="connsiteY670"/>
                          </a:cxn>
                          <a:cxn ang="0">
                            <a:pos x="connsiteX671" y="connsiteY671"/>
                          </a:cxn>
                          <a:cxn ang="0">
                            <a:pos x="connsiteX672" y="connsiteY672"/>
                          </a:cxn>
                          <a:cxn ang="0">
                            <a:pos x="connsiteX673" y="connsiteY673"/>
                          </a:cxn>
                          <a:cxn ang="0">
                            <a:pos x="connsiteX674" y="connsiteY674"/>
                          </a:cxn>
                          <a:cxn ang="0">
                            <a:pos x="connsiteX675" y="connsiteY675"/>
                          </a:cxn>
                          <a:cxn ang="0">
                            <a:pos x="connsiteX676" y="connsiteY676"/>
                          </a:cxn>
                          <a:cxn ang="0">
                            <a:pos x="connsiteX677" y="connsiteY677"/>
                          </a:cxn>
                          <a:cxn ang="0">
                            <a:pos x="connsiteX678" y="connsiteY678"/>
                          </a:cxn>
                          <a:cxn ang="0">
                            <a:pos x="connsiteX679" y="connsiteY679"/>
                          </a:cxn>
                          <a:cxn ang="0">
                            <a:pos x="connsiteX680" y="connsiteY680"/>
                          </a:cxn>
                          <a:cxn ang="0">
                            <a:pos x="connsiteX681" y="connsiteY681"/>
                          </a:cxn>
                          <a:cxn ang="0">
                            <a:pos x="connsiteX682" y="connsiteY682"/>
                          </a:cxn>
                          <a:cxn ang="0">
                            <a:pos x="connsiteX683" y="connsiteY683"/>
                          </a:cxn>
                          <a:cxn ang="0">
                            <a:pos x="connsiteX684" y="connsiteY684"/>
                          </a:cxn>
                          <a:cxn ang="0">
                            <a:pos x="connsiteX685" y="connsiteY685"/>
                          </a:cxn>
                          <a:cxn ang="0">
                            <a:pos x="connsiteX686" y="connsiteY686"/>
                          </a:cxn>
                          <a:cxn ang="0">
                            <a:pos x="connsiteX687" y="connsiteY687"/>
                          </a:cxn>
                          <a:cxn ang="0">
                            <a:pos x="connsiteX688" y="connsiteY688"/>
                          </a:cxn>
                          <a:cxn ang="0">
                            <a:pos x="connsiteX689" y="connsiteY689"/>
                          </a:cxn>
                          <a:cxn ang="0">
                            <a:pos x="connsiteX690" y="connsiteY690"/>
                          </a:cxn>
                          <a:cxn ang="0">
                            <a:pos x="connsiteX691" y="connsiteY691"/>
                          </a:cxn>
                          <a:cxn ang="0">
                            <a:pos x="connsiteX692" y="connsiteY692"/>
                          </a:cxn>
                          <a:cxn ang="0">
                            <a:pos x="connsiteX693" y="connsiteY693"/>
                          </a:cxn>
                          <a:cxn ang="0">
                            <a:pos x="connsiteX694" y="connsiteY694"/>
                          </a:cxn>
                          <a:cxn ang="0">
                            <a:pos x="connsiteX695" y="connsiteY695"/>
                          </a:cxn>
                          <a:cxn ang="0">
                            <a:pos x="connsiteX696" y="connsiteY696"/>
                          </a:cxn>
                          <a:cxn ang="0">
                            <a:pos x="connsiteX697" y="connsiteY697"/>
                          </a:cxn>
                          <a:cxn ang="0">
                            <a:pos x="connsiteX698" y="connsiteY698"/>
                          </a:cxn>
                          <a:cxn ang="0">
                            <a:pos x="connsiteX699" y="connsiteY699"/>
                          </a:cxn>
                          <a:cxn ang="0">
                            <a:pos x="connsiteX700" y="connsiteY700"/>
                          </a:cxn>
                          <a:cxn ang="0">
                            <a:pos x="connsiteX701" y="connsiteY701"/>
                          </a:cxn>
                          <a:cxn ang="0">
                            <a:pos x="connsiteX702" y="connsiteY702"/>
                          </a:cxn>
                          <a:cxn ang="0">
                            <a:pos x="connsiteX703" y="connsiteY703"/>
                          </a:cxn>
                          <a:cxn ang="0">
                            <a:pos x="connsiteX704" y="connsiteY704"/>
                          </a:cxn>
                          <a:cxn ang="0">
                            <a:pos x="connsiteX705" y="connsiteY705"/>
                          </a:cxn>
                          <a:cxn ang="0">
                            <a:pos x="connsiteX706" y="connsiteY706"/>
                          </a:cxn>
                          <a:cxn ang="0">
                            <a:pos x="connsiteX707" y="connsiteY707"/>
                          </a:cxn>
                          <a:cxn ang="0">
                            <a:pos x="connsiteX708" y="connsiteY708"/>
                          </a:cxn>
                          <a:cxn ang="0">
                            <a:pos x="connsiteX709" y="connsiteY709"/>
                          </a:cxn>
                          <a:cxn ang="0">
                            <a:pos x="connsiteX710" y="connsiteY710"/>
                          </a:cxn>
                          <a:cxn ang="0">
                            <a:pos x="connsiteX711" y="connsiteY711"/>
                          </a:cxn>
                          <a:cxn ang="0">
                            <a:pos x="connsiteX712" y="connsiteY712"/>
                          </a:cxn>
                          <a:cxn ang="0">
                            <a:pos x="connsiteX713" y="connsiteY713"/>
                          </a:cxn>
                          <a:cxn ang="0">
                            <a:pos x="connsiteX714" y="connsiteY714"/>
                          </a:cxn>
                          <a:cxn ang="0">
                            <a:pos x="connsiteX715" y="connsiteY715"/>
                          </a:cxn>
                          <a:cxn ang="0">
                            <a:pos x="connsiteX716" y="connsiteY716"/>
                          </a:cxn>
                          <a:cxn ang="0">
                            <a:pos x="connsiteX717" y="connsiteY717"/>
                          </a:cxn>
                          <a:cxn ang="0">
                            <a:pos x="connsiteX718" y="connsiteY718"/>
                          </a:cxn>
                          <a:cxn ang="0">
                            <a:pos x="connsiteX719" y="connsiteY719"/>
                          </a:cxn>
                          <a:cxn ang="0">
                            <a:pos x="connsiteX720" y="connsiteY720"/>
                          </a:cxn>
                          <a:cxn ang="0">
                            <a:pos x="connsiteX721" y="connsiteY721"/>
                          </a:cxn>
                          <a:cxn ang="0">
                            <a:pos x="connsiteX722" y="connsiteY722"/>
                          </a:cxn>
                          <a:cxn ang="0">
                            <a:pos x="connsiteX723" y="connsiteY723"/>
                          </a:cxn>
                          <a:cxn ang="0">
                            <a:pos x="connsiteX724" y="connsiteY724"/>
                          </a:cxn>
                          <a:cxn ang="0">
                            <a:pos x="connsiteX725" y="connsiteY725"/>
                          </a:cxn>
                          <a:cxn ang="0">
                            <a:pos x="connsiteX726" y="connsiteY726"/>
                          </a:cxn>
                          <a:cxn ang="0">
                            <a:pos x="connsiteX727" y="connsiteY727"/>
                          </a:cxn>
                          <a:cxn ang="0">
                            <a:pos x="connsiteX728" y="connsiteY728"/>
                          </a:cxn>
                          <a:cxn ang="0">
                            <a:pos x="connsiteX729" y="connsiteY729"/>
                          </a:cxn>
                          <a:cxn ang="0">
                            <a:pos x="connsiteX730" y="connsiteY730"/>
                          </a:cxn>
                          <a:cxn ang="0">
                            <a:pos x="connsiteX731" y="connsiteY731"/>
                          </a:cxn>
                          <a:cxn ang="0">
                            <a:pos x="connsiteX732" y="connsiteY732"/>
                          </a:cxn>
                          <a:cxn ang="0">
                            <a:pos x="connsiteX733" y="connsiteY733"/>
                          </a:cxn>
                          <a:cxn ang="0">
                            <a:pos x="connsiteX734" y="connsiteY734"/>
                          </a:cxn>
                          <a:cxn ang="0">
                            <a:pos x="connsiteX735" y="connsiteY735"/>
                          </a:cxn>
                          <a:cxn ang="0">
                            <a:pos x="connsiteX736" y="connsiteY736"/>
                          </a:cxn>
                          <a:cxn ang="0">
                            <a:pos x="connsiteX737" y="connsiteY737"/>
                          </a:cxn>
                          <a:cxn ang="0">
                            <a:pos x="connsiteX738" y="connsiteY738"/>
                          </a:cxn>
                          <a:cxn ang="0">
                            <a:pos x="connsiteX739" y="connsiteY739"/>
                          </a:cxn>
                          <a:cxn ang="0">
                            <a:pos x="connsiteX740" y="connsiteY740"/>
                          </a:cxn>
                          <a:cxn ang="0">
                            <a:pos x="connsiteX741" y="connsiteY741"/>
                          </a:cxn>
                          <a:cxn ang="0">
                            <a:pos x="connsiteX742" y="connsiteY742"/>
                          </a:cxn>
                          <a:cxn ang="0">
                            <a:pos x="connsiteX743" y="connsiteY743"/>
                          </a:cxn>
                          <a:cxn ang="0">
                            <a:pos x="connsiteX744" y="connsiteY744"/>
                          </a:cxn>
                          <a:cxn ang="0">
                            <a:pos x="connsiteX745" y="connsiteY745"/>
                          </a:cxn>
                          <a:cxn ang="0">
                            <a:pos x="connsiteX746" y="connsiteY746"/>
                          </a:cxn>
                          <a:cxn ang="0">
                            <a:pos x="connsiteX747" y="connsiteY747"/>
                          </a:cxn>
                          <a:cxn ang="0">
                            <a:pos x="connsiteX748" y="connsiteY748"/>
                          </a:cxn>
                          <a:cxn ang="0">
                            <a:pos x="connsiteX749" y="connsiteY749"/>
                          </a:cxn>
                          <a:cxn ang="0">
                            <a:pos x="connsiteX750" y="connsiteY750"/>
                          </a:cxn>
                          <a:cxn ang="0">
                            <a:pos x="connsiteX751" y="connsiteY751"/>
                          </a:cxn>
                          <a:cxn ang="0">
                            <a:pos x="connsiteX752" y="connsiteY752"/>
                          </a:cxn>
                          <a:cxn ang="0">
                            <a:pos x="connsiteX753" y="connsiteY753"/>
                          </a:cxn>
                          <a:cxn ang="0">
                            <a:pos x="connsiteX754" y="connsiteY754"/>
                          </a:cxn>
                          <a:cxn ang="0">
                            <a:pos x="connsiteX755" y="connsiteY755"/>
                          </a:cxn>
                          <a:cxn ang="0">
                            <a:pos x="connsiteX756" y="connsiteY756"/>
                          </a:cxn>
                          <a:cxn ang="0">
                            <a:pos x="connsiteX757" y="connsiteY757"/>
                          </a:cxn>
                          <a:cxn ang="0">
                            <a:pos x="connsiteX758" y="connsiteY758"/>
                          </a:cxn>
                          <a:cxn ang="0">
                            <a:pos x="connsiteX759" y="connsiteY759"/>
                          </a:cxn>
                          <a:cxn ang="0">
                            <a:pos x="connsiteX760" y="connsiteY760"/>
                          </a:cxn>
                          <a:cxn ang="0">
                            <a:pos x="connsiteX761" y="connsiteY761"/>
                          </a:cxn>
                          <a:cxn ang="0">
                            <a:pos x="connsiteX762" y="connsiteY762"/>
                          </a:cxn>
                          <a:cxn ang="0">
                            <a:pos x="connsiteX763" y="connsiteY763"/>
                          </a:cxn>
                          <a:cxn ang="0">
                            <a:pos x="connsiteX764" y="connsiteY764"/>
                          </a:cxn>
                          <a:cxn ang="0">
                            <a:pos x="connsiteX765" y="connsiteY765"/>
                          </a:cxn>
                          <a:cxn ang="0">
                            <a:pos x="connsiteX766" y="connsiteY766"/>
                          </a:cxn>
                          <a:cxn ang="0">
                            <a:pos x="connsiteX767" y="connsiteY767"/>
                          </a:cxn>
                          <a:cxn ang="0">
                            <a:pos x="connsiteX768" y="connsiteY768"/>
                          </a:cxn>
                          <a:cxn ang="0">
                            <a:pos x="connsiteX769" y="connsiteY769"/>
                          </a:cxn>
                          <a:cxn ang="0">
                            <a:pos x="connsiteX770" y="connsiteY770"/>
                          </a:cxn>
                          <a:cxn ang="0">
                            <a:pos x="connsiteX771" y="connsiteY771"/>
                          </a:cxn>
                          <a:cxn ang="0">
                            <a:pos x="connsiteX772" y="connsiteY772"/>
                          </a:cxn>
                          <a:cxn ang="0">
                            <a:pos x="connsiteX773" y="connsiteY773"/>
                          </a:cxn>
                          <a:cxn ang="0">
                            <a:pos x="connsiteX774" y="connsiteY774"/>
                          </a:cxn>
                        </a:cxnLst>
                        <a:rect l="l" t="t" r="r" b="b"/>
                        <a:pathLst>
                          <a:path w="6520931" h="2628352">
                            <a:moveTo>
                              <a:pt x="6343270" y="946198"/>
                            </a:moveTo>
                            <a:cubicBezTo>
                              <a:pt x="6340384" y="947228"/>
                              <a:pt x="6338570" y="948630"/>
                              <a:pt x="6338447" y="950321"/>
                            </a:cubicBezTo>
                            <a:cubicBezTo>
                              <a:pt x="6337829" y="959969"/>
                              <a:pt x="6349702" y="960628"/>
                              <a:pt x="6356794" y="971637"/>
                            </a:cubicBezTo>
                            <a:cubicBezTo>
                              <a:pt x="6363885" y="982645"/>
                              <a:pt x="6347311" y="988748"/>
                              <a:pt x="6350857" y="1001117"/>
                            </a:cubicBezTo>
                            <a:cubicBezTo>
                              <a:pt x="6354402" y="1013486"/>
                              <a:pt x="6333086" y="994932"/>
                              <a:pt x="6325418" y="988088"/>
                            </a:cubicBezTo>
                            <a:cubicBezTo>
                              <a:pt x="6317749" y="981244"/>
                              <a:pt x="6321295" y="954444"/>
                              <a:pt x="6323644" y="940755"/>
                            </a:cubicBezTo>
                            <a:cubicBezTo>
                              <a:pt x="6323727" y="939811"/>
                              <a:pt x="6323727" y="938855"/>
                              <a:pt x="6323644" y="937910"/>
                            </a:cubicBezTo>
                            <a:cubicBezTo>
                              <a:pt x="6310162" y="930472"/>
                              <a:pt x="6300515" y="917584"/>
                              <a:pt x="6297175" y="902535"/>
                            </a:cubicBezTo>
                            <a:lnTo>
                              <a:pt x="6295855" y="901463"/>
                            </a:lnTo>
                            <a:cubicBezTo>
                              <a:pt x="6283116" y="899236"/>
                              <a:pt x="6270127" y="898370"/>
                              <a:pt x="6259326" y="897092"/>
                            </a:cubicBezTo>
                            <a:cubicBezTo>
                              <a:pt x="6228814" y="893505"/>
                              <a:pt x="6196696" y="892722"/>
                              <a:pt x="6167216" y="883074"/>
                            </a:cubicBezTo>
                            <a:cubicBezTo>
                              <a:pt x="6135221" y="872560"/>
                              <a:pt x="6130645" y="837226"/>
                              <a:pt x="6143591" y="814260"/>
                            </a:cubicBezTo>
                            <a:cubicBezTo>
                              <a:pt x="6130357" y="809807"/>
                              <a:pt x="6115926" y="804818"/>
                              <a:pt x="6108050" y="795294"/>
                            </a:cubicBezTo>
                            <a:cubicBezTo>
                              <a:pt x="6092630" y="776823"/>
                              <a:pt x="6025095" y="743880"/>
                              <a:pt x="5996110" y="741695"/>
                            </a:cubicBezTo>
                            <a:cubicBezTo>
                              <a:pt x="5973351" y="740087"/>
                              <a:pt x="5972402" y="728377"/>
                              <a:pt x="5966218" y="724708"/>
                            </a:cubicBezTo>
                            <a:cubicBezTo>
                              <a:pt x="5961930" y="727148"/>
                              <a:pt x="5957230" y="728835"/>
                              <a:pt x="5952365" y="729697"/>
                            </a:cubicBezTo>
                            <a:cubicBezTo>
                              <a:pt x="5895549" y="740293"/>
                              <a:pt x="5837785" y="748580"/>
                              <a:pt x="5782784" y="725202"/>
                            </a:cubicBezTo>
                            <a:cubicBezTo>
                              <a:pt x="5771032" y="720514"/>
                              <a:pt x="5761303" y="711922"/>
                              <a:pt x="5755159" y="700876"/>
                            </a:cubicBezTo>
                            <a:cubicBezTo>
                              <a:pt x="5745676" y="699021"/>
                              <a:pt x="5738378" y="698856"/>
                              <a:pt x="5736069" y="701948"/>
                            </a:cubicBezTo>
                            <a:cubicBezTo>
                              <a:pt x="5727823" y="712916"/>
                              <a:pt x="5731369" y="728666"/>
                              <a:pt x="5723041" y="731428"/>
                            </a:cubicBezTo>
                            <a:cubicBezTo>
                              <a:pt x="5714712" y="734191"/>
                              <a:pt x="5723041" y="747920"/>
                              <a:pt x="5742625" y="768536"/>
                            </a:cubicBezTo>
                            <a:cubicBezTo>
                              <a:pt x="5762210" y="789151"/>
                              <a:pt x="5750294" y="804901"/>
                              <a:pt x="5732524" y="813889"/>
                            </a:cubicBezTo>
                            <a:cubicBezTo>
                              <a:pt x="5714753" y="822877"/>
                              <a:pt x="5686305" y="805643"/>
                              <a:pt x="5677440" y="789893"/>
                            </a:cubicBezTo>
                            <a:cubicBezTo>
                              <a:pt x="5668575" y="774143"/>
                              <a:pt x="5645157" y="780657"/>
                              <a:pt x="5638683" y="761320"/>
                            </a:cubicBezTo>
                            <a:cubicBezTo>
                              <a:pt x="5595391" y="783379"/>
                              <a:pt x="5544142" y="779668"/>
                              <a:pt x="5498500" y="763464"/>
                            </a:cubicBezTo>
                            <a:cubicBezTo>
                              <a:pt x="5478255" y="756249"/>
                              <a:pt x="5455208" y="748704"/>
                              <a:pt x="5433273" y="738726"/>
                            </a:cubicBezTo>
                            <a:cubicBezTo>
                              <a:pt x="5404412" y="740705"/>
                              <a:pt x="5373778" y="744993"/>
                              <a:pt x="5368211" y="749240"/>
                            </a:cubicBezTo>
                            <a:cubicBezTo>
                              <a:pt x="5357533" y="757486"/>
                              <a:pt x="5365243" y="789728"/>
                              <a:pt x="5359965" y="792490"/>
                            </a:cubicBezTo>
                            <a:cubicBezTo>
                              <a:pt x="5354687" y="795253"/>
                              <a:pt x="5349328" y="755383"/>
                              <a:pt x="5349328" y="747879"/>
                            </a:cubicBezTo>
                            <a:cubicBezTo>
                              <a:pt x="5349328" y="740375"/>
                              <a:pt x="5336959" y="734850"/>
                              <a:pt x="5318487" y="734850"/>
                            </a:cubicBezTo>
                            <a:cubicBezTo>
                              <a:pt x="5300016" y="734850"/>
                              <a:pt x="5289626" y="734149"/>
                              <a:pt x="5297171" y="725244"/>
                            </a:cubicBezTo>
                            <a:cubicBezTo>
                              <a:pt x="5304717" y="716338"/>
                              <a:pt x="5290080" y="707391"/>
                              <a:pt x="5304263" y="695764"/>
                            </a:cubicBezTo>
                            <a:cubicBezTo>
                              <a:pt x="5307809" y="692878"/>
                              <a:pt x="5307974" y="688425"/>
                              <a:pt x="5305624" y="683147"/>
                            </a:cubicBezTo>
                            <a:cubicBezTo>
                              <a:pt x="5278164" y="667933"/>
                              <a:pt x="5253385" y="661378"/>
                              <a:pt x="5221184" y="657172"/>
                            </a:cubicBezTo>
                            <a:cubicBezTo>
                              <a:pt x="5173027" y="650946"/>
                              <a:pt x="5125240" y="643319"/>
                              <a:pt x="5077949" y="633094"/>
                            </a:cubicBezTo>
                            <a:cubicBezTo>
                              <a:pt x="5052715" y="638206"/>
                              <a:pt x="5013753" y="636145"/>
                              <a:pt x="4993962" y="636763"/>
                            </a:cubicBezTo>
                            <a:cubicBezTo>
                              <a:pt x="4971450" y="637464"/>
                              <a:pt x="4989839" y="626455"/>
                              <a:pt x="4983325" y="614128"/>
                            </a:cubicBezTo>
                            <a:cubicBezTo>
                              <a:pt x="4981016" y="610561"/>
                              <a:pt x="4977883" y="607572"/>
                              <a:pt x="4974254" y="605387"/>
                            </a:cubicBezTo>
                            <a:cubicBezTo>
                              <a:pt x="4967781" y="603284"/>
                              <a:pt x="4961308" y="601264"/>
                              <a:pt x="4954876" y="598996"/>
                            </a:cubicBezTo>
                            <a:cubicBezTo>
                              <a:pt x="4951165" y="597710"/>
                              <a:pt x="4947619" y="595961"/>
                              <a:pt x="4944362" y="593801"/>
                            </a:cubicBezTo>
                            <a:cubicBezTo>
                              <a:pt x="4938837" y="593224"/>
                              <a:pt x="4934467" y="594007"/>
                              <a:pt x="4932942" y="596976"/>
                            </a:cubicBezTo>
                            <a:cubicBezTo>
                              <a:pt x="4927623" y="607283"/>
                              <a:pt x="4917562" y="596976"/>
                              <a:pt x="4917562" y="589430"/>
                            </a:cubicBezTo>
                            <a:cubicBezTo>
                              <a:pt x="4917562" y="581885"/>
                              <a:pt x="4881404" y="566795"/>
                              <a:pt x="4867220" y="570217"/>
                            </a:cubicBezTo>
                            <a:cubicBezTo>
                              <a:pt x="4853037" y="573639"/>
                              <a:pt x="4846604" y="555127"/>
                              <a:pt x="4863097" y="555127"/>
                            </a:cubicBezTo>
                            <a:cubicBezTo>
                              <a:pt x="4879589" y="555127"/>
                              <a:pt x="4907832" y="559250"/>
                              <a:pt x="4895793" y="537563"/>
                            </a:cubicBezTo>
                            <a:cubicBezTo>
                              <a:pt x="4885197" y="538466"/>
                              <a:pt x="4874559" y="537925"/>
                              <a:pt x="4864127" y="535955"/>
                            </a:cubicBezTo>
                            <a:cubicBezTo>
                              <a:pt x="4853820" y="540696"/>
                              <a:pt x="4838936" y="547582"/>
                              <a:pt x="4833989" y="549437"/>
                            </a:cubicBezTo>
                            <a:cubicBezTo>
                              <a:pt x="4803766" y="560817"/>
                              <a:pt x="4783522" y="537356"/>
                              <a:pt x="4781337" y="511464"/>
                            </a:cubicBezTo>
                            <a:cubicBezTo>
                              <a:pt x="4776389" y="511187"/>
                              <a:pt x="4771441" y="511575"/>
                              <a:pt x="4766576" y="512618"/>
                            </a:cubicBezTo>
                            <a:cubicBezTo>
                              <a:pt x="4756516" y="516741"/>
                              <a:pt x="4765958" y="532491"/>
                              <a:pt x="4742869" y="557972"/>
                            </a:cubicBezTo>
                            <a:cubicBezTo>
                              <a:pt x="4719780" y="583452"/>
                              <a:pt x="4697309" y="566218"/>
                              <a:pt x="4700236" y="553849"/>
                            </a:cubicBezTo>
                            <a:cubicBezTo>
                              <a:pt x="4703164" y="541479"/>
                              <a:pt x="4731613" y="543582"/>
                              <a:pt x="4731613" y="531213"/>
                            </a:cubicBezTo>
                            <a:cubicBezTo>
                              <a:pt x="4731613" y="518844"/>
                              <a:pt x="4692527" y="525729"/>
                              <a:pt x="4686630" y="515422"/>
                            </a:cubicBezTo>
                            <a:cubicBezTo>
                              <a:pt x="4684981" y="512919"/>
                              <a:pt x="4684981" y="509678"/>
                              <a:pt x="4686630" y="507176"/>
                            </a:cubicBezTo>
                            <a:cubicBezTo>
                              <a:pt x="4666510" y="508701"/>
                              <a:pt x="4652368" y="494064"/>
                              <a:pt x="4647421" y="475923"/>
                            </a:cubicBezTo>
                            <a:cubicBezTo>
                              <a:pt x="4631712" y="472649"/>
                              <a:pt x="4615631" y="471445"/>
                              <a:pt x="4599634" y="472336"/>
                            </a:cubicBezTo>
                            <a:cubicBezTo>
                              <a:pt x="4569453" y="475758"/>
                              <a:pt x="4555806" y="459307"/>
                              <a:pt x="4539231" y="457947"/>
                            </a:cubicBezTo>
                            <a:cubicBezTo>
                              <a:pt x="4522657" y="456586"/>
                              <a:pt x="4522739" y="468213"/>
                              <a:pt x="4530367" y="479180"/>
                            </a:cubicBezTo>
                            <a:cubicBezTo>
                              <a:pt x="4537995" y="490148"/>
                              <a:pt x="4514370" y="497033"/>
                              <a:pt x="4494827" y="493611"/>
                            </a:cubicBezTo>
                            <a:cubicBezTo>
                              <a:pt x="4490250" y="492893"/>
                              <a:pt x="4485632" y="493021"/>
                              <a:pt x="4481097" y="493982"/>
                            </a:cubicBezTo>
                            <a:cubicBezTo>
                              <a:pt x="4481632" y="497507"/>
                              <a:pt x="4482334" y="501004"/>
                              <a:pt x="4483241" y="504455"/>
                            </a:cubicBezTo>
                            <a:cubicBezTo>
                              <a:pt x="4484725" y="510309"/>
                              <a:pt x="4485920" y="516242"/>
                              <a:pt x="4486786" y="522225"/>
                            </a:cubicBezTo>
                            <a:cubicBezTo>
                              <a:pt x="4487941" y="522233"/>
                              <a:pt x="4489095" y="522530"/>
                              <a:pt x="4490085" y="523091"/>
                            </a:cubicBezTo>
                            <a:cubicBezTo>
                              <a:pt x="4493383" y="525070"/>
                              <a:pt x="4491281" y="527750"/>
                              <a:pt x="4487776" y="530760"/>
                            </a:cubicBezTo>
                            <a:cubicBezTo>
                              <a:pt x="4488436" y="538490"/>
                              <a:pt x="4487982" y="546275"/>
                              <a:pt x="4486498" y="553890"/>
                            </a:cubicBezTo>
                            <a:cubicBezTo>
                              <a:pt x="4492642" y="562136"/>
                              <a:pt x="4491404" y="572938"/>
                              <a:pt x="4491857" y="579329"/>
                            </a:cubicBezTo>
                            <a:cubicBezTo>
                              <a:pt x="4492311" y="585720"/>
                              <a:pt x="4477798" y="589595"/>
                              <a:pt x="4467119" y="585266"/>
                            </a:cubicBezTo>
                            <a:cubicBezTo>
                              <a:pt x="4462172" y="588981"/>
                              <a:pt x="4456770" y="592007"/>
                              <a:pt x="4450998" y="594254"/>
                            </a:cubicBezTo>
                            <a:cubicBezTo>
                              <a:pt x="4442917" y="597338"/>
                              <a:pt x="4434217" y="598608"/>
                              <a:pt x="4425601" y="597965"/>
                            </a:cubicBezTo>
                            <a:cubicBezTo>
                              <a:pt x="4424817" y="601264"/>
                              <a:pt x="4420117" y="604273"/>
                              <a:pt x="4410139" y="605428"/>
                            </a:cubicBezTo>
                            <a:cubicBezTo>
                              <a:pt x="4397440" y="606871"/>
                              <a:pt x="4393234" y="599491"/>
                              <a:pt x="4389895" y="592853"/>
                            </a:cubicBezTo>
                            <a:cubicBezTo>
                              <a:pt x="4382102" y="602867"/>
                              <a:pt x="4369857" y="608376"/>
                              <a:pt x="4357199" y="607572"/>
                            </a:cubicBezTo>
                            <a:cubicBezTo>
                              <a:pt x="4339263" y="607061"/>
                              <a:pt x="4321370" y="605589"/>
                              <a:pt x="4303599" y="603160"/>
                            </a:cubicBezTo>
                            <a:cubicBezTo>
                              <a:pt x="4286200" y="606372"/>
                              <a:pt x="4268265" y="604950"/>
                              <a:pt x="4251608" y="599037"/>
                            </a:cubicBezTo>
                            <a:cubicBezTo>
                              <a:pt x="4246413" y="597219"/>
                              <a:pt x="4241424" y="594972"/>
                              <a:pt x="4236600" y="592317"/>
                            </a:cubicBezTo>
                            <a:lnTo>
                              <a:pt x="4223983" y="590173"/>
                            </a:lnTo>
                            <a:cubicBezTo>
                              <a:pt x="4208110" y="587493"/>
                              <a:pt x="4192690" y="586586"/>
                              <a:pt x="4177558" y="585225"/>
                            </a:cubicBezTo>
                            <a:cubicBezTo>
                              <a:pt x="4174301" y="596646"/>
                              <a:pt x="4171497" y="606830"/>
                              <a:pt x="4165477" y="607984"/>
                            </a:cubicBezTo>
                            <a:cubicBezTo>
                              <a:pt x="4154798" y="610046"/>
                              <a:pt x="4150675" y="636845"/>
                              <a:pt x="4139997" y="643649"/>
                            </a:cubicBezTo>
                            <a:cubicBezTo>
                              <a:pt x="4129318" y="650452"/>
                              <a:pt x="4128741" y="633341"/>
                              <a:pt x="4115259" y="634743"/>
                            </a:cubicBezTo>
                            <a:cubicBezTo>
                              <a:pt x="4101776" y="636145"/>
                              <a:pt x="4057825" y="586751"/>
                              <a:pt x="4055433" y="572320"/>
                            </a:cubicBezTo>
                            <a:cubicBezTo>
                              <a:pt x="4053042" y="557889"/>
                              <a:pt x="4025830" y="530471"/>
                              <a:pt x="4018738" y="524987"/>
                            </a:cubicBezTo>
                            <a:cubicBezTo>
                              <a:pt x="4011646" y="519504"/>
                              <a:pt x="4025830" y="516741"/>
                              <a:pt x="4034694" y="525688"/>
                            </a:cubicBezTo>
                            <a:cubicBezTo>
                              <a:pt x="4042199" y="533687"/>
                              <a:pt x="4054361" y="535130"/>
                              <a:pt x="4063556" y="529110"/>
                            </a:cubicBezTo>
                            <a:cubicBezTo>
                              <a:pt x="4067061" y="526245"/>
                              <a:pt x="4069081" y="521936"/>
                              <a:pt x="4069040" y="517401"/>
                            </a:cubicBezTo>
                            <a:cubicBezTo>
                              <a:pt x="4057948" y="509975"/>
                              <a:pt x="4047970" y="501008"/>
                              <a:pt x="4039394" y="490766"/>
                            </a:cubicBezTo>
                            <a:cubicBezTo>
                              <a:pt x="4030282" y="480046"/>
                              <a:pt x="4022902" y="469615"/>
                              <a:pt x="4015604" y="459554"/>
                            </a:cubicBezTo>
                            <a:cubicBezTo>
                              <a:pt x="4011853" y="455431"/>
                              <a:pt x="4008349" y="450855"/>
                              <a:pt x="4004802" y="446402"/>
                            </a:cubicBezTo>
                            <a:cubicBezTo>
                              <a:pt x="3989217" y="461410"/>
                              <a:pt x="3964149" y="466770"/>
                              <a:pt x="3943946" y="447763"/>
                            </a:cubicBezTo>
                            <a:cubicBezTo>
                              <a:pt x="3911951" y="417623"/>
                              <a:pt x="3865608" y="410202"/>
                              <a:pt x="3821120" y="404264"/>
                            </a:cubicBezTo>
                            <a:cubicBezTo>
                              <a:pt x="3821409" y="405905"/>
                              <a:pt x="3821862" y="407509"/>
                              <a:pt x="3822523" y="409047"/>
                            </a:cubicBezTo>
                            <a:cubicBezTo>
                              <a:pt x="3829614" y="426900"/>
                              <a:pt x="3823141" y="429662"/>
                              <a:pt x="3821904" y="444052"/>
                            </a:cubicBezTo>
                            <a:cubicBezTo>
                              <a:pt x="3820667" y="458441"/>
                              <a:pt x="3813657" y="452298"/>
                              <a:pt x="3798237" y="446113"/>
                            </a:cubicBezTo>
                            <a:cubicBezTo>
                              <a:pt x="3782817" y="439929"/>
                              <a:pt x="3782817" y="461204"/>
                              <a:pt x="3749668" y="451597"/>
                            </a:cubicBezTo>
                            <a:cubicBezTo>
                              <a:pt x="3747401" y="450937"/>
                              <a:pt x="3745215" y="450401"/>
                              <a:pt x="3743154" y="449907"/>
                            </a:cubicBezTo>
                            <a:cubicBezTo>
                              <a:pt x="3738990" y="451337"/>
                              <a:pt x="3734619" y="452022"/>
                              <a:pt x="3730207" y="451927"/>
                            </a:cubicBezTo>
                            <a:cubicBezTo>
                              <a:pt x="3712808" y="451053"/>
                              <a:pt x="3695615" y="447478"/>
                              <a:pt x="3679288" y="441331"/>
                            </a:cubicBezTo>
                            <a:cubicBezTo>
                              <a:pt x="3678051" y="440877"/>
                              <a:pt x="3676979" y="440259"/>
                              <a:pt x="3675824" y="439764"/>
                            </a:cubicBezTo>
                            <a:cubicBezTo>
                              <a:pt x="3665022" y="445536"/>
                              <a:pt x="3625936" y="440753"/>
                              <a:pt x="3622225" y="427395"/>
                            </a:cubicBezTo>
                            <a:cubicBezTo>
                              <a:pt x="3621524" y="425028"/>
                              <a:pt x="3621359" y="422538"/>
                              <a:pt x="3621730" y="420097"/>
                            </a:cubicBezTo>
                            <a:cubicBezTo>
                              <a:pt x="3607959" y="415562"/>
                              <a:pt x="3592539" y="414572"/>
                              <a:pt x="3578685" y="411851"/>
                            </a:cubicBezTo>
                            <a:cubicBezTo>
                              <a:pt x="3557658" y="407753"/>
                              <a:pt x="3537744" y="399329"/>
                              <a:pt x="3520179" y="387113"/>
                            </a:cubicBezTo>
                            <a:cubicBezTo>
                              <a:pt x="3519479" y="386618"/>
                              <a:pt x="3518818" y="386082"/>
                              <a:pt x="3518159" y="385546"/>
                            </a:cubicBezTo>
                            <a:cubicBezTo>
                              <a:pt x="3486947" y="389215"/>
                              <a:pt x="3435698" y="395070"/>
                              <a:pt x="3427947" y="399399"/>
                            </a:cubicBezTo>
                            <a:cubicBezTo>
                              <a:pt x="3419082" y="404182"/>
                              <a:pt x="3436193" y="422694"/>
                              <a:pt x="3422628" y="424138"/>
                            </a:cubicBezTo>
                            <a:cubicBezTo>
                              <a:pt x="3409063" y="425581"/>
                              <a:pt x="3418505" y="393957"/>
                              <a:pt x="3416114" y="378784"/>
                            </a:cubicBezTo>
                            <a:cubicBezTo>
                              <a:pt x="3413722" y="363611"/>
                              <a:pt x="3393024" y="361591"/>
                              <a:pt x="3395952" y="373300"/>
                            </a:cubicBezTo>
                            <a:cubicBezTo>
                              <a:pt x="3398880" y="385010"/>
                              <a:pt x="3363380" y="389051"/>
                              <a:pt x="3354516" y="380103"/>
                            </a:cubicBezTo>
                            <a:cubicBezTo>
                              <a:pt x="3341734" y="367153"/>
                              <a:pt x="3325819" y="357711"/>
                              <a:pt x="3308338" y="352685"/>
                            </a:cubicBezTo>
                            <a:cubicBezTo>
                              <a:pt x="3285207" y="345841"/>
                              <a:pt x="3256800" y="374661"/>
                              <a:pt x="3263313" y="382907"/>
                            </a:cubicBezTo>
                            <a:cubicBezTo>
                              <a:pt x="3269828" y="391153"/>
                              <a:pt x="3286980" y="384927"/>
                              <a:pt x="3287599" y="390411"/>
                            </a:cubicBezTo>
                            <a:cubicBezTo>
                              <a:pt x="3288794" y="401708"/>
                              <a:pt x="3238451" y="397297"/>
                              <a:pt x="3238451" y="406903"/>
                            </a:cubicBezTo>
                            <a:cubicBezTo>
                              <a:pt x="3238451" y="416510"/>
                              <a:pt x="3191655" y="429539"/>
                              <a:pt x="3177431" y="431642"/>
                            </a:cubicBezTo>
                            <a:cubicBezTo>
                              <a:pt x="3138467" y="437331"/>
                              <a:pt x="3130057" y="437125"/>
                              <a:pt x="3111709" y="454978"/>
                            </a:cubicBezTo>
                            <a:cubicBezTo>
                              <a:pt x="3093361" y="472831"/>
                              <a:pt x="3107586" y="439228"/>
                              <a:pt x="3121770" y="422736"/>
                            </a:cubicBezTo>
                            <a:cubicBezTo>
                              <a:pt x="3135953" y="406244"/>
                              <a:pt x="3150631" y="413129"/>
                              <a:pt x="3158877" y="400100"/>
                            </a:cubicBezTo>
                            <a:cubicBezTo>
                              <a:pt x="3167123" y="387071"/>
                              <a:pt x="3180193" y="388432"/>
                              <a:pt x="3202705" y="384309"/>
                            </a:cubicBezTo>
                            <a:cubicBezTo>
                              <a:pt x="3225216" y="380186"/>
                              <a:pt x="3224021" y="365137"/>
                              <a:pt x="3234700" y="359571"/>
                            </a:cubicBezTo>
                            <a:cubicBezTo>
                              <a:pt x="3245379" y="354005"/>
                              <a:pt x="3271394" y="342419"/>
                              <a:pt x="3275930" y="330050"/>
                            </a:cubicBezTo>
                            <a:cubicBezTo>
                              <a:pt x="3280466" y="317681"/>
                              <a:pt x="3333983" y="297065"/>
                              <a:pt x="3344661" y="297807"/>
                            </a:cubicBezTo>
                            <a:cubicBezTo>
                              <a:pt x="3355340" y="298550"/>
                              <a:pt x="3357649" y="273069"/>
                              <a:pt x="3363586" y="273069"/>
                            </a:cubicBezTo>
                            <a:cubicBezTo>
                              <a:pt x="3369523" y="273069"/>
                              <a:pt x="3400281" y="257319"/>
                              <a:pt x="3412156" y="251135"/>
                            </a:cubicBezTo>
                            <a:cubicBezTo>
                              <a:pt x="3422505" y="245338"/>
                              <a:pt x="3429348" y="234828"/>
                              <a:pt x="3430503" y="223015"/>
                            </a:cubicBezTo>
                            <a:cubicBezTo>
                              <a:pt x="3431122" y="214110"/>
                              <a:pt x="3414506" y="215470"/>
                              <a:pt x="3412732" y="207224"/>
                            </a:cubicBezTo>
                            <a:cubicBezTo>
                              <a:pt x="3410960" y="198978"/>
                              <a:pt x="3420402" y="204503"/>
                              <a:pt x="3432853" y="198978"/>
                            </a:cubicBezTo>
                            <a:cubicBezTo>
                              <a:pt x="3445305" y="193453"/>
                              <a:pt x="3432853" y="174240"/>
                              <a:pt x="3422835" y="177703"/>
                            </a:cubicBezTo>
                            <a:cubicBezTo>
                              <a:pt x="3417681" y="179476"/>
                              <a:pt x="3419165" y="176755"/>
                              <a:pt x="3420691" y="172013"/>
                            </a:cubicBezTo>
                            <a:cubicBezTo>
                              <a:pt x="3409435" y="168435"/>
                              <a:pt x="3398715" y="163433"/>
                              <a:pt x="3388737" y="157129"/>
                            </a:cubicBezTo>
                            <a:cubicBezTo>
                              <a:pt x="3377810" y="150124"/>
                              <a:pt x="3370307" y="138839"/>
                              <a:pt x="3368122" y="126041"/>
                            </a:cubicBezTo>
                            <a:cubicBezTo>
                              <a:pt x="3331426" y="120273"/>
                              <a:pt x="3295062" y="112608"/>
                              <a:pt x="3259190" y="103076"/>
                            </a:cubicBezTo>
                            <a:cubicBezTo>
                              <a:pt x="3255315" y="102099"/>
                              <a:pt x="3251605" y="100614"/>
                              <a:pt x="3248141" y="98664"/>
                            </a:cubicBezTo>
                            <a:cubicBezTo>
                              <a:pt x="3237916" y="99176"/>
                              <a:pt x="3227649" y="98301"/>
                              <a:pt x="3217672" y="96067"/>
                            </a:cubicBezTo>
                            <a:cubicBezTo>
                              <a:pt x="3207075" y="92686"/>
                              <a:pt x="3192232" y="100891"/>
                              <a:pt x="3191655" y="113219"/>
                            </a:cubicBezTo>
                            <a:cubicBezTo>
                              <a:pt x="3191077" y="125547"/>
                              <a:pt x="3149023" y="120764"/>
                              <a:pt x="3141313" y="118702"/>
                            </a:cubicBezTo>
                            <a:cubicBezTo>
                              <a:pt x="3133602" y="116641"/>
                              <a:pt x="3170174" y="81595"/>
                              <a:pt x="3170174" y="75493"/>
                            </a:cubicBezTo>
                            <a:cubicBezTo>
                              <a:pt x="3170174" y="69391"/>
                              <a:pt x="3107999" y="76853"/>
                              <a:pt x="3104452" y="70050"/>
                            </a:cubicBezTo>
                            <a:cubicBezTo>
                              <a:pt x="3100907" y="63247"/>
                              <a:pt x="3070685" y="61103"/>
                              <a:pt x="3057078" y="61804"/>
                            </a:cubicBezTo>
                            <a:cubicBezTo>
                              <a:pt x="3043473" y="62505"/>
                              <a:pt x="3056460" y="57681"/>
                              <a:pt x="3068912" y="56321"/>
                            </a:cubicBezTo>
                            <a:cubicBezTo>
                              <a:pt x="3081364" y="54960"/>
                              <a:pt x="3092578" y="42550"/>
                              <a:pt x="3106226" y="39828"/>
                            </a:cubicBezTo>
                            <a:cubicBezTo>
                              <a:pt x="3119872" y="37107"/>
                              <a:pt x="3116863" y="31582"/>
                              <a:pt x="3110967" y="21976"/>
                            </a:cubicBezTo>
                            <a:cubicBezTo>
                              <a:pt x="3105071" y="12369"/>
                              <a:pt x="3090806" y="17193"/>
                              <a:pt x="3077199" y="12410"/>
                            </a:cubicBezTo>
                            <a:cubicBezTo>
                              <a:pt x="3063593" y="7627"/>
                              <a:pt x="3046977" y="742"/>
                              <a:pt x="3035145" y="41"/>
                            </a:cubicBezTo>
                            <a:cubicBezTo>
                              <a:pt x="3023311" y="-660"/>
                              <a:pt x="3010406" y="6927"/>
                              <a:pt x="2982452" y="13070"/>
                            </a:cubicBezTo>
                            <a:cubicBezTo>
                              <a:pt x="2954498" y="19213"/>
                              <a:pt x="2952230" y="43951"/>
                              <a:pt x="2938047" y="51497"/>
                            </a:cubicBezTo>
                            <a:cubicBezTo>
                              <a:pt x="2933511" y="54119"/>
                              <a:pt x="2929388" y="57323"/>
                              <a:pt x="2925678" y="61021"/>
                            </a:cubicBezTo>
                            <a:cubicBezTo>
                              <a:pt x="2931120" y="77055"/>
                              <a:pt x="2928316" y="94752"/>
                              <a:pt x="2918091" y="108271"/>
                            </a:cubicBezTo>
                            <a:cubicBezTo>
                              <a:pt x="2918091" y="109475"/>
                              <a:pt x="2918173" y="110675"/>
                              <a:pt x="2918421" y="111858"/>
                            </a:cubicBezTo>
                            <a:cubicBezTo>
                              <a:pt x="2920028" y="120104"/>
                              <a:pt x="2911453" y="122331"/>
                              <a:pt x="2899743" y="120681"/>
                            </a:cubicBezTo>
                            <a:cubicBezTo>
                              <a:pt x="2889271" y="123926"/>
                              <a:pt x="2878015" y="123324"/>
                              <a:pt x="2867955" y="118991"/>
                            </a:cubicBezTo>
                            <a:cubicBezTo>
                              <a:pt x="2851463" y="119733"/>
                              <a:pt x="2834558" y="122784"/>
                              <a:pt x="2834971" y="129711"/>
                            </a:cubicBezTo>
                            <a:cubicBezTo>
                              <a:pt x="2835589" y="141379"/>
                              <a:pt x="2862842" y="146821"/>
                              <a:pt x="2861070" y="153006"/>
                            </a:cubicBezTo>
                            <a:cubicBezTo>
                              <a:pt x="2859296" y="159191"/>
                              <a:pt x="2840454" y="152346"/>
                              <a:pt x="2830889" y="146162"/>
                            </a:cubicBezTo>
                            <a:cubicBezTo>
                              <a:pt x="2821323" y="139977"/>
                              <a:pt x="2800048" y="143399"/>
                              <a:pt x="2795925" y="155068"/>
                            </a:cubicBezTo>
                            <a:cubicBezTo>
                              <a:pt x="2791802" y="166736"/>
                              <a:pt x="2775310" y="163973"/>
                              <a:pt x="2769867" y="161252"/>
                            </a:cubicBezTo>
                            <a:cubicBezTo>
                              <a:pt x="2765744" y="159067"/>
                              <a:pt x="2757127" y="163850"/>
                              <a:pt x="2749252" y="164056"/>
                            </a:cubicBezTo>
                            <a:cubicBezTo>
                              <a:pt x="2741996" y="169140"/>
                              <a:pt x="2733378" y="172005"/>
                              <a:pt x="2724514" y="172302"/>
                            </a:cubicBezTo>
                            <a:cubicBezTo>
                              <a:pt x="2716103" y="172454"/>
                              <a:pt x="2707857" y="169894"/>
                              <a:pt x="2701013" y="165004"/>
                            </a:cubicBezTo>
                            <a:cubicBezTo>
                              <a:pt x="2692849" y="175085"/>
                              <a:pt x="2680686" y="181109"/>
                              <a:pt x="2667698" y="181496"/>
                            </a:cubicBezTo>
                            <a:lnTo>
                              <a:pt x="2649392" y="181496"/>
                            </a:lnTo>
                            <a:cubicBezTo>
                              <a:pt x="2649764" y="181777"/>
                              <a:pt x="2650051" y="182189"/>
                              <a:pt x="2650134" y="182651"/>
                            </a:cubicBezTo>
                            <a:cubicBezTo>
                              <a:pt x="2650712" y="187516"/>
                              <a:pt x="2585609" y="186774"/>
                              <a:pt x="2583795" y="194319"/>
                            </a:cubicBezTo>
                            <a:cubicBezTo>
                              <a:pt x="2582969" y="197947"/>
                              <a:pt x="2577404" y="199803"/>
                              <a:pt x="2568993" y="200875"/>
                            </a:cubicBezTo>
                            <a:cubicBezTo>
                              <a:pt x="2523639" y="248207"/>
                              <a:pt x="2456475" y="254474"/>
                              <a:pt x="2395371" y="274512"/>
                            </a:cubicBezTo>
                            <a:lnTo>
                              <a:pt x="2394753" y="274512"/>
                            </a:lnTo>
                            <a:cubicBezTo>
                              <a:pt x="2400361" y="275267"/>
                              <a:pt x="2404277" y="280416"/>
                              <a:pt x="2403534" y="286015"/>
                            </a:cubicBezTo>
                            <a:cubicBezTo>
                              <a:pt x="2403288" y="287838"/>
                              <a:pt x="2402545" y="289561"/>
                              <a:pt x="2401391" y="291004"/>
                            </a:cubicBezTo>
                            <a:cubicBezTo>
                              <a:pt x="2396072" y="298550"/>
                              <a:pt x="2372942" y="282099"/>
                              <a:pt x="2367046" y="288943"/>
                            </a:cubicBezTo>
                            <a:cubicBezTo>
                              <a:pt x="2361150" y="295787"/>
                              <a:pt x="2378302" y="304734"/>
                              <a:pt x="2388940" y="303374"/>
                            </a:cubicBezTo>
                            <a:cubicBezTo>
                              <a:pt x="2399576" y="302013"/>
                              <a:pt x="2405432" y="310218"/>
                              <a:pt x="2406709" y="319124"/>
                            </a:cubicBezTo>
                            <a:cubicBezTo>
                              <a:pt x="2407988" y="328029"/>
                              <a:pt x="2381971" y="313640"/>
                              <a:pt x="2376529" y="321185"/>
                            </a:cubicBezTo>
                            <a:cubicBezTo>
                              <a:pt x="2371087" y="328730"/>
                              <a:pt x="2380652" y="332152"/>
                              <a:pt x="2391908" y="333554"/>
                            </a:cubicBezTo>
                            <a:cubicBezTo>
                              <a:pt x="2403164" y="334956"/>
                              <a:pt x="2394877" y="339739"/>
                              <a:pt x="2404937" y="350046"/>
                            </a:cubicBezTo>
                            <a:cubicBezTo>
                              <a:pt x="2405637" y="350768"/>
                              <a:pt x="2406256" y="351522"/>
                              <a:pt x="2406874" y="352314"/>
                            </a:cubicBezTo>
                            <a:cubicBezTo>
                              <a:pt x="2412976" y="360808"/>
                              <a:pt x="2401473" y="363776"/>
                              <a:pt x="2402751" y="371981"/>
                            </a:cubicBezTo>
                            <a:cubicBezTo>
                              <a:pt x="2403906" y="380928"/>
                              <a:pt x="2391454" y="384350"/>
                              <a:pt x="2391454" y="376104"/>
                            </a:cubicBezTo>
                            <a:cubicBezTo>
                              <a:pt x="2391454" y="367858"/>
                              <a:pt x="2360120" y="365137"/>
                              <a:pt x="2353605" y="374043"/>
                            </a:cubicBezTo>
                            <a:cubicBezTo>
                              <a:pt x="2347090" y="382948"/>
                              <a:pt x="2342349" y="389834"/>
                              <a:pt x="2334597" y="381588"/>
                            </a:cubicBezTo>
                            <a:cubicBezTo>
                              <a:pt x="2333855" y="380895"/>
                              <a:pt x="2332990" y="380334"/>
                              <a:pt x="2332041" y="379938"/>
                            </a:cubicBezTo>
                            <a:cubicBezTo>
                              <a:pt x="2326392" y="382594"/>
                              <a:pt x="2320249" y="384000"/>
                              <a:pt x="2314023" y="384062"/>
                            </a:cubicBezTo>
                            <a:cubicBezTo>
                              <a:pt x="2280503" y="385257"/>
                              <a:pt x="2249622" y="404677"/>
                              <a:pt x="2216431" y="409501"/>
                            </a:cubicBezTo>
                            <a:cubicBezTo>
                              <a:pt x="2199238" y="411975"/>
                              <a:pt x="2182168" y="407810"/>
                              <a:pt x="2171532" y="395235"/>
                            </a:cubicBezTo>
                            <a:cubicBezTo>
                              <a:pt x="2156812" y="401584"/>
                              <a:pt x="2144608" y="425375"/>
                              <a:pt x="2158132" y="441042"/>
                            </a:cubicBezTo>
                            <a:cubicBezTo>
                              <a:pt x="2171654" y="456710"/>
                              <a:pt x="2158708" y="463678"/>
                              <a:pt x="2158708" y="474026"/>
                            </a:cubicBezTo>
                            <a:cubicBezTo>
                              <a:pt x="2158708" y="484375"/>
                              <a:pt x="2194249" y="505568"/>
                              <a:pt x="2213215" y="507629"/>
                            </a:cubicBezTo>
                            <a:cubicBezTo>
                              <a:pt x="2232181" y="509691"/>
                              <a:pt x="2247560" y="536491"/>
                              <a:pt x="2236304" y="552983"/>
                            </a:cubicBezTo>
                            <a:cubicBezTo>
                              <a:pt x="2225049" y="569475"/>
                              <a:pt x="2190703" y="548200"/>
                              <a:pt x="2168192" y="527626"/>
                            </a:cubicBezTo>
                            <a:cubicBezTo>
                              <a:pt x="2145680" y="507052"/>
                              <a:pt x="2093605" y="498765"/>
                              <a:pt x="2076413" y="500208"/>
                            </a:cubicBezTo>
                            <a:cubicBezTo>
                              <a:pt x="2059219" y="501651"/>
                              <a:pt x="2069280" y="482355"/>
                              <a:pt x="2047551" y="483015"/>
                            </a:cubicBezTo>
                            <a:cubicBezTo>
                              <a:pt x="2025823" y="483674"/>
                              <a:pt x="2007269" y="506351"/>
                              <a:pt x="2022071" y="506351"/>
                            </a:cubicBezTo>
                            <a:cubicBezTo>
                              <a:pt x="2036872" y="506351"/>
                              <a:pt x="2046355" y="504991"/>
                              <a:pt x="2038563" y="513195"/>
                            </a:cubicBezTo>
                            <a:cubicBezTo>
                              <a:pt x="2030770" y="521400"/>
                              <a:pt x="2042686" y="519380"/>
                              <a:pt x="2060456" y="528286"/>
                            </a:cubicBezTo>
                            <a:cubicBezTo>
                              <a:pt x="2078226" y="537192"/>
                              <a:pt x="2045655" y="549561"/>
                              <a:pt x="2027265" y="535171"/>
                            </a:cubicBezTo>
                            <a:cubicBezTo>
                              <a:pt x="2008876" y="520782"/>
                              <a:pt x="1989416" y="534470"/>
                              <a:pt x="1984056" y="545438"/>
                            </a:cubicBezTo>
                            <a:cubicBezTo>
                              <a:pt x="1978697" y="556405"/>
                              <a:pt x="2005373" y="587987"/>
                              <a:pt x="2037367" y="593471"/>
                            </a:cubicBezTo>
                            <a:cubicBezTo>
                              <a:pt x="2069362" y="598955"/>
                              <a:pt x="2058683" y="610582"/>
                              <a:pt x="2073485" y="616766"/>
                            </a:cubicBezTo>
                            <a:cubicBezTo>
                              <a:pt x="2088286" y="622951"/>
                              <a:pt x="2077608" y="629836"/>
                              <a:pt x="2067589" y="630496"/>
                            </a:cubicBezTo>
                            <a:cubicBezTo>
                              <a:pt x="2057570" y="631156"/>
                              <a:pt x="2037367" y="612643"/>
                              <a:pt x="2021369" y="603078"/>
                            </a:cubicBezTo>
                            <a:cubicBezTo>
                              <a:pt x="2005373" y="593512"/>
                              <a:pt x="1962163" y="607201"/>
                              <a:pt x="1953298" y="596192"/>
                            </a:cubicBezTo>
                            <a:cubicBezTo>
                              <a:pt x="1944434" y="585184"/>
                              <a:pt x="1959195" y="574258"/>
                              <a:pt x="1950866" y="566053"/>
                            </a:cubicBezTo>
                            <a:cubicBezTo>
                              <a:pt x="1942537" y="557848"/>
                              <a:pt x="1949711" y="539294"/>
                              <a:pt x="1960389" y="520081"/>
                            </a:cubicBezTo>
                            <a:cubicBezTo>
                              <a:pt x="1971068" y="500867"/>
                              <a:pt x="1958617" y="467924"/>
                              <a:pt x="1943197" y="462358"/>
                            </a:cubicBezTo>
                            <a:cubicBezTo>
                              <a:pt x="1927776" y="456792"/>
                              <a:pt x="1928972" y="475387"/>
                              <a:pt x="1932518" y="480871"/>
                            </a:cubicBezTo>
                            <a:cubicBezTo>
                              <a:pt x="1936064" y="486354"/>
                              <a:pt x="1934291" y="512453"/>
                              <a:pt x="1922458" y="529605"/>
                            </a:cubicBezTo>
                            <a:cubicBezTo>
                              <a:pt x="1910625" y="546757"/>
                              <a:pt x="1874466" y="546716"/>
                              <a:pt x="1874466" y="558466"/>
                            </a:cubicBezTo>
                            <a:cubicBezTo>
                              <a:pt x="1874466" y="570217"/>
                              <a:pt x="1850222" y="579082"/>
                              <a:pt x="1858468" y="587328"/>
                            </a:cubicBezTo>
                            <a:cubicBezTo>
                              <a:pt x="1866714" y="595574"/>
                              <a:pt x="1899369" y="638082"/>
                              <a:pt x="1904110" y="651111"/>
                            </a:cubicBezTo>
                            <a:cubicBezTo>
                              <a:pt x="1908851" y="664140"/>
                              <a:pt x="1875249" y="705288"/>
                              <a:pt x="1880403" y="729449"/>
                            </a:cubicBezTo>
                            <a:cubicBezTo>
                              <a:pt x="1885557" y="753610"/>
                              <a:pt x="1875662" y="764413"/>
                              <a:pt x="1882175" y="776081"/>
                            </a:cubicBezTo>
                            <a:cubicBezTo>
                              <a:pt x="1888690" y="787749"/>
                              <a:pt x="1903492" y="777441"/>
                              <a:pt x="1912974" y="782265"/>
                            </a:cubicBezTo>
                            <a:cubicBezTo>
                              <a:pt x="1922458" y="787089"/>
                              <a:pt x="1937713" y="775380"/>
                              <a:pt x="1959771" y="770597"/>
                            </a:cubicBezTo>
                            <a:cubicBezTo>
                              <a:pt x="1981830" y="765814"/>
                              <a:pt x="2021947" y="792573"/>
                              <a:pt x="2036748" y="800778"/>
                            </a:cubicBezTo>
                            <a:cubicBezTo>
                              <a:pt x="2051550" y="808983"/>
                              <a:pt x="2043840" y="822712"/>
                              <a:pt x="2051550" y="836442"/>
                            </a:cubicBezTo>
                            <a:cubicBezTo>
                              <a:pt x="2059260" y="850172"/>
                              <a:pt x="2033780" y="850172"/>
                              <a:pt x="2033203" y="870746"/>
                            </a:cubicBezTo>
                            <a:cubicBezTo>
                              <a:pt x="2032625" y="891320"/>
                              <a:pt x="2077608" y="900226"/>
                              <a:pt x="2079381" y="906410"/>
                            </a:cubicBezTo>
                            <a:cubicBezTo>
                              <a:pt x="2081154" y="912595"/>
                              <a:pt x="2047386" y="907771"/>
                              <a:pt x="2034399" y="902287"/>
                            </a:cubicBezTo>
                            <a:cubicBezTo>
                              <a:pt x="2021411" y="896804"/>
                              <a:pt x="2020174" y="876889"/>
                              <a:pt x="2016051" y="872807"/>
                            </a:cubicBezTo>
                            <a:cubicBezTo>
                              <a:pt x="2011928" y="868726"/>
                              <a:pt x="2024916" y="852192"/>
                              <a:pt x="2026070" y="839205"/>
                            </a:cubicBezTo>
                            <a:cubicBezTo>
                              <a:pt x="2027225" y="826217"/>
                              <a:pt x="2011309" y="818589"/>
                              <a:pt x="2005991" y="809684"/>
                            </a:cubicBezTo>
                            <a:cubicBezTo>
                              <a:pt x="2000672" y="800778"/>
                              <a:pt x="1991188" y="787749"/>
                              <a:pt x="1980510" y="790512"/>
                            </a:cubicBezTo>
                            <a:cubicBezTo>
                              <a:pt x="1969831" y="793274"/>
                              <a:pt x="1930745" y="797356"/>
                              <a:pt x="1918912" y="809684"/>
                            </a:cubicBezTo>
                            <a:cubicBezTo>
                              <a:pt x="1907079" y="822012"/>
                              <a:pt x="1920685" y="857016"/>
                              <a:pt x="1927158" y="874168"/>
                            </a:cubicBezTo>
                            <a:cubicBezTo>
                              <a:pt x="1933631" y="891320"/>
                              <a:pt x="1892813" y="915398"/>
                              <a:pt x="1893968" y="929046"/>
                            </a:cubicBezTo>
                            <a:cubicBezTo>
                              <a:pt x="1895122" y="942693"/>
                              <a:pt x="1881599" y="948919"/>
                              <a:pt x="1863787" y="959927"/>
                            </a:cubicBezTo>
                            <a:cubicBezTo>
                              <a:pt x="1845975" y="970936"/>
                              <a:pt x="1826473" y="979100"/>
                              <a:pt x="1827051" y="997035"/>
                            </a:cubicBezTo>
                            <a:cubicBezTo>
                              <a:pt x="1827628" y="1014970"/>
                              <a:pt x="1803385" y="1005281"/>
                              <a:pt x="1790933" y="997035"/>
                            </a:cubicBezTo>
                            <a:cubicBezTo>
                              <a:pt x="1778481" y="988789"/>
                              <a:pt x="1762483" y="1001818"/>
                              <a:pt x="1744755" y="1001158"/>
                            </a:cubicBezTo>
                            <a:cubicBezTo>
                              <a:pt x="1727026" y="1000498"/>
                              <a:pt x="1726984" y="983305"/>
                              <a:pt x="1712760" y="989490"/>
                            </a:cubicBezTo>
                            <a:cubicBezTo>
                              <a:pt x="1698535" y="995674"/>
                              <a:pt x="1689094" y="981945"/>
                              <a:pt x="1693217" y="969575"/>
                            </a:cubicBezTo>
                            <a:cubicBezTo>
                              <a:pt x="1697340" y="957206"/>
                              <a:pt x="1713337" y="966854"/>
                              <a:pt x="1714533" y="975760"/>
                            </a:cubicBezTo>
                            <a:cubicBezTo>
                              <a:pt x="1715729" y="984666"/>
                              <a:pt x="1725789" y="980584"/>
                              <a:pt x="1737621" y="973039"/>
                            </a:cubicBezTo>
                            <a:cubicBezTo>
                              <a:pt x="1749455" y="965494"/>
                              <a:pt x="1743559" y="982645"/>
                              <a:pt x="1760752" y="984006"/>
                            </a:cubicBezTo>
                            <a:cubicBezTo>
                              <a:pt x="1777945" y="985367"/>
                              <a:pt x="1768421" y="973740"/>
                              <a:pt x="1781367" y="975059"/>
                            </a:cubicBezTo>
                            <a:cubicBezTo>
                              <a:pt x="1794313" y="976378"/>
                              <a:pt x="1794973" y="971678"/>
                              <a:pt x="1790850" y="964092"/>
                            </a:cubicBezTo>
                            <a:cubicBezTo>
                              <a:pt x="1786727" y="956505"/>
                              <a:pt x="1800333" y="951104"/>
                              <a:pt x="1808621" y="946981"/>
                            </a:cubicBezTo>
                            <a:cubicBezTo>
                              <a:pt x="1817939" y="942322"/>
                              <a:pt x="1813362" y="927067"/>
                              <a:pt x="1820990" y="922243"/>
                            </a:cubicBezTo>
                            <a:cubicBezTo>
                              <a:pt x="1828617" y="917419"/>
                              <a:pt x="1823339" y="907812"/>
                              <a:pt x="1831627" y="907152"/>
                            </a:cubicBezTo>
                            <a:cubicBezTo>
                              <a:pt x="1839914" y="906493"/>
                              <a:pt x="1843502" y="892021"/>
                              <a:pt x="1851170" y="892021"/>
                            </a:cubicBezTo>
                            <a:cubicBezTo>
                              <a:pt x="1858839" y="892021"/>
                              <a:pt x="1863045" y="877631"/>
                              <a:pt x="1858261" y="870086"/>
                            </a:cubicBezTo>
                            <a:cubicBezTo>
                              <a:pt x="1853479" y="862541"/>
                              <a:pt x="1861272" y="841967"/>
                              <a:pt x="1868941" y="839246"/>
                            </a:cubicBezTo>
                            <a:cubicBezTo>
                              <a:pt x="1876610" y="836525"/>
                              <a:pt x="1877187" y="828237"/>
                              <a:pt x="1870136" y="822094"/>
                            </a:cubicBezTo>
                            <a:cubicBezTo>
                              <a:pt x="1863086" y="815951"/>
                              <a:pt x="1836946" y="795294"/>
                              <a:pt x="1838760" y="782307"/>
                            </a:cubicBezTo>
                            <a:cubicBezTo>
                              <a:pt x="1840574" y="769319"/>
                              <a:pt x="1833977" y="745199"/>
                              <a:pt x="1837523" y="734974"/>
                            </a:cubicBezTo>
                            <a:cubicBezTo>
                              <a:pt x="1841069" y="724749"/>
                              <a:pt x="1838142" y="703392"/>
                              <a:pt x="1836946" y="691064"/>
                            </a:cubicBezTo>
                            <a:cubicBezTo>
                              <a:pt x="1835750" y="678736"/>
                              <a:pt x="1843502" y="665006"/>
                              <a:pt x="1847047" y="642370"/>
                            </a:cubicBezTo>
                            <a:cubicBezTo>
                              <a:pt x="1850593" y="619735"/>
                              <a:pt x="1826432" y="595739"/>
                              <a:pt x="1814475" y="589554"/>
                            </a:cubicBezTo>
                            <a:cubicBezTo>
                              <a:pt x="1802519" y="583370"/>
                              <a:pt x="1810352" y="571000"/>
                              <a:pt x="1827504" y="554550"/>
                            </a:cubicBezTo>
                            <a:cubicBezTo>
                              <a:pt x="1844656" y="538099"/>
                              <a:pt x="1845851" y="486684"/>
                              <a:pt x="1844698" y="475676"/>
                            </a:cubicBezTo>
                            <a:cubicBezTo>
                              <a:pt x="1843543" y="464667"/>
                              <a:pt x="1808538" y="455060"/>
                              <a:pt x="1794932" y="456462"/>
                            </a:cubicBezTo>
                            <a:cubicBezTo>
                              <a:pt x="1779017" y="457044"/>
                              <a:pt x="1763020" y="456685"/>
                              <a:pt x="1747146" y="455390"/>
                            </a:cubicBezTo>
                            <a:cubicBezTo>
                              <a:pt x="1744919" y="456062"/>
                              <a:pt x="1742611" y="456479"/>
                              <a:pt x="1740260" y="456627"/>
                            </a:cubicBezTo>
                            <a:cubicBezTo>
                              <a:pt x="1742693" y="467397"/>
                              <a:pt x="1741044" y="478677"/>
                              <a:pt x="1735601" y="488292"/>
                            </a:cubicBezTo>
                            <a:cubicBezTo>
                              <a:pt x="1712058" y="532491"/>
                              <a:pt x="1701339" y="582669"/>
                              <a:pt x="1648316" y="599120"/>
                            </a:cubicBezTo>
                            <a:cubicBezTo>
                              <a:pt x="1646750" y="599606"/>
                              <a:pt x="1645183" y="599990"/>
                              <a:pt x="1643575" y="600274"/>
                            </a:cubicBezTo>
                            <a:cubicBezTo>
                              <a:pt x="1636030" y="612643"/>
                              <a:pt x="1628773" y="625466"/>
                              <a:pt x="1621310" y="638000"/>
                            </a:cubicBezTo>
                            <a:cubicBezTo>
                              <a:pt x="1621517" y="638062"/>
                              <a:pt x="1621764" y="638144"/>
                              <a:pt x="1621970" y="638247"/>
                            </a:cubicBezTo>
                            <a:cubicBezTo>
                              <a:pt x="1628484" y="642370"/>
                              <a:pt x="1621393" y="671232"/>
                              <a:pt x="1617228" y="675355"/>
                            </a:cubicBezTo>
                            <a:cubicBezTo>
                              <a:pt x="1613064" y="679478"/>
                              <a:pt x="1624939" y="689744"/>
                              <a:pt x="1614879" y="697289"/>
                            </a:cubicBezTo>
                            <a:cubicBezTo>
                              <a:pt x="1604818" y="704835"/>
                              <a:pt x="1595336" y="720626"/>
                              <a:pt x="1601231" y="728831"/>
                            </a:cubicBezTo>
                            <a:cubicBezTo>
                              <a:pt x="1607127" y="737036"/>
                              <a:pt x="1636195" y="741200"/>
                              <a:pt x="1648605" y="749446"/>
                            </a:cubicBezTo>
                            <a:cubicBezTo>
                              <a:pt x="1661016" y="757692"/>
                              <a:pt x="1656315" y="772782"/>
                              <a:pt x="1665839" y="787172"/>
                            </a:cubicBezTo>
                            <a:cubicBezTo>
                              <a:pt x="1675364" y="801561"/>
                              <a:pt x="1685341" y="792697"/>
                              <a:pt x="1690083" y="801603"/>
                            </a:cubicBezTo>
                            <a:cubicBezTo>
                              <a:pt x="1694824" y="810508"/>
                              <a:pt x="1672931" y="846173"/>
                              <a:pt x="1665345" y="847533"/>
                            </a:cubicBezTo>
                            <a:cubicBezTo>
                              <a:pt x="1657758" y="848894"/>
                              <a:pt x="1626259" y="811168"/>
                              <a:pt x="1616817" y="802963"/>
                            </a:cubicBezTo>
                            <a:cubicBezTo>
                              <a:pt x="1607375" y="794758"/>
                              <a:pt x="1570638" y="781688"/>
                              <a:pt x="1552290" y="770721"/>
                            </a:cubicBezTo>
                            <a:cubicBezTo>
                              <a:pt x="1533943" y="759753"/>
                              <a:pt x="1519554" y="760990"/>
                              <a:pt x="1499969" y="745983"/>
                            </a:cubicBezTo>
                            <a:cubicBezTo>
                              <a:pt x="1492671" y="747710"/>
                              <a:pt x="1485291" y="748856"/>
                              <a:pt x="1477829" y="749405"/>
                            </a:cubicBezTo>
                            <a:cubicBezTo>
                              <a:pt x="1456430" y="750951"/>
                              <a:pt x="1434990" y="746840"/>
                              <a:pt x="1415694" y="737489"/>
                            </a:cubicBezTo>
                            <a:cubicBezTo>
                              <a:pt x="1406953" y="732496"/>
                              <a:pt x="1398666" y="726711"/>
                              <a:pt x="1390956" y="720213"/>
                            </a:cubicBezTo>
                            <a:cubicBezTo>
                              <a:pt x="1373062" y="717534"/>
                              <a:pt x="1360322" y="713740"/>
                              <a:pt x="1352281" y="715060"/>
                            </a:cubicBezTo>
                            <a:cubicBezTo>
                              <a:pt x="1339912" y="717121"/>
                              <a:pt x="1344572" y="700712"/>
                              <a:pt x="1322678" y="689703"/>
                            </a:cubicBezTo>
                            <a:cubicBezTo>
                              <a:pt x="1300785" y="678695"/>
                              <a:pt x="1286519" y="663645"/>
                              <a:pt x="1274109" y="671191"/>
                            </a:cubicBezTo>
                            <a:cubicBezTo>
                              <a:pt x="1261698" y="678736"/>
                              <a:pt x="1266399" y="706154"/>
                              <a:pt x="1285364" y="709576"/>
                            </a:cubicBezTo>
                            <a:cubicBezTo>
                              <a:pt x="1304331" y="712998"/>
                              <a:pt x="1294848" y="724666"/>
                              <a:pt x="1314969" y="723306"/>
                            </a:cubicBezTo>
                            <a:cubicBezTo>
                              <a:pt x="1335089" y="721945"/>
                              <a:pt x="1341026" y="730150"/>
                              <a:pt x="1340449" y="744581"/>
                            </a:cubicBezTo>
                            <a:cubicBezTo>
                              <a:pt x="1339871" y="759011"/>
                              <a:pt x="1349932" y="773442"/>
                              <a:pt x="1358796" y="782966"/>
                            </a:cubicBezTo>
                            <a:cubicBezTo>
                              <a:pt x="1367660" y="792490"/>
                              <a:pt x="1362342" y="808364"/>
                              <a:pt x="1346427" y="808364"/>
                            </a:cubicBezTo>
                            <a:cubicBezTo>
                              <a:pt x="1330512" y="808364"/>
                              <a:pt x="1312123" y="811085"/>
                              <a:pt x="1319214" y="824156"/>
                            </a:cubicBezTo>
                            <a:cubicBezTo>
                              <a:pt x="1326307" y="837226"/>
                              <a:pt x="1314473" y="840648"/>
                              <a:pt x="1298599" y="833762"/>
                            </a:cubicBezTo>
                            <a:cubicBezTo>
                              <a:pt x="1282726" y="826877"/>
                              <a:pt x="1292086" y="813848"/>
                              <a:pt x="1298599" y="806303"/>
                            </a:cubicBezTo>
                            <a:cubicBezTo>
                              <a:pt x="1305114" y="798758"/>
                              <a:pt x="1284375" y="789151"/>
                              <a:pt x="1274315" y="785028"/>
                            </a:cubicBezTo>
                            <a:cubicBezTo>
                              <a:pt x="1264255" y="780905"/>
                              <a:pt x="1223973" y="815250"/>
                              <a:pt x="1212758" y="820692"/>
                            </a:cubicBezTo>
                            <a:cubicBezTo>
                              <a:pt x="1201544" y="826135"/>
                              <a:pt x="1173630" y="812446"/>
                              <a:pt x="1145222" y="820692"/>
                            </a:cubicBezTo>
                            <a:cubicBezTo>
                              <a:pt x="1116815" y="828938"/>
                              <a:pt x="1118587" y="854996"/>
                              <a:pt x="1107908" y="852275"/>
                            </a:cubicBezTo>
                            <a:cubicBezTo>
                              <a:pt x="1097230" y="849553"/>
                              <a:pt x="1065853" y="855697"/>
                              <a:pt x="1053980" y="847451"/>
                            </a:cubicBezTo>
                            <a:cubicBezTo>
                              <a:pt x="1042105" y="839205"/>
                              <a:pt x="1051629" y="834422"/>
                              <a:pt x="1064081" y="835082"/>
                            </a:cubicBezTo>
                            <a:cubicBezTo>
                              <a:pt x="1076533" y="835741"/>
                              <a:pt x="1080573" y="830959"/>
                              <a:pt x="1073523" y="821352"/>
                            </a:cubicBezTo>
                            <a:cubicBezTo>
                              <a:pt x="1066473" y="811745"/>
                              <a:pt x="1083006" y="796614"/>
                              <a:pt x="1082428" y="789811"/>
                            </a:cubicBezTo>
                            <a:cubicBezTo>
                              <a:pt x="1081851" y="783008"/>
                              <a:pt x="1035632" y="800778"/>
                              <a:pt x="1027963" y="808323"/>
                            </a:cubicBezTo>
                            <a:cubicBezTo>
                              <a:pt x="1020294" y="815868"/>
                              <a:pt x="1028540" y="829598"/>
                              <a:pt x="1020252" y="834381"/>
                            </a:cubicBezTo>
                            <a:cubicBezTo>
                              <a:pt x="1011965" y="839163"/>
                              <a:pt x="1012006" y="826135"/>
                              <a:pt x="1002441" y="822012"/>
                            </a:cubicBezTo>
                            <a:cubicBezTo>
                              <a:pt x="992876" y="817888"/>
                              <a:pt x="923691" y="836401"/>
                              <a:pt x="910704" y="853553"/>
                            </a:cubicBezTo>
                            <a:cubicBezTo>
                              <a:pt x="897716" y="870705"/>
                              <a:pt x="872194" y="871406"/>
                              <a:pt x="872194" y="881012"/>
                            </a:cubicBezTo>
                            <a:cubicBezTo>
                              <a:pt x="872194" y="890619"/>
                              <a:pt x="840777" y="889918"/>
                              <a:pt x="828325" y="896762"/>
                            </a:cubicBezTo>
                            <a:cubicBezTo>
                              <a:pt x="815874" y="903607"/>
                              <a:pt x="824202" y="931767"/>
                              <a:pt x="819460" y="945456"/>
                            </a:cubicBezTo>
                            <a:cubicBezTo>
                              <a:pt x="814719" y="959144"/>
                              <a:pt x="766149" y="955062"/>
                              <a:pt x="751347" y="955763"/>
                            </a:cubicBezTo>
                            <a:cubicBezTo>
                              <a:pt x="736546" y="956464"/>
                              <a:pt x="731186" y="922779"/>
                              <a:pt x="719353" y="920759"/>
                            </a:cubicBezTo>
                            <a:cubicBezTo>
                              <a:pt x="707520" y="918738"/>
                              <a:pt x="714611" y="899525"/>
                              <a:pt x="718158" y="891279"/>
                            </a:cubicBezTo>
                            <a:cubicBezTo>
                              <a:pt x="721703" y="883033"/>
                              <a:pt x="731186" y="889918"/>
                              <a:pt x="745988" y="878910"/>
                            </a:cubicBezTo>
                            <a:cubicBezTo>
                              <a:pt x="760789" y="867901"/>
                              <a:pt x="775633" y="884352"/>
                              <a:pt x="781528" y="876807"/>
                            </a:cubicBezTo>
                            <a:cubicBezTo>
                              <a:pt x="787424" y="869262"/>
                              <a:pt x="759017" y="849389"/>
                              <a:pt x="757285" y="832237"/>
                            </a:cubicBezTo>
                            <a:cubicBezTo>
                              <a:pt x="755553" y="815085"/>
                              <a:pt x="724053" y="810302"/>
                              <a:pt x="706324" y="815745"/>
                            </a:cubicBezTo>
                            <a:cubicBezTo>
                              <a:pt x="698491" y="818033"/>
                              <a:pt x="690245" y="818668"/>
                              <a:pt x="682163" y="817600"/>
                            </a:cubicBezTo>
                            <a:cubicBezTo>
                              <a:pt x="680803" y="824139"/>
                              <a:pt x="678081" y="830311"/>
                              <a:pt x="674123" y="835700"/>
                            </a:cubicBezTo>
                            <a:cubicBezTo>
                              <a:pt x="677133" y="842957"/>
                              <a:pt x="673505" y="852687"/>
                              <a:pt x="675525" y="859655"/>
                            </a:cubicBezTo>
                            <a:cubicBezTo>
                              <a:pt x="678493" y="869921"/>
                              <a:pt x="670783" y="893258"/>
                              <a:pt x="660105" y="911111"/>
                            </a:cubicBezTo>
                            <a:cubicBezTo>
                              <a:pt x="649426" y="928963"/>
                              <a:pt x="657136" y="928221"/>
                              <a:pt x="673175" y="927603"/>
                            </a:cubicBezTo>
                            <a:cubicBezTo>
                              <a:pt x="689214" y="926984"/>
                              <a:pt x="687977" y="950980"/>
                              <a:pt x="687977" y="968833"/>
                            </a:cubicBezTo>
                            <a:cubicBezTo>
                              <a:pt x="687977" y="986686"/>
                              <a:pt x="675608" y="991469"/>
                              <a:pt x="675608" y="1004498"/>
                            </a:cubicBezTo>
                            <a:cubicBezTo>
                              <a:pt x="675608" y="1017526"/>
                              <a:pt x="662578" y="998313"/>
                              <a:pt x="658414" y="1003797"/>
                            </a:cubicBezTo>
                            <a:cubicBezTo>
                              <a:pt x="654250" y="1009280"/>
                              <a:pt x="648932" y="1001075"/>
                              <a:pt x="646581" y="990067"/>
                            </a:cubicBezTo>
                            <a:cubicBezTo>
                              <a:pt x="644231" y="979058"/>
                              <a:pt x="619946" y="985284"/>
                              <a:pt x="606299" y="981161"/>
                            </a:cubicBezTo>
                            <a:cubicBezTo>
                              <a:pt x="592651" y="977038"/>
                              <a:pt x="587332" y="983924"/>
                              <a:pt x="580860" y="995551"/>
                            </a:cubicBezTo>
                            <a:cubicBezTo>
                              <a:pt x="574387" y="1007178"/>
                              <a:pt x="555379" y="1012043"/>
                              <a:pt x="545319" y="1013403"/>
                            </a:cubicBezTo>
                            <a:cubicBezTo>
                              <a:pt x="534104" y="1014929"/>
                              <a:pt x="517447" y="1037441"/>
                              <a:pt x="506810" y="1045687"/>
                            </a:cubicBezTo>
                            <a:cubicBezTo>
                              <a:pt x="496172" y="1053933"/>
                              <a:pt x="494441" y="1069642"/>
                              <a:pt x="509160" y="1086134"/>
                            </a:cubicBezTo>
                            <a:cubicBezTo>
                              <a:pt x="523879" y="1102626"/>
                              <a:pt x="526930" y="1113552"/>
                              <a:pt x="525652" y="1122458"/>
                            </a:cubicBezTo>
                            <a:cubicBezTo>
                              <a:pt x="524374" y="1131364"/>
                              <a:pt x="484422" y="1128642"/>
                              <a:pt x="477701" y="1119036"/>
                            </a:cubicBezTo>
                            <a:cubicBezTo>
                              <a:pt x="470981" y="1109429"/>
                              <a:pt x="445088" y="1106048"/>
                              <a:pt x="436223" y="1108068"/>
                            </a:cubicBezTo>
                            <a:cubicBezTo>
                              <a:pt x="427359" y="1110089"/>
                              <a:pt x="403239" y="1077228"/>
                              <a:pt x="390870" y="1076527"/>
                            </a:cubicBezTo>
                            <a:cubicBezTo>
                              <a:pt x="378501" y="1075826"/>
                              <a:pt x="370708" y="1093638"/>
                              <a:pt x="366585" y="1102585"/>
                            </a:cubicBezTo>
                            <a:cubicBezTo>
                              <a:pt x="362462" y="1111532"/>
                              <a:pt x="372481" y="1114253"/>
                              <a:pt x="378418" y="1129343"/>
                            </a:cubicBezTo>
                            <a:cubicBezTo>
                              <a:pt x="384355" y="1144434"/>
                              <a:pt x="406249" y="1145093"/>
                              <a:pt x="417504" y="1145093"/>
                            </a:cubicBezTo>
                            <a:cubicBezTo>
                              <a:pt x="428761" y="1145093"/>
                              <a:pt x="424596" y="1165008"/>
                              <a:pt x="421051" y="1173254"/>
                            </a:cubicBezTo>
                            <a:cubicBezTo>
                              <a:pt x="417504" y="1181500"/>
                              <a:pt x="396766" y="1187643"/>
                              <a:pt x="390870" y="1178738"/>
                            </a:cubicBezTo>
                            <a:cubicBezTo>
                              <a:pt x="384974" y="1169832"/>
                              <a:pt x="360029" y="1178738"/>
                              <a:pt x="359452" y="1167729"/>
                            </a:cubicBezTo>
                            <a:cubicBezTo>
                              <a:pt x="358875" y="1156720"/>
                              <a:pt x="341105" y="1140352"/>
                              <a:pt x="322716" y="1143733"/>
                            </a:cubicBezTo>
                            <a:cubicBezTo>
                              <a:pt x="304327" y="1147114"/>
                              <a:pt x="300823" y="1133425"/>
                              <a:pt x="302100" y="1116974"/>
                            </a:cubicBezTo>
                            <a:cubicBezTo>
                              <a:pt x="303379" y="1100523"/>
                              <a:pt x="292040" y="1090917"/>
                              <a:pt x="292576" y="1083371"/>
                            </a:cubicBezTo>
                            <a:cubicBezTo>
                              <a:pt x="293112" y="1075826"/>
                              <a:pt x="284330" y="1060736"/>
                              <a:pt x="293772" y="1053191"/>
                            </a:cubicBezTo>
                            <a:cubicBezTo>
                              <a:pt x="303214" y="1045646"/>
                              <a:pt x="296163" y="1034019"/>
                              <a:pt x="296782" y="1023711"/>
                            </a:cubicBezTo>
                            <a:cubicBezTo>
                              <a:pt x="297400" y="1013403"/>
                              <a:pt x="280785" y="997653"/>
                              <a:pt x="265941" y="997653"/>
                            </a:cubicBezTo>
                            <a:cubicBezTo>
                              <a:pt x="251098" y="997653"/>
                              <a:pt x="254149" y="980501"/>
                              <a:pt x="241698" y="977038"/>
                            </a:cubicBezTo>
                            <a:cubicBezTo>
                              <a:pt x="229247" y="973575"/>
                              <a:pt x="204591" y="949579"/>
                              <a:pt x="202611" y="939312"/>
                            </a:cubicBezTo>
                            <a:cubicBezTo>
                              <a:pt x="200632" y="929046"/>
                              <a:pt x="181996" y="927603"/>
                              <a:pt x="188387" y="924222"/>
                            </a:cubicBezTo>
                            <a:cubicBezTo>
                              <a:pt x="194778" y="920841"/>
                              <a:pt x="209703" y="925582"/>
                              <a:pt x="220382" y="937910"/>
                            </a:cubicBezTo>
                            <a:cubicBezTo>
                              <a:pt x="231060" y="950238"/>
                              <a:pt x="248212" y="961247"/>
                              <a:pt x="276002" y="965370"/>
                            </a:cubicBezTo>
                            <a:cubicBezTo>
                              <a:pt x="303791" y="969493"/>
                              <a:pt x="315129" y="984542"/>
                              <a:pt x="345887" y="990727"/>
                            </a:cubicBezTo>
                            <a:cubicBezTo>
                              <a:pt x="376645" y="996911"/>
                              <a:pt x="395075" y="1001034"/>
                              <a:pt x="439481" y="1008579"/>
                            </a:cubicBezTo>
                            <a:cubicBezTo>
                              <a:pt x="483886" y="1016125"/>
                              <a:pt x="543134" y="963968"/>
                              <a:pt x="555585" y="949579"/>
                            </a:cubicBezTo>
                            <a:cubicBezTo>
                              <a:pt x="566223" y="937209"/>
                              <a:pt x="556080" y="913914"/>
                              <a:pt x="552906" y="900556"/>
                            </a:cubicBezTo>
                            <a:cubicBezTo>
                              <a:pt x="534146" y="898453"/>
                              <a:pt x="517241" y="885506"/>
                              <a:pt x="503140" y="869138"/>
                            </a:cubicBezTo>
                            <a:cubicBezTo>
                              <a:pt x="502151" y="867983"/>
                              <a:pt x="501079" y="866883"/>
                              <a:pt x="499965" y="865840"/>
                            </a:cubicBezTo>
                            <a:cubicBezTo>
                              <a:pt x="496997" y="865551"/>
                              <a:pt x="493534" y="865097"/>
                              <a:pt x="492503" y="865056"/>
                            </a:cubicBezTo>
                            <a:cubicBezTo>
                              <a:pt x="472877" y="863654"/>
                              <a:pt x="454859" y="856109"/>
                              <a:pt x="442408" y="839864"/>
                            </a:cubicBezTo>
                            <a:cubicBezTo>
                              <a:pt x="436924" y="832855"/>
                              <a:pt x="433048" y="824716"/>
                              <a:pt x="431111" y="816033"/>
                            </a:cubicBezTo>
                            <a:cubicBezTo>
                              <a:pt x="424596" y="811250"/>
                              <a:pt x="416721" y="805107"/>
                              <a:pt x="406620" y="797273"/>
                            </a:cubicBezTo>
                            <a:cubicBezTo>
                              <a:pt x="397879" y="795909"/>
                              <a:pt x="389798" y="791893"/>
                              <a:pt x="383448" y="785770"/>
                            </a:cubicBezTo>
                            <a:cubicBezTo>
                              <a:pt x="390870" y="792655"/>
                              <a:pt x="365183" y="786801"/>
                              <a:pt x="360648" y="785770"/>
                            </a:cubicBezTo>
                            <a:cubicBezTo>
                              <a:pt x="351289" y="783494"/>
                              <a:pt x="342259" y="780105"/>
                              <a:pt x="333724" y="775669"/>
                            </a:cubicBezTo>
                            <a:cubicBezTo>
                              <a:pt x="321726" y="769649"/>
                              <a:pt x="309810" y="763299"/>
                              <a:pt x="297936" y="756867"/>
                            </a:cubicBezTo>
                            <a:cubicBezTo>
                              <a:pt x="295916" y="756550"/>
                              <a:pt x="294061" y="755560"/>
                              <a:pt x="292700" y="754064"/>
                            </a:cubicBezTo>
                            <a:lnTo>
                              <a:pt x="284454" y="749735"/>
                            </a:lnTo>
                            <a:cubicBezTo>
                              <a:pt x="280331" y="747591"/>
                              <a:pt x="276703" y="745364"/>
                              <a:pt x="272951" y="743096"/>
                            </a:cubicBezTo>
                            <a:cubicBezTo>
                              <a:pt x="268374" y="744049"/>
                              <a:pt x="264086" y="746180"/>
                              <a:pt x="260582" y="749281"/>
                            </a:cubicBezTo>
                            <a:cubicBezTo>
                              <a:pt x="251057" y="757527"/>
                              <a:pt x="241616" y="741736"/>
                              <a:pt x="223845" y="746519"/>
                            </a:cubicBezTo>
                            <a:cubicBezTo>
                              <a:pt x="206075" y="751301"/>
                              <a:pt x="196592" y="737613"/>
                              <a:pt x="201333" y="731469"/>
                            </a:cubicBezTo>
                            <a:cubicBezTo>
                              <a:pt x="206075" y="725326"/>
                              <a:pt x="232132" y="730768"/>
                              <a:pt x="230937" y="720502"/>
                            </a:cubicBezTo>
                            <a:cubicBezTo>
                              <a:pt x="229741" y="710236"/>
                              <a:pt x="220299" y="720502"/>
                              <a:pt x="204302" y="708133"/>
                            </a:cubicBezTo>
                            <a:cubicBezTo>
                              <a:pt x="188304" y="695764"/>
                              <a:pt x="179564" y="704010"/>
                              <a:pt x="175853" y="714318"/>
                            </a:cubicBezTo>
                            <a:cubicBezTo>
                              <a:pt x="172142" y="724625"/>
                              <a:pt x="159897" y="721822"/>
                              <a:pt x="151568" y="712957"/>
                            </a:cubicBezTo>
                            <a:cubicBezTo>
                              <a:pt x="150744" y="712108"/>
                              <a:pt x="149837" y="711361"/>
                              <a:pt x="148847" y="710731"/>
                            </a:cubicBezTo>
                            <a:cubicBezTo>
                              <a:pt x="146126" y="727882"/>
                              <a:pt x="137344" y="729614"/>
                              <a:pt x="128479" y="727223"/>
                            </a:cubicBezTo>
                            <a:cubicBezTo>
                              <a:pt x="117800" y="724460"/>
                              <a:pt x="107163" y="745034"/>
                              <a:pt x="95495" y="745034"/>
                            </a:cubicBezTo>
                            <a:cubicBezTo>
                              <a:pt x="83827" y="745034"/>
                              <a:pt x="70756" y="760125"/>
                              <a:pt x="68200" y="772494"/>
                            </a:cubicBezTo>
                            <a:cubicBezTo>
                              <a:pt x="65644" y="784863"/>
                              <a:pt x="52862" y="777977"/>
                              <a:pt x="52862" y="786182"/>
                            </a:cubicBezTo>
                            <a:cubicBezTo>
                              <a:pt x="52862" y="794387"/>
                              <a:pt x="52862" y="802674"/>
                              <a:pt x="46925" y="810921"/>
                            </a:cubicBezTo>
                            <a:cubicBezTo>
                              <a:pt x="40988" y="819167"/>
                              <a:pt x="46925" y="823290"/>
                              <a:pt x="52862" y="836978"/>
                            </a:cubicBezTo>
                            <a:cubicBezTo>
                              <a:pt x="58799" y="850667"/>
                              <a:pt x="71787" y="849347"/>
                              <a:pt x="77601" y="853470"/>
                            </a:cubicBezTo>
                            <a:cubicBezTo>
                              <a:pt x="83414" y="857593"/>
                              <a:pt x="106050" y="879569"/>
                              <a:pt x="106050" y="887774"/>
                            </a:cubicBezTo>
                            <a:cubicBezTo>
                              <a:pt x="106050" y="895979"/>
                              <a:pt x="88279" y="916635"/>
                              <a:pt x="81312" y="922078"/>
                            </a:cubicBezTo>
                            <a:cubicBezTo>
                              <a:pt x="74343" y="927520"/>
                              <a:pt x="64819" y="941250"/>
                              <a:pt x="69437" y="949496"/>
                            </a:cubicBezTo>
                            <a:cubicBezTo>
                              <a:pt x="74055" y="957742"/>
                              <a:pt x="94175" y="992046"/>
                              <a:pt x="107369" y="1019588"/>
                            </a:cubicBezTo>
                            <a:cubicBezTo>
                              <a:pt x="120563" y="1047130"/>
                              <a:pt x="102669" y="1034678"/>
                              <a:pt x="94340" y="1047006"/>
                            </a:cubicBezTo>
                            <a:cubicBezTo>
                              <a:pt x="86012" y="1059334"/>
                              <a:pt x="97886" y="1074507"/>
                              <a:pt x="100236" y="1082712"/>
                            </a:cubicBezTo>
                            <a:cubicBezTo>
                              <a:pt x="102586" y="1090917"/>
                              <a:pt x="89599" y="1089556"/>
                              <a:pt x="90794" y="1096400"/>
                            </a:cubicBezTo>
                            <a:cubicBezTo>
                              <a:pt x="91990" y="1103244"/>
                              <a:pt x="109719" y="1106048"/>
                              <a:pt x="110915" y="1111491"/>
                            </a:cubicBezTo>
                            <a:cubicBezTo>
                              <a:pt x="112111" y="1116933"/>
                              <a:pt x="99082" y="1123860"/>
                              <a:pt x="104978" y="1134827"/>
                            </a:cubicBezTo>
                            <a:cubicBezTo>
                              <a:pt x="110874" y="1145794"/>
                              <a:pt x="125140" y="1145794"/>
                              <a:pt x="126294" y="1159565"/>
                            </a:cubicBezTo>
                            <a:cubicBezTo>
                              <a:pt x="127448" y="1173336"/>
                              <a:pt x="100236" y="1174615"/>
                              <a:pt x="101555" y="1185664"/>
                            </a:cubicBezTo>
                            <a:cubicBezTo>
                              <a:pt x="102875" y="1196714"/>
                              <a:pt x="137096" y="1210403"/>
                              <a:pt x="152517" y="1231018"/>
                            </a:cubicBezTo>
                            <a:cubicBezTo>
                              <a:pt x="167937" y="1251633"/>
                              <a:pt x="166700" y="1257075"/>
                              <a:pt x="163154" y="1268125"/>
                            </a:cubicBezTo>
                            <a:cubicBezTo>
                              <a:pt x="156021" y="1290183"/>
                              <a:pt x="113430" y="1309356"/>
                              <a:pt x="103906" y="1334094"/>
                            </a:cubicBezTo>
                            <a:cubicBezTo>
                              <a:pt x="94381" y="1358832"/>
                              <a:pt x="58923" y="1372479"/>
                              <a:pt x="42348" y="1391817"/>
                            </a:cubicBezTo>
                            <a:cubicBezTo>
                              <a:pt x="35133" y="1400636"/>
                              <a:pt x="28743" y="1410073"/>
                              <a:pt x="23218" y="1420018"/>
                            </a:cubicBezTo>
                            <a:cubicBezTo>
                              <a:pt x="29031" y="1418353"/>
                              <a:pt x="34638" y="1416031"/>
                              <a:pt x="39957" y="1413091"/>
                            </a:cubicBezTo>
                            <a:cubicBezTo>
                              <a:pt x="49441" y="1407567"/>
                              <a:pt x="55955" y="1434325"/>
                              <a:pt x="65438" y="1443272"/>
                            </a:cubicBezTo>
                            <a:cubicBezTo>
                              <a:pt x="74921" y="1452219"/>
                              <a:pt x="93887" y="1443932"/>
                              <a:pt x="100360" y="1452178"/>
                            </a:cubicBezTo>
                            <a:cubicBezTo>
                              <a:pt x="106833" y="1460424"/>
                              <a:pt x="95041" y="1461084"/>
                              <a:pt x="81435" y="1458321"/>
                            </a:cubicBezTo>
                            <a:cubicBezTo>
                              <a:pt x="67829" y="1455559"/>
                              <a:pt x="64242" y="1465166"/>
                              <a:pt x="42926" y="1473412"/>
                            </a:cubicBezTo>
                            <a:cubicBezTo>
                              <a:pt x="27052" y="1479555"/>
                              <a:pt x="28578" y="1486110"/>
                              <a:pt x="23259" y="1491306"/>
                            </a:cubicBezTo>
                            <a:cubicBezTo>
                              <a:pt x="32825" y="1507427"/>
                              <a:pt x="20002" y="1509530"/>
                              <a:pt x="15013" y="1521775"/>
                            </a:cubicBezTo>
                            <a:cubicBezTo>
                              <a:pt x="9694" y="1535134"/>
                              <a:pt x="2644" y="1537195"/>
                              <a:pt x="1695" y="1545441"/>
                            </a:cubicBezTo>
                            <a:cubicBezTo>
                              <a:pt x="747" y="1553687"/>
                              <a:pt x="3468" y="1559872"/>
                              <a:pt x="4375" y="1572200"/>
                            </a:cubicBezTo>
                            <a:cubicBezTo>
                              <a:pt x="5282" y="1584528"/>
                              <a:pt x="7014" y="1586589"/>
                              <a:pt x="13240" y="1596938"/>
                            </a:cubicBezTo>
                            <a:cubicBezTo>
                              <a:pt x="19466" y="1607287"/>
                              <a:pt x="7880" y="1607246"/>
                              <a:pt x="2562" y="1612358"/>
                            </a:cubicBezTo>
                            <a:cubicBezTo>
                              <a:pt x="-2757" y="1617471"/>
                              <a:pt x="788" y="1628851"/>
                              <a:pt x="7880" y="1637097"/>
                            </a:cubicBezTo>
                            <a:cubicBezTo>
                              <a:pt x="13941" y="1644213"/>
                              <a:pt x="15673" y="1654079"/>
                              <a:pt x="12333" y="1662824"/>
                            </a:cubicBezTo>
                            <a:cubicBezTo>
                              <a:pt x="9694" y="1669998"/>
                              <a:pt x="18558" y="1682368"/>
                              <a:pt x="24702" y="1689583"/>
                            </a:cubicBezTo>
                            <a:cubicBezTo>
                              <a:pt x="30846" y="1696798"/>
                              <a:pt x="30062" y="1716341"/>
                              <a:pt x="35340" y="1721454"/>
                            </a:cubicBezTo>
                            <a:cubicBezTo>
                              <a:pt x="40617" y="1726567"/>
                              <a:pt x="46925" y="1731762"/>
                              <a:pt x="56697" y="1728669"/>
                            </a:cubicBezTo>
                            <a:cubicBezTo>
                              <a:pt x="66469" y="1725577"/>
                              <a:pt x="72653" y="1730731"/>
                              <a:pt x="77312" y="1740008"/>
                            </a:cubicBezTo>
                            <a:cubicBezTo>
                              <a:pt x="81971" y="1749285"/>
                              <a:pt x="88857" y="1745120"/>
                              <a:pt x="98669" y="1740008"/>
                            </a:cubicBezTo>
                            <a:cubicBezTo>
                              <a:pt x="108482" y="1734895"/>
                              <a:pt x="130623" y="1749243"/>
                              <a:pt x="135777" y="1752377"/>
                            </a:cubicBezTo>
                            <a:cubicBezTo>
                              <a:pt x="140931" y="1755510"/>
                              <a:pt x="138457" y="1772992"/>
                              <a:pt x="139323" y="1784248"/>
                            </a:cubicBezTo>
                            <a:cubicBezTo>
                              <a:pt x="140188" y="1795504"/>
                              <a:pt x="134004" y="1809976"/>
                              <a:pt x="143776" y="1817233"/>
                            </a:cubicBezTo>
                            <a:cubicBezTo>
                              <a:pt x="153547" y="1824489"/>
                              <a:pt x="150909" y="1840899"/>
                              <a:pt x="162453" y="1846094"/>
                            </a:cubicBezTo>
                            <a:cubicBezTo>
                              <a:pt x="173998" y="1851289"/>
                              <a:pt x="178409" y="1869760"/>
                              <a:pt x="185542" y="1871822"/>
                            </a:cubicBezTo>
                            <a:cubicBezTo>
                              <a:pt x="192675" y="1873883"/>
                              <a:pt x="206157" y="1886211"/>
                              <a:pt x="207765" y="1895488"/>
                            </a:cubicBezTo>
                            <a:cubicBezTo>
                              <a:pt x="209373" y="1904765"/>
                              <a:pt x="195396" y="1912970"/>
                              <a:pt x="187150" y="1917051"/>
                            </a:cubicBezTo>
                            <a:cubicBezTo>
                              <a:pt x="178904" y="1921133"/>
                              <a:pt x="164061" y="1904682"/>
                              <a:pt x="158742" y="1911939"/>
                            </a:cubicBezTo>
                            <a:cubicBezTo>
                              <a:pt x="153424" y="1919195"/>
                              <a:pt x="160515" y="1932554"/>
                              <a:pt x="164927" y="1955148"/>
                            </a:cubicBezTo>
                            <a:cubicBezTo>
                              <a:pt x="169339" y="1977743"/>
                              <a:pt x="173173" y="1979887"/>
                              <a:pt x="181831" y="1979887"/>
                            </a:cubicBezTo>
                            <a:cubicBezTo>
                              <a:pt x="190490" y="1979887"/>
                              <a:pt x="194201" y="1972671"/>
                              <a:pt x="200468" y="1968548"/>
                            </a:cubicBezTo>
                            <a:cubicBezTo>
                              <a:pt x="206734" y="1964425"/>
                              <a:pt x="221083" y="1970610"/>
                              <a:pt x="227144" y="1967559"/>
                            </a:cubicBezTo>
                            <a:cubicBezTo>
                              <a:pt x="233204" y="1964508"/>
                              <a:pt x="255552" y="1963436"/>
                              <a:pt x="260128" y="1971682"/>
                            </a:cubicBezTo>
                            <a:cubicBezTo>
                              <a:pt x="264705" y="1979928"/>
                              <a:pt x="268993" y="1999471"/>
                              <a:pt x="265446" y="2006686"/>
                            </a:cubicBezTo>
                            <a:cubicBezTo>
                              <a:pt x="261901" y="2013902"/>
                              <a:pt x="269900" y="2022106"/>
                              <a:pt x="274352" y="2032414"/>
                            </a:cubicBezTo>
                            <a:cubicBezTo>
                              <a:pt x="278806" y="2042722"/>
                              <a:pt x="297441" y="2037527"/>
                              <a:pt x="303667" y="2040660"/>
                            </a:cubicBezTo>
                            <a:cubicBezTo>
                              <a:pt x="309893" y="2043794"/>
                              <a:pt x="324282" y="2066347"/>
                              <a:pt x="321438" y="2076655"/>
                            </a:cubicBezTo>
                            <a:cubicBezTo>
                              <a:pt x="318593" y="2086962"/>
                              <a:pt x="330302" y="2089024"/>
                              <a:pt x="336528" y="2085890"/>
                            </a:cubicBezTo>
                            <a:cubicBezTo>
                              <a:pt x="342754" y="2082757"/>
                              <a:pt x="348897" y="2091044"/>
                              <a:pt x="356071" y="2096198"/>
                            </a:cubicBezTo>
                            <a:cubicBezTo>
                              <a:pt x="363246" y="2101352"/>
                              <a:pt x="369389" y="2099290"/>
                              <a:pt x="376687" y="2094136"/>
                            </a:cubicBezTo>
                            <a:cubicBezTo>
                              <a:pt x="383984" y="2088982"/>
                              <a:pt x="395322" y="2084901"/>
                              <a:pt x="398869" y="2092075"/>
                            </a:cubicBezTo>
                            <a:cubicBezTo>
                              <a:pt x="402414" y="2099249"/>
                              <a:pt x="416639" y="2112690"/>
                              <a:pt x="416639" y="2116813"/>
                            </a:cubicBezTo>
                            <a:cubicBezTo>
                              <a:pt x="416639" y="2120936"/>
                              <a:pt x="438862" y="2116813"/>
                              <a:pt x="449623" y="2122998"/>
                            </a:cubicBezTo>
                            <a:cubicBezTo>
                              <a:pt x="460384" y="2129182"/>
                              <a:pt x="471846" y="2126049"/>
                              <a:pt x="483391" y="2133305"/>
                            </a:cubicBezTo>
                            <a:cubicBezTo>
                              <a:pt x="494935" y="2140562"/>
                              <a:pt x="505614" y="2141551"/>
                              <a:pt x="506480" y="2149797"/>
                            </a:cubicBezTo>
                            <a:cubicBezTo>
                              <a:pt x="507346" y="2158043"/>
                              <a:pt x="494935" y="2165218"/>
                              <a:pt x="494935" y="2169341"/>
                            </a:cubicBezTo>
                            <a:cubicBezTo>
                              <a:pt x="494935" y="2173464"/>
                              <a:pt x="504707" y="2176515"/>
                              <a:pt x="504707" y="2182699"/>
                            </a:cubicBezTo>
                            <a:cubicBezTo>
                              <a:pt x="504707" y="2188884"/>
                              <a:pt x="492338" y="2188884"/>
                              <a:pt x="490524" y="2193996"/>
                            </a:cubicBezTo>
                            <a:cubicBezTo>
                              <a:pt x="488710" y="2199109"/>
                              <a:pt x="497615" y="2206365"/>
                              <a:pt x="499389" y="2211519"/>
                            </a:cubicBezTo>
                            <a:cubicBezTo>
                              <a:pt x="501161" y="2216673"/>
                              <a:pt x="492255" y="2234155"/>
                              <a:pt x="492255" y="2239309"/>
                            </a:cubicBezTo>
                            <a:cubicBezTo>
                              <a:pt x="492255" y="2244463"/>
                              <a:pt x="465621" y="2238237"/>
                              <a:pt x="459271" y="2238237"/>
                            </a:cubicBezTo>
                            <a:cubicBezTo>
                              <a:pt x="452922" y="2238237"/>
                              <a:pt x="434533" y="2261944"/>
                              <a:pt x="428183" y="2262975"/>
                            </a:cubicBezTo>
                            <a:cubicBezTo>
                              <a:pt x="422906" y="2263882"/>
                              <a:pt x="425380" y="2275344"/>
                              <a:pt x="427317" y="2284992"/>
                            </a:cubicBezTo>
                            <a:cubicBezTo>
                              <a:pt x="446448" y="2280869"/>
                              <a:pt x="466074" y="2279014"/>
                              <a:pt x="468177" y="2283920"/>
                            </a:cubicBezTo>
                            <a:cubicBezTo>
                              <a:pt x="471723" y="2292166"/>
                              <a:pt x="426699" y="2314142"/>
                              <a:pt x="418412" y="2317523"/>
                            </a:cubicBezTo>
                            <a:cubicBezTo>
                              <a:pt x="410125" y="2320904"/>
                              <a:pt x="434409" y="2335334"/>
                              <a:pt x="433832" y="2343622"/>
                            </a:cubicBezTo>
                            <a:cubicBezTo>
                              <a:pt x="433255" y="2351909"/>
                              <a:pt x="407733" y="2353888"/>
                              <a:pt x="410125" y="2370339"/>
                            </a:cubicBezTo>
                            <a:cubicBezTo>
                              <a:pt x="412516" y="2386790"/>
                              <a:pt x="401878" y="2390253"/>
                              <a:pt x="388190" y="2390253"/>
                            </a:cubicBezTo>
                            <a:cubicBezTo>
                              <a:pt x="374501" y="2390253"/>
                              <a:pt x="371038" y="2399860"/>
                              <a:pt x="377552" y="2401221"/>
                            </a:cubicBezTo>
                            <a:cubicBezTo>
                              <a:pt x="384067" y="2402581"/>
                              <a:pt x="383448" y="2423155"/>
                              <a:pt x="408970" y="2430701"/>
                            </a:cubicBezTo>
                            <a:cubicBezTo>
                              <a:pt x="434491" y="2438246"/>
                              <a:pt x="461663" y="2465705"/>
                              <a:pt x="483597" y="2493124"/>
                            </a:cubicBezTo>
                            <a:cubicBezTo>
                              <a:pt x="486565" y="2496801"/>
                              <a:pt x="490070" y="2499997"/>
                              <a:pt x="493987" y="2502606"/>
                            </a:cubicBezTo>
                            <a:cubicBezTo>
                              <a:pt x="498481" y="2499003"/>
                              <a:pt x="503594" y="2496212"/>
                              <a:pt x="509036" y="2494360"/>
                            </a:cubicBezTo>
                            <a:cubicBezTo>
                              <a:pt x="521406" y="2492299"/>
                              <a:pt x="544577" y="2500504"/>
                              <a:pt x="556987" y="2510853"/>
                            </a:cubicBezTo>
                            <a:cubicBezTo>
                              <a:pt x="569398" y="2521201"/>
                              <a:pt x="613844" y="2508832"/>
                              <a:pt x="619205" y="2517037"/>
                            </a:cubicBezTo>
                            <a:cubicBezTo>
                              <a:pt x="624564" y="2525242"/>
                              <a:pt x="635201" y="2535550"/>
                              <a:pt x="643943" y="2535550"/>
                            </a:cubicBezTo>
                            <a:cubicBezTo>
                              <a:pt x="652683" y="2535550"/>
                              <a:pt x="661712" y="2556165"/>
                              <a:pt x="668681" y="2549980"/>
                            </a:cubicBezTo>
                            <a:cubicBezTo>
                              <a:pt x="675649" y="2543796"/>
                              <a:pt x="702449" y="2543796"/>
                              <a:pt x="709581" y="2543796"/>
                            </a:cubicBezTo>
                            <a:cubicBezTo>
                              <a:pt x="716714" y="2543796"/>
                              <a:pt x="716673" y="2549980"/>
                              <a:pt x="723764" y="2549980"/>
                            </a:cubicBezTo>
                            <a:cubicBezTo>
                              <a:pt x="730856" y="2549980"/>
                              <a:pt x="730897" y="2580862"/>
                              <a:pt x="736134" y="2578842"/>
                            </a:cubicBezTo>
                            <a:cubicBezTo>
                              <a:pt x="741370" y="2576821"/>
                              <a:pt x="760872" y="2597313"/>
                              <a:pt x="773447" y="2599457"/>
                            </a:cubicBezTo>
                            <a:cubicBezTo>
                              <a:pt x="786023" y="2601601"/>
                              <a:pt x="798186" y="2626174"/>
                              <a:pt x="803670" y="2624195"/>
                            </a:cubicBezTo>
                            <a:cubicBezTo>
                              <a:pt x="809153" y="2622216"/>
                              <a:pt x="817894" y="2634461"/>
                              <a:pt x="821439" y="2624195"/>
                            </a:cubicBezTo>
                            <a:cubicBezTo>
                              <a:pt x="824985" y="2613929"/>
                              <a:pt x="842343" y="2619206"/>
                              <a:pt x="847249" y="2602260"/>
                            </a:cubicBezTo>
                            <a:cubicBezTo>
                              <a:pt x="824779" y="2570348"/>
                              <a:pt x="800619" y="2534972"/>
                              <a:pt x="801319" y="2521284"/>
                            </a:cubicBezTo>
                            <a:cubicBezTo>
                              <a:pt x="802474" y="2497989"/>
                              <a:pt x="810761" y="2482898"/>
                              <a:pt x="785899" y="2458201"/>
                            </a:cubicBezTo>
                            <a:cubicBezTo>
                              <a:pt x="761037" y="2433504"/>
                              <a:pt x="788290" y="2416971"/>
                              <a:pt x="806060" y="2390954"/>
                            </a:cubicBezTo>
                            <a:cubicBezTo>
                              <a:pt x="821934" y="2367659"/>
                              <a:pt x="855537" y="2357475"/>
                              <a:pt x="877100" y="2340859"/>
                            </a:cubicBezTo>
                            <a:cubicBezTo>
                              <a:pt x="873060" y="2337483"/>
                              <a:pt x="868730" y="2334510"/>
                              <a:pt x="864113" y="2331995"/>
                            </a:cubicBezTo>
                            <a:cubicBezTo>
                              <a:pt x="848074" y="2323749"/>
                              <a:pt x="842756" y="2315503"/>
                              <a:pt x="855208" y="2311380"/>
                            </a:cubicBezTo>
                            <a:cubicBezTo>
                              <a:pt x="867658" y="2307257"/>
                              <a:pt x="862299" y="2299010"/>
                              <a:pt x="849848" y="2282518"/>
                            </a:cubicBezTo>
                            <a:cubicBezTo>
                              <a:pt x="837396" y="2266026"/>
                              <a:pt x="832118" y="2249534"/>
                              <a:pt x="825109" y="2249534"/>
                            </a:cubicBezTo>
                            <a:cubicBezTo>
                              <a:pt x="818100" y="2249534"/>
                              <a:pt x="807339" y="2247514"/>
                              <a:pt x="796701" y="2251595"/>
                            </a:cubicBezTo>
                            <a:cubicBezTo>
                              <a:pt x="786064" y="2255677"/>
                              <a:pt x="787795" y="2241288"/>
                              <a:pt x="789568" y="2226857"/>
                            </a:cubicBezTo>
                            <a:cubicBezTo>
                              <a:pt x="791342" y="2212426"/>
                              <a:pt x="770025" y="2214488"/>
                              <a:pt x="766480" y="2208345"/>
                            </a:cubicBezTo>
                            <a:cubicBezTo>
                              <a:pt x="762933" y="2202201"/>
                              <a:pt x="771798" y="2181586"/>
                              <a:pt x="775385" y="2179483"/>
                            </a:cubicBezTo>
                            <a:cubicBezTo>
                              <a:pt x="778973" y="2177381"/>
                              <a:pt x="789568" y="2171237"/>
                              <a:pt x="789568" y="2165094"/>
                            </a:cubicBezTo>
                            <a:cubicBezTo>
                              <a:pt x="789568" y="2158950"/>
                              <a:pt x="770025" y="2156848"/>
                              <a:pt x="777199" y="2142458"/>
                            </a:cubicBezTo>
                            <a:cubicBezTo>
                              <a:pt x="784373" y="2128069"/>
                              <a:pt x="798516" y="2128028"/>
                              <a:pt x="798516" y="2113597"/>
                            </a:cubicBezTo>
                            <a:cubicBezTo>
                              <a:pt x="798516" y="2099166"/>
                              <a:pt x="809194" y="2086838"/>
                              <a:pt x="821646" y="2097105"/>
                            </a:cubicBezTo>
                            <a:cubicBezTo>
                              <a:pt x="834097" y="2107371"/>
                              <a:pt x="839416" y="2134212"/>
                              <a:pt x="853640" y="2127945"/>
                            </a:cubicBezTo>
                            <a:cubicBezTo>
                              <a:pt x="867865" y="2121678"/>
                              <a:pt x="858959" y="2107330"/>
                              <a:pt x="857187" y="2099084"/>
                            </a:cubicBezTo>
                            <a:cubicBezTo>
                              <a:pt x="855413" y="2090838"/>
                              <a:pt x="851868" y="2078469"/>
                              <a:pt x="867865" y="2074346"/>
                            </a:cubicBezTo>
                            <a:cubicBezTo>
                              <a:pt x="883863" y="2070223"/>
                              <a:pt x="876730" y="2051710"/>
                              <a:pt x="889182" y="2051710"/>
                            </a:cubicBezTo>
                            <a:cubicBezTo>
                              <a:pt x="901633" y="2051710"/>
                              <a:pt x="924722" y="2033197"/>
                              <a:pt x="931813" y="2029074"/>
                            </a:cubicBezTo>
                            <a:cubicBezTo>
                              <a:pt x="938905" y="2024951"/>
                              <a:pt x="954903" y="2014685"/>
                              <a:pt x="961994" y="2018767"/>
                            </a:cubicBezTo>
                            <a:cubicBezTo>
                              <a:pt x="969086" y="2022849"/>
                              <a:pt x="977991" y="2033197"/>
                              <a:pt x="983351" y="2018767"/>
                            </a:cubicBezTo>
                            <a:cubicBezTo>
                              <a:pt x="988711" y="2004336"/>
                              <a:pt x="1009986" y="2010521"/>
                              <a:pt x="1011760" y="2018767"/>
                            </a:cubicBezTo>
                            <a:cubicBezTo>
                              <a:pt x="1013532" y="2027013"/>
                              <a:pt x="1047300" y="2027013"/>
                              <a:pt x="1057938" y="2035259"/>
                            </a:cubicBezTo>
                            <a:cubicBezTo>
                              <a:pt x="1068575" y="2043505"/>
                              <a:pt x="1091705" y="2059997"/>
                              <a:pt x="1091705" y="2068243"/>
                            </a:cubicBezTo>
                            <a:cubicBezTo>
                              <a:pt x="1091705" y="2076489"/>
                              <a:pt x="1102384" y="2088859"/>
                              <a:pt x="1102384" y="2074428"/>
                            </a:cubicBezTo>
                            <a:cubicBezTo>
                              <a:pt x="1102384" y="2059997"/>
                              <a:pt x="1111248" y="2064162"/>
                              <a:pt x="1125473" y="2074428"/>
                            </a:cubicBezTo>
                            <a:cubicBezTo>
                              <a:pt x="1139698" y="2084695"/>
                              <a:pt x="1159241" y="2080571"/>
                              <a:pt x="1162580" y="2070305"/>
                            </a:cubicBezTo>
                            <a:cubicBezTo>
                              <a:pt x="1165920" y="2060039"/>
                              <a:pt x="1192761" y="2047669"/>
                              <a:pt x="1201666" y="2055915"/>
                            </a:cubicBezTo>
                            <a:cubicBezTo>
                              <a:pt x="1210573" y="2064162"/>
                              <a:pt x="1214036" y="2070305"/>
                              <a:pt x="1224756" y="2057977"/>
                            </a:cubicBezTo>
                            <a:cubicBezTo>
                              <a:pt x="1235476" y="2045649"/>
                              <a:pt x="1260297" y="2047669"/>
                              <a:pt x="1263842" y="2059997"/>
                            </a:cubicBezTo>
                            <a:cubicBezTo>
                              <a:pt x="1267389" y="2072325"/>
                              <a:pt x="1279840" y="2074428"/>
                              <a:pt x="1290518" y="2074428"/>
                            </a:cubicBezTo>
                            <a:cubicBezTo>
                              <a:pt x="1301197" y="2074428"/>
                              <a:pt x="1302887" y="2092941"/>
                              <a:pt x="1310020" y="2088818"/>
                            </a:cubicBezTo>
                            <a:cubicBezTo>
                              <a:pt x="1317153" y="2084695"/>
                              <a:pt x="1315380" y="2064079"/>
                              <a:pt x="1324245" y="2066182"/>
                            </a:cubicBezTo>
                            <a:cubicBezTo>
                              <a:pt x="1333110" y="2068285"/>
                              <a:pt x="1340242" y="2080571"/>
                              <a:pt x="1354467" y="2080571"/>
                            </a:cubicBezTo>
                            <a:cubicBezTo>
                              <a:pt x="1368691" y="2080571"/>
                              <a:pt x="1379205" y="2076448"/>
                              <a:pt x="1379205" y="2064079"/>
                            </a:cubicBezTo>
                            <a:cubicBezTo>
                              <a:pt x="1379205" y="2051710"/>
                              <a:pt x="1377474" y="2031095"/>
                              <a:pt x="1368568" y="2031095"/>
                            </a:cubicBezTo>
                            <a:cubicBezTo>
                              <a:pt x="1359662" y="2031095"/>
                              <a:pt x="1350798" y="2020787"/>
                              <a:pt x="1340119" y="2020787"/>
                            </a:cubicBezTo>
                            <a:cubicBezTo>
                              <a:pt x="1329440" y="2020787"/>
                              <a:pt x="1318803" y="2000172"/>
                              <a:pt x="1329481" y="1996049"/>
                            </a:cubicBezTo>
                            <a:cubicBezTo>
                              <a:pt x="1340160" y="1991926"/>
                              <a:pt x="1357889" y="1981659"/>
                              <a:pt x="1354219" y="1971311"/>
                            </a:cubicBezTo>
                            <a:cubicBezTo>
                              <a:pt x="1350550" y="1960962"/>
                              <a:pt x="1347128" y="1940470"/>
                              <a:pt x="1361312" y="1938326"/>
                            </a:cubicBezTo>
                            <a:cubicBezTo>
                              <a:pt x="1375495" y="1936182"/>
                              <a:pt x="1405716" y="1936265"/>
                              <a:pt x="1403985" y="1930080"/>
                            </a:cubicBezTo>
                            <a:cubicBezTo>
                              <a:pt x="1402253" y="1923896"/>
                              <a:pt x="1373762" y="1919814"/>
                              <a:pt x="1368444" y="1909465"/>
                            </a:cubicBezTo>
                            <a:cubicBezTo>
                              <a:pt x="1363126" y="1899116"/>
                              <a:pt x="1361312" y="1874501"/>
                              <a:pt x="1366630" y="1870378"/>
                            </a:cubicBezTo>
                            <a:cubicBezTo>
                              <a:pt x="1371948" y="1866255"/>
                              <a:pt x="1389760" y="1872440"/>
                              <a:pt x="1400439" y="1868317"/>
                            </a:cubicBezTo>
                            <a:cubicBezTo>
                              <a:pt x="1411117" y="1864194"/>
                              <a:pt x="1434207" y="1874501"/>
                              <a:pt x="1448390" y="1862132"/>
                            </a:cubicBezTo>
                            <a:cubicBezTo>
                              <a:pt x="1462573" y="1849763"/>
                              <a:pt x="1492795" y="1847702"/>
                              <a:pt x="1508792" y="1847702"/>
                            </a:cubicBezTo>
                            <a:cubicBezTo>
                              <a:pt x="1524790" y="1847702"/>
                              <a:pt x="1537200" y="1835333"/>
                              <a:pt x="1549693" y="1833312"/>
                            </a:cubicBezTo>
                            <a:cubicBezTo>
                              <a:pt x="1562186" y="1831292"/>
                              <a:pt x="1597644" y="1825066"/>
                              <a:pt x="1606509" y="1820943"/>
                            </a:cubicBezTo>
                            <a:cubicBezTo>
                              <a:pt x="1615373" y="1816820"/>
                              <a:pt x="1663366" y="1808574"/>
                              <a:pt x="1665139" y="1798308"/>
                            </a:cubicBezTo>
                            <a:cubicBezTo>
                              <a:pt x="1666911" y="1788041"/>
                              <a:pt x="1705132" y="1779795"/>
                              <a:pt x="1714904" y="1784949"/>
                            </a:cubicBezTo>
                            <a:cubicBezTo>
                              <a:pt x="1724675" y="1790103"/>
                              <a:pt x="1737127" y="1794185"/>
                              <a:pt x="1745991" y="1790062"/>
                            </a:cubicBezTo>
                            <a:cubicBezTo>
                              <a:pt x="1754856" y="1785939"/>
                              <a:pt x="1773534" y="1797277"/>
                              <a:pt x="1771760" y="1808615"/>
                            </a:cubicBezTo>
                            <a:cubicBezTo>
                              <a:pt x="1769987" y="1819954"/>
                              <a:pt x="1779760" y="1832240"/>
                              <a:pt x="1778893" y="1841600"/>
                            </a:cubicBezTo>
                            <a:cubicBezTo>
                              <a:pt x="1778027" y="1850959"/>
                              <a:pt x="1769080" y="1853969"/>
                              <a:pt x="1774441" y="1861143"/>
                            </a:cubicBezTo>
                            <a:cubicBezTo>
                              <a:pt x="1779801" y="1868317"/>
                              <a:pt x="1803755" y="1863204"/>
                              <a:pt x="1810846" y="1853969"/>
                            </a:cubicBezTo>
                            <a:cubicBezTo>
                              <a:pt x="1817939" y="1844733"/>
                              <a:pt x="1825937" y="1858092"/>
                              <a:pt x="1825937" y="1865266"/>
                            </a:cubicBezTo>
                            <a:cubicBezTo>
                              <a:pt x="1825937" y="1872440"/>
                              <a:pt x="1837482" y="1877635"/>
                              <a:pt x="1837482" y="1868358"/>
                            </a:cubicBezTo>
                            <a:cubicBezTo>
                              <a:pt x="1837482" y="1859081"/>
                              <a:pt x="1851706" y="1865266"/>
                              <a:pt x="1856159" y="1871450"/>
                            </a:cubicBezTo>
                            <a:cubicBezTo>
                              <a:pt x="1860612" y="1877635"/>
                              <a:pt x="1877517" y="1864235"/>
                              <a:pt x="1877517" y="1874543"/>
                            </a:cubicBezTo>
                            <a:cubicBezTo>
                              <a:pt x="1877517" y="1884850"/>
                              <a:pt x="1852779" y="1893055"/>
                              <a:pt x="1863251" y="1904352"/>
                            </a:cubicBezTo>
                            <a:cubicBezTo>
                              <a:pt x="1873723" y="1915650"/>
                              <a:pt x="1880155" y="1890952"/>
                              <a:pt x="1893472" y="1896106"/>
                            </a:cubicBezTo>
                            <a:cubicBezTo>
                              <a:pt x="1906790" y="1901260"/>
                              <a:pt x="1924560" y="1878583"/>
                              <a:pt x="1937012" y="1875491"/>
                            </a:cubicBezTo>
                            <a:cubicBezTo>
                              <a:pt x="1949464" y="1872399"/>
                              <a:pt x="1962740" y="1858999"/>
                              <a:pt x="1973419" y="1851866"/>
                            </a:cubicBezTo>
                            <a:cubicBezTo>
                              <a:pt x="1984097" y="1844733"/>
                              <a:pt x="2007186" y="1846712"/>
                              <a:pt x="2000095" y="1854917"/>
                            </a:cubicBezTo>
                            <a:cubicBezTo>
                              <a:pt x="1993003" y="1863122"/>
                              <a:pt x="1984964" y="1878583"/>
                              <a:pt x="2011640" y="1889922"/>
                            </a:cubicBezTo>
                            <a:cubicBezTo>
                              <a:pt x="2038316" y="1901260"/>
                              <a:pt x="2068496" y="1960921"/>
                              <a:pt x="2085359" y="1990730"/>
                            </a:cubicBezTo>
                            <a:cubicBezTo>
                              <a:pt x="2102223" y="2020540"/>
                              <a:pt x="2118344" y="2074098"/>
                              <a:pt x="2127085" y="2074098"/>
                            </a:cubicBezTo>
                            <a:cubicBezTo>
                              <a:pt x="2135825" y="2074098"/>
                              <a:pt x="2138670" y="2047340"/>
                              <a:pt x="2150215" y="2044247"/>
                            </a:cubicBezTo>
                            <a:cubicBezTo>
                              <a:pt x="2161759" y="2041155"/>
                              <a:pt x="2168851" y="2066883"/>
                              <a:pt x="2181303" y="2069975"/>
                            </a:cubicBezTo>
                            <a:cubicBezTo>
                              <a:pt x="2193754" y="2073068"/>
                              <a:pt x="2210618" y="2081314"/>
                              <a:pt x="2220389" y="2077149"/>
                            </a:cubicBezTo>
                            <a:cubicBezTo>
                              <a:pt x="2230161" y="2072985"/>
                              <a:pt x="2252384" y="2058637"/>
                              <a:pt x="2260341" y="2063832"/>
                            </a:cubicBezTo>
                            <a:cubicBezTo>
                              <a:pt x="2268299" y="2069027"/>
                              <a:pt x="2279019" y="2068944"/>
                              <a:pt x="2286151" y="2088570"/>
                            </a:cubicBezTo>
                            <a:cubicBezTo>
                              <a:pt x="2293284" y="2108196"/>
                              <a:pt x="2303922" y="2112278"/>
                              <a:pt x="2310890" y="2112278"/>
                            </a:cubicBezTo>
                            <a:cubicBezTo>
                              <a:pt x="2317858" y="2112278"/>
                              <a:pt x="2319507" y="2121513"/>
                              <a:pt x="2319507" y="2129759"/>
                            </a:cubicBezTo>
                            <a:cubicBezTo>
                              <a:pt x="2319507" y="2138006"/>
                              <a:pt x="2332494" y="2148973"/>
                              <a:pt x="2339627" y="2148973"/>
                            </a:cubicBezTo>
                            <a:cubicBezTo>
                              <a:pt x="2346761" y="2148973"/>
                              <a:pt x="2365685" y="2146169"/>
                              <a:pt x="2371581" y="2142087"/>
                            </a:cubicBezTo>
                            <a:cubicBezTo>
                              <a:pt x="2377477" y="2138006"/>
                              <a:pt x="2384652" y="2133841"/>
                              <a:pt x="2385806" y="2143489"/>
                            </a:cubicBezTo>
                            <a:cubicBezTo>
                              <a:pt x="2386961" y="2153137"/>
                              <a:pt x="2397680" y="2168227"/>
                              <a:pt x="2404772" y="2168227"/>
                            </a:cubicBezTo>
                            <a:cubicBezTo>
                              <a:pt x="2411863" y="2168227"/>
                              <a:pt x="2426088" y="2175113"/>
                              <a:pt x="2427283" y="2168227"/>
                            </a:cubicBezTo>
                            <a:cubicBezTo>
                              <a:pt x="2428479" y="2161342"/>
                              <a:pt x="2447404" y="2157301"/>
                              <a:pt x="2454537" y="2155858"/>
                            </a:cubicBezTo>
                            <a:cubicBezTo>
                              <a:pt x="2461670" y="2154415"/>
                              <a:pt x="2486532" y="2149014"/>
                              <a:pt x="2491232" y="2136645"/>
                            </a:cubicBezTo>
                            <a:cubicBezTo>
                              <a:pt x="2495933" y="2124276"/>
                              <a:pt x="2515970" y="2124276"/>
                              <a:pt x="2522031" y="2116030"/>
                            </a:cubicBezTo>
                            <a:cubicBezTo>
                              <a:pt x="2528092" y="2107784"/>
                              <a:pt x="2544502" y="2103661"/>
                              <a:pt x="2548089" y="2095414"/>
                            </a:cubicBezTo>
                            <a:cubicBezTo>
                              <a:pt x="2551676" y="2087168"/>
                              <a:pt x="2572827" y="2088570"/>
                              <a:pt x="2575342" y="2081685"/>
                            </a:cubicBezTo>
                            <a:cubicBezTo>
                              <a:pt x="2577857" y="2074799"/>
                              <a:pt x="2595462" y="2073438"/>
                              <a:pt x="2603791" y="2076201"/>
                            </a:cubicBezTo>
                            <a:cubicBezTo>
                              <a:pt x="2612120" y="2078963"/>
                              <a:pt x="2653515" y="2088570"/>
                              <a:pt x="2659411" y="2087168"/>
                            </a:cubicBezTo>
                            <a:cubicBezTo>
                              <a:pt x="2665307" y="2085766"/>
                              <a:pt x="2666544" y="2111907"/>
                              <a:pt x="2672440" y="2113226"/>
                            </a:cubicBezTo>
                            <a:cubicBezTo>
                              <a:pt x="2678336" y="2114545"/>
                              <a:pt x="2699734" y="2133841"/>
                              <a:pt x="2705630" y="2128358"/>
                            </a:cubicBezTo>
                            <a:cubicBezTo>
                              <a:pt x="2711527" y="2122874"/>
                              <a:pt x="2725751" y="2117349"/>
                              <a:pt x="2737625" y="2125554"/>
                            </a:cubicBezTo>
                            <a:cubicBezTo>
                              <a:pt x="2749500" y="2133759"/>
                              <a:pt x="2761332" y="2144808"/>
                              <a:pt x="2766033" y="2135202"/>
                            </a:cubicBezTo>
                            <a:cubicBezTo>
                              <a:pt x="2770733" y="2125595"/>
                              <a:pt x="2795636" y="2121472"/>
                              <a:pt x="2799018" y="2115988"/>
                            </a:cubicBezTo>
                            <a:cubicBezTo>
                              <a:pt x="2802398" y="2110505"/>
                              <a:pt x="2806109" y="2094012"/>
                              <a:pt x="2800172" y="2088529"/>
                            </a:cubicBezTo>
                            <a:cubicBezTo>
                              <a:pt x="2794234" y="2083045"/>
                              <a:pt x="2788339" y="2061111"/>
                              <a:pt x="2785947" y="2050143"/>
                            </a:cubicBezTo>
                            <a:cubicBezTo>
                              <a:pt x="2783556" y="2039176"/>
                              <a:pt x="2800172" y="2036414"/>
                              <a:pt x="2802439" y="2026807"/>
                            </a:cubicBezTo>
                            <a:cubicBezTo>
                              <a:pt x="2804707" y="2017200"/>
                              <a:pt x="2818931" y="2015840"/>
                              <a:pt x="2823756" y="2010315"/>
                            </a:cubicBezTo>
                            <a:cubicBezTo>
                              <a:pt x="2828580" y="2004790"/>
                              <a:pt x="2829693" y="1992544"/>
                              <a:pt x="2837980" y="1995266"/>
                            </a:cubicBezTo>
                            <a:cubicBezTo>
                              <a:pt x="2846268" y="1997987"/>
                              <a:pt x="2864038" y="2004872"/>
                              <a:pt x="2867583" y="2008995"/>
                            </a:cubicBezTo>
                            <a:cubicBezTo>
                              <a:pt x="2871130" y="2013118"/>
                              <a:pt x="2884076" y="2015840"/>
                              <a:pt x="2892322" y="2015840"/>
                            </a:cubicBezTo>
                            <a:cubicBezTo>
                              <a:pt x="2900568" y="2015840"/>
                              <a:pt x="2913639" y="2024086"/>
                              <a:pt x="2921926" y="2029569"/>
                            </a:cubicBezTo>
                            <a:cubicBezTo>
                              <a:pt x="2930212" y="2035053"/>
                              <a:pt x="2956311" y="2035012"/>
                              <a:pt x="2961012" y="2043299"/>
                            </a:cubicBezTo>
                            <a:cubicBezTo>
                              <a:pt x="2965712" y="2051586"/>
                              <a:pt x="2959816" y="2074840"/>
                              <a:pt x="2965753" y="2083086"/>
                            </a:cubicBezTo>
                            <a:cubicBezTo>
                              <a:pt x="2971690" y="2091333"/>
                              <a:pt x="2985915" y="2109103"/>
                              <a:pt x="2990492" y="2105021"/>
                            </a:cubicBezTo>
                            <a:cubicBezTo>
                              <a:pt x="2995069" y="2100939"/>
                              <a:pt x="3017704" y="2118751"/>
                              <a:pt x="3026033" y="2117390"/>
                            </a:cubicBezTo>
                            <a:cubicBezTo>
                              <a:pt x="3034360" y="2116030"/>
                              <a:pt x="3047349" y="2100898"/>
                              <a:pt x="3054440" y="2100898"/>
                            </a:cubicBezTo>
                            <a:cubicBezTo>
                              <a:pt x="3061532" y="2100898"/>
                              <a:pt x="3084085" y="2094054"/>
                              <a:pt x="3091135" y="2095456"/>
                            </a:cubicBezTo>
                            <a:cubicBezTo>
                              <a:pt x="3098186" y="2096857"/>
                              <a:pt x="3124119" y="2107825"/>
                              <a:pt x="3127913" y="2105062"/>
                            </a:cubicBezTo>
                            <a:cubicBezTo>
                              <a:pt x="3131706" y="2102300"/>
                              <a:pt x="3155083" y="2106423"/>
                              <a:pt x="3158671" y="2114669"/>
                            </a:cubicBezTo>
                            <a:cubicBezTo>
                              <a:pt x="3162257" y="2122915"/>
                              <a:pt x="3191655" y="2122915"/>
                              <a:pt x="3191655" y="2132481"/>
                            </a:cubicBezTo>
                            <a:cubicBezTo>
                              <a:pt x="3191655" y="2142046"/>
                              <a:pt x="3208147" y="2147571"/>
                              <a:pt x="3213012" y="2158538"/>
                            </a:cubicBezTo>
                            <a:cubicBezTo>
                              <a:pt x="3217877" y="2169505"/>
                              <a:pt x="3256841" y="2162661"/>
                              <a:pt x="3263974" y="2169547"/>
                            </a:cubicBezTo>
                            <a:cubicBezTo>
                              <a:pt x="3271106" y="2176432"/>
                              <a:pt x="3316047" y="2175030"/>
                              <a:pt x="3317243" y="2169547"/>
                            </a:cubicBezTo>
                            <a:cubicBezTo>
                              <a:pt x="3318439" y="2164063"/>
                              <a:pt x="3361071" y="2161301"/>
                              <a:pt x="3369358" y="2154415"/>
                            </a:cubicBezTo>
                            <a:cubicBezTo>
                              <a:pt x="3377645" y="2147530"/>
                              <a:pt x="3400117" y="2150292"/>
                              <a:pt x="3401353" y="2140727"/>
                            </a:cubicBezTo>
                            <a:cubicBezTo>
                              <a:pt x="3402590" y="2131161"/>
                              <a:pt x="3423824" y="2124234"/>
                              <a:pt x="3433306" y="2115988"/>
                            </a:cubicBezTo>
                            <a:cubicBezTo>
                              <a:pt x="3442790" y="2107742"/>
                              <a:pt x="3480680" y="2109103"/>
                              <a:pt x="3483072" y="2118751"/>
                            </a:cubicBezTo>
                            <a:cubicBezTo>
                              <a:pt x="3485464" y="2128399"/>
                              <a:pt x="3507810" y="2131120"/>
                              <a:pt x="3517417" y="2126997"/>
                            </a:cubicBezTo>
                            <a:cubicBezTo>
                              <a:pt x="3527023" y="2122874"/>
                              <a:pt x="3551761" y="2128399"/>
                              <a:pt x="3555349" y="2137964"/>
                            </a:cubicBezTo>
                            <a:cubicBezTo>
                              <a:pt x="3558937" y="2147530"/>
                              <a:pt x="3587303" y="2153055"/>
                              <a:pt x="3594435" y="2150333"/>
                            </a:cubicBezTo>
                            <a:cubicBezTo>
                              <a:pt x="3601568" y="2147612"/>
                              <a:pt x="3623997" y="2128399"/>
                              <a:pt x="3632326" y="2126997"/>
                            </a:cubicBezTo>
                            <a:cubicBezTo>
                              <a:pt x="3640655" y="2125595"/>
                              <a:pt x="3652447" y="2116030"/>
                              <a:pt x="3650055" y="2106382"/>
                            </a:cubicBezTo>
                            <a:cubicBezTo>
                              <a:pt x="3647664" y="2096734"/>
                              <a:pt x="3666547" y="2069274"/>
                              <a:pt x="3669063" y="2058389"/>
                            </a:cubicBezTo>
                            <a:cubicBezTo>
                              <a:pt x="3671577" y="2047505"/>
                              <a:pt x="3687987" y="2017159"/>
                              <a:pt x="3693801" y="2014479"/>
                            </a:cubicBezTo>
                            <a:cubicBezTo>
                              <a:pt x="3699614" y="2011799"/>
                              <a:pt x="3712767" y="1999347"/>
                              <a:pt x="3711571" y="1991143"/>
                            </a:cubicBezTo>
                            <a:cubicBezTo>
                              <a:pt x="3710376" y="1982938"/>
                              <a:pt x="3706830" y="1958158"/>
                              <a:pt x="3699697" y="1958158"/>
                            </a:cubicBezTo>
                            <a:cubicBezTo>
                              <a:pt x="3692564" y="1958158"/>
                              <a:pt x="3679576" y="1959560"/>
                              <a:pt x="3696151" y="1933420"/>
                            </a:cubicBezTo>
                            <a:cubicBezTo>
                              <a:pt x="3712725" y="1907280"/>
                              <a:pt x="3742371" y="1914248"/>
                              <a:pt x="3747112" y="1914248"/>
                            </a:cubicBezTo>
                            <a:cubicBezTo>
                              <a:pt x="3751853" y="1914248"/>
                              <a:pt x="3789745" y="1903239"/>
                              <a:pt x="3806319" y="1908764"/>
                            </a:cubicBezTo>
                            <a:cubicBezTo>
                              <a:pt x="3822893" y="1914289"/>
                              <a:pt x="3833531" y="1906043"/>
                              <a:pt x="3851301" y="1917010"/>
                            </a:cubicBezTo>
                            <a:cubicBezTo>
                              <a:pt x="3869072" y="1927978"/>
                              <a:pt x="3893974" y="1923896"/>
                              <a:pt x="3899871" y="1933502"/>
                            </a:cubicBezTo>
                            <a:cubicBezTo>
                              <a:pt x="3905767" y="1943109"/>
                              <a:pt x="3929515" y="1951396"/>
                              <a:pt x="3925928" y="1967847"/>
                            </a:cubicBezTo>
                            <a:cubicBezTo>
                              <a:pt x="3922341" y="1984298"/>
                              <a:pt x="3938957" y="1974691"/>
                              <a:pt x="3944894" y="2010315"/>
                            </a:cubicBezTo>
                            <a:cubicBezTo>
                              <a:pt x="3950831" y="2045938"/>
                              <a:pt x="3965015" y="2048741"/>
                              <a:pt x="3968561" y="2065192"/>
                            </a:cubicBezTo>
                            <a:cubicBezTo>
                              <a:pt x="3972107" y="2081643"/>
                              <a:pt x="3991072" y="2111907"/>
                              <a:pt x="3988723" y="2121472"/>
                            </a:cubicBezTo>
                            <a:cubicBezTo>
                              <a:pt x="3986372" y="2131038"/>
                              <a:pt x="3983981" y="2146210"/>
                              <a:pt x="4004102" y="2147530"/>
                            </a:cubicBezTo>
                            <a:cubicBezTo>
                              <a:pt x="4024222" y="2148849"/>
                              <a:pt x="4038487" y="2166743"/>
                              <a:pt x="4043229" y="2164022"/>
                            </a:cubicBezTo>
                            <a:cubicBezTo>
                              <a:pt x="4047970" y="2161301"/>
                              <a:pt x="4071637" y="2170866"/>
                              <a:pt x="4083470" y="2184637"/>
                            </a:cubicBezTo>
                            <a:cubicBezTo>
                              <a:pt x="4095303" y="2198408"/>
                              <a:pt x="4113115" y="2191523"/>
                              <a:pt x="4111919" y="2206613"/>
                            </a:cubicBezTo>
                            <a:cubicBezTo>
                              <a:pt x="4110723" y="2221703"/>
                              <a:pt x="4121402" y="2233990"/>
                              <a:pt x="4120165" y="2246359"/>
                            </a:cubicBezTo>
                            <a:cubicBezTo>
                              <a:pt x="4118928" y="2258728"/>
                              <a:pt x="4142718" y="2266974"/>
                              <a:pt x="4159251" y="2264212"/>
                            </a:cubicBezTo>
                            <a:cubicBezTo>
                              <a:pt x="4175785" y="2261450"/>
                              <a:pt x="4187701" y="2271056"/>
                              <a:pt x="4194793" y="2254564"/>
                            </a:cubicBezTo>
                            <a:cubicBezTo>
                              <a:pt x="4201884" y="2238072"/>
                              <a:pt x="4225592" y="2244999"/>
                              <a:pt x="4233879" y="2238072"/>
                            </a:cubicBezTo>
                            <a:cubicBezTo>
                              <a:pt x="4242166" y="2231145"/>
                              <a:pt x="4267070" y="2222981"/>
                              <a:pt x="4265874" y="2247678"/>
                            </a:cubicBezTo>
                            <a:cubicBezTo>
                              <a:pt x="4264678" y="2272375"/>
                              <a:pt x="4278902" y="2277859"/>
                              <a:pt x="4267029" y="2286064"/>
                            </a:cubicBezTo>
                            <a:cubicBezTo>
                              <a:pt x="4255154" y="2294269"/>
                              <a:pt x="4249258" y="2330016"/>
                              <a:pt x="4245712" y="2345065"/>
                            </a:cubicBezTo>
                            <a:cubicBezTo>
                              <a:pt x="4242166" y="2360114"/>
                              <a:pt x="4224396" y="2364278"/>
                              <a:pt x="4222046" y="2380729"/>
                            </a:cubicBezTo>
                            <a:cubicBezTo>
                              <a:pt x="4219695" y="2397180"/>
                              <a:pt x="4203080" y="2398582"/>
                              <a:pt x="4203080" y="2410910"/>
                            </a:cubicBezTo>
                            <a:cubicBezTo>
                              <a:pt x="4203080" y="2423238"/>
                              <a:pt x="4179414" y="2420558"/>
                              <a:pt x="4167539" y="2410910"/>
                            </a:cubicBezTo>
                            <a:cubicBezTo>
                              <a:pt x="4155665" y="2401262"/>
                              <a:pt x="4143873" y="2428763"/>
                              <a:pt x="4134554" y="2428763"/>
                            </a:cubicBezTo>
                            <a:cubicBezTo>
                              <a:pt x="4125236" y="2428763"/>
                              <a:pt x="4126308" y="2452099"/>
                              <a:pt x="4128618" y="2461747"/>
                            </a:cubicBezTo>
                            <a:cubicBezTo>
                              <a:pt x="4130927" y="2471395"/>
                              <a:pt x="4125071" y="2483682"/>
                              <a:pt x="4131009" y="2500133"/>
                            </a:cubicBezTo>
                            <a:cubicBezTo>
                              <a:pt x="4134183" y="2508956"/>
                              <a:pt x="4132245" y="2525778"/>
                              <a:pt x="4133813" y="2544497"/>
                            </a:cubicBezTo>
                            <a:cubicBezTo>
                              <a:pt x="4148243" y="2532375"/>
                              <a:pt x="4161313" y="2523469"/>
                              <a:pt x="4167126" y="2523469"/>
                            </a:cubicBezTo>
                            <a:cubicBezTo>
                              <a:pt x="4181928" y="2523469"/>
                              <a:pt x="4196730" y="2552949"/>
                              <a:pt x="4213305" y="2553609"/>
                            </a:cubicBezTo>
                            <a:cubicBezTo>
                              <a:pt x="4229880" y="2554268"/>
                              <a:pt x="4305125" y="2495886"/>
                              <a:pt x="4305702" y="2486444"/>
                            </a:cubicBezTo>
                            <a:cubicBezTo>
                              <a:pt x="4306279" y="2477002"/>
                              <a:pt x="4350149" y="2428103"/>
                              <a:pt x="4370847" y="2402746"/>
                            </a:cubicBezTo>
                            <a:cubicBezTo>
                              <a:pt x="4391544" y="2377390"/>
                              <a:pt x="4418838" y="2340323"/>
                              <a:pt x="4429476" y="2311503"/>
                            </a:cubicBezTo>
                            <a:cubicBezTo>
                              <a:pt x="4436032" y="2293774"/>
                              <a:pt x="4465058" y="2259388"/>
                              <a:pt x="4472150" y="2245534"/>
                            </a:cubicBezTo>
                            <a:cubicBezTo>
                              <a:pt x="4479242" y="2231681"/>
                              <a:pt x="4483983" y="2230444"/>
                              <a:pt x="4496888" y="2198243"/>
                            </a:cubicBezTo>
                            <a:cubicBezTo>
                              <a:pt x="4509793" y="2166042"/>
                              <a:pt x="4509876" y="2081602"/>
                              <a:pt x="4514040" y="2076119"/>
                            </a:cubicBezTo>
                            <a:cubicBezTo>
                              <a:pt x="4518204" y="2070635"/>
                              <a:pt x="4515813" y="2056204"/>
                              <a:pt x="4521749" y="2047257"/>
                            </a:cubicBezTo>
                            <a:cubicBezTo>
                              <a:pt x="4527687" y="2038310"/>
                              <a:pt x="4524719" y="2026023"/>
                              <a:pt x="4536552" y="2014273"/>
                            </a:cubicBezTo>
                            <a:cubicBezTo>
                              <a:pt x="4548385" y="2002522"/>
                              <a:pt x="4546035" y="1992338"/>
                              <a:pt x="4543108" y="1983391"/>
                            </a:cubicBezTo>
                            <a:cubicBezTo>
                              <a:pt x="4540180" y="1974444"/>
                              <a:pt x="4543684" y="1954530"/>
                              <a:pt x="4540716" y="1948387"/>
                            </a:cubicBezTo>
                            <a:cubicBezTo>
                              <a:pt x="4537747" y="1942243"/>
                              <a:pt x="4538324" y="1939481"/>
                              <a:pt x="4545457" y="1934698"/>
                            </a:cubicBezTo>
                            <a:cubicBezTo>
                              <a:pt x="4552591" y="1929915"/>
                              <a:pt x="4540716" y="1917546"/>
                              <a:pt x="4530656" y="1912063"/>
                            </a:cubicBezTo>
                            <a:cubicBezTo>
                              <a:pt x="4520596" y="1906579"/>
                              <a:pt x="4507566" y="1901796"/>
                              <a:pt x="4506371" y="1888726"/>
                            </a:cubicBezTo>
                            <a:cubicBezTo>
                              <a:pt x="4505176" y="1875656"/>
                              <a:pt x="4488023" y="1859865"/>
                              <a:pt x="4474954" y="1861267"/>
                            </a:cubicBezTo>
                            <a:cubicBezTo>
                              <a:pt x="4469717" y="1861530"/>
                              <a:pt x="4464481" y="1861126"/>
                              <a:pt x="4459368" y="1860071"/>
                            </a:cubicBezTo>
                            <a:cubicBezTo>
                              <a:pt x="4454421" y="1864833"/>
                              <a:pt x="4448278" y="1868127"/>
                              <a:pt x="4441556" y="1869595"/>
                            </a:cubicBezTo>
                            <a:cubicBezTo>
                              <a:pt x="4441309" y="1875780"/>
                              <a:pt x="4437764" y="1879944"/>
                              <a:pt x="4432940" y="1878418"/>
                            </a:cubicBezTo>
                            <a:cubicBezTo>
                              <a:pt x="4426425" y="1876357"/>
                              <a:pt x="4423415" y="1882541"/>
                              <a:pt x="4415746" y="1896271"/>
                            </a:cubicBezTo>
                            <a:cubicBezTo>
                              <a:pt x="4408078" y="1910001"/>
                              <a:pt x="4380783" y="1911362"/>
                              <a:pt x="4393234" y="1898333"/>
                            </a:cubicBezTo>
                            <a:cubicBezTo>
                              <a:pt x="4405686" y="1885304"/>
                              <a:pt x="4389111" y="1884603"/>
                              <a:pt x="4391421" y="1870914"/>
                            </a:cubicBezTo>
                            <a:cubicBezTo>
                              <a:pt x="4392245" y="1866866"/>
                              <a:pt x="4393400" y="1862891"/>
                              <a:pt x="4394884" y="1859040"/>
                            </a:cubicBezTo>
                            <a:cubicBezTo>
                              <a:pt x="4392204" y="1857803"/>
                              <a:pt x="4389565" y="1856525"/>
                              <a:pt x="4387009" y="1855164"/>
                            </a:cubicBezTo>
                            <a:cubicBezTo>
                              <a:pt x="4376701" y="1865060"/>
                              <a:pt x="4375629" y="1882789"/>
                              <a:pt x="4365404" y="1885304"/>
                            </a:cubicBezTo>
                            <a:cubicBezTo>
                              <a:pt x="4354189" y="1888066"/>
                              <a:pt x="4357694" y="1848196"/>
                              <a:pt x="4360663" y="1837971"/>
                            </a:cubicBezTo>
                            <a:cubicBezTo>
                              <a:pt x="4360704" y="1837600"/>
                              <a:pt x="4360704" y="1837229"/>
                              <a:pt x="4360663" y="1836858"/>
                            </a:cubicBezTo>
                            <a:cubicBezTo>
                              <a:pt x="4359508" y="1835827"/>
                              <a:pt x="4358436" y="1834714"/>
                              <a:pt x="4357323" y="1833642"/>
                            </a:cubicBezTo>
                            <a:cubicBezTo>
                              <a:pt x="4350231" y="1832818"/>
                              <a:pt x="4332874" y="1838095"/>
                              <a:pt x="4314897" y="1836611"/>
                            </a:cubicBezTo>
                            <a:cubicBezTo>
                              <a:pt x="4290158" y="1834549"/>
                              <a:pt x="4296508" y="1814635"/>
                              <a:pt x="4316669" y="1802307"/>
                            </a:cubicBezTo>
                            <a:cubicBezTo>
                              <a:pt x="4324339" y="1797949"/>
                              <a:pt x="4330523" y="1791459"/>
                              <a:pt x="4334564" y="1783630"/>
                            </a:cubicBezTo>
                            <a:cubicBezTo>
                              <a:pt x="4336254" y="1761542"/>
                              <a:pt x="4354520" y="1744386"/>
                              <a:pt x="4376660" y="1744048"/>
                            </a:cubicBezTo>
                            <a:cubicBezTo>
                              <a:pt x="4377155" y="1744048"/>
                              <a:pt x="4382061" y="1742976"/>
                              <a:pt x="4387339" y="1741822"/>
                            </a:cubicBezTo>
                            <a:cubicBezTo>
                              <a:pt x="4383505" y="1726179"/>
                              <a:pt x="4385730" y="1709658"/>
                              <a:pt x="4393606" y="1695603"/>
                            </a:cubicBezTo>
                            <a:cubicBezTo>
                              <a:pt x="4408572" y="1667937"/>
                              <a:pt x="4438959" y="1640766"/>
                              <a:pt x="4463450" y="1621388"/>
                            </a:cubicBezTo>
                            <a:cubicBezTo>
                              <a:pt x="4493095" y="1597804"/>
                              <a:pt x="4509669" y="1566056"/>
                              <a:pt x="4537293" y="1541277"/>
                            </a:cubicBezTo>
                            <a:cubicBezTo>
                              <a:pt x="4569701" y="1512168"/>
                              <a:pt x="4612787" y="1504417"/>
                              <a:pt x="4654141" y="1511550"/>
                            </a:cubicBezTo>
                            <a:lnTo>
                              <a:pt x="4655790" y="1511962"/>
                            </a:lnTo>
                            <a:cubicBezTo>
                              <a:pt x="4684239" y="1510684"/>
                              <a:pt x="4717635" y="1518147"/>
                              <a:pt x="4724728" y="1526558"/>
                            </a:cubicBezTo>
                            <a:lnTo>
                              <a:pt x="4725470" y="1527300"/>
                            </a:lnTo>
                            <a:cubicBezTo>
                              <a:pt x="4740601" y="1525486"/>
                              <a:pt x="4755197" y="1517322"/>
                              <a:pt x="4769958" y="1513941"/>
                            </a:cubicBezTo>
                            <a:cubicBezTo>
                              <a:pt x="4793624" y="1508540"/>
                              <a:pt x="4817743" y="1510725"/>
                              <a:pt x="4837286" y="1522435"/>
                            </a:cubicBezTo>
                            <a:cubicBezTo>
                              <a:pt x="4843884" y="1522187"/>
                              <a:pt x="4849655" y="1518683"/>
                              <a:pt x="4854439" y="1508045"/>
                            </a:cubicBezTo>
                            <a:cubicBezTo>
                              <a:pt x="4862685" y="1489491"/>
                              <a:pt x="4901813" y="1492955"/>
                              <a:pt x="4910677" y="1500500"/>
                            </a:cubicBezTo>
                            <a:cubicBezTo>
                              <a:pt x="4919542" y="1508045"/>
                              <a:pt x="4926716" y="1518353"/>
                              <a:pt x="4940899" y="1507344"/>
                            </a:cubicBezTo>
                            <a:cubicBezTo>
                              <a:pt x="4955082" y="1496336"/>
                              <a:pt x="4955123" y="1521775"/>
                              <a:pt x="4968730" y="1523836"/>
                            </a:cubicBezTo>
                            <a:cubicBezTo>
                              <a:pt x="4982336" y="1525898"/>
                              <a:pt x="4973471" y="1539587"/>
                              <a:pt x="4961638" y="1538226"/>
                            </a:cubicBezTo>
                            <a:cubicBezTo>
                              <a:pt x="4949804" y="1536865"/>
                              <a:pt x="4934962" y="1545070"/>
                              <a:pt x="4948609" y="1554017"/>
                            </a:cubicBezTo>
                            <a:cubicBezTo>
                              <a:pt x="4962256" y="1562964"/>
                              <a:pt x="4978254" y="1545771"/>
                              <a:pt x="4988891" y="1547132"/>
                            </a:cubicBezTo>
                            <a:cubicBezTo>
                              <a:pt x="4990252" y="1547132"/>
                              <a:pt x="4991695" y="1547503"/>
                              <a:pt x="4993014" y="1547627"/>
                            </a:cubicBezTo>
                            <a:cubicBezTo>
                              <a:pt x="5004105" y="1531959"/>
                              <a:pt x="5021381" y="1529774"/>
                              <a:pt x="5036595" y="1535958"/>
                            </a:cubicBezTo>
                            <a:cubicBezTo>
                              <a:pt x="5046861" y="1533155"/>
                              <a:pt x="5051108" y="1546431"/>
                              <a:pt x="5059189" y="1538226"/>
                            </a:cubicBezTo>
                            <a:cubicBezTo>
                              <a:pt x="5068672" y="1528619"/>
                              <a:pt x="5089988" y="1525857"/>
                              <a:pt x="5100667" y="1526558"/>
                            </a:cubicBezTo>
                            <a:cubicBezTo>
                              <a:pt x="5111345" y="1527259"/>
                              <a:pt x="5102440" y="1512168"/>
                              <a:pt x="5084669" y="1512168"/>
                            </a:cubicBezTo>
                            <a:cubicBezTo>
                              <a:pt x="5066900" y="1512168"/>
                              <a:pt x="5067476" y="1501201"/>
                              <a:pt x="5081701" y="1473040"/>
                            </a:cubicBezTo>
                            <a:cubicBezTo>
                              <a:pt x="5095925" y="1444880"/>
                              <a:pt x="5122931" y="1429831"/>
                              <a:pt x="5140330" y="1412720"/>
                            </a:cubicBezTo>
                            <a:cubicBezTo>
                              <a:pt x="5157729" y="1395610"/>
                              <a:pt x="5169934" y="1403815"/>
                              <a:pt x="5169934" y="1392806"/>
                            </a:cubicBezTo>
                            <a:cubicBezTo>
                              <a:pt x="5169934" y="1381798"/>
                              <a:pt x="5178181" y="1350957"/>
                              <a:pt x="5191292" y="1350297"/>
                            </a:cubicBezTo>
                            <a:cubicBezTo>
                              <a:pt x="5204403" y="1349638"/>
                              <a:pt x="5236851" y="1356482"/>
                              <a:pt x="5257013" y="1343412"/>
                            </a:cubicBezTo>
                            <a:cubicBezTo>
                              <a:pt x="5277175" y="1330342"/>
                              <a:pt x="5275360" y="1353019"/>
                              <a:pt x="5283689" y="1356482"/>
                            </a:cubicBezTo>
                            <a:cubicBezTo>
                              <a:pt x="5292017" y="1359945"/>
                              <a:pt x="5303232" y="1336568"/>
                              <a:pt x="5312550" y="1343412"/>
                            </a:cubicBezTo>
                            <a:cubicBezTo>
                              <a:pt x="5321868" y="1350256"/>
                              <a:pt x="5298326" y="1366748"/>
                              <a:pt x="5293007" y="1386621"/>
                            </a:cubicBezTo>
                            <a:cubicBezTo>
                              <a:pt x="5287688" y="1406495"/>
                              <a:pt x="5305376" y="1398991"/>
                              <a:pt x="5315518" y="1404474"/>
                            </a:cubicBezTo>
                            <a:cubicBezTo>
                              <a:pt x="5325662" y="1409958"/>
                              <a:pt x="5302449" y="1418204"/>
                              <a:pt x="5304882" y="1423646"/>
                            </a:cubicBezTo>
                            <a:cubicBezTo>
                              <a:pt x="5307314" y="1429089"/>
                              <a:pt x="5327352" y="1429171"/>
                              <a:pt x="5353410" y="1398908"/>
                            </a:cubicBezTo>
                            <a:cubicBezTo>
                              <a:pt x="5379467" y="1368645"/>
                              <a:pt x="5403174" y="1360481"/>
                              <a:pt x="5419749" y="1362543"/>
                            </a:cubicBezTo>
                            <a:cubicBezTo>
                              <a:pt x="5436324" y="1364604"/>
                              <a:pt x="5426841" y="1345391"/>
                              <a:pt x="5427995" y="1317189"/>
                            </a:cubicBezTo>
                            <a:cubicBezTo>
                              <a:pt x="5429150" y="1288988"/>
                              <a:pt x="5480111" y="1280865"/>
                              <a:pt x="5496727" y="1289070"/>
                            </a:cubicBezTo>
                            <a:cubicBezTo>
                              <a:pt x="5513342" y="1297275"/>
                              <a:pt x="5512106" y="1304862"/>
                              <a:pt x="5496067" y="1300038"/>
                            </a:cubicBezTo>
                            <a:cubicBezTo>
                              <a:pt x="5480029" y="1295214"/>
                              <a:pt x="5465309" y="1311706"/>
                              <a:pt x="5465886" y="1335042"/>
                            </a:cubicBezTo>
                            <a:cubicBezTo>
                              <a:pt x="5466464" y="1358379"/>
                              <a:pt x="5451661" y="1365883"/>
                              <a:pt x="5459413" y="1374830"/>
                            </a:cubicBezTo>
                            <a:cubicBezTo>
                              <a:pt x="5467164" y="1383777"/>
                              <a:pt x="5448116" y="1385797"/>
                              <a:pt x="5447538" y="1395445"/>
                            </a:cubicBezTo>
                            <a:cubicBezTo>
                              <a:pt x="5446962" y="1405093"/>
                              <a:pt x="5447538" y="1412597"/>
                              <a:pt x="5435706" y="1416720"/>
                            </a:cubicBezTo>
                            <a:cubicBezTo>
                              <a:pt x="5423872" y="1420843"/>
                              <a:pt x="5384168" y="1425625"/>
                              <a:pt x="5383013" y="1443437"/>
                            </a:cubicBezTo>
                            <a:cubicBezTo>
                              <a:pt x="5381859" y="1461249"/>
                              <a:pt x="5360501" y="1463310"/>
                              <a:pt x="5350400" y="1485245"/>
                            </a:cubicBezTo>
                            <a:cubicBezTo>
                              <a:pt x="5340298" y="1507179"/>
                              <a:pt x="5301831" y="1520249"/>
                              <a:pt x="5276185" y="1564201"/>
                            </a:cubicBezTo>
                            <a:cubicBezTo>
                              <a:pt x="5250539" y="1608153"/>
                              <a:pt x="5210463" y="1608070"/>
                              <a:pt x="5210463" y="1616275"/>
                            </a:cubicBezTo>
                            <a:cubicBezTo>
                              <a:pt x="5210463" y="1624480"/>
                              <a:pt x="5182591" y="1623862"/>
                              <a:pt x="5173356" y="1625222"/>
                            </a:cubicBezTo>
                            <a:cubicBezTo>
                              <a:pt x="5164120" y="1626583"/>
                              <a:pt x="5182221" y="1653341"/>
                              <a:pt x="5159709" y="1681460"/>
                            </a:cubicBezTo>
                            <a:cubicBezTo>
                              <a:pt x="5158183" y="1683398"/>
                              <a:pt x="5156740" y="1685583"/>
                              <a:pt x="5155297" y="1687521"/>
                            </a:cubicBezTo>
                            <a:cubicBezTo>
                              <a:pt x="5156081" y="1691022"/>
                              <a:pt x="5156452" y="1694609"/>
                              <a:pt x="5156411" y="1698200"/>
                            </a:cubicBezTo>
                            <a:cubicBezTo>
                              <a:pt x="5176654" y="1706619"/>
                              <a:pt x="5187416" y="1728801"/>
                              <a:pt x="5181519" y="1749903"/>
                            </a:cubicBezTo>
                            <a:cubicBezTo>
                              <a:pt x="5162678" y="1828241"/>
                              <a:pt x="5154184" y="1906909"/>
                              <a:pt x="5151051" y="1987267"/>
                            </a:cubicBezTo>
                            <a:cubicBezTo>
                              <a:pt x="5151051" y="1987584"/>
                              <a:pt x="5151051" y="1987898"/>
                              <a:pt x="5151051" y="1988215"/>
                            </a:cubicBezTo>
                            <a:cubicBezTo>
                              <a:pt x="5152699" y="2008830"/>
                              <a:pt x="5152123" y="2031507"/>
                              <a:pt x="5157483" y="2038145"/>
                            </a:cubicBezTo>
                            <a:cubicBezTo>
                              <a:pt x="5165729" y="2048412"/>
                              <a:pt x="5162802" y="2065564"/>
                              <a:pt x="5168120" y="2071748"/>
                            </a:cubicBezTo>
                            <a:cubicBezTo>
                              <a:pt x="5173438" y="2077933"/>
                              <a:pt x="5195373" y="2044288"/>
                              <a:pt x="5210175" y="2029899"/>
                            </a:cubicBezTo>
                            <a:cubicBezTo>
                              <a:pt x="5224976" y="2015510"/>
                              <a:pt x="5220235" y="2010727"/>
                              <a:pt x="5230295" y="2003141"/>
                            </a:cubicBezTo>
                            <a:cubicBezTo>
                              <a:pt x="5240355" y="1995554"/>
                              <a:pt x="5236232" y="1964054"/>
                              <a:pt x="5239201" y="1955808"/>
                            </a:cubicBezTo>
                            <a:cubicBezTo>
                              <a:pt x="5242170" y="1947562"/>
                              <a:pt x="5260518" y="1943439"/>
                              <a:pt x="5266413" y="1934574"/>
                            </a:cubicBezTo>
                            <a:cubicBezTo>
                              <a:pt x="5270041" y="1929132"/>
                              <a:pt x="5277216" y="1929091"/>
                              <a:pt x="5284143" y="1929050"/>
                            </a:cubicBezTo>
                            <a:cubicBezTo>
                              <a:pt x="5289544" y="1924984"/>
                              <a:pt x="5294533" y="1920416"/>
                              <a:pt x="5299067" y="1915402"/>
                            </a:cubicBezTo>
                            <a:cubicBezTo>
                              <a:pt x="5297872" y="1907156"/>
                              <a:pt x="5294203" y="1896189"/>
                              <a:pt x="5292512" y="1888602"/>
                            </a:cubicBezTo>
                            <a:cubicBezTo>
                              <a:pt x="5292059" y="1886104"/>
                              <a:pt x="5292430" y="1883523"/>
                              <a:pt x="5293585" y="1881263"/>
                            </a:cubicBezTo>
                            <a:cubicBezTo>
                              <a:pt x="5282040" y="1863988"/>
                              <a:pt x="5281751" y="1838590"/>
                              <a:pt x="5297954" y="1823211"/>
                            </a:cubicBezTo>
                            <a:cubicBezTo>
                              <a:pt x="5317127" y="1804447"/>
                              <a:pt x="5339639" y="1789418"/>
                              <a:pt x="5364294" y="1778888"/>
                            </a:cubicBezTo>
                            <a:cubicBezTo>
                              <a:pt x="5366397" y="1764391"/>
                              <a:pt x="5375426" y="1751833"/>
                              <a:pt x="5388497" y="1745244"/>
                            </a:cubicBezTo>
                            <a:cubicBezTo>
                              <a:pt x="5391342" y="1740585"/>
                              <a:pt x="5395424" y="1736796"/>
                              <a:pt x="5400288" y="1734277"/>
                            </a:cubicBezTo>
                            <a:cubicBezTo>
                              <a:pt x="5412658" y="1730154"/>
                              <a:pt x="5419214" y="1744543"/>
                              <a:pt x="5431088" y="1732215"/>
                            </a:cubicBezTo>
                            <a:cubicBezTo>
                              <a:pt x="5442962" y="1719887"/>
                              <a:pt x="5420409" y="1699973"/>
                              <a:pt x="5412122" y="1701375"/>
                            </a:cubicBezTo>
                            <a:cubicBezTo>
                              <a:pt x="5403835" y="1702777"/>
                              <a:pt x="5400908" y="1666370"/>
                              <a:pt x="5420368" y="1649259"/>
                            </a:cubicBezTo>
                            <a:cubicBezTo>
                              <a:pt x="5439829" y="1632149"/>
                              <a:pt x="5432201" y="1628644"/>
                              <a:pt x="5419172" y="1624521"/>
                            </a:cubicBezTo>
                            <a:cubicBezTo>
                              <a:pt x="5406143" y="1620398"/>
                              <a:pt x="5403793" y="1625882"/>
                              <a:pt x="5393732" y="1626542"/>
                            </a:cubicBezTo>
                            <a:cubicBezTo>
                              <a:pt x="5383672" y="1627201"/>
                              <a:pt x="5373571" y="1602504"/>
                              <a:pt x="5388991" y="1578549"/>
                            </a:cubicBezTo>
                            <a:cubicBezTo>
                              <a:pt x="5404412" y="1554594"/>
                              <a:pt x="5419172" y="1557233"/>
                              <a:pt x="5422759" y="1537319"/>
                            </a:cubicBezTo>
                            <a:cubicBezTo>
                              <a:pt x="5426346" y="1517405"/>
                              <a:pt x="5447497" y="1489244"/>
                              <a:pt x="5452940" y="1478978"/>
                            </a:cubicBezTo>
                            <a:cubicBezTo>
                              <a:pt x="5458383" y="1468711"/>
                              <a:pt x="5479616" y="1478978"/>
                              <a:pt x="5487903" y="1476916"/>
                            </a:cubicBezTo>
                            <a:cubicBezTo>
                              <a:pt x="5496191" y="1474855"/>
                              <a:pt x="5493263" y="1495429"/>
                              <a:pt x="5503282" y="1485162"/>
                            </a:cubicBezTo>
                            <a:cubicBezTo>
                              <a:pt x="5513301" y="1474896"/>
                              <a:pt x="5529917" y="1440633"/>
                              <a:pt x="5543564" y="1440633"/>
                            </a:cubicBezTo>
                            <a:cubicBezTo>
                              <a:pt x="5551316" y="1440633"/>
                              <a:pt x="5551810" y="1448880"/>
                              <a:pt x="5551399" y="1458734"/>
                            </a:cubicBezTo>
                            <a:cubicBezTo>
                              <a:pt x="5560840" y="1458292"/>
                              <a:pt x="5570158" y="1460877"/>
                              <a:pt x="5577992" y="1466114"/>
                            </a:cubicBezTo>
                            <a:cubicBezTo>
                              <a:pt x="5581291" y="1462980"/>
                              <a:pt x="5584960" y="1459723"/>
                              <a:pt x="5589165" y="1456425"/>
                            </a:cubicBezTo>
                            <a:cubicBezTo>
                              <a:pt x="5615223" y="1435809"/>
                              <a:pt x="5672079" y="1437871"/>
                              <a:pt x="5689232" y="1447478"/>
                            </a:cubicBezTo>
                            <a:cubicBezTo>
                              <a:pt x="5694551" y="1450652"/>
                              <a:pt x="5699127" y="1454994"/>
                              <a:pt x="5702549" y="1460177"/>
                            </a:cubicBezTo>
                            <a:cubicBezTo>
                              <a:pt x="5725432" y="1447807"/>
                              <a:pt x="5745676" y="1429006"/>
                              <a:pt x="5766085" y="1413339"/>
                            </a:cubicBezTo>
                            <a:cubicBezTo>
                              <a:pt x="5809625" y="1379860"/>
                              <a:pt x="5856257" y="1350091"/>
                              <a:pt x="5908578" y="1340237"/>
                            </a:cubicBezTo>
                            <a:cubicBezTo>
                              <a:pt x="5945685" y="1330466"/>
                              <a:pt x="5993636" y="1302017"/>
                              <a:pt x="5991286" y="1293152"/>
                            </a:cubicBezTo>
                            <a:cubicBezTo>
                              <a:pt x="5988936" y="1284287"/>
                              <a:pt x="6005511" y="1280123"/>
                              <a:pt x="6007324" y="1289029"/>
                            </a:cubicBezTo>
                            <a:cubicBezTo>
                              <a:pt x="6009138" y="1297935"/>
                              <a:pt x="6023281" y="1294513"/>
                              <a:pt x="6042824" y="1299295"/>
                            </a:cubicBezTo>
                            <a:cubicBezTo>
                              <a:pt x="6062368" y="1304078"/>
                              <a:pt x="6071273" y="1313066"/>
                              <a:pt x="6086652" y="1295172"/>
                            </a:cubicBezTo>
                            <a:cubicBezTo>
                              <a:pt x="6093332" y="1287421"/>
                              <a:pt x="6093908" y="1281896"/>
                              <a:pt x="6092425" y="1276990"/>
                            </a:cubicBezTo>
                            <a:cubicBezTo>
                              <a:pt x="6086281" y="1275167"/>
                              <a:pt x="6080014" y="1273790"/>
                              <a:pt x="6073665" y="1272867"/>
                            </a:cubicBezTo>
                            <a:cubicBezTo>
                              <a:pt x="6057667" y="1270463"/>
                              <a:pt x="6045256" y="1257727"/>
                              <a:pt x="6043236" y="1241696"/>
                            </a:cubicBezTo>
                            <a:cubicBezTo>
                              <a:pt x="6026497" y="1227130"/>
                              <a:pt x="6012932" y="1209260"/>
                              <a:pt x="6003408" y="1189210"/>
                            </a:cubicBezTo>
                            <a:cubicBezTo>
                              <a:pt x="5995368" y="1171605"/>
                              <a:pt x="5997677" y="1151010"/>
                              <a:pt x="6009386" y="1135610"/>
                            </a:cubicBezTo>
                            <a:cubicBezTo>
                              <a:pt x="6007531" y="1134126"/>
                              <a:pt x="6004810" y="1134250"/>
                              <a:pt x="6000728" y="1137218"/>
                            </a:cubicBezTo>
                            <a:cubicBezTo>
                              <a:pt x="5989513" y="1145465"/>
                              <a:pt x="5970547" y="1141342"/>
                              <a:pt x="5967001" y="1128972"/>
                            </a:cubicBezTo>
                            <a:cubicBezTo>
                              <a:pt x="5963456" y="1116603"/>
                              <a:pt x="5988936" y="1107739"/>
                              <a:pt x="6006665" y="1115985"/>
                            </a:cubicBezTo>
                            <a:cubicBezTo>
                              <a:pt x="6012108" y="1118022"/>
                              <a:pt x="6016725" y="1121753"/>
                              <a:pt x="6019900" y="1126622"/>
                            </a:cubicBezTo>
                            <a:cubicBezTo>
                              <a:pt x="6026167" y="1123027"/>
                              <a:pt x="6033300" y="1121279"/>
                              <a:pt x="6040515" y="1121592"/>
                            </a:cubicBezTo>
                            <a:cubicBezTo>
                              <a:pt x="6045628" y="1111041"/>
                              <a:pt x="6055193" y="1103348"/>
                              <a:pt x="6066614" y="1100647"/>
                            </a:cubicBezTo>
                            <a:cubicBezTo>
                              <a:pt x="6087353" y="1096244"/>
                              <a:pt x="6108504" y="1093926"/>
                              <a:pt x="6129737" y="1093720"/>
                            </a:cubicBezTo>
                            <a:cubicBezTo>
                              <a:pt x="6130439" y="1088154"/>
                              <a:pt x="6130233" y="1084155"/>
                              <a:pt x="6137984" y="1079578"/>
                            </a:cubicBezTo>
                            <a:cubicBezTo>
                              <a:pt x="6149858" y="1072734"/>
                              <a:pt x="6140953" y="1058345"/>
                              <a:pt x="6130892" y="1052160"/>
                            </a:cubicBezTo>
                            <a:cubicBezTo>
                              <a:pt x="6120832" y="1045975"/>
                              <a:pt x="6123182" y="1029524"/>
                              <a:pt x="6133819" y="1029524"/>
                            </a:cubicBezTo>
                            <a:cubicBezTo>
                              <a:pt x="6144457" y="1029524"/>
                              <a:pt x="6141530" y="1015135"/>
                              <a:pt x="6148621" y="1014434"/>
                            </a:cubicBezTo>
                            <a:cubicBezTo>
                              <a:pt x="6155713" y="1013733"/>
                              <a:pt x="6156867" y="1020577"/>
                              <a:pt x="6169937" y="1013073"/>
                            </a:cubicBezTo>
                            <a:cubicBezTo>
                              <a:pt x="6183008" y="1005570"/>
                              <a:pt x="6170556" y="1024700"/>
                              <a:pt x="6164661" y="1037812"/>
                            </a:cubicBezTo>
                            <a:cubicBezTo>
                              <a:pt x="6158764" y="1050923"/>
                              <a:pt x="6177030" y="1061767"/>
                              <a:pt x="6178844" y="1069353"/>
                            </a:cubicBezTo>
                            <a:cubicBezTo>
                              <a:pt x="6180658" y="1076940"/>
                              <a:pt x="6206055" y="1079620"/>
                              <a:pt x="6220322" y="1070714"/>
                            </a:cubicBezTo>
                            <a:cubicBezTo>
                              <a:pt x="6234587" y="1061808"/>
                              <a:pt x="6280106" y="1081681"/>
                              <a:pt x="6283074" y="1094710"/>
                            </a:cubicBezTo>
                            <a:cubicBezTo>
                              <a:pt x="6284847" y="1103244"/>
                              <a:pt x="6288393" y="1111317"/>
                              <a:pt x="6293464" y="1118417"/>
                            </a:cubicBezTo>
                            <a:lnTo>
                              <a:pt x="6338818" y="1130003"/>
                            </a:lnTo>
                            <a:cubicBezTo>
                              <a:pt x="6355516" y="1133545"/>
                              <a:pt x="6368008" y="1147518"/>
                              <a:pt x="6369617" y="1164513"/>
                            </a:cubicBezTo>
                            <a:cubicBezTo>
                              <a:pt x="6370648" y="1164398"/>
                              <a:pt x="6371637" y="1164233"/>
                              <a:pt x="6372627" y="1164018"/>
                            </a:cubicBezTo>
                            <a:cubicBezTo>
                              <a:pt x="6383264" y="1161297"/>
                              <a:pt x="6389119" y="1174944"/>
                              <a:pt x="6396870" y="1166739"/>
                            </a:cubicBezTo>
                            <a:cubicBezTo>
                              <a:pt x="6404622" y="1158535"/>
                              <a:pt x="6408703" y="1171563"/>
                              <a:pt x="6418805" y="1161297"/>
                            </a:cubicBezTo>
                            <a:cubicBezTo>
                              <a:pt x="6428906" y="1151031"/>
                              <a:pt x="6396870" y="1144104"/>
                              <a:pt x="6401034" y="1135899"/>
                            </a:cubicBezTo>
                            <a:cubicBezTo>
                              <a:pt x="6405198" y="1127694"/>
                              <a:pt x="6411713" y="1142042"/>
                              <a:pt x="6420577" y="1141383"/>
                            </a:cubicBezTo>
                            <a:cubicBezTo>
                              <a:pt x="6429442" y="1140723"/>
                              <a:pt x="6418187" y="1120767"/>
                              <a:pt x="6424700" y="1118747"/>
                            </a:cubicBezTo>
                            <a:cubicBezTo>
                              <a:pt x="6431215" y="1116727"/>
                              <a:pt x="6425855" y="1075538"/>
                              <a:pt x="6418763" y="1072775"/>
                            </a:cubicBezTo>
                            <a:cubicBezTo>
                              <a:pt x="6411672" y="1070013"/>
                              <a:pt x="6417568" y="1055623"/>
                              <a:pt x="6431133" y="1067292"/>
                            </a:cubicBezTo>
                            <a:cubicBezTo>
                              <a:pt x="6444698" y="1078960"/>
                              <a:pt x="6466055" y="1078259"/>
                              <a:pt x="6476156" y="1078259"/>
                            </a:cubicBezTo>
                            <a:cubicBezTo>
                              <a:pt x="6486258" y="1078259"/>
                              <a:pt x="6476734" y="1067292"/>
                              <a:pt x="6466715" y="1065230"/>
                            </a:cubicBezTo>
                            <a:cubicBezTo>
                              <a:pt x="6456695" y="1063169"/>
                              <a:pt x="6468488" y="1053562"/>
                              <a:pt x="6475579" y="1061107"/>
                            </a:cubicBezTo>
                            <a:cubicBezTo>
                              <a:pt x="6482671" y="1068652"/>
                              <a:pt x="6496194" y="1072074"/>
                              <a:pt x="6497473" y="1063869"/>
                            </a:cubicBezTo>
                            <a:cubicBezTo>
                              <a:pt x="6498750" y="1055665"/>
                              <a:pt x="6505719" y="1037812"/>
                              <a:pt x="6518088" y="1038471"/>
                            </a:cubicBezTo>
                            <a:cubicBezTo>
                              <a:pt x="6519036" y="1038533"/>
                              <a:pt x="6519984" y="1038533"/>
                              <a:pt x="6520933" y="1038471"/>
                            </a:cubicBezTo>
                            <a:cubicBezTo>
                              <a:pt x="6468075" y="995839"/>
                              <a:pt x="6405611" y="971142"/>
                              <a:pt x="6343270" y="946198"/>
                            </a:cubicBezTo>
                            <a:close/>
                            <a:moveTo>
                              <a:pt x="3220352" y="1925875"/>
                            </a:moveTo>
                            <a:cubicBezTo>
                              <a:pt x="3186625" y="1960838"/>
                              <a:pt x="3119089" y="1969084"/>
                              <a:pt x="3119089" y="1997863"/>
                            </a:cubicBezTo>
                            <a:cubicBezTo>
                              <a:pt x="3119089" y="2026642"/>
                              <a:pt x="3037371" y="2041073"/>
                              <a:pt x="3030237" y="2028745"/>
                            </a:cubicBezTo>
                            <a:cubicBezTo>
                              <a:pt x="3024012" y="2017942"/>
                              <a:pt x="3090641" y="2014355"/>
                              <a:pt x="3106638" y="1973166"/>
                            </a:cubicBezTo>
                            <a:cubicBezTo>
                              <a:pt x="3122636" y="1931977"/>
                              <a:pt x="3183285" y="1910825"/>
                              <a:pt x="3213260" y="1855865"/>
                            </a:cubicBezTo>
                            <a:cubicBezTo>
                              <a:pt x="3234576" y="1816779"/>
                              <a:pt x="3252346" y="1757118"/>
                              <a:pt x="3264757" y="1761035"/>
                            </a:cubicBezTo>
                            <a:cubicBezTo>
                              <a:pt x="3277167" y="1764952"/>
                              <a:pt x="3253995" y="1890829"/>
                              <a:pt x="3220352" y="1925875"/>
                            </a:cubicBezTo>
                            <a:close/>
                          </a:path>
                        </a:pathLst>
                      </a:custGeom>
                      <a:solidFill>
                        <a:schemeClr val="bg1">
                          <a:lumMod val="85000"/>
                        </a:schemeClr>
                      </a:solidFill>
                      <a:ln w="6350" cap="flat">
                        <a:solidFill>
                          <a:schemeClr val="bg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>
                        <a:defPPr>
                          <a:defRPr lang="en-US"/>
                        </a:defPPr>
                      </a:lstStyle>
                      <a:p>
                        <a:pPr marL="0" marR="0" lvl="0" indent="0" algn="l" defTabSz="1462923" rtl="0" eaLnBrk="1" fontAlgn="auto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defRPr kumimoji="0" sz="2160" b="0" i="0" normalizeH="0" noProof="0">
                            <a:solidFill>
                              <a:srgbClr val="000000"/>
                            </a:solidFill>
                            <a:uLnTx/>
                            <a:uFillTx/>
                            <a:latin typeface="+mn-lt"/>
                            <a:ea typeface="+mn-ea"/>
                            <a:cs typeface="+mn-cs"/>
                          </a:defRPr>
                        </a:pPr>
                        <a:endParaRPr kumimoji="0" lang="en-US" sz="288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cs typeface="Arial" pitchFamily="34" charset="0"/>
                        </a:endParaRPr>
                      </a:p>
                    </p:txBody>
                  </p:sp>
                  <p:sp>
                    <p:nvSpPr>
                      <p:cNvPr id="187" name="Russia group">
                        <a:extLst>
                          <a:ext uri="{FF2B5EF4-FFF2-40B4-BE49-F238E27FC236}">
                            <a16:creationId xmlns:a16="http://schemas.microsoft.com/office/drawing/2014/main" id="{B5235234-C71C-0423-A118-5122BF13FE90}"/>
                          </a:ext>
                        </a:extLst>
                      </p:cNvPr>
                      <p:cNvSpPr/>
                      <p:nvPr>
                        <p:custDataLst>
                          <p:tags r:id="rId452"/>
                        </p:custDataLst>
                      </p:nvPr>
                    </p:nvSpPr>
                    <p:spPr>
                      <a:xfrm>
                        <a:off x="12498842" y="1789229"/>
                        <a:ext cx="24422" cy="27716"/>
                      </a:xfrm>
                      <a:custGeom>
                        <a:avLst/>
                        <a:gdLst>
                          <a:gd name="connsiteX0" fmla="*/ 1 w 28517"/>
                          <a:gd name="connsiteY0" fmla="*/ 28197 h 32364"/>
                          <a:gd name="connsiteX1" fmla="*/ 28449 w 28517"/>
                          <a:gd name="connsiteY1" fmla="*/ 14303 h 32364"/>
                          <a:gd name="connsiteX2" fmla="*/ 18554 w 28517"/>
                          <a:gd name="connsiteY2" fmla="*/ -4 h 32364"/>
                          <a:gd name="connsiteX3" fmla="*/ 1 w 28517"/>
                          <a:gd name="connsiteY3" fmla="*/ 28197 h 3236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28517" h="32364">
                            <a:moveTo>
                              <a:pt x="1" y="28197"/>
                            </a:moveTo>
                            <a:cubicBezTo>
                              <a:pt x="11709" y="38175"/>
                              <a:pt x="26759" y="28898"/>
                              <a:pt x="28449" y="14303"/>
                            </a:cubicBezTo>
                            <a:cubicBezTo>
                              <a:pt x="29108" y="8778"/>
                              <a:pt x="24944" y="3913"/>
                              <a:pt x="18554" y="-4"/>
                            </a:cubicBezTo>
                            <a:cubicBezTo>
                              <a:pt x="15626" y="11173"/>
                              <a:pt x="9112" y="21081"/>
                              <a:pt x="1" y="28197"/>
                            </a:cubicBezTo>
                            <a:close/>
                          </a:path>
                        </a:pathLst>
                      </a:custGeom>
                      <a:grpFill/>
                      <a:ln w="6350" cap="flat">
                        <a:solidFill>
                          <a:schemeClr val="bg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>
                        <a:defPPr>
                          <a:defRPr lang="en-US"/>
                        </a:defPPr>
                      </a:lstStyle>
                      <a:p>
                        <a:pPr marL="0" marR="0" lvl="0" indent="0" algn="l" defTabSz="1462923" rtl="0" eaLnBrk="1" fontAlgn="auto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defRPr kumimoji="0" sz="2160" b="0" i="0" normalizeH="0" noProof="0">
                            <a:solidFill>
                              <a:srgbClr val="000000"/>
                            </a:solidFill>
                            <a:uLnTx/>
                            <a:uFillTx/>
                            <a:latin typeface="+mn-lt"/>
                            <a:ea typeface="+mn-ea"/>
                            <a:cs typeface="+mn-cs"/>
                          </a:defRPr>
                        </a:pPr>
                        <a:endParaRPr kumimoji="0" lang="en-US" sz="288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cs typeface="Arial" pitchFamily="34" charset="0"/>
                        </a:endParaRPr>
                      </a:p>
                    </p:txBody>
                  </p:sp>
                  <p:sp>
                    <p:nvSpPr>
                      <p:cNvPr id="188" name="Russia group">
                        <a:extLst>
                          <a:ext uri="{FF2B5EF4-FFF2-40B4-BE49-F238E27FC236}">
                            <a16:creationId xmlns:a16="http://schemas.microsoft.com/office/drawing/2014/main" id="{B355ED32-3307-41FD-1B9A-C49141D1C1A1}"/>
                          </a:ext>
                        </a:extLst>
                      </p:cNvPr>
                      <p:cNvSpPr/>
                      <p:nvPr>
                        <p:custDataLst>
                          <p:tags r:id="rId453"/>
                        </p:custDataLst>
                      </p:nvPr>
                    </p:nvSpPr>
                    <p:spPr>
                      <a:xfrm>
                        <a:off x="11683044" y="1599848"/>
                        <a:ext cx="37260" cy="7106"/>
                      </a:xfrm>
                      <a:custGeom>
                        <a:avLst/>
                        <a:gdLst>
                          <a:gd name="connsiteX0" fmla="*/ 1 w 43508"/>
                          <a:gd name="connsiteY0" fmla="*/ 2817 h 8298"/>
                          <a:gd name="connsiteX1" fmla="*/ 3217 w 43508"/>
                          <a:gd name="connsiteY1" fmla="*/ 3601 h 8298"/>
                          <a:gd name="connsiteX2" fmla="*/ 43499 w 43508"/>
                          <a:gd name="connsiteY2" fmla="*/ 3601 h 8298"/>
                          <a:gd name="connsiteX3" fmla="*/ 43292 w 43508"/>
                          <a:gd name="connsiteY3" fmla="*/ 1952 h 8298"/>
                          <a:gd name="connsiteX4" fmla="*/ 1 w 43508"/>
                          <a:gd name="connsiteY4" fmla="*/ 2817 h 829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43508" h="8298">
                            <a:moveTo>
                              <a:pt x="1" y="2817"/>
                            </a:moveTo>
                            <a:cubicBezTo>
                              <a:pt x="1073" y="3019"/>
                              <a:pt x="2145" y="3283"/>
                              <a:pt x="3217" y="3601"/>
                            </a:cubicBezTo>
                            <a:cubicBezTo>
                              <a:pt x="17441" y="8425"/>
                              <a:pt x="42344" y="11146"/>
                              <a:pt x="43499" y="3601"/>
                            </a:cubicBezTo>
                            <a:cubicBezTo>
                              <a:pt x="43540" y="3044"/>
                              <a:pt x="43458" y="2483"/>
                              <a:pt x="43292" y="1952"/>
                            </a:cubicBezTo>
                            <a:cubicBezTo>
                              <a:pt x="28986" y="-922"/>
                              <a:pt x="14184" y="-625"/>
                              <a:pt x="1" y="2817"/>
                            </a:cubicBezTo>
                            <a:close/>
                          </a:path>
                        </a:pathLst>
                      </a:custGeom>
                      <a:grpFill/>
                      <a:ln w="6350" cap="flat">
                        <a:solidFill>
                          <a:schemeClr val="bg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>
                        <a:defPPr>
                          <a:defRPr lang="en-US"/>
                        </a:defPPr>
                      </a:lstStyle>
                      <a:p>
                        <a:pPr marL="0" marR="0" lvl="0" indent="0" algn="l" defTabSz="1462923" rtl="0" eaLnBrk="1" fontAlgn="auto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defRPr kumimoji="0" sz="2160" b="0" i="0" normalizeH="0" noProof="0">
                            <a:solidFill>
                              <a:srgbClr val="000000"/>
                            </a:solidFill>
                            <a:uLnTx/>
                            <a:uFillTx/>
                            <a:latin typeface="+mn-lt"/>
                            <a:ea typeface="+mn-ea"/>
                            <a:cs typeface="+mn-cs"/>
                          </a:defRPr>
                        </a:pPr>
                        <a:endParaRPr kumimoji="0" lang="en-US" sz="288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cs typeface="Arial" pitchFamily="34" charset="0"/>
                        </a:endParaRPr>
                      </a:p>
                    </p:txBody>
                  </p:sp>
                  <p:sp>
                    <p:nvSpPr>
                      <p:cNvPr id="189" name="Russia group">
                        <a:extLst>
                          <a:ext uri="{FF2B5EF4-FFF2-40B4-BE49-F238E27FC236}">
                            <a16:creationId xmlns:a16="http://schemas.microsoft.com/office/drawing/2014/main" id="{9EEB32EE-A815-1983-B5C3-5F07A36E6B4C}"/>
                          </a:ext>
                        </a:extLst>
                      </p:cNvPr>
                      <p:cNvSpPr/>
                      <p:nvPr>
                        <p:custDataLst>
                          <p:tags r:id="rId454"/>
                        </p:custDataLst>
                      </p:nvPr>
                    </p:nvSpPr>
                    <p:spPr>
                      <a:xfrm>
                        <a:off x="8647534" y="919890"/>
                        <a:ext cx="115914" cy="45307"/>
                      </a:xfrm>
                      <a:custGeom>
                        <a:avLst/>
                        <a:gdLst>
                          <a:gd name="connsiteX0" fmla="*/ 58184 w 135350"/>
                          <a:gd name="connsiteY0" fmla="*/ 5330 h 52904"/>
                          <a:gd name="connsiteX1" fmla="*/ 28581 w 135350"/>
                          <a:gd name="connsiteY1" fmla="*/ 17699 h 52904"/>
                          <a:gd name="connsiteX2" fmla="*/ 4873 w 135350"/>
                          <a:gd name="connsiteY2" fmla="*/ 45117 h 52904"/>
                          <a:gd name="connsiteX3" fmla="*/ 92529 w 135350"/>
                          <a:gd name="connsiteY3" fmla="*/ 36871 h 52904"/>
                          <a:gd name="connsiteX4" fmla="*/ 135161 w 135350"/>
                          <a:gd name="connsiteY4" fmla="*/ 17658 h 52904"/>
                          <a:gd name="connsiteX5" fmla="*/ 58184 w 135350"/>
                          <a:gd name="connsiteY5" fmla="*/ 5330 h 5290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</a:cxnLst>
                        <a:rect l="l" t="t" r="r" b="b"/>
                        <a:pathLst>
                          <a:path w="135350" h="52904">
                            <a:moveTo>
                              <a:pt x="58184" y="5330"/>
                            </a:moveTo>
                            <a:cubicBezTo>
                              <a:pt x="61730" y="16256"/>
                              <a:pt x="52288" y="17699"/>
                              <a:pt x="28581" y="17699"/>
                            </a:cubicBezTo>
                            <a:cubicBezTo>
                              <a:pt x="4873" y="17699"/>
                              <a:pt x="-7496" y="33202"/>
                              <a:pt x="4873" y="45117"/>
                            </a:cubicBezTo>
                            <a:cubicBezTo>
                              <a:pt x="19097" y="58847"/>
                              <a:pt x="81850" y="53363"/>
                              <a:pt x="92529" y="36871"/>
                            </a:cubicBezTo>
                            <a:cubicBezTo>
                              <a:pt x="103207" y="20379"/>
                              <a:pt x="130420" y="34109"/>
                              <a:pt x="135161" y="17658"/>
                            </a:cubicBezTo>
                            <a:cubicBezTo>
                              <a:pt x="139903" y="1207"/>
                              <a:pt x="54637" y="-5638"/>
                              <a:pt x="58184" y="5330"/>
                            </a:cubicBezTo>
                            <a:close/>
                          </a:path>
                        </a:pathLst>
                      </a:custGeom>
                      <a:solidFill>
                        <a:schemeClr val="bg1">
                          <a:lumMod val="85000"/>
                        </a:schemeClr>
                      </a:solidFill>
                      <a:ln w="635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>
                        <a:defPPr>
                          <a:defRPr lang="en-US"/>
                        </a:defPPr>
                      </a:lstStyle>
                      <a:p>
                        <a:pPr marL="0" marR="0" lvl="0" indent="0" algn="l" defTabSz="1462923" rtl="0" eaLnBrk="1" fontAlgn="auto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defRPr kumimoji="0" sz="2160" b="0" i="0" normalizeH="0" noProof="0">
                            <a:solidFill>
                              <a:srgbClr val="000000"/>
                            </a:solidFill>
                            <a:uLnTx/>
                            <a:uFillTx/>
                            <a:latin typeface="+mn-lt"/>
                            <a:ea typeface="+mn-ea"/>
                            <a:cs typeface="+mn-cs"/>
                          </a:defRPr>
                        </a:pPr>
                        <a:endParaRPr kumimoji="0" lang="en-US" sz="288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cs typeface="Arial" pitchFamily="34" charset="0"/>
                        </a:endParaRPr>
                      </a:p>
                    </p:txBody>
                  </p:sp>
                  <p:sp>
                    <p:nvSpPr>
                      <p:cNvPr id="190" name="Russia group">
                        <a:extLst>
                          <a:ext uri="{FF2B5EF4-FFF2-40B4-BE49-F238E27FC236}">
                            <a16:creationId xmlns:a16="http://schemas.microsoft.com/office/drawing/2014/main" id="{6EF9868E-FCF6-CD42-8724-C3146F1C1827}"/>
                          </a:ext>
                        </a:extLst>
                      </p:cNvPr>
                      <p:cNvSpPr/>
                      <p:nvPr>
                        <p:custDataLst>
                          <p:tags r:id="rId455"/>
                        </p:custDataLst>
                      </p:nvPr>
                    </p:nvSpPr>
                    <p:spPr>
                      <a:xfrm>
                        <a:off x="8648388" y="837958"/>
                        <a:ext cx="105823" cy="23050"/>
                      </a:xfrm>
                      <a:custGeom>
                        <a:avLst/>
                        <a:gdLst>
                          <a:gd name="connsiteX0" fmla="*/ 110251 w 123567"/>
                          <a:gd name="connsiteY0" fmla="*/ 3904 h 26914"/>
                          <a:gd name="connsiteX1" fmla="*/ 54053 w 123567"/>
                          <a:gd name="connsiteY1" fmla="*/ 976 h 26914"/>
                          <a:gd name="connsiteX2" fmla="*/ 13400 w 123567"/>
                          <a:gd name="connsiteY2" fmla="*/ 8233 h 26914"/>
                          <a:gd name="connsiteX3" fmla="*/ 1567 w 123567"/>
                          <a:gd name="connsiteY3" fmla="*/ 11449 h 26914"/>
                          <a:gd name="connsiteX4" fmla="*/ 1 w 123567"/>
                          <a:gd name="connsiteY4" fmla="*/ 11943 h 26914"/>
                          <a:gd name="connsiteX5" fmla="*/ 51291 w 123567"/>
                          <a:gd name="connsiteY5" fmla="*/ 26910 h 26914"/>
                          <a:gd name="connsiteX6" fmla="*/ 90336 w 123567"/>
                          <a:gd name="connsiteY6" fmla="*/ 9057 h 26914"/>
                          <a:gd name="connsiteX7" fmla="*/ 123568 w 123567"/>
                          <a:gd name="connsiteY7" fmla="*/ 6996 h 26914"/>
                          <a:gd name="connsiteX8" fmla="*/ 110251 w 123567"/>
                          <a:gd name="connsiteY8" fmla="*/ 3904 h 2691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123567" h="26914">
                            <a:moveTo>
                              <a:pt x="110251" y="3904"/>
                            </a:moveTo>
                            <a:cubicBezTo>
                              <a:pt x="91779" y="2"/>
                              <a:pt x="72813" y="-986"/>
                              <a:pt x="54053" y="976"/>
                            </a:cubicBezTo>
                            <a:cubicBezTo>
                              <a:pt x="54383" y="6955"/>
                              <a:pt x="29851" y="7491"/>
                              <a:pt x="13400" y="8233"/>
                            </a:cubicBezTo>
                            <a:cubicBezTo>
                              <a:pt x="9277" y="9264"/>
                              <a:pt x="5525" y="10294"/>
                              <a:pt x="1567" y="11449"/>
                            </a:cubicBezTo>
                            <a:lnTo>
                              <a:pt x="1" y="11943"/>
                            </a:lnTo>
                            <a:cubicBezTo>
                              <a:pt x="4329" y="19654"/>
                              <a:pt x="24739" y="26910"/>
                              <a:pt x="51291" y="26910"/>
                            </a:cubicBezTo>
                            <a:cubicBezTo>
                              <a:pt x="79698" y="26910"/>
                              <a:pt x="71411" y="6295"/>
                              <a:pt x="90336" y="9057"/>
                            </a:cubicBezTo>
                            <a:cubicBezTo>
                              <a:pt x="102705" y="10872"/>
                              <a:pt x="117218" y="10872"/>
                              <a:pt x="123568" y="6996"/>
                            </a:cubicBezTo>
                            <a:cubicBezTo>
                              <a:pt x="119156" y="5924"/>
                              <a:pt x="114744" y="4893"/>
                              <a:pt x="110251" y="3904"/>
                            </a:cubicBezTo>
                            <a:close/>
                          </a:path>
                        </a:pathLst>
                      </a:custGeom>
                      <a:solidFill>
                        <a:schemeClr val="bg1">
                          <a:lumMod val="85000"/>
                        </a:schemeClr>
                      </a:solidFill>
                      <a:ln w="635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>
                        <a:defPPr>
                          <a:defRPr lang="en-US"/>
                        </a:defPPr>
                      </a:lstStyle>
                      <a:p>
                        <a:pPr marL="0" marR="0" lvl="0" indent="0" algn="l" defTabSz="1462923" rtl="0" eaLnBrk="1" fontAlgn="auto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defRPr kumimoji="0" sz="2160" b="0" i="0" normalizeH="0" noProof="0">
                            <a:solidFill>
                              <a:srgbClr val="000000"/>
                            </a:solidFill>
                            <a:uLnTx/>
                            <a:uFillTx/>
                            <a:latin typeface="+mn-lt"/>
                            <a:ea typeface="+mn-ea"/>
                            <a:cs typeface="+mn-cs"/>
                          </a:defRPr>
                        </a:pPr>
                        <a:endParaRPr kumimoji="0" lang="en-US" sz="288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cs typeface="Arial" pitchFamily="34" charset="0"/>
                        </a:endParaRPr>
                      </a:p>
                    </p:txBody>
                  </p:sp>
                  <p:sp>
                    <p:nvSpPr>
                      <p:cNvPr id="191" name="Russia group">
                        <a:extLst>
                          <a:ext uri="{FF2B5EF4-FFF2-40B4-BE49-F238E27FC236}">
                            <a16:creationId xmlns:a16="http://schemas.microsoft.com/office/drawing/2014/main" id="{872E569E-2652-29C7-0A48-E884C4B66426}"/>
                          </a:ext>
                        </a:extLst>
                      </p:cNvPr>
                      <p:cNvSpPr/>
                      <p:nvPr>
                        <p:custDataLst>
                          <p:tags r:id="rId456"/>
                        </p:custDataLst>
                      </p:nvPr>
                    </p:nvSpPr>
                    <p:spPr>
                      <a:xfrm>
                        <a:off x="10518289" y="1434255"/>
                        <a:ext cx="62867" cy="33895"/>
                      </a:xfrm>
                      <a:custGeom>
                        <a:avLst/>
                        <a:gdLst>
                          <a:gd name="connsiteX0" fmla="*/ 24816 w 73408"/>
                          <a:gd name="connsiteY0" fmla="*/ 8331 h 39578"/>
                          <a:gd name="connsiteX1" fmla="*/ 1149 w 73408"/>
                          <a:gd name="connsiteY1" fmla="*/ 30266 h 39578"/>
                          <a:gd name="connsiteX2" fmla="*/ 73385 w 73408"/>
                          <a:gd name="connsiteY2" fmla="*/ 16536 h 39578"/>
                          <a:gd name="connsiteX3" fmla="*/ 24816 w 73408"/>
                          <a:gd name="connsiteY3" fmla="*/ 8331 h 3957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73408" h="39578">
                            <a:moveTo>
                              <a:pt x="24816" y="8331"/>
                            </a:moveTo>
                            <a:cubicBezTo>
                              <a:pt x="20075" y="19299"/>
                              <a:pt x="-5695" y="19999"/>
                              <a:pt x="1149" y="30266"/>
                            </a:cubicBezTo>
                            <a:cubicBezTo>
                              <a:pt x="12983" y="48119"/>
                              <a:pt x="72189" y="38512"/>
                              <a:pt x="73385" y="16536"/>
                            </a:cubicBezTo>
                            <a:cubicBezTo>
                              <a:pt x="74581" y="-5440"/>
                              <a:pt x="29558" y="-2636"/>
                              <a:pt x="24816" y="8331"/>
                            </a:cubicBezTo>
                            <a:close/>
                          </a:path>
                        </a:pathLst>
                      </a:custGeom>
                      <a:solidFill>
                        <a:schemeClr val="bg1">
                          <a:lumMod val="85000"/>
                        </a:schemeClr>
                      </a:solidFill>
                      <a:ln w="6350" cap="flat">
                        <a:solidFill>
                          <a:schemeClr val="bg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>
                        <a:defPPr>
                          <a:defRPr lang="en-US"/>
                        </a:defPPr>
                      </a:lstStyle>
                      <a:p>
                        <a:pPr marL="0" marR="0" lvl="0" indent="0" algn="l" defTabSz="1462923" rtl="0" eaLnBrk="1" fontAlgn="auto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defRPr kumimoji="0" sz="2160" b="0" i="0" normalizeH="0" noProof="0">
                            <a:solidFill>
                              <a:srgbClr val="000000"/>
                            </a:solidFill>
                            <a:uLnTx/>
                            <a:uFillTx/>
                            <a:latin typeface="+mn-lt"/>
                            <a:ea typeface="+mn-ea"/>
                            <a:cs typeface="+mn-cs"/>
                          </a:defRPr>
                        </a:pPr>
                        <a:endParaRPr kumimoji="0" lang="en-US" sz="288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cs typeface="Arial" pitchFamily="34" charset="0"/>
                        </a:endParaRPr>
                      </a:p>
                    </p:txBody>
                  </p:sp>
                  <p:sp>
                    <p:nvSpPr>
                      <p:cNvPr id="192" name="Russia group">
                        <a:extLst>
                          <a:ext uri="{FF2B5EF4-FFF2-40B4-BE49-F238E27FC236}">
                            <a16:creationId xmlns:a16="http://schemas.microsoft.com/office/drawing/2014/main" id="{35CC4FAE-AC0C-325C-FC94-513E4C655BD9}"/>
                          </a:ext>
                        </a:extLst>
                      </p:cNvPr>
                      <p:cNvSpPr/>
                      <p:nvPr>
                        <p:custDataLst>
                          <p:tags r:id="rId457"/>
                        </p:custDataLst>
                      </p:nvPr>
                    </p:nvSpPr>
                    <p:spPr>
                      <a:xfrm>
                        <a:off x="8588855" y="856956"/>
                        <a:ext cx="120870" cy="51535"/>
                      </a:xfrm>
                      <a:custGeom>
                        <a:avLst/>
                        <a:gdLst>
                          <a:gd name="connsiteX0" fmla="*/ 140925 w 141137"/>
                          <a:gd name="connsiteY0" fmla="*/ 30825 h 60177"/>
                          <a:gd name="connsiteX1" fmla="*/ 72194 w 141137"/>
                          <a:gd name="connsiteY1" fmla="*/ 10210 h 60177"/>
                          <a:gd name="connsiteX2" fmla="*/ 43786 w 141137"/>
                          <a:gd name="connsiteY2" fmla="*/ 17013 h 60177"/>
                          <a:gd name="connsiteX3" fmla="*/ 1113 w 141137"/>
                          <a:gd name="connsiteY3" fmla="*/ 45874 h 60177"/>
                          <a:gd name="connsiteX4" fmla="*/ 140925 w 141137"/>
                          <a:gd name="connsiteY4" fmla="*/ 30825 h 6017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41137" h="60177">
                            <a:moveTo>
                              <a:pt x="140925" y="30825"/>
                            </a:moveTo>
                            <a:cubicBezTo>
                              <a:pt x="144471" y="1964"/>
                              <a:pt x="103035" y="25300"/>
                              <a:pt x="72194" y="10210"/>
                            </a:cubicBezTo>
                            <a:cubicBezTo>
                              <a:pt x="41354" y="-4880"/>
                              <a:pt x="23253" y="-3767"/>
                              <a:pt x="43786" y="17013"/>
                            </a:cubicBezTo>
                            <a:cubicBezTo>
                              <a:pt x="53269" y="26620"/>
                              <a:pt x="-8988" y="34124"/>
                              <a:pt x="1113" y="45874"/>
                            </a:cubicBezTo>
                            <a:cubicBezTo>
                              <a:pt x="23625" y="71973"/>
                              <a:pt x="137339" y="59604"/>
                              <a:pt x="140925" y="30825"/>
                            </a:cubicBezTo>
                            <a:close/>
                          </a:path>
                        </a:pathLst>
                      </a:custGeom>
                      <a:solidFill>
                        <a:schemeClr val="bg1">
                          <a:lumMod val="85000"/>
                        </a:schemeClr>
                      </a:solidFill>
                      <a:ln w="635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>
                        <a:defPPr>
                          <a:defRPr lang="en-US"/>
                        </a:defPPr>
                      </a:lstStyle>
                      <a:p>
                        <a:pPr marL="0" marR="0" lvl="0" indent="0" algn="l" defTabSz="1462923" rtl="0" eaLnBrk="1" fontAlgn="auto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defRPr kumimoji="0" sz="2160" b="0" i="0" normalizeH="0" noProof="0">
                            <a:solidFill>
                              <a:srgbClr val="000000"/>
                            </a:solidFill>
                            <a:uLnTx/>
                            <a:uFillTx/>
                            <a:latin typeface="+mn-lt"/>
                            <a:ea typeface="+mn-ea"/>
                            <a:cs typeface="+mn-cs"/>
                          </a:defRPr>
                        </a:pPr>
                        <a:endParaRPr kumimoji="0" lang="en-US" sz="288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cs typeface="Arial" pitchFamily="34" charset="0"/>
                        </a:endParaRPr>
                      </a:p>
                    </p:txBody>
                  </p:sp>
                  <p:sp>
                    <p:nvSpPr>
                      <p:cNvPr id="193" name="Russia group">
                        <a:extLst>
                          <a:ext uri="{FF2B5EF4-FFF2-40B4-BE49-F238E27FC236}">
                            <a16:creationId xmlns:a16="http://schemas.microsoft.com/office/drawing/2014/main" id="{2DD701B7-7223-E855-6EE8-40713B9C1D46}"/>
                          </a:ext>
                        </a:extLst>
                      </p:cNvPr>
                      <p:cNvSpPr/>
                      <p:nvPr>
                        <p:custDataLst>
                          <p:tags r:id="rId458"/>
                        </p:custDataLst>
                      </p:nvPr>
                    </p:nvSpPr>
                    <p:spPr>
                      <a:xfrm>
                        <a:off x="8489283" y="1236599"/>
                        <a:ext cx="608874" cy="494462"/>
                      </a:xfrm>
                      <a:custGeom>
                        <a:avLst/>
                        <a:gdLst>
                          <a:gd name="connsiteX0" fmla="*/ 703763 w 710970"/>
                          <a:gd name="connsiteY0" fmla="*/ 8652 h 577375"/>
                          <a:gd name="connsiteX1" fmla="*/ 580567 w 710970"/>
                          <a:gd name="connsiteY1" fmla="*/ 36112 h 577375"/>
                          <a:gd name="connsiteX2" fmla="*/ 515423 w 710970"/>
                          <a:gd name="connsiteY2" fmla="*/ 53882 h 577375"/>
                          <a:gd name="connsiteX3" fmla="*/ 455762 w 710970"/>
                          <a:gd name="connsiteY3" fmla="*/ 69096 h 577375"/>
                          <a:gd name="connsiteX4" fmla="*/ 431024 w 710970"/>
                          <a:gd name="connsiteY4" fmla="*/ 71570 h 577375"/>
                          <a:gd name="connsiteX5" fmla="*/ 424839 w 710970"/>
                          <a:gd name="connsiteY5" fmla="*/ 70787 h 577375"/>
                          <a:gd name="connsiteX6" fmla="*/ 393339 w 710970"/>
                          <a:gd name="connsiteY6" fmla="*/ 75569 h 577375"/>
                          <a:gd name="connsiteX7" fmla="*/ 361096 w 710970"/>
                          <a:gd name="connsiteY7" fmla="*/ 88186 h 577375"/>
                          <a:gd name="connsiteX8" fmla="*/ 359489 w 710970"/>
                          <a:gd name="connsiteY8" fmla="*/ 88186 h 577375"/>
                          <a:gd name="connsiteX9" fmla="*/ 334750 w 710970"/>
                          <a:gd name="connsiteY9" fmla="*/ 95649 h 577375"/>
                          <a:gd name="connsiteX10" fmla="*/ 326504 w 710970"/>
                          <a:gd name="connsiteY10" fmla="*/ 96803 h 577375"/>
                          <a:gd name="connsiteX11" fmla="*/ 255010 w 710970"/>
                          <a:gd name="connsiteY11" fmla="*/ 153165 h 577375"/>
                          <a:gd name="connsiteX12" fmla="*/ 211307 w 710970"/>
                          <a:gd name="connsiteY12" fmla="*/ 161040 h 577375"/>
                          <a:gd name="connsiteX13" fmla="*/ 194195 w 710970"/>
                          <a:gd name="connsiteY13" fmla="*/ 178357 h 577375"/>
                          <a:gd name="connsiteX14" fmla="*/ 200297 w 710970"/>
                          <a:gd name="connsiteY14" fmla="*/ 188417 h 577375"/>
                          <a:gd name="connsiteX15" fmla="*/ 177744 w 710970"/>
                          <a:gd name="connsiteY15" fmla="*/ 218557 h 577375"/>
                          <a:gd name="connsiteX16" fmla="*/ 165953 w 710970"/>
                          <a:gd name="connsiteY16" fmla="*/ 248737 h 577375"/>
                          <a:gd name="connsiteX17" fmla="*/ 132969 w 710970"/>
                          <a:gd name="connsiteY17" fmla="*/ 268982 h 577375"/>
                          <a:gd name="connsiteX18" fmla="*/ 127732 w 710970"/>
                          <a:gd name="connsiteY18" fmla="*/ 285474 h 577375"/>
                          <a:gd name="connsiteX19" fmla="*/ 118579 w 710970"/>
                          <a:gd name="connsiteY19" fmla="*/ 300111 h 577375"/>
                          <a:gd name="connsiteX20" fmla="*/ 126825 w 710970"/>
                          <a:gd name="connsiteY20" fmla="*/ 302461 h 577375"/>
                          <a:gd name="connsiteX21" fmla="*/ 116146 w 710970"/>
                          <a:gd name="connsiteY21" fmla="*/ 328560 h 577375"/>
                          <a:gd name="connsiteX22" fmla="*/ 80648 w 710970"/>
                          <a:gd name="connsiteY22" fmla="*/ 349175 h 577375"/>
                          <a:gd name="connsiteX23" fmla="*/ 52198 w 710970"/>
                          <a:gd name="connsiteY23" fmla="*/ 372470 h 577375"/>
                          <a:gd name="connsiteX24" fmla="*/ 46013 w 710970"/>
                          <a:gd name="connsiteY24" fmla="*/ 373336 h 577375"/>
                          <a:gd name="connsiteX25" fmla="*/ 45602 w 710970"/>
                          <a:gd name="connsiteY25" fmla="*/ 378201 h 577375"/>
                          <a:gd name="connsiteX26" fmla="*/ 65186 w 710970"/>
                          <a:gd name="connsiteY26" fmla="*/ 404011 h 577375"/>
                          <a:gd name="connsiteX27" fmla="*/ 41560 w 710970"/>
                          <a:gd name="connsiteY27" fmla="*/ 431471 h 577375"/>
                          <a:gd name="connsiteX28" fmla="*/ 15049 w 710970"/>
                          <a:gd name="connsiteY28" fmla="*/ 444293 h 577375"/>
                          <a:gd name="connsiteX29" fmla="*/ 9895 w 710970"/>
                          <a:gd name="connsiteY29" fmla="*/ 467011 h 577375"/>
                          <a:gd name="connsiteX30" fmla="*/ 1 w 710970"/>
                          <a:gd name="connsiteY30" fmla="*/ 485070 h 577375"/>
                          <a:gd name="connsiteX31" fmla="*/ 32037 w 710970"/>
                          <a:gd name="connsiteY31" fmla="*/ 489193 h 577375"/>
                          <a:gd name="connsiteX32" fmla="*/ 39169 w 710970"/>
                          <a:gd name="connsiteY32" fmla="*/ 523456 h 577375"/>
                          <a:gd name="connsiteX33" fmla="*/ 54548 w 710970"/>
                          <a:gd name="connsiteY33" fmla="*/ 508366 h 577375"/>
                          <a:gd name="connsiteX34" fmla="*/ 86543 w 710970"/>
                          <a:gd name="connsiteY34" fmla="*/ 534464 h 577375"/>
                          <a:gd name="connsiteX35" fmla="*/ 137503 w 710970"/>
                          <a:gd name="connsiteY35" fmla="*/ 567449 h 577375"/>
                          <a:gd name="connsiteX36" fmla="*/ 241693 w 710970"/>
                          <a:gd name="connsiteY36" fmla="*/ 567449 h 577375"/>
                          <a:gd name="connsiteX37" fmla="*/ 187228 w 710970"/>
                          <a:gd name="connsiteY37" fmla="*/ 511169 h 577375"/>
                          <a:gd name="connsiteX38" fmla="*/ 173003 w 710970"/>
                          <a:gd name="connsiteY38" fmla="*/ 411062 h 577375"/>
                          <a:gd name="connsiteX39" fmla="*/ 204998 w 710970"/>
                          <a:gd name="connsiteY39" fmla="*/ 357462 h 577375"/>
                          <a:gd name="connsiteX40" fmla="*/ 224129 w 710970"/>
                          <a:gd name="connsiteY40" fmla="*/ 327281 h 577375"/>
                          <a:gd name="connsiteX41" fmla="*/ 225242 w 710970"/>
                          <a:gd name="connsiteY41" fmla="*/ 267044 h 577375"/>
                          <a:gd name="connsiteX42" fmla="*/ 286800 w 710970"/>
                          <a:gd name="connsiteY42" fmla="*/ 232905 h 577375"/>
                          <a:gd name="connsiteX43" fmla="*/ 286800 w 710970"/>
                          <a:gd name="connsiteY43" fmla="*/ 232616 h 577375"/>
                          <a:gd name="connsiteX44" fmla="*/ 312692 w 710970"/>
                          <a:gd name="connsiteY44" fmla="*/ 225318 h 577375"/>
                          <a:gd name="connsiteX45" fmla="*/ 316815 w 710970"/>
                          <a:gd name="connsiteY45" fmla="*/ 223710 h 577375"/>
                          <a:gd name="connsiteX46" fmla="*/ 324690 w 710970"/>
                          <a:gd name="connsiteY46" fmla="*/ 217567 h 577375"/>
                          <a:gd name="connsiteX47" fmla="*/ 336647 w 710970"/>
                          <a:gd name="connsiteY47" fmla="*/ 209610 h 577375"/>
                          <a:gd name="connsiteX48" fmla="*/ 368394 w 710970"/>
                          <a:gd name="connsiteY48" fmla="*/ 200168 h 577375"/>
                          <a:gd name="connsiteX49" fmla="*/ 378001 w 710970"/>
                          <a:gd name="connsiteY49" fmla="*/ 188747 h 577375"/>
                          <a:gd name="connsiteX50" fmla="*/ 600646 w 710970"/>
                          <a:gd name="connsiteY50" fmla="*/ 91319 h 577375"/>
                          <a:gd name="connsiteX51" fmla="*/ 703763 w 710970"/>
                          <a:gd name="connsiteY51" fmla="*/ 8652 h 57737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</a:cxnLst>
                        <a:rect l="l" t="t" r="r" b="b"/>
                        <a:pathLst>
                          <a:path w="710970" h="577375">
                            <a:moveTo>
                              <a:pt x="703763" y="8652"/>
                            </a:moveTo>
                            <a:cubicBezTo>
                              <a:pt x="676509" y="-16086"/>
                              <a:pt x="599532" y="18259"/>
                              <a:pt x="580567" y="36112"/>
                            </a:cubicBezTo>
                            <a:cubicBezTo>
                              <a:pt x="561600" y="53965"/>
                              <a:pt x="534388" y="41554"/>
                              <a:pt x="515423" y="53882"/>
                            </a:cubicBezTo>
                            <a:cubicBezTo>
                              <a:pt x="501527" y="62953"/>
                              <a:pt x="476212" y="71240"/>
                              <a:pt x="455762" y="69096"/>
                            </a:cubicBezTo>
                            <a:cubicBezTo>
                              <a:pt x="447928" y="72263"/>
                              <a:pt x="439353" y="73124"/>
                              <a:pt x="431024" y="71570"/>
                            </a:cubicBezTo>
                            <a:cubicBezTo>
                              <a:pt x="428921" y="71199"/>
                              <a:pt x="426901" y="71034"/>
                              <a:pt x="424839" y="70787"/>
                            </a:cubicBezTo>
                            <a:cubicBezTo>
                              <a:pt x="414119" y="70411"/>
                              <a:pt x="403440" y="72032"/>
                              <a:pt x="393339" y="75569"/>
                            </a:cubicBezTo>
                            <a:cubicBezTo>
                              <a:pt x="385464" y="84995"/>
                              <a:pt x="373301" y="89749"/>
                              <a:pt x="361096" y="88186"/>
                            </a:cubicBezTo>
                            <a:lnTo>
                              <a:pt x="359489" y="88186"/>
                            </a:lnTo>
                            <a:cubicBezTo>
                              <a:pt x="351490" y="91390"/>
                              <a:pt x="343203" y="93884"/>
                              <a:pt x="334750" y="95649"/>
                            </a:cubicBezTo>
                            <a:cubicBezTo>
                              <a:pt x="332153" y="96143"/>
                              <a:pt x="329349" y="96514"/>
                              <a:pt x="326504" y="96803"/>
                            </a:cubicBezTo>
                            <a:cubicBezTo>
                              <a:pt x="301766" y="112842"/>
                              <a:pt x="278718" y="133911"/>
                              <a:pt x="255010" y="153165"/>
                            </a:cubicBezTo>
                            <a:cubicBezTo>
                              <a:pt x="242930" y="163497"/>
                              <a:pt x="226232" y="166507"/>
                              <a:pt x="211307" y="161040"/>
                            </a:cubicBezTo>
                            <a:cubicBezTo>
                              <a:pt x="205492" y="166730"/>
                              <a:pt x="199762" y="172502"/>
                              <a:pt x="194195" y="178357"/>
                            </a:cubicBezTo>
                            <a:cubicBezTo>
                              <a:pt x="195515" y="182101"/>
                              <a:pt x="197577" y="185527"/>
                              <a:pt x="200297" y="188417"/>
                            </a:cubicBezTo>
                            <a:cubicBezTo>
                              <a:pt x="216790" y="206270"/>
                              <a:pt x="169498" y="207589"/>
                              <a:pt x="177744" y="218557"/>
                            </a:cubicBezTo>
                            <a:cubicBezTo>
                              <a:pt x="185991" y="229524"/>
                              <a:pt x="160016" y="236409"/>
                              <a:pt x="165953" y="248737"/>
                            </a:cubicBezTo>
                            <a:cubicBezTo>
                              <a:pt x="171890" y="261065"/>
                              <a:pt x="150616" y="264982"/>
                              <a:pt x="132969" y="268982"/>
                            </a:cubicBezTo>
                            <a:cubicBezTo>
                              <a:pt x="132021" y="274704"/>
                              <a:pt x="130288" y="280262"/>
                              <a:pt x="127732" y="285474"/>
                            </a:cubicBezTo>
                            <a:cubicBezTo>
                              <a:pt x="125176" y="290636"/>
                              <a:pt x="122083" y="295538"/>
                              <a:pt x="118579" y="300111"/>
                            </a:cubicBezTo>
                            <a:cubicBezTo>
                              <a:pt x="121094" y="301595"/>
                              <a:pt x="123940" y="302403"/>
                              <a:pt x="126825" y="302461"/>
                            </a:cubicBezTo>
                            <a:cubicBezTo>
                              <a:pt x="149337" y="303862"/>
                              <a:pt x="113755" y="307985"/>
                              <a:pt x="116146" y="328560"/>
                            </a:cubicBezTo>
                            <a:cubicBezTo>
                              <a:pt x="118538" y="349133"/>
                              <a:pt x="79410" y="335404"/>
                              <a:pt x="80648" y="349175"/>
                            </a:cubicBezTo>
                            <a:cubicBezTo>
                              <a:pt x="81884" y="362946"/>
                              <a:pt x="74668" y="372470"/>
                              <a:pt x="52198" y="372470"/>
                            </a:cubicBezTo>
                            <a:cubicBezTo>
                              <a:pt x="50095" y="372350"/>
                              <a:pt x="47992" y="372647"/>
                              <a:pt x="46013" y="373336"/>
                            </a:cubicBezTo>
                            <a:cubicBezTo>
                              <a:pt x="45972" y="374964"/>
                              <a:pt x="45807" y="376589"/>
                              <a:pt x="45602" y="378201"/>
                            </a:cubicBezTo>
                            <a:cubicBezTo>
                              <a:pt x="49725" y="384303"/>
                              <a:pt x="63701" y="394446"/>
                              <a:pt x="65186" y="404011"/>
                            </a:cubicBezTo>
                            <a:cubicBezTo>
                              <a:pt x="67577" y="419143"/>
                              <a:pt x="42715" y="408134"/>
                              <a:pt x="41560" y="431471"/>
                            </a:cubicBezTo>
                            <a:cubicBezTo>
                              <a:pt x="40901" y="444252"/>
                              <a:pt x="27749" y="443056"/>
                              <a:pt x="15049" y="444293"/>
                            </a:cubicBezTo>
                            <a:cubicBezTo>
                              <a:pt x="13400" y="451880"/>
                              <a:pt x="11833" y="459507"/>
                              <a:pt x="9895" y="467011"/>
                            </a:cubicBezTo>
                            <a:cubicBezTo>
                              <a:pt x="8123" y="473757"/>
                              <a:pt x="4742" y="479962"/>
                              <a:pt x="1" y="485070"/>
                            </a:cubicBezTo>
                            <a:cubicBezTo>
                              <a:pt x="8534" y="489193"/>
                              <a:pt x="21564" y="488328"/>
                              <a:pt x="32037" y="489193"/>
                            </a:cubicBezTo>
                            <a:cubicBezTo>
                              <a:pt x="50961" y="490554"/>
                              <a:pt x="24945" y="511087"/>
                              <a:pt x="39169" y="523456"/>
                            </a:cubicBezTo>
                            <a:cubicBezTo>
                              <a:pt x="53394" y="535825"/>
                              <a:pt x="63908" y="531702"/>
                              <a:pt x="54548" y="508366"/>
                            </a:cubicBezTo>
                            <a:cubicBezTo>
                              <a:pt x="45189" y="485029"/>
                              <a:pt x="104314" y="516612"/>
                              <a:pt x="86543" y="534464"/>
                            </a:cubicBezTo>
                            <a:cubicBezTo>
                              <a:pt x="68773" y="552317"/>
                              <a:pt x="114951" y="565964"/>
                              <a:pt x="137503" y="567449"/>
                            </a:cubicBezTo>
                            <a:cubicBezTo>
                              <a:pt x="160056" y="568933"/>
                              <a:pt x="239838" y="589012"/>
                              <a:pt x="241693" y="567449"/>
                            </a:cubicBezTo>
                            <a:cubicBezTo>
                              <a:pt x="242889" y="553719"/>
                              <a:pt x="212090" y="541391"/>
                              <a:pt x="187228" y="511169"/>
                            </a:cubicBezTo>
                            <a:cubicBezTo>
                              <a:pt x="162366" y="480947"/>
                              <a:pt x="144595" y="431636"/>
                              <a:pt x="173003" y="411062"/>
                            </a:cubicBezTo>
                            <a:cubicBezTo>
                              <a:pt x="201411" y="390488"/>
                              <a:pt x="176549" y="380881"/>
                              <a:pt x="204998" y="357462"/>
                            </a:cubicBezTo>
                            <a:cubicBezTo>
                              <a:pt x="214647" y="349909"/>
                              <a:pt x="221408" y="339246"/>
                              <a:pt x="224129" y="327281"/>
                            </a:cubicBezTo>
                            <a:cubicBezTo>
                              <a:pt x="209328" y="311325"/>
                              <a:pt x="204792" y="286051"/>
                              <a:pt x="225242" y="267044"/>
                            </a:cubicBezTo>
                            <a:cubicBezTo>
                              <a:pt x="242806" y="250976"/>
                              <a:pt x="263875" y="239279"/>
                              <a:pt x="286800" y="232905"/>
                            </a:cubicBezTo>
                            <a:cubicBezTo>
                              <a:pt x="286800" y="232905"/>
                              <a:pt x="286800" y="232699"/>
                              <a:pt x="286800" y="232616"/>
                            </a:cubicBezTo>
                            <a:cubicBezTo>
                              <a:pt x="284161" y="224370"/>
                              <a:pt x="299416" y="229277"/>
                              <a:pt x="312692" y="225318"/>
                            </a:cubicBezTo>
                            <a:cubicBezTo>
                              <a:pt x="314094" y="224824"/>
                              <a:pt x="315455" y="224288"/>
                              <a:pt x="316815" y="223710"/>
                            </a:cubicBezTo>
                            <a:cubicBezTo>
                              <a:pt x="319866" y="222296"/>
                              <a:pt x="322588" y="220193"/>
                              <a:pt x="324690" y="217567"/>
                            </a:cubicBezTo>
                            <a:cubicBezTo>
                              <a:pt x="327824" y="213819"/>
                              <a:pt x="331988" y="211053"/>
                              <a:pt x="336647" y="209610"/>
                            </a:cubicBezTo>
                            <a:cubicBezTo>
                              <a:pt x="345264" y="201801"/>
                              <a:pt x="356932" y="198329"/>
                              <a:pt x="368394" y="200168"/>
                            </a:cubicBezTo>
                            <a:cubicBezTo>
                              <a:pt x="372765" y="197521"/>
                              <a:pt x="376146" y="193505"/>
                              <a:pt x="378001" y="188747"/>
                            </a:cubicBezTo>
                            <a:cubicBezTo>
                              <a:pt x="387484" y="165411"/>
                              <a:pt x="523710" y="111893"/>
                              <a:pt x="600646" y="91319"/>
                            </a:cubicBezTo>
                            <a:cubicBezTo>
                              <a:pt x="677581" y="70745"/>
                              <a:pt x="731017" y="33308"/>
                              <a:pt x="703763" y="8652"/>
                            </a:cubicBezTo>
                            <a:close/>
                          </a:path>
                        </a:pathLst>
                      </a:custGeom>
                      <a:solidFill>
                        <a:schemeClr val="bg1">
                          <a:lumMod val="85000"/>
                        </a:schemeClr>
                      </a:solidFill>
                      <a:ln w="6350" cap="flat">
                        <a:solidFill>
                          <a:schemeClr val="bg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>
                        <a:defPPr>
                          <a:defRPr lang="en-US"/>
                        </a:defPPr>
                      </a:lstStyle>
                      <a:p>
                        <a:pPr marL="0" marR="0" lvl="0" indent="0" algn="l" defTabSz="1462923" rtl="0" eaLnBrk="1" fontAlgn="auto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defRPr kumimoji="0" sz="2160" b="0" i="0" normalizeH="0" noProof="0">
                            <a:solidFill>
                              <a:srgbClr val="000000"/>
                            </a:solidFill>
                            <a:uLnTx/>
                            <a:uFillTx/>
                            <a:latin typeface="+mn-lt"/>
                            <a:ea typeface="+mn-ea"/>
                            <a:cs typeface="+mn-cs"/>
                          </a:defRPr>
                        </a:pPr>
                        <a:endParaRPr kumimoji="0" lang="en-US" sz="288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cs typeface="Arial" pitchFamily="34" charset="0"/>
                        </a:endParaRPr>
                      </a:p>
                    </p:txBody>
                  </p:sp>
                  <p:sp>
                    <p:nvSpPr>
                      <p:cNvPr id="194" name="Russia group">
                        <a:extLst>
                          <a:ext uri="{FF2B5EF4-FFF2-40B4-BE49-F238E27FC236}">
                            <a16:creationId xmlns:a16="http://schemas.microsoft.com/office/drawing/2014/main" id="{0689BC3D-0E4D-5D35-22FB-90751D9D2F3F}"/>
                          </a:ext>
                        </a:extLst>
                      </p:cNvPr>
                      <p:cNvSpPr/>
                      <p:nvPr>
                        <p:custDataLst>
                          <p:tags r:id="rId459"/>
                        </p:custDataLst>
                      </p:nvPr>
                    </p:nvSpPr>
                    <p:spPr>
                      <a:xfrm>
                        <a:off x="8522549" y="931955"/>
                        <a:ext cx="43958" cy="19111"/>
                      </a:xfrm>
                      <a:custGeom>
                        <a:avLst/>
                        <a:gdLst>
                          <a:gd name="connsiteX0" fmla="*/ 51330 w 51329"/>
                          <a:gd name="connsiteY0" fmla="*/ 9055 h 22316"/>
                          <a:gd name="connsiteX1" fmla="*/ 1565 w 51329"/>
                          <a:gd name="connsiteY1" fmla="*/ 15941 h 22316"/>
                          <a:gd name="connsiteX2" fmla="*/ 51330 w 51329"/>
                          <a:gd name="connsiteY2" fmla="*/ 9055 h 2231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51329" h="22316">
                            <a:moveTo>
                              <a:pt x="51330" y="9055"/>
                            </a:moveTo>
                            <a:cubicBezTo>
                              <a:pt x="51330" y="-12879"/>
                              <a:pt x="-10516" y="11323"/>
                              <a:pt x="1565" y="15941"/>
                            </a:cubicBezTo>
                            <a:cubicBezTo>
                              <a:pt x="12202" y="20023"/>
                              <a:pt x="51330" y="30990"/>
                              <a:pt x="51330" y="9055"/>
                            </a:cubicBezTo>
                            <a:close/>
                          </a:path>
                        </a:pathLst>
                      </a:custGeom>
                      <a:solidFill>
                        <a:schemeClr val="bg1">
                          <a:lumMod val="85000"/>
                        </a:schemeClr>
                      </a:solidFill>
                      <a:ln w="635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>
                        <a:defPPr>
                          <a:defRPr lang="en-US"/>
                        </a:defPPr>
                      </a:lstStyle>
                      <a:p>
                        <a:pPr marL="0" marR="0" lvl="0" indent="0" algn="l" defTabSz="1462923" rtl="0" eaLnBrk="1" fontAlgn="auto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defRPr kumimoji="0" sz="2160" b="0" i="0" normalizeH="0" noProof="0">
                            <a:solidFill>
                              <a:srgbClr val="000000"/>
                            </a:solidFill>
                            <a:uLnTx/>
                            <a:uFillTx/>
                            <a:latin typeface="+mn-lt"/>
                            <a:ea typeface="+mn-ea"/>
                            <a:cs typeface="+mn-cs"/>
                          </a:defRPr>
                        </a:pPr>
                        <a:endParaRPr kumimoji="0" lang="en-US" sz="288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cs typeface="Arial" pitchFamily="34" charset="0"/>
                        </a:endParaRPr>
                      </a:p>
                    </p:txBody>
                  </p:sp>
                </p:grpSp>
              </p:grpSp>
            </p:grpSp>
          </p:grpSp>
          <p:sp>
            <p:nvSpPr>
              <p:cNvPr id="139" name="Freeform: Shape 138">
                <a:extLst>
                  <a:ext uri="{FF2B5EF4-FFF2-40B4-BE49-F238E27FC236}">
                    <a16:creationId xmlns:a16="http://schemas.microsoft.com/office/drawing/2014/main" id="{80B00701-0F93-1A31-4D18-9ECD1394D6B8}"/>
                  </a:ext>
                </a:extLst>
              </p:cNvPr>
              <p:cNvSpPr/>
              <p:nvPr>
                <p:custDataLst>
                  <p:tags r:id="rId404"/>
                </p:custDataLst>
              </p:nvPr>
            </p:nvSpPr>
            <p:spPr>
              <a:xfrm>
                <a:off x="8076540" y="3794513"/>
                <a:ext cx="234019" cy="120673"/>
              </a:xfrm>
              <a:custGeom>
                <a:avLst/>
                <a:gdLst>
                  <a:gd name="connsiteX0" fmla="*/ 109591 w 273260"/>
                  <a:gd name="connsiteY0" fmla="*/ 110956 h 140908"/>
                  <a:gd name="connsiteX1" fmla="*/ 137999 w 273260"/>
                  <a:gd name="connsiteY1" fmla="*/ 137013 h 140908"/>
                  <a:gd name="connsiteX2" fmla="*/ 139730 w 273260"/>
                  <a:gd name="connsiteY2" fmla="*/ 140106 h 140908"/>
                  <a:gd name="connsiteX3" fmla="*/ 180301 w 273260"/>
                  <a:gd name="connsiteY3" fmla="*/ 130581 h 140908"/>
                  <a:gd name="connsiteX4" fmla="*/ 215842 w 273260"/>
                  <a:gd name="connsiteY4" fmla="*/ 134704 h 140908"/>
                  <a:gd name="connsiteX5" fmla="*/ 213821 w 273260"/>
                  <a:gd name="connsiteY5" fmla="*/ 124603 h 140908"/>
                  <a:gd name="connsiteX6" fmla="*/ 241075 w 273260"/>
                  <a:gd name="connsiteY6" fmla="*/ 134168 h 140908"/>
                  <a:gd name="connsiteX7" fmla="*/ 271874 w 273260"/>
                  <a:gd name="connsiteY7" fmla="*/ 136931 h 140908"/>
                  <a:gd name="connsiteX8" fmla="*/ 258845 w 273260"/>
                  <a:gd name="connsiteY8" fmla="*/ 116316 h 140908"/>
                  <a:gd name="connsiteX9" fmla="*/ 266885 w 273260"/>
                  <a:gd name="connsiteY9" fmla="*/ 99452 h 140908"/>
                  <a:gd name="connsiteX10" fmla="*/ 242147 w 273260"/>
                  <a:gd name="connsiteY10" fmla="*/ 84774 h 140908"/>
                  <a:gd name="connsiteX11" fmla="*/ 229778 w 273260"/>
                  <a:gd name="connsiteY11" fmla="*/ 55913 h 140908"/>
                  <a:gd name="connsiteX12" fmla="*/ 215595 w 273260"/>
                  <a:gd name="connsiteY12" fmla="*/ 49729 h 140908"/>
                  <a:gd name="connsiteX13" fmla="*/ 174693 w 273260"/>
                  <a:gd name="connsiteY13" fmla="*/ 55913 h 140908"/>
                  <a:gd name="connsiteX14" fmla="*/ 149955 w 273260"/>
                  <a:gd name="connsiteY14" fmla="*/ 41482 h 140908"/>
                  <a:gd name="connsiteX15" fmla="*/ 125217 w 273260"/>
                  <a:gd name="connsiteY15" fmla="*/ 22970 h 140908"/>
                  <a:gd name="connsiteX16" fmla="*/ 63001 w 273260"/>
                  <a:gd name="connsiteY16" fmla="*/ 16785 h 140908"/>
                  <a:gd name="connsiteX17" fmla="*/ 15050 w 273260"/>
                  <a:gd name="connsiteY17" fmla="*/ 293 h 140908"/>
                  <a:gd name="connsiteX18" fmla="*/ 1 w 273260"/>
                  <a:gd name="connsiteY18" fmla="*/ 8539 h 140908"/>
                  <a:gd name="connsiteX19" fmla="*/ 61846 w 273260"/>
                  <a:gd name="connsiteY19" fmla="*/ 48492 h 140908"/>
                  <a:gd name="connsiteX20" fmla="*/ 77225 w 273260"/>
                  <a:gd name="connsiteY20" fmla="*/ 96443 h 140908"/>
                  <a:gd name="connsiteX21" fmla="*/ 67989 w 273260"/>
                  <a:gd name="connsiteY21" fmla="*/ 112316 h 140908"/>
                  <a:gd name="connsiteX22" fmla="*/ 109591 w 273260"/>
                  <a:gd name="connsiteY22" fmla="*/ 110956 h 140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73260" h="140908">
                    <a:moveTo>
                      <a:pt x="109591" y="110956"/>
                    </a:moveTo>
                    <a:cubicBezTo>
                      <a:pt x="122579" y="104112"/>
                      <a:pt x="127361" y="120604"/>
                      <a:pt x="137999" y="137013"/>
                    </a:cubicBezTo>
                    <a:cubicBezTo>
                      <a:pt x="138617" y="138015"/>
                      <a:pt x="139195" y="139046"/>
                      <a:pt x="139730" y="140106"/>
                    </a:cubicBezTo>
                    <a:cubicBezTo>
                      <a:pt x="154367" y="137467"/>
                      <a:pt x="165458" y="132602"/>
                      <a:pt x="180301" y="130581"/>
                    </a:cubicBezTo>
                    <a:cubicBezTo>
                      <a:pt x="192299" y="129761"/>
                      <a:pt x="204339" y="131159"/>
                      <a:pt x="215842" y="134704"/>
                    </a:cubicBezTo>
                    <a:cubicBezTo>
                      <a:pt x="213821" y="131748"/>
                      <a:pt x="213121" y="128103"/>
                      <a:pt x="213821" y="124603"/>
                    </a:cubicBezTo>
                    <a:cubicBezTo>
                      <a:pt x="217367" y="116357"/>
                      <a:pt x="235138" y="127324"/>
                      <a:pt x="241075" y="134168"/>
                    </a:cubicBezTo>
                    <a:cubicBezTo>
                      <a:pt x="247012" y="141013"/>
                      <a:pt x="265813" y="143817"/>
                      <a:pt x="271874" y="136931"/>
                    </a:cubicBezTo>
                    <a:cubicBezTo>
                      <a:pt x="277935" y="130045"/>
                      <a:pt x="262391" y="123201"/>
                      <a:pt x="258845" y="116316"/>
                    </a:cubicBezTo>
                    <a:cubicBezTo>
                      <a:pt x="257073" y="112894"/>
                      <a:pt x="261731" y="105802"/>
                      <a:pt x="266885" y="99452"/>
                    </a:cubicBezTo>
                    <a:cubicBezTo>
                      <a:pt x="256578" y="92814"/>
                      <a:pt x="245940" y="83331"/>
                      <a:pt x="242147" y="84774"/>
                    </a:cubicBezTo>
                    <a:cubicBezTo>
                      <a:pt x="236828" y="86836"/>
                      <a:pt x="236828" y="55913"/>
                      <a:pt x="229778" y="55913"/>
                    </a:cubicBezTo>
                    <a:cubicBezTo>
                      <a:pt x="222728" y="55913"/>
                      <a:pt x="222686" y="49729"/>
                      <a:pt x="215595" y="49729"/>
                    </a:cubicBezTo>
                    <a:cubicBezTo>
                      <a:pt x="208503" y="49729"/>
                      <a:pt x="181827" y="49729"/>
                      <a:pt x="174693" y="55913"/>
                    </a:cubicBezTo>
                    <a:cubicBezTo>
                      <a:pt x="167561" y="62098"/>
                      <a:pt x="158697" y="41482"/>
                      <a:pt x="149955" y="41482"/>
                    </a:cubicBezTo>
                    <a:cubicBezTo>
                      <a:pt x="141215" y="41482"/>
                      <a:pt x="130412" y="31216"/>
                      <a:pt x="125217" y="22970"/>
                    </a:cubicBezTo>
                    <a:cubicBezTo>
                      <a:pt x="120022" y="14724"/>
                      <a:pt x="75452" y="27093"/>
                      <a:pt x="63001" y="16785"/>
                    </a:cubicBezTo>
                    <a:cubicBezTo>
                      <a:pt x="50549" y="6478"/>
                      <a:pt x="27501" y="-1686"/>
                      <a:pt x="15050" y="293"/>
                    </a:cubicBezTo>
                    <a:cubicBezTo>
                      <a:pt x="9607" y="2144"/>
                      <a:pt x="4494" y="4936"/>
                      <a:pt x="1" y="8539"/>
                    </a:cubicBezTo>
                    <a:cubicBezTo>
                      <a:pt x="23378" y="24248"/>
                      <a:pt x="57270" y="20166"/>
                      <a:pt x="61846" y="48492"/>
                    </a:cubicBezTo>
                    <a:cubicBezTo>
                      <a:pt x="67165" y="81476"/>
                      <a:pt x="83162" y="68324"/>
                      <a:pt x="77225" y="96443"/>
                    </a:cubicBezTo>
                    <a:cubicBezTo>
                      <a:pt x="75658" y="102483"/>
                      <a:pt x="72483" y="107979"/>
                      <a:pt x="67989" y="112316"/>
                    </a:cubicBezTo>
                    <a:cubicBezTo>
                      <a:pt x="86214" y="114048"/>
                      <a:pt x="103571" y="114089"/>
                      <a:pt x="109591" y="110956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</a:lstStyle>
              <a:p>
                <a:pPr marL="0" marR="0" lvl="0" indent="0" algn="l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40" name="Freeform: Shape 139">
                <a:extLst>
                  <a:ext uri="{FF2B5EF4-FFF2-40B4-BE49-F238E27FC236}">
                    <a16:creationId xmlns:a16="http://schemas.microsoft.com/office/drawing/2014/main" id="{5EA387AC-DF66-5CED-6607-0DA0C430DA20}"/>
                  </a:ext>
                </a:extLst>
              </p:cNvPr>
              <p:cNvSpPr/>
              <p:nvPr>
                <p:custDataLst>
                  <p:tags r:id="rId405"/>
                </p:custDataLst>
              </p:nvPr>
            </p:nvSpPr>
            <p:spPr>
              <a:xfrm>
                <a:off x="7406362" y="3881593"/>
                <a:ext cx="217190" cy="314594"/>
              </a:xfrm>
              <a:custGeom>
                <a:avLst/>
                <a:gdLst>
                  <a:gd name="connsiteX0" fmla="*/ 250434 w 253608"/>
                  <a:gd name="connsiteY0" fmla="*/ -4 h 367346"/>
                  <a:gd name="connsiteX1" fmla="*/ 231180 w 253608"/>
                  <a:gd name="connsiteY1" fmla="*/ 10675 h 367346"/>
                  <a:gd name="connsiteX2" fmla="*/ 215760 w 253608"/>
                  <a:gd name="connsiteY2" fmla="*/ 21601 h 367346"/>
                  <a:gd name="connsiteX3" fmla="*/ 173127 w 253608"/>
                  <a:gd name="connsiteY3" fmla="*/ 13355 h 367346"/>
                  <a:gd name="connsiteX4" fmla="*/ 119528 w 253608"/>
                  <a:gd name="connsiteY4" fmla="*/ 12612 h 367346"/>
                  <a:gd name="connsiteX5" fmla="*/ 118786 w 253608"/>
                  <a:gd name="connsiteY5" fmla="*/ 14715 h 367346"/>
                  <a:gd name="connsiteX6" fmla="*/ 81678 w 253608"/>
                  <a:gd name="connsiteY6" fmla="*/ 34588 h 367346"/>
                  <a:gd name="connsiteX7" fmla="*/ 63042 w 253608"/>
                  <a:gd name="connsiteY7" fmla="*/ 47988 h 367346"/>
                  <a:gd name="connsiteX8" fmla="*/ 35500 w 253608"/>
                  <a:gd name="connsiteY8" fmla="*/ 52111 h 367346"/>
                  <a:gd name="connsiteX9" fmla="*/ 21276 w 253608"/>
                  <a:gd name="connsiteY9" fmla="*/ 78829 h 367346"/>
                  <a:gd name="connsiteX10" fmla="*/ 11504 w 253608"/>
                  <a:gd name="connsiteY10" fmla="*/ 96310 h 367346"/>
                  <a:gd name="connsiteX11" fmla="*/ 1 w 253608"/>
                  <a:gd name="connsiteY11" fmla="*/ 121378 h 367346"/>
                  <a:gd name="connsiteX12" fmla="*/ 1732 w 253608"/>
                  <a:gd name="connsiteY12" fmla="*/ 122409 h 367346"/>
                  <a:gd name="connsiteX13" fmla="*/ 23049 w 253608"/>
                  <a:gd name="connsiteY13" fmla="*/ 162197 h 367346"/>
                  <a:gd name="connsiteX14" fmla="*/ 36902 w 253608"/>
                  <a:gd name="connsiteY14" fmla="*/ 179637 h 367346"/>
                  <a:gd name="connsiteX15" fmla="*/ 51497 w 253608"/>
                  <a:gd name="connsiteY15" fmla="*/ 173164 h 367346"/>
                  <a:gd name="connsiteX16" fmla="*/ 87615 w 253608"/>
                  <a:gd name="connsiteY16" fmla="*/ 188254 h 367346"/>
                  <a:gd name="connsiteX17" fmla="*/ 44942 w 253608"/>
                  <a:gd name="connsiteY17" fmla="*/ 192377 h 367346"/>
                  <a:gd name="connsiteX18" fmla="*/ 53188 w 253608"/>
                  <a:gd name="connsiteY18" fmla="*/ 231505 h 367346"/>
                  <a:gd name="connsiteX19" fmla="*/ 73803 w 253608"/>
                  <a:gd name="connsiteY19" fmla="*/ 263747 h 367346"/>
                  <a:gd name="connsiteX20" fmla="*/ 110911 w 253608"/>
                  <a:gd name="connsiteY20" fmla="*/ 284362 h 367346"/>
                  <a:gd name="connsiteX21" fmla="*/ 103819 w 253608"/>
                  <a:gd name="connsiteY21" fmla="*/ 237731 h 367346"/>
                  <a:gd name="connsiteX22" fmla="*/ 131650 w 253608"/>
                  <a:gd name="connsiteY22" fmla="*/ 236329 h 367346"/>
                  <a:gd name="connsiteX23" fmla="*/ 113302 w 253608"/>
                  <a:gd name="connsiteY23" fmla="*/ 217858 h 367346"/>
                  <a:gd name="connsiteX24" fmla="*/ 127527 w 253608"/>
                  <a:gd name="connsiteY24" fmla="*/ 208911 h 367346"/>
                  <a:gd name="connsiteX25" fmla="*/ 156388 w 253608"/>
                  <a:gd name="connsiteY25" fmla="*/ 204788 h 367346"/>
                  <a:gd name="connsiteX26" fmla="*/ 143359 w 253608"/>
                  <a:gd name="connsiteY26" fmla="*/ 167103 h 367346"/>
                  <a:gd name="connsiteX27" fmla="*/ 110375 w 253608"/>
                  <a:gd name="connsiteY27" fmla="*/ 168422 h 367346"/>
                  <a:gd name="connsiteX28" fmla="*/ 123403 w 253608"/>
                  <a:gd name="connsiteY28" fmla="*/ 143684 h 367346"/>
                  <a:gd name="connsiteX29" fmla="*/ 90831 w 253608"/>
                  <a:gd name="connsiteY29" fmla="*/ 91527 h 367346"/>
                  <a:gd name="connsiteX30" fmla="*/ 111447 w 253608"/>
                  <a:gd name="connsiteY30" fmla="*/ 78540 h 367346"/>
                  <a:gd name="connsiteX31" fmla="*/ 143441 w 253608"/>
                  <a:gd name="connsiteY31" fmla="*/ 83982 h 367346"/>
                  <a:gd name="connsiteX32" fmla="*/ 151152 w 253608"/>
                  <a:gd name="connsiteY32" fmla="*/ 49019 h 367346"/>
                  <a:gd name="connsiteX33" fmla="*/ 175436 w 253608"/>
                  <a:gd name="connsiteY33" fmla="*/ 57925 h 367346"/>
                  <a:gd name="connsiteX34" fmla="*/ 205658 w 253608"/>
                  <a:gd name="connsiteY34" fmla="*/ 40773 h 367346"/>
                  <a:gd name="connsiteX35" fmla="*/ 232705 w 253608"/>
                  <a:gd name="connsiteY35" fmla="*/ 55657 h 367346"/>
                  <a:gd name="connsiteX36" fmla="*/ 242065 w 253608"/>
                  <a:gd name="connsiteY36" fmla="*/ 39742 h 367346"/>
                  <a:gd name="connsiteX37" fmla="*/ 253609 w 253608"/>
                  <a:gd name="connsiteY37" fmla="*/ 18137 h 367346"/>
                  <a:gd name="connsiteX38" fmla="*/ 250434 w 253608"/>
                  <a:gd name="connsiteY38" fmla="*/ -4 h 367346"/>
                  <a:gd name="connsiteX39" fmla="*/ 216955 w 253608"/>
                  <a:gd name="connsiteY39" fmla="*/ 346084 h 367346"/>
                  <a:gd name="connsiteX40" fmla="*/ 153584 w 253608"/>
                  <a:gd name="connsiteY40" fmla="*/ 337838 h 367346"/>
                  <a:gd name="connsiteX41" fmla="*/ 129299 w 253608"/>
                  <a:gd name="connsiteY41" fmla="*/ 349506 h 367346"/>
                  <a:gd name="connsiteX42" fmla="*/ 187929 w 253608"/>
                  <a:gd name="connsiteY42" fmla="*/ 367318 h 367346"/>
                  <a:gd name="connsiteX43" fmla="*/ 241817 w 253608"/>
                  <a:gd name="connsiteY43" fmla="*/ 348146 h 367346"/>
                  <a:gd name="connsiteX44" fmla="*/ 216955 w 253608"/>
                  <a:gd name="connsiteY44" fmla="*/ 346084 h 367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253608" h="367346">
                    <a:moveTo>
                      <a:pt x="250434" y="-4"/>
                    </a:moveTo>
                    <a:cubicBezTo>
                      <a:pt x="241529" y="1027"/>
                      <a:pt x="229160" y="4861"/>
                      <a:pt x="231180" y="10675"/>
                    </a:cubicBezTo>
                    <a:cubicBezTo>
                      <a:pt x="233530" y="17519"/>
                      <a:pt x="225201" y="21601"/>
                      <a:pt x="215760" y="21601"/>
                    </a:cubicBezTo>
                    <a:cubicBezTo>
                      <a:pt x="215760" y="21601"/>
                      <a:pt x="182775" y="18921"/>
                      <a:pt x="173127" y="13355"/>
                    </a:cubicBezTo>
                    <a:cubicBezTo>
                      <a:pt x="165953" y="9232"/>
                      <a:pt x="134288" y="11293"/>
                      <a:pt x="119528" y="12612"/>
                    </a:cubicBezTo>
                    <a:cubicBezTo>
                      <a:pt x="119445" y="13363"/>
                      <a:pt x="119198" y="14084"/>
                      <a:pt x="118786" y="14715"/>
                    </a:cubicBezTo>
                    <a:cubicBezTo>
                      <a:pt x="115240" y="20900"/>
                      <a:pt x="86791" y="37680"/>
                      <a:pt x="81678" y="34588"/>
                    </a:cubicBezTo>
                    <a:cubicBezTo>
                      <a:pt x="76566" y="31496"/>
                      <a:pt x="73679" y="44896"/>
                      <a:pt x="63042" y="47988"/>
                    </a:cubicBezTo>
                    <a:cubicBezTo>
                      <a:pt x="52405" y="51080"/>
                      <a:pt x="36366" y="46916"/>
                      <a:pt x="35500" y="52111"/>
                    </a:cubicBezTo>
                    <a:cubicBezTo>
                      <a:pt x="32449" y="61825"/>
                      <a:pt x="27625" y="70888"/>
                      <a:pt x="21276" y="78829"/>
                    </a:cubicBezTo>
                    <a:cubicBezTo>
                      <a:pt x="15050" y="86044"/>
                      <a:pt x="20369" y="94290"/>
                      <a:pt x="11504" y="96310"/>
                    </a:cubicBezTo>
                    <a:cubicBezTo>
                      <a:pt x="5649" y="97712"/>
                      <a:pt x="3258" y="110287"/>
                      <a:pt x="1" y="121378"/>
                    </a:cubicBezTo>
                    <a:cubicBezTo>
                      <a:pt x="537" y="121774"/>
                      <a:pt x="1114" y="122121"/>
                      <a:pt x="1732" y="122409"/>
                    </a:cubicBezTo>
                    <a:cubicBezTo>
                      <a:pt x="14761" y="127192"/>
                      <a:pt x="24821" y="145045"/>
                      <a:pt x="23049" y="162197"/>
                    </a:cubicBezTo>
                    <a:cubicBezTo>
                      <a:pt x="22059" y="170838"/>
                      <a:pt x="28243" y="178647"/>
                      <a:pt x="36902" y="179637"/>
                    </a:cubicBezTo>
                    <a:cubicBezTo>
                      <a:pt x="42592" y="180284"/>
                      <a:pt x="48158" y="177810"/>
                      <a:pt x="51497" y="173164"/>
                    </a:cubicBezTo>
                    <a:cubicBezTo>
                      <a:pt x="60981" y="160795"/>
                      <a:pt x="87615" y="180049"/>
                      <a:pt x="87615" y="188254"/>
                    </a:cubicBezTo>
                    <a:cubicBezTo>
                      <a:pt x="87615" y="196459"/>
                      <a:pt x="60362" y="179348"/>
                      <a:pt x="44942" y="192377"/>
                    </a:cubicBezTo>
                    <a:cubicBezTo>
                      <a:pt x="29522" y="205406"/>
                      <a:pt x="56816" y="217775"/>
                      <a:pt x="53188" y="231505"/>
                    </a:cubicBezTo>
                    <a:cubicBezTo>
                      <a:pt x="49560" y="245235"/>
                      <a:pt x="60279" y="264489"/>
                      <a:pt x="73803" y="263747"/>
                    </a:cubicBezTo>
                    <a:cubicBezTo>
                      <a:pt x="87327" y="263005"/>
                      <a:pt x="102664" y="289104"/>
                      <a:pt x="110911" y="284362"/>
                    </a:cubicBezTo>
                    <a:cubicBezTo>
                      <a:pt x="119157" y="279621"/>
                      <a:pt x="100851" y="243132"/>
                      <a:pt x="103819" y="237731"/>
                    </a:cubicBezTo>
                    <a:cubicBezTo>
                      <a:pt x="106787" y="232330"/>
                      <a:pt x="123362" y="247338"/>
                      <a:pt x="131650" y="236329"/>
                    </a:cubicBezTo>
                    <a:cubicBezTo>
                      <a:pt x="139937" y="225320"/>
                      <a:pt x="125712" y="217157"/>
                      <a:pt x="113302" y="217858"/>
                    </a:cubicBezTo>
                    <a:cubicBezTo>
                      <a:pt x="100891" y="218559"/>
                      <a:pt x="112725" y="198603"/>
                      <a:pt x="127527" y="208911"/>
                    </a:cubicBezTo>
                    <a:cubicBezTo>
                      <a:pt x="142328" y="219218"/>
                      <a:pt x="149420" y="206189"/>
                      <a:pt x="156388" y="204788"/>
                    </a:cubicBezTo>
                    <a:cubicBezTo>
                      <a:pt x="163356" y="203386"/>
                      <a:pt x="165294" y="173947"/>
                      <a:pt x="143359" y="167103"/>
                    </a:cubicBezTo>
                    <a:cubicBezTo>
                      <a:pt x="121425" y="160259"/>
                      <a:pt x="124434" y="185615"/>
                      <a:pt x="110375" y="168422"/>
                    </a:cubicBezTo>
                    <a:cubicBezTo>
                      <a:pt x="96315" y="151229"/>
                      <a:pt x="123403" y="158156"/>
                      <a:pt x="123403" y="143684"/>
                    </a:cubicBezTo>
                    <a:cubicBezTo>
                      <a:pt x="123403" y="129212"/>
                      <a:pt x="101469" y="108679"/>
                      <a:pt x="90831" y="91527"/>
                    </a:cubicBezTo>
                    <a:cubicBezTo>
                      <a:pt x="80194" y="74376"/>
                      <a:pt x="105633" y="66171"/>
                      <a:pt x="111447" y="78540"/>
                    </a:cubicBezTo>
                    <a:cubicBezTo>
                      <a:pt x="117260" y="90909"/>
                      <a:pt x="133381" y="88806"/>
                      <a:pt x="143441" y="83982"/>
                    </a:cubicBezTo>
                    <a:cubicBezTo>
                      <a:pt x="153501" y="79158"/>
                      <a:pt x="132804" y="57224"/>
                      <a:pt x="151152" y="49019"/>
                    </a:cubicBezTo>
                    <a:cubicBezTo>
                      <a:pt x="169499" y="40814"/>
                      <a:pt x="169540" y="55203"/>
                      <a:pt x="175436" y="57925"/>
                    </a:cubicBezTo>
                    <a:cubicBezTo>
                      <a:pt x="181332" y="60646"/>
                      <a:pt x="186692" y="40773"/>
                      <a:pt x="205658" y="40773"/>
                    </a:cubicBezTo>
                    <a:cubicBezTo>
                      <a:pt x="215512" y="40773"/>
                      <a:pt x="224253" y="48359"/>
                      <a:pt x="232705" y="55657"/>
                    </a:cubicBezTo>
                    <a:cubicBezTo>
                      <a:pt x="237859" y="49101"/>
                      <a:pt x="242065" y="45308"/>
                      <a:pt x="242065" y="39742"/>
                    </a:cubicBezTo>
                    <a:cubicBezTo>
                      <a:pt x="242065" y="32527"/>
                      <a:pt x="253609" y="29434"/>
                      <a:pt x="253609" y="18137"/>
                    </a:cubicBezTo>
                    <a:cubicBezTo>
                      <a:pt x="253197" y="11994"/>
                      <a:pt x="252125" y="5917"/>
                      <a:pt x="250434" y="-4"/>
                    </a:cubicBezTo>
                    <a:close/>
                    <a:moveTo>
                      <a:pt x="216955" y="346084"/>
                    </a:moveTo>
                    <a:cubicBezTo>
                      <a:pt x="207472" y="339941"/>
                      <a:pt x="164840" y="350207"/>
                      <a:pt x="153584" y="337838"/>
                    </a:cubicBezTo>
                    <a:cubicBezTo>
                      <a:pt x="142328" y="325469"/>
                      <a:pt x="119363" y="347569"/>
                      <a:pt x="129299" y="349506"/>
                    </a:cubicBezTo>
                    <a:cubicBezTo>
                      <a:pt x="143483" y="352269"/>
                      <a:pt x="164840" y="366659"/>
                      <a:pt x="187929" y="367318"/>
                    </a:cubicBezTo>
                    <a:cubicBezTo>
                      <a:pt x="211018" y="367978"/>
                      <a:pt x="242395" y="354949"/>
                      <a:pt x="241817" y="348146"/>
                    </a:cubicBezTo>
                    <a:cubicBezTo>
                      <a:pt x="241240" y="341343"/>
                      <a:pt x="226438" y="352269"/>
                      <a:pt x="216955" y="346084"/>
                    </a:cubicBezTo>
                    <a:close/>
                  </a:path>
                </a:pathLst>
              </a:custGeom>
              <a:solidFill>
                <a:srgbClr val="5F249F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</a:lstStyle>
              <a:p>
                <a:pPr marL="0" marR="0" lvl="0" indent="0" algn="l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41" name="Freeform: Shape 140">
                <a:extLst>
                  <a:ext uri="{FF2B5EF4-FFF2-40B4-BE49-F238E27FC236}">
                    <a16:creationId xmlns:a16="http://schemas.microsoft.com/office/drawing/2014/main" id="{F3C44D7A-54C9-1E27-2AFC-6A52680A020E}"/>
                  </a:ext>
                </a:extLst>
              </p:cNvPr>
              <p:cNvSpPr/>
              <p:nvPr>
                <p:custDataLst>
                  <p:tags r:id="rId406"/>
                </p:custDataLst>
              </p:nvPr>
            </p:nvSpPr>
            <p:spPr>
              <a:xfrm>
                <a:off x="8223633" y="3973185"/>
                <a:ext cx="668146" cy="649099"/>
              </a:xfrm>
              <a:custGeom>
                <a:avLst/>
                <a:gdLst>
                  <a:gd name="connsiteX0" fmla="*/ 713175 w 780180"/>
                  <a:gd name="connsiteY0" fmla="*/ 757194 h 757940"/>
                  <a:gd name="connsiteX1" fmla="*/ 738491 w 780180"/>
                  <a:gd name="connsiteY1" fmla="*/ 712995 h 757940"/>
                  <a:gd name="connsiteX2" fmla="*/ 774857 w 780180"/>
                  <a:gd name="connsiteY2" fmla="*/ 700131 h 757940"/>
                  <a:gd name="connsiteX3" fmla="*/ 765332 w 780180"/>
                  <a:gd name="connsiteY3" fmla="*/ 665333 h 757940"/>
                  <a:gd name="connsiteX4" fmla="*/ 746407 w 780180"/>
                  <a:gd name="connsiteY4" fmla="*/ 614042 h 757940"/>
                  <a:gd name="connsiteX5" fmla="*/ 705177 w 780180"/>
                  <a:gd name="connsiteY5" fmla="*/ 573760 h 757940"/>
                  <a:gd name="connsiteX6" fmla="*/ 678294 w 780180"/>
                  <a:gd name="connsiteY6" fmla="*/ 533436 h 757940"/>
                  <a:gd name="connsiteX7" fmla="*/ 719525 w 780180"/>
                  <a:gd name="connsiteY7" fmla="*/ 467468 h 757940"/>
                  <a:gd name="connsiteX8" fmla="*/ 679985 w 780180"/>
                  <a:gd name="connsiteY8" fmla="*/ 443678 h 757940"/>
                  <a:gd name="connsiteX9" fmla="*/ 673677 w 780180"/>
                  <a:gd name="connsiteY9" fmla="*/ 390573 h 757940"/>
                  <a:gd name="connsiteX10" fmla="*/ 673677 w 780180"/>
                  <a:gd name="connsiteY10" fmla="*/ 341096 h 757940"/>
                  <a:gd name="connsiteX11" fmla="*/ 678418 w 780180"/>
                  <a:gd name="connsiteY11" fmla="*/ 300773 h 757940"/>
                  <a:gd name="connsiteX12" fmla="*/ 694210 w 780180"/>
                  <a:gd name="connsiteY12" fmla="*/ 264202 h 757940"/>
                  <a:gd name="connsiteX13" fmla="*/ 703115 w 780180"/>
                  <a:gd name="connsiteY13" fmla="*/ 243092 h 757940"/>
                  <a:gd name="connsiteX14" fmla="*/ 695941 w 780180"/>
                  <a:gd name="connsiteY14" fmla="*/ 186317 h 757940"/>
                  <a:gd name="connsiteX15" fmla="*/ 667534 w 780180"/>
                  <a:gd name="connsiteY15" fmla="*/ 180792 h 757940"/>
                  <a:gd name="connsiteX16" fmla="*/ 640280 w 780180"/>
                  <a:gd name="connsiteY16" fmla="*/ 154735 h 757940"/>
                  <a:gd name="connsiteX17" fmla="*/ 622509 w 780180"/>
                  <a:gd name="connsiteY17" fmla="*/ 138242 h 757940"/>
                  <a:gd name="connsiteX18" fmla="*/ 588206 w 780180"/>
                  <a:gd name="connsiteY18" fmla="*/ 125873 h 757940"/>
                  <a:gd name="connsiteX19" fmla="*/ 569199 w 780180"/>
                  <a:gd name="connsiteY19" fmla="*/ 114865 h 757940"/>
                  <a:gd name="connsiteX20" fmla="*/ 539595 w 780180"/>
                  <a:gd name="connsiteY20" fmla="*/ 99774 h 757940"/>
                  <a:gd name="connsiteX21" fmla="*/ 493418 w 780180"/>
                  <a:gd name="connsiteY21" fmla="*/ 98373 h 757940"/>
                  <a:gd name="connsiteX22" fmla="*/ 464968 w 780180"/>
                  <a:gd name="connsiteY22" fmla="*/ 102496 h 757940"/>
                  <a:gd name="connsiteX23" fmla="*/ 429469 w 780180"/>
                  <a:gd name="connsiteY23" fmla="*/ 131357 h 757940"/>
                  <a:gd name="connsiteX24" fmla="*/ 396485 w 780180"/>
                  <a:gd name="connsiteY24" fmla="*/ 138613 h 757940"/>
                  <a:gd name="connsiteX25" fmla="*/ 395248 w 780180"/>
                  <a:gd name="connsiteY25" fmla="*/ 162940 h 757940"/>
                  <a:gd name="connsiteX26" fmla="*/ 308664 w 780180"/>
                  <a:gd name="connsiteY26" fmla="*/ 184874 h 757940"/>
                  <a:gd name="connsiteX27" fmla="*/ 235232 w 780180"/>
                  <a:gd name="connsiteY27" fmla="*/ 134119 h 757940"/>
                  <a:gd name="connsiteX28" fmla="*/ 186786 w 780180"/>
                  <a:gd name="connsiteY28" fmla="*/ 79324 h 757940"/>
                  <a:gd name="connsiteX29" fmla="*/ 157925 w 780180"/>
                  <a:gd name="connsiteY29" fmla="*/ 55287 h 757940"/>
                  <a:gd name="connsiteX30" fmla="*/ 150009 w 780180"/>
                  <a:gd name="connsiteY30" fmla="*/ 13149 h 757940"/>
                  <a:gd name="connsiteX31" fmla="*/ 69362 w 780180"/>
                  <a:gd name="connsiteY31" fmla="*/ 53431 h 757940"/>
                  <a:gd name="connsiteX32" fmla="*/ 42438 w 780180"/>
                  <a:gd name="connsiteY32" fmla="*/ 35125 h 757940"/>
                  <a:gd name="connsiteX33" fmla="*/ 18689 w 780180"/>
                  <a:gd name="connsiteY33" fmla="*/ 327 h 757940"/>
                  <a:gd name="connsiteX34" fmla="*/ 4506 w 780180"/>
                  <a:gd name="connsiteY34" fmla="*/ 24117 h 757940"/>
                  <a:gd name="connsiteX35" fmla="*/ 6073 w 780180"/>
                  <a:gd name="connsiteY35" fmla="*/ 62585 h 757940"/>
                  <a:gd name="connsiteX36" fmla="*/ 6073 w 780180"/>
                  <a:gd name="connsiteY36" fmla="*/ 112061 h 757940"/>
                  <a:gd name="connsiteX37" fmla="*/ 25039 w 780180"/>
                  <a:gd name="connsiteY37" fmla="*/ 148756 h 757940"/>
                  <a:gd name="connsiteX38" fmla="*/ 39263 w 780180"/>
                  <a:gd name="connsiteY38" fmla="*/ 185369 h 757940"/>
                  <a:gd name="connsiteX39" fmla="*/ 61446 w 780180"/>
                  <a:gd name="connsiteY39" fmla="*/ 212870 h 757940"/>
                  <a:gd name="connsiteX40" fmla="*/ 77236 w 780180"/>
                  <a:gd name="connsiteY40" fmla="*/ 229362 h 757940"/>
                  <a:gd name="connsiteX41" fmla="*/ 72495 w 780180"/>
                  <a:gd name="connsiteY41" fmla="*/ 256863 h 757940"/>
                  <a:gd name="connsiteX42" fmla="*/ 56704 w 780180"/>
                  <a:gd name="connsiteY42" fmla="*/ 293475 h 757940"/>
                  <a:gd name="connsiteX43" fmla="*/ 61446 w 780180"/>
                  <a:gd name="connsiteY43" fmla="*/ 335654 h 757940"/>
                  <a:gd name="connsiteX44" fmla="*/ 80370 w 780180"/>
                  <a:gd name="connsiteY44" fmla="*/ 361299 h 757940"/>
                  <a:gd name="connsiteX45" fmla="*/ 124734 w 780180"/>
                  <a:gd name="connsiteY45" fmla="*/ 396098 h 757940"/>
                  <a:gd name="connsiteX46" fmla="*/ 143659 w 780180"/>
                  <a:gd name="connsiteY46" fmla="*/ 423557 h 757940"/>
                  <a:gd name="connsiteX47" fmla="*/ 140484 w 780180"/>
                  <a:gd name="connsiteY47" fmla="*/ 454686 h 757940"/>
                  <a:gd name="connsiteX48" fmla="*/ 154750 w 780180"/>
                  <a:gd name="connsiteY48" fmla="*/ 485857 h 757940"/>
                  <a:gd name="connsiteX49" fmla="*/ 177344 w 780180"/>
                  <a:gd name="connsiteY49" fmla="*/ 522345 h 757940"/>
                  <a:gd name="connsiteX50" fmla="*/ 187075 w 780180"/>
                  <a:gd name="connsiteY50" fmla="*/ 520366 h 757940"/>
                  <a:gd name="connsiteX51" fmla="*/ 205422 w 780180"/>
                  <a:gd name="connsiteY51" fmla="*/ 514924 h 757940"/>
                  <a:gd name="connsiteX52" fmla="*/ 233294 w 780180"/>
                  <a:gd name="connsiteY52" fmla="*/ 513522 h 757940"/>
                  <a:gd name="connsiteX53" fmla="*/ 274153 w 780180"/>
                  <a:gd name="connsiteY53" fmla="*/ 586212 h 757940"/>
                  <a:gd name="connsiteX54" fmla="*/ 297284 w 780180"/>
                  <a:gd name="connsiteY54" fmla="*/ 628761 h 757940"/>
                  <a:gd name="connsiteX55" fmla="*/ 345812 w 780180"/>
                  <a:gd name="connsiteY55" fmla="*/ 656880 h 757940"/>
                  <a:gd name="connsiteX56" fmla="*/ 437014 w 780180"/>
                  <a:gd name="connsiteY56" fmla="*/ 697327 h 757940"/>
                  <a:gd name="connsiteX57" fmla="*/ 501581 w 780180"/>
                  <a:gd name="connsiteY57" fmla="*/ 676712 h 757940"/>
                  <a:gd name="connsiteX58" fmla="*/ 532380 w 780180"/>
                  <a:gd name="connsiteY58" fmla="*/ 737775 h 757940"/>
                  <a:gd name="connsiteX59" fmla="*/ 556499 w 780180"/>
                  <a:gd name="connsiteY59" fmla="*/ 747876 h 757940"/>
                  <a:gd name="connsiteX60" fmla="*/ 591669 w 780180"/>
                  <a:gd name="connsiteY60" fmla="*/ 729281 h 757940"/>
                  <a:gd name="connsiteX61" fmla="*/ 706372 w 780180"/>
                  <a:gd name="connsiteY61" fmla="*/ 757936 h 757940"/>
                  <a:gd name="connsiteX62" fmla="*/ 713175 w 780180"/>
                  <a:gd name="connsiteY62" fmla="*/ 757194 h 757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</a:cxnLst>
                <a:rect l="l" t="t" r="r" b="b"/>
                <a:pathLst>
                  <a:path w="780180" h="757940">
                    <a:moveTo>
                      <a:pt x="713175" y="757194"/>
                    </a:moveTo>
                    <a:cubicBezTo>
                      <a:pt x="713588" y="739123"/>
                      <a:pt x="723112" y="722491"/>
                      <a:pt x="738491" y="712995"/>
                    </a:cubicBezTo>
                    <a:cubicBezTo>
                      <a:pt x="749623" y="706283"/>
                      <a:pt x="761992" y="701904"/>
                      <a:pt x="774857" y="700131"/>
                    </a:cubicBezTo>
                    <a:cubicBezTo>
                      <a:pt x="787514" y="698317"/>
                      <a:pt x="774857" y="669002"/>
                      <a:pt x="765332" y="665333"/>
                    </a:cubicBezTo>
                    <a:cubicBezTo>
                      <a:pt x="755808" y="661663"/>
                      <a:pt x="765332" y="623195"/>
                      <a:pt x="746407" y="614042"/>
                    </a:cubicBezTo>
                    <a:cubicBezTo>
                      <a:pt x="727483" y="604889"/>
                      <a:pt x="710537" y="590005"/>
                      <a:pt x="705177" y="573760"/>
                    </a:cubicBezTo>
                    <a:cubicBezTo>
                      <a:pt x="700436" y="559082"/>
                      <a:pt x="676728" y="544404"/>
                      <a:pt x="678294" y="533436"/>
                    </a:cubicBezTo>
                    <a:cubicBezTo>
                      <a:pt x="679862" y="522469"/>
                      <a:pt x="725709" y="487629"/>
                      <a:pt x="719525" y="467468"/>
                    </a:cubicBezTo>
                    <a:cubicBezTo>
                      <a:pt x="713340" y="447306"/>
                      <a:pt x="683160" y="450975"/>
                      <a:pt x="679985" y="443678"/>
                    </a:cubicBezTo>
                    <a:cubicBezTo>
                      <a:pt x="676811" y="436380"/>
                      <a:pt x="681593" y="410693"/>
                      <a:pt x="673677" y="390573"/>
                    </a:cubicBezTo>
                    <a:cubicBezTo>
                      <a:pt x="665760" y="370452"/>
                      <a:pt x="679985" y="352064"/>
                      <a:pt x="673677" y="341096"/>
                    </a:cubicBezTo>
                    <a:cubicBezTo>
                      <a:pt x="667369" y="330129"/>
                      <a:pt x="676852" y="308112"/>
                      <a:pt x="678418" y="300773"/>
                    </a:cubicBezTo>
                    <a:cubicBezTo>
                      <a:pt x="679985" y="293434"/>
                      <a:pt x="695776" y="282467"/>
                      <a:pt x="694210" y="264202"/>
                    </a:cubicBezTo>
                    <a:cubicBezTo>
                      <a:pt x="693303" y="253111"/>
                      <a:pt x="698085" y="246101"/>
                      <a:pt x="703115" y="243092"/>
                    </a:cubicBezTo>
                    <a:cubicBezTo>
                      <a:pt x="697672" y="224538"/>
                      <a:pt x="695941" y="192048"/>
                      <a:pt x="695941" y="186317"/>
                    </a:cubicBezTo>
                    <a:cubicBezTo>
                      <a:pt x="695941" y="179473"/>
                      <a:pt x="677016" y="179473"/>
                      <a:pt x="667534" y="180792"/>
                    </a:cubicBezTo>
                    <a:cubicBezTo>
                      <a:pt x="658050" y="182112"/>
                      <a:pt x="649763" y="154735"/>
                      <a:pt x="640280" y="154735"/>
                    </a:cubicBezTo>
                    <a:cubicBezTo>
                      <a:pt x="631003" y="154640"/>
                      <a:pt x="623293" y="147499"/>
                      <a:pt x="622509" y="138242"/>
                    </a:cubicBezTo>
                    <a:cubicBezTo>
                      <a:pt x="622509" y="129996"/>
                      <a:pt x="600039" y="124513"/>
                      <a:pt x="588206" y="125873"/>
                    </a:cubicBezTo>
                    <a:cubicBezTo>
                      <a:pt x="576373" y="127234"/>
                      <a:pt x="573940" y="114865"/>
                      <a:pt x="569199" y="114865"/>
                    </a:cubicBezTo>
                    <a:cubicBezTo>
                      <a:pt x="564458" y="114865"/>
                      <a:pt x="545574" y="108020"/>
                      <a:pt x="539595" y="99774"/>
                    </a:cubicBezTo>
                    <a:cubicBezTo>
                      <a:pt x="533617" y="91528"/>
                      <a:pt x="499354" y="88807"/>
                      <a:pt x="493418" y="98373"/>
                    </a:cubicBezTo>
                    <a:cubicBezTo>
                      <a:pt x="487480" y="107938"/>
                      <a:pt x="475647" y="102496"/>
                      <a:pt x="464968" y="102496"/>
                    </a:cubicBezTo>
                    <a:cubicBezTo>
                      <a:pt x="454290" y="102496"/>
                      <a:pt x="435365" y="121709"/>
                      <a:pt x="429469" y="131357"/>
                    </a:cubicBezTo>
                    <a:cubicBezTo>
                      <a:pt x="425840" y="137253"/>
                      <a:pt x="408854" y="138490"/>
                      <a:pt x="396485" y="138613"/>
                    </a:cubicBezTo>
                    <a:cubicBezTo>
                      <a:pt x="396979" y="150447"/>
                      <a:pt x="396979" y="159930"/>
                      <a:pt x="395248" y="162940"/>
                    </a:cubicBezTo>
                    <a:cubicBezTo>
                      <a:pt x="389063" y="173742"/>
                      <a:pt x="343090" y="183555"/>
                      <a:pt x="308664" y="184874"/>
                    </a:cubicBezTo>
                    <a:cubicBezTo>
                      <a:pt x="274236" y="186194"/>
                      <a:pt x="271968" y="134119"/>
                      <a:pt x="235232" y="134119"/>
                    </a:cubicBezTo>
                    <a:cubicBezTo>
                      <a:pt x="208515" y="134119"/>
                      <a:pt x="188188" y="105835"/>
                      <a:pt x="186786" y="79324"/>
                    </a:cubicBezTo>
                    <a:cubicBezTo>
                      <a:pt x="170953" y="72356"/>
                      <a:pt x="155905" y="60358"/>
                      <a:pt x="157925" y="55287"/>
                    </a:cubicBezTo>
                    <a:cubicBezTo>
                      <a:pt x="161058" y="47989"/>
                      <a:pt x="168974" y="2141"/>
                      <a:pt x="150009" y="13149"/>
                    </a:cubicBezTo>
                    <a:cubicBezTo>
                      <a:pt x="131042" y="24158"/>
                      <a:pt x="104119" y="58956"/>
                      <a:pt x="69362" y="53431"/>
                    </a:cubicBezTo>
                    <a:cubicBezTo>
                      <a:pt x="34605" y="47906"/>
                      <a:pt x="59837" y="44278"/>
                      <a:pt x="42438" y="35125"/>
                    </a:cubicBezTo>
                    <a:cubicBezTo>
                      <a:pt x="25039" y="25972"/>
                      <a:pt x="36089" y="3955"/>
                      <a:pt x="18689" y="327"/>
                    </a:cubicBezTo>
                    <a:cubicBezTo>
                      <a:pt x="1290" y="-3302"/>
                      <a:pt x="13948" y="24117"/>
                      <a:pt x="4506" y="24117"/>
                    </a:cubicBezTo>
                    <a:cubicBezTo>
                      <a:pt x="-4936" y="24117"/>
                      <a:pt x="2898" y="55246"/>
                      <a:pt x="6073" y="62585"/>
                    </a:cubicBezTo>
                    <a:cubicBezTo>
                      <a:pt x="9247" y="69924"/>
                      <a:pt x="-276" y="110206"/>
                      <a:pt x="6073" y="112061"/>
                    </a:cubicBezTo>
                    <a:cubicBezTo>
                      <a:pt x="12422" y="113916"/>
                      <a:pt x="26688" y="143272"/>
                      <a:pt x="25039" y="148756"/>
                    </a:cubicBezTo>
                    <a:cubicBezTo>
                      <a:pt x="23390" y="154240"/>
                      <a:pt x="39263" y="172546"/>
                      <a:pt x="39263" y="185369"/>
                    </a:cubicBezTo>
                    <a:cubicBezTo>
                      <a:pt x="39263" y="198191"/>
                      <a:pt x="53529" y="212870"/>
                      <a:pt x="61446" y="212870"/>
                    </a:cubicBezTo>
                    <a:cubicBezTo>
                      <a:pt x="69362" y="212870"/>
                      <a:pt x="80370" y="218353"/>
                      <a:pt x="77236" y="229362"/>
                    </a:cubicBezTo>
                    <a:cubicBezTo>
                      <a:pt x="74103" y="240370"/>
                      <a:pt x="81979" y="256863"/>
                      <a:pt x="72495" y="256863"/>
                    </a:cubicBezTo>
                    <a:cubicBezTo>
                      <a:pt x="63012" y="256863"/>
                      <a:pt x="64579" y="288033"/>
                      <a:pt x="56704" y="293475"/>
                    </a:cubicBezTo>
                    <a:cubicBezTo>
                      <a:pt x="48829" y="298917"/>
                      <a:pt x="55096" y="331984"/>
                      <a:pt x="61446" y="335654"/>
                    </a:cubicBezTo>
                    <a:cubicBezTo>
                      <a:pt x="67796" y="339324"/>
                      <a:pt x="82061" y="348477"/>
                      <a:pt x="80370" y="361299"/>
                    </a:cubicBezTo>
                    <a:cubicBezTo>
                      <a:pt x="78680" y="374122"/>
                      <a:pt x="113643" y="394284"/>
                      <a:pt x="124734" y="396098"/>
                    </a:cubicBezTo>
                    <a:cubicBezTo>
                      <a:pt x="135826" y="397912"/>
                      <a:pt x="137310" y="416218"/>
                      <a:pt x="143659" y="423557"/>
                    </a:cubicBezTo>
                    <a:cubicBezTo>
                      <a:pt x="150009" y="430896"/>
                      <a:pt x="138918" y="445533"/>
                      <a:pt x="140484" y="454686"/>
                    </a:cubicBezTo>
                    <a:cubicBezTo>
                      <a:pt x="142051" y="463839"/>
                      <a:pt x="156317" y="471178"/>
                      <a:pt x="154750" y="485857"/>
                    </a:cubicBezTo>
                    <a:cubicBezTo>
                      <a:pt x="153802" y="494680"/>
                      <a:pt x="166666" y="509523"/>
                      <a:pt x="177344" y="522345"/>
                    </a:cubicBezTo>
                    <a:cubicBezTo>
                      <a:pt x="180478" y="521170"/>
                      <a:pt x="183735" y="520503"/>
                      <a:pt x="187075" y="520366"/>
                    </a:cubicBezTo>
                    <a:cubicBezTo>
                      <a:pt x="197794" y="520366"/>
                      <a:pt x="197176" y="506678"/>
                      <a:pt x="205422" y="514924"/>
                    </a:cubicBezTo>
                    <a:cubicBezTo>
                      <a:pt x="213668" y="523170"/>
                      <a:pt x="224966" y="514182"/>
                      <a:pt x="233294" y="513522"/>
                    </a:cubicBezTo>
                    <a:cubicBezTo>
                      <a:pt x="241623" y="512862"/>
                      <a:pt x="264093" y="562256"/>
                      <a:pt x="274153" y="586212"/>
                    </a:cubicBezTo>
                    <a:cubicBezTo>
                      <a:pt x="284214" y="610166"/>
                      <a:pt x="283636" y="618495"/>
                      <a:pt x="297284" y="628761"/>
                    </a:cubicBezTo>
                    <a:cubicBezTo>
                      <a:pt x="310931" y="639028"/>
                      <a:pt x="326145" y="633544"/>
                      <a:pt x="345812" y="656880"/>
                    </a:cubicBezTo>
                    <a:cubicBezTo>
                      <a:pt x="365479" y="680217"/>
                      <a:pt x="415698" y="696008"/>
                      <a:pt x="437014" y="697327"/>
                    </a:cubicBezTo>
                    <a:cubicBezTo>
                      <a:pt x="458330" y="698647"/>
                      <a:pt x="474121" y="670610"/>
                      <a:pt x="501581" y="676712"/>
                    </a:cubicBezTo>
                    <a:cubicBezTo>
                      <a:pt x="529040" y="682815"/>
                      <a:pt x="522196" y="723385"/>
                      <a:pt x="532380" y="737775"/>
                    </a:cubicBezTo>
                    <a:cubicBezTo>
                      <a:pt x="534936" y="741444"/>
                      <a:pt x="544048" y="744825"/>
                      <a:pt x="556499" y="747876"/>
                    </a:cubicBezTo>
                    <a:cubicBezTo>
                      <a:pt x="563880" y="735668"/>
                      <a:pt x="577403" y="728523"/>
                      <a:pt x="591669" y="729281"/>
                    </a:cubicBezTo>
                    <a:cubicBezTo>
                      <a:pt x="631086" y="729858"/>
                      <a:pt x="671698" y="737898"/>
                      <a:pt x="706372" y="757936"/>
                    </a:cubicBezTo>
                    <a:cubicBezTo>
                      <a:pt x="708599" y="757524"/>
                      <a:pt x="710908" y="757277"/>
                      <a:pt x="713175" y="757194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</a:lstStyle>
              <a:p>
                <a:pPr marL="0" marR="0" lvl="0" indent="0" algn="l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42" name="Freeform: Shape 141">
                <a:extLst>
                  <a:ext uri="{FF2B5EF4-FFF2-40B4-BE49-F238E27FC236}">
                    <a16:creationId xmlns:a16="http://schemas.microsoft.com/office/drawing/2014/main" id="{4E1CC35D-1EF6-3EEF-99D9-8BAFB994FD11}"/>
                  </a:ext>
                </a:extLst>
              </p:cNvPr>
              <p:cNvSpPr/>
              <p:nvPr>
                <p:custDataLst>
                  <p:tags r:id="rId407"/>
                </p:custDataLst>
              </p:nvPr>
            </p:nvSpPr>
            <p:spPr>
              <a:xfrm>
                <a:off x="8309618" y="3186419"/>
                <a:ext cx="1395161" cy="752962"/>
              </a:xfrm>
              <a:custGeom>
                <a:avLst/>
                <a:gdLst>
                  <a:gd name="connsiteX0" fmla="*/ 1620115 w 1629102"/>
                  <a:gd name="connsiteY0" fmla="*/ 360099 h 879219"/>
                  <a:gd name="connsiteX1" fmla="*/ 1605891 w 1629102"/>
                  <a:gd name="connsiteY1" fmla="*/ 358698 h 879219"/>
                  <a:gd name="connsiteX2" fmla="*/ 1573937 w 1629102"/>
                  <a:gd name="connsiteY2" fmla="*/ 365583 h 879219"/>
                  <a:gd name="connsiteX3" fmla="*/ 1553816 w 1629102"/>
                  <a:gd name="connsiteY3" fmla="*/ 346369 h 879219"/>
                  <a:gd name="connsiteX4" fmla="*/ 1545200 w 1629102"/>
                  <a:gd name="connsiteY4" fmla="*/ 328888 h 879219"/>
                  <a:gd name="connsiteX5" fmla="*/ 1520461 w 1629102"/>
                  <a:gd name="connsiteY5" fmla="*/ 305180 h 879219"/>
                  <a:gd name="connsiteX6" fmla="*/ 1494651 w 1629102"/>
                  <a:gd name="connsiteY6" fmla="*/ 280442 h 879219"/>
                  <a:gd name="connsiteX7" fmla="*/ 1454699 w 1629102"/>
                  <a:gd name="connsiteY7" fmla="*/ 293760 h 879219"/>
                  <a:gd name="connsiteX8" fmla="*/ 1415613 w 1629102"/>
                  <a:gd name="connsiteY8" fmla="*/ 286585 h 879219"/>
                  <a:gd name="connsiteX9" fmla="*/ 1384525 w 1629102"/>
                  <a:gd name="connsiteY9" fmla="*/ 260857 h 879219"/>
                  <a:gd name="connsiteX10" fmla="*/ 1361394 w 1629102"/>
                  <a:gd name="connsiteY10" fmla="*/ 290708 h 879219"/>
                  <a:gd name="connsiteX11" fmla="*/ 1319669 w 1629102"/>
                  <a:gd name="connsiteY11" fmla="*/ 207340 h 879219"/>
                  <a:gd name="connsiteX12" fmla="*/ 1245949 w 1629102"/>
                  <a:gd name="connsiteY12" fmla="*/ 106532 h 879219"/>
                  <a:gd name="connsiteX13" fmla="*/ 1234404 w 1629102"/>
                  <a:gd name="connsiteY13" fmla="*/ 71527 h 879219"/>
                  <a:gd name="connsiteX14" fmla="*/ 1207728 w 1629102"/>
                  <a:gd name="connsiteY14" fmla="*/ 68476 h 879219"/>
                  <a:gd name="connsiteX15" fmla="*/ 1171322 w 1629102"/>
                  <a:gd name="connsiteY15" fmla="*/ 92101 h 879219"/>
                  <a:gd name="connsiteX16" fmla="*/ 1127783 w 1629102"/>
                  <a:gd name="connsiteY16" fmla="*/ 112716 h 879219"/>
                  <a:gd name="connsiteX17" fmla="*/ 1097560 w 1629102"/>
                  <a:gd name="connsiteY17" fmla="*/ 120963 h 879219"/>
                  <a:gd name="connsiteX18" fmla="*/ 1111826 w 1629102"/>
                  <a:gd name="connsiteY18" fmla="*/ 91153 h 879219"/>
                  <a:gd name="connsiteX19" fmla="*/ 1090469 w 1629102"/>
                  <a:gd name="connsiteY19" fmla="*/ 88061 h 879219"/>
                  <a:gd name="connsiteX20" fmla="*/ 1071791 w 1629102"/>
                  <a:gd name="connsiteY20" fmla="*/ 84968 h 879219"/>
                  <a:gd name="connsiteX21" fmla="*/ 1060247 w 1629102"/>
                  <a:gd name="connsiteY21" fmla="*/ 81876 h 879219"/>
                  <a:gd name="connsiteX22" fmla="*/ 1045157 w 1629102"/>
                  <a:gd name="connsiteY22" fmla="*/ 70579 h 879219"/>
                  <a:gd name="connsiteX23" fmla="*/ 1008708 w 1629102"/>
                  <a:gd name="connsiteY23" fmla="*/ 77753 h 879219"/>
                  <a:gd name="connsiteX24" fmla="*/ 1013203 w 1629102"/>
                  <a:gd name="connsiteY24" fmla="*/ 58210 h 879219"/>
                  <a:gd name="connsiteX25" fmla="*/ 1006070 w 1629102"/>
                  <a:gd name="connsiteY25" fmla="*/ 25226 h 879219"/>
                  <a:gd name="connsiteX26" fmla="*/ 980301 w 1629102"/>
                  <a:gd name="connsiteY26" fmla="*/ 6672 h 879219"/>
                  <a:gd name="connsiteX27" fmla="*/ 949213 w 1629102"/>
                  <a:gd name="connsiteY27" fmla="*/ 1559 h 879219"/>
                  <a:gd name="connsiteX28" fmla="*/ 899448 w 1629102"/>
                  <a:gd name="connsiteY28" fmla="*/ 14918 h 879219"/>
                  <a:gd name="connsiteX29" fmla="*/ 840818 w 1629102"/>
                  <a:gd name="connsiteY29" fmla="*/ 37553 h 879219"/>
                  <a:gd name="connsiteX30" fmla="*/ 784002 w 1629102"/>
                  <a:gd name="connsiteY30" fmla="*/ 49923 h 879219"/>
                  <a:gd name="connsiteX31" fmla="*/ 743102 w 1629102"/>
                  <a:gd name="connsiteY31" fmla="*/ 64312 h 879219"/>
                  <a:gd name="connsiteX32" fmla="*/ 682700 w 1629102"/>
                  <a:gd name="connsiteY32" fmla="*/ 78743 h 879219"/>
                  <a:gd name="connsiteX33" fmla="*/ 634748 w 1629102"/>
                  <a:gd name="connsiteY33" fmla="*/ 84927 h 879219"/>
                  <a:gd name="connsiteX34" fmla="*/ 600940 w 1629102"/>
                  <a:gd name="connsiteY34" fmla="*/ 86989 h 879219"/>
                  <a:gd name="connsiteX35" fmla="*/ 602754 w 1629102"/>
                  <a:gd name="connsiteY35" fmla="*/ 126075 h 879219"/>
                  <a:gd name="connsiteX36" fmla="*/ 638295 w 1629102"/>
                  <a:gd name="connsiteY36" fmla="*/ 146690 h 879219"/>
                  <a:gd name="connsiteX37" fmla="*/ 595621 w 1629102"/>
                  <a:gd name="connsiteY37" fmla="*/ 154936 h 879219"/>
                  <a:gd name="connsiteX38" fmla="*/ 588529 w 1629102"/>
                  <a:gd name="connsiteY38" fmla="*/ 187921 h 879219"/>
                  <a:gd name="connsiteX39" fmla="*/ 563791 w 1629102"/>
                  <a:gd name="connsiteY39" fmla="*/ 212659 h 879219"/>
                  <a:gd name="connsiteX40" fmla="*/ 574429 w 1629102"/>
                  <a:gd name="connsiteY40" fmla="*/ 237397 h 879219"/>
                  <a:gd name="connsiteX41" fmla="*/ 602877 w 1629102"/>
                  <a:gd name="connsiteY41" fmla="*/ 247705 h 879219"/>
                  <a:gd name="connsiteX42" fmla="*/ 613515 w 1629102"/>
                  <a:gd name="connsiteY42" fmla="*/ 280689 h 879219"/>
                  <a:gd name="connsiteX43" fmla="*/ 588777 w 1629102"/>
                  <a:gd name="connsiteY43" fmla="*/ 297182 h 879219"/>
                  <a:gd name="connsiteX44" fmla="*/ 558555 w 1629102"/>
                  <a:gd name="connsiteY44" fmla="*/ 282792 h 879219"/>
                  <a:gd name="connsiteX45" fmla="*/ 544330 w 1629102"/>
                  <a:gd name="connsiteY45" fmla="*/ 305428 h 879219"/>
                  <a:gd name="connsiteX46" fmla="*/ 524828 w 1629102"/>
                  <a:gd name="connsiteY46" fmla="*/ 291038 h 879219"/>
                  <a:gd name="connsiteX47" fmla="*/ 498152 w 1629102"/>
                  <a:gd name="connsiteY47" fmla="*/ 276608 h 879219"/>
                  <a:gd name="connsiteX48" fmla="*/ 459106 w 1629102"/>
                  <a:gd name="connsiteY48" fmla="*/ 274587 h 879219"/>
                  <a:gd name="connsiteX49" fmla="*/ 435976 w 1629102"/>
                  <a:gd name="connsiteY49" fmla="*/ 272526 h 879219"/>
                  <a:gd name="connsiteX50" fmla="*/ 396890 w 1629102"/>
                  <a:gd name="connsiteY50" fmla="*/ 286915 h 879219"/>
                  <a:gd name="connsiteX51" fmla="*/ 359783 w 1629102"/>
                  <a:gd name="connsiteY51" fmla="*/ 291038 h 879219"/>
                  <a:gd name="connsiteX52" fmla="*/ 336693 w 1629102"/>
                  <a:gd name="connsiteY52" fmla="*/ 291038 h 879219"/>
                  <a:gd name="connsiteX53" fmla="*/ 326015 w 1629102"/>
                  <a:gd name="connsiteY53" fmla="*/ 284854 h 879219"/>
                  <a:gd name="connsiteX54" fmla="*/ 292288 w 1629102"/>
                  <a:gd name="connsiteY54" fmla="*/ 251869 h 879219"/>
                  <a:gd name="connsiteX55" fmla="*/ 246069 w 1629102"/>
                  <a:gd name="connsiteY55" fmla="*/ 235377 h 879219"/>
                  <a:gd name="connsiteX56" fmla="*/ 217661 w 1629102"/>
                  <a:gd name="connsiteY56" fmla="*/ 235377 h 879219"/>
                  <a:gd name="connsiteX57" fmla="*/ 196303 w 1629102"/>
                  <a:gd name="connsiteY57" fmla="*/ 235377 h 879219"/>
                  <a:gd name="connsiteX58" fmla="*/ 166123 w 1629102"/>
                  <a:gd name="connsiteY58" fmla="*/ 245685 h 879219"/>
                  <a:gd name="connsiteX59" fmla="*/ 123491 w 1629102"/>
                  <a:gd name="connsiteY59" fmla="*/ 268320 h 879219"/>
                  <a:gd name="connsiteX60" fmla="*/ 102175 w 1629102"/>
                  <a:gd name="connsiteY60" fmla="*/ 290956 h 879219"/>
                  <a:gd name="connsiteX61" fmla="*/ 91496 w 1629102"/>
                  <a:gd name="connsiteY61" fmla="*/ 315694 h 879219"/>
                  <a:gd name="connsiteX62" fmla="*/ 87951 w 1629102"/>
                  <a:gd name="connsiteY62" fmla="*/ 344555 h 879219"/>
                  <a:gd name="connsiteX63" fmla="*/ 55956 w 1629102"/>
                  <a:gd name="connsiteY63" fmla="*/ 313715 h 879219"/>
                  <a:gd name="connsiteX64" fmla="*/ 32825 w 1629102"/>
                  <a:gd name="connsiteY64" fmla="*/ 330207 h 879219"/>
                  <a:gd name="connsiteX65" fmla="*/ 11509 w 1629102"/>
                  <a:gd name="connsiteY65" fmla="*/ 359068 h 879219"/>
                  <a:gd name="connsiteX66" fmla="*/ 23878 w 1629102"/>
                  <a:gd name="connsiteY66" fmla="*/ 381704 h 879219"/>
                  <a:gd name="connsiteX67" fmla="*/ 9694 w 1629102"/>
                  <a:gd name="connsiteY67" fmla="*/ 396093 h 879219"/>
                  <a:gd name="connsiteX68" fmla="*/ 789 w 1629102"/>
                  <a:gd name="connsiteY68" fmla="*/ 424955 h 879219"/>
                  <a:gd name="connsiteX69" fmla="*/ 23878 w 1629102"/>
                  <a:gd name="connsiteY69" fmla="*/ 443467 h 879219"/>
                  <a:gd name="connsiteX70" fmla="*/ 31011 w 1629102"/>
                  <a:gd name="connsiteY70" fmla="*/ 468206 h 879219"/>
                  <a:gd name="connsiteX71" fmla="*/ 59418 w 1629102"/>
                  <a:gd name="connsiteY71" fmla="*/ 466144 h 879219"/>
                  <a:gd name="connsiteX72" fmla="*/ 84157 w 1629102"/>
                  <a:gd name="connsiteY72" fmla="*/ 499128 h 879219"/>
                  <a:gd name="connsiteX73" fmla="*/ 89517 w 1629102"/>
                  <a:gd name="connsiteY73" fmla="*/ 527990 h 879219"/>
                  <a:gd name="connsiteX74" fmla="*/ 98422 w 1629102"/>
                  <a:gd name="connsiteY74" fmla="*/ 548605 h 879219"/>
                  <a:gd name="connsiteX75" fmla="*/ 111328 w 1629102"/>
                  <a:gd name="connsiteY75" fmla="*/ 557552 h 879219"/>
                  <a:gd name="connsiteX76" fmla="*/ 118543 w 1629102"/>
                  <a:gd name="connsiteY76" fmla="*/ 551326 h 879219"/>
                  <a:gd name="connsiteX77" fmla="*/ 202653 w 1629102"/>
                  <a:gd name="connsiteY77" fmla="*/ 519785 h 879219"/>
                  <a:gd name="connsiteX78" fmla="*/ 264252 w 1629102"/>
                  <a:gd name="connsiteY78" fmla="*/ 533515 h 879219"/>
                  <a:gd name="connsiteX79" fmla="*/ 268952 w 1629102"/>
                  <a:gd name="connsiteY79" fmla="*/ 602122 h 879219"/>
                  <a:gd name="connsiteX80" fmla="*/ 229907 w 1629102"/>
                  <a:gd name="connsiteY80" fmla="*/ 614491 h 879219"/>
                  <a:gd name="connsiteX81" fmla="*/ 180141 w 1629102"/>
                  <a:gd name="connsiteY81" fmla="*/ 635106 h 879219"/>
                  <a:gd name="connsiteX82" fmla="*/ 174204 w 1629102"/>
                  <a:gd name="connsiteY82" fmla="*/ 661205 h 879219"/>
                  <a:gd name="connsiteX83" fmla="*/ 154083 w 1629102"/>
                  <a:gd name="connsiteY83" fmla="*/ 676296 h 879219"/>
                  <a:gd name="connsiteX84" fmla="*/ 184883 w 1629102"/>
                  <a:gd name="connsiteY84" fmla="*/ 706476 h 879219"/>
                  <a:gd name="connsiteX85" fmla="*/ 197912 w 1629102"/>
                  <a:gd name="connsiteY85" fmla="*/ 742141 h 879219"/>
                  <a:gd name="connsiteX86" fmla="*/ 226319 w 1629102"/>
                  <a:gd name="connsiteY86" fmla="*/ 761354 h 879219"/>
                  <a:gd name="connsiteX87" fmla="*/ 245286 w 1629102"/>
                  <a:gd name="connsiteY87" fmla="*/ 784690 h 879219"/>
                  <a:gd name="connsiteX88" fmla="*/ 258314 w 1629102"/>
                  <a:gd name="connsiteY88" fmla="*/ 840929 h 879219"/>
                  <a:gd name="connsiteX89" fmla="*/ 263344 w 1629102"/>
                  <a:gd name="connsiteY89" fmla="*/ 809511 h 879219"/>
                  <a:gd name="connsiteX90" fmla="*/ 304575 w 1629102"/>
                  <a:gd name="connsiteY90" fmla="*/ 784196 h 879219"/>
                  <a:gd name="connsiteX91" fmla="*/ 353557 w 1629102"/>
                  <a:gd name="connsiteY91" fmla="*/ 828189 h 879219"/>
                  <a:gd name="connsiteX92" fmla="*/ 382047 w 1629102"/>
                  <a:gd name="connsiteY92" fmla="*/ 835528 h 879219"/>
                  <a:gd name="connsiteX93" fmla="*/ 386789 w 1629102"/>
                  <a:gd name="connsiteY93" fmla="*/ 630365 h 879219"/>
                  <a:gd name="connsiteX94" fmla="*/ 488133 w 1629102"/>
                  <a:gd name="connsiteY94" fmla="*/ 599071 h 879219"/>
                  <a:gd name="connsiteX95" fmla="*/ 491473 w 1629102"/>
                  <a:gd name="connsiteY95" fmla="*/ 591237 h 879219"/>
                  <a:gd name="connsiteX96" fmla="*/ 528209 w 1629102"/>
                  <a:gd name="connsiteY96" fmla="*/ 592639 h 879219"/>
                  <a:gd name="connsiteX97" fmla="*/ 544701 w 1629102"/>
                  <a:gd name="connsiteY97" fmla="*/ 570663 h 879219"/>
                  <a:gd name="connsiteX98" fmla="*/ 554184 w 1629102"/>
                  <a:gd name="connsiteY98" fmla="*/ 598082 h 879219"/>
                  <a:gd name="connsiteX99" fmla="*/ 575501 w 1629102"/>
                  <a:gd name="connsiteY99" fmla="*/ 658979 h 879219"/>
                  <a:gd name="connsiteX100" fmla="*/ 622379 w 1629102"/>
                  <a:gd name="connsiteY100" fmla="*/ 718268 h 879219"/>
                  <a:gd name="connsiteX101" fmla="*/ 674577 w 1629102"/>
                  <a:gd name="connsiteY101" fmla="*/ 714599 h 879219"/>
                  <a:gd name="connsiteX102" fmla="*/ 755265 w 1629102"/>
                  <a:gd name="connsiteY102" fmla="*/ 718268 h 879219"/>
                  <a:gd name="connsiteX103" fmla="*/ 786848 w 1629102"/>
                  <a:gd name="connsiteY103" fmla="*/ 745728 h 879219"/>
                  <a:gd name="connsiteX104" fmla="*/ 796372 w 1629102"/>
                  <a:gd name="connsiteY104" fmla="*/ 789679 h 879219"/>
                  <a:gd name="connsiteX105" fmla="*/ 818513 w 1629102"/>
                  <a:gd name="connsiteY105" fmla="*/ 837383 h 879219"/>
                  <a:gd name="connsiteX106" fmla="*/ 853311 w 1629102"/>
                  <a:gd name="connsiteY106" fmla="*/ 848350 h 879219"/>
                  <a:gd name="connsiteX107" fmla="*/ 886502 w 1629102"/>
                  <a:gd name="connsiteY107" fmla="*/ 872140 h 879219"/>
                  <a:gd name="connsiteX108" fmla="*/ 905467 w 1629102"/>
                  <a:gd name="connsiteY108" fmla="*/ 864801 h 879219"/>
                  <a:gd name="connsiteX109" fmla="*/ 946698 w 1629102"/>
                  <a:gd name="connsiteY109" fmla="*/ 828189 h 879219"/>
                  <a:gd name="connsiteX110" fmla="*/ 969787 w 1629102"/>
                  <a:gd name="connsiteY110" fmla="*/ 825591 h 879219"/>
                  <a:gd name="connsiteX111" fmla="*/ 981867 w 1629102"/>
                  <a:gd name="connsiteY111" fmla="*/ 799740 h 879219"/>
                  <a:gd name="connsiteX112" fmla="*/ 1006606 w 1629102"/>
                  <a:gd name="connsiteY112" fmla="*/ 768240 h 879219"/>
                  <a:gd name="connsiteX113" fmla="*/ 1061071 w 1629102"/>
                  <a:gd name="connsiteY113" fmla="*/ 766838 h 879219"/>
                  <a:gd name="connsiteX114" fmla="*/ 1096612 w 1629102"/>
                  <a:gd name="connsiteY114" fmla="*/ 759993 h 879219"/>
                  <a:gd name="connsiteX115" fmla="*/ 1138090 w 1629102"/>
                  <a:gd name="connsiteY115" fmla="*/ 740780 h 879219"/>
                  <a:gd name="connsiteX116" fmla="*/ 1191360 w 1629102"/>
                  <a:gd name="connsiteY116" fmla="*/ 758592 h 879219"/>
                  <a:gd name="connsiteX117" fmla="*/ 1294436 w 1629102"/>
                  <a:gd name="connsiteY117" fmla="*/ 765518 h 879219"/>
                  <a:gd name="connsiteX118" fmla="*/ 1332326 w 1629102"/>
                  <a:gd name="connsiteY118" fmla="*/ 777888 h 879219"/>
                  <a:gd name="connsiteX119" fmla="*/ 1365889 w 1629102"/>
                  <a:gd name="connsiteY119" fmla="*/ 792937 h 879219"/>
                  <a:gd name="connsiteX120" fmla="*/ 1364899 w 1629102"/>
                  <a:gd name="connsiteY120" fmla="*/ 774053 h 879219"/>
                  <a:gd name="connsiteX121" fmla="*/ 1386215 w 1629102"/>
                  <a:gd name="connsiteY121" fmla="*/ 739090 h 879219"/>
                  <a:gd name="connsiteX122" fmla="*/ 1370218 w 1629102"/>
                  <a:gd name="connsiteY122" fmla="*/ 687634 h 879219"/>
                  <a:gd name="connsiteX123" fmla="*/ 1361312 w 1629102"/>
                  <a:gd name="connsiteY123" fmla="*/ 647517 h 879219"/>
                  <a:gd name="connsiteX124" fmla="*/ 1384360 w 1629102"/>
                  <a:gd name="connsiteY124" fmla="*/ 629334 h 879219"/>
                  <a:gd name="connsiteX125" fmla="*/ 1422044 w 1629102"/>
                  <a:gd name="connsiteY125" fmla="*/ 620799 h 879219"/>
                  <a:gd name="connsiteX126" fmla="*/ 1450905 w 1629102"/>
                  <a:gd name="connsiteY126" fmla="*/ 629334 h 879219"/>
                  <a:gd name="connsiteX127" fmla="*/ 1450905 w 1629102"/>
                  <a:gd name="connsiteY127" fmla="*/ 607523 h 879219"/>
                  <a:gd name="connsiteX128" fmla="*/ 1475643 w 1629102"/>
                  <a:gd name="connsiteY128" fmla="*/ 518300 h 879219"/>
                  <a:gd name="connsiteX129" fmla="*/ 1502691 w 1629102"/>
                  <a:gd name="connsiteY129" fmla="*/ 518300 h 879219"/>
                  <a:gd name="connsiteX130" fmla="*/ 1539798 w 1629102"/>
                  <a:gd name="connsiteY130" fmla="*/ 522053 h 879219"/>
                  <a:gd name="connsiteX131" fmla="*/ 1577524 w 1629102"/>
                  <a:gd name="connsiteY131" fmla="*/ 505931 h 879219"/>
                  <a:gd name="connsiteX132" fmla="*/ 1571752 w 1629102"/>
                  <a:gd name="connsiteY132" fmla="*/ 468824 h 879219"/>
                  <a:gd name="connsiteX133" fmla="*/ 1598016 w 1629102"/>
                  <a:gd name="connsiteY133" fmla="*/ 433696 h 879219"/>
                  <a:gd name="connsiteX134" fmla="*/ 1615209 w 1629102"/>
                  <a:gd name="connsiteY134" fmla="*/ 408092 h 879219"/>
                  <a:gd name="connsiteX135" fmla="*/ 1629103 w 1629102"/>
                  <a:gd name="connsiteY135" fmla="*/ 378199 h 879219"/>
                  <a:gd name="connsiteX136" fmla="*/ 1620115 w 1629102"/>
                  <a:gd name="connsiteY136" fmla="*/ 360099 h 879219"/>
                  <a:gd name="connsiteX137" fmla="*/ 606382 w 1629102"/>
                  <a:gd name="connsiteY137" fmla="*/ 561139 h 879219"/>
                  <a:gd name="connsiteX138" fmla="*/ 550885 w 1629102"/>
                  <a:gd name="connsiteY138" fmla="*/ 543575 h 879219"/>
                  <a:gd name="connsiteX139" fmla="*/ 606382 w 1629102"/>
                  <a:gd name="connsiteY139" fmla="*/ 561139 h 879219"/>
                  <a:gd name="connsiteX140" fmla="*/ 1279057 w 1629102"/>
                  <a:gd name="connsiteY140" fmla="*/ 556233 h 879219"/>
                  <a:gd name="connsiteX141" fmla="*/ 1142996 w 1629102"/>
                  <a:gd name="connsiteY141" fmla="*/ 574085 h 879219"/>
                  <a:gd name="connsiteX142" fmla="*/ 1121681 w 1629102"/>
                  <a:gd name="connsiteY142" fmla="*/ 633086 h 879219"/>
                  <a:gd name="connsiteX143" fmla="*/ 1116938 w 1629102"/>
                  <a:gd name="connsiteY143" fmla="*/ 557593 h 879219"/>
                  <a:gd name="connsiteX144" fmla="*/ 1220015 w 1629102"/>
                  <a:gd name="connsiteY144" fmla="*/ 539782 h 879219"/>
                  <a:gd name="connsiteX145" fmla="*/ 1320700 w 1629102"/>
                  <a:gd name="connsiteY145" fmla="*/ 534339 h 879219"/>
                  <a:gd name="connsiteX146" fmla="*/ 1279057 w 1629102"/>
                  <a:gd name="connsiteY146" fmla="*/ 556233 h 879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</a:cxnLst>
                <a:rect l="l" t="t" r="r" b="b"/>
                <a:pathLst>
                  <a:path w="1629100" h="879219">
                    <a:moveTo>
                      <a:pt x="1620115" y="360099"/>
                    </a:moveTo>
                    <a:cubicBezTo>
                      <a:pt x="1618961" y="350492"/>
                      <a:pt x="1611869" y="354574"/>
                      <a:pt x="1605891" y="358698"/>
                    </a:cubicBezTo>
                    <a:cubicBezTo>
                      <a:pt x="1599913" y="362821"/>
                      <a:pt x="1581153" y="365583"/>
                      <a:pt x="1573937" y="365583"/>
                    </a:cubicBezTo>
                    <a:cubicBezTo>
                      <a:pt x="1566722" y="365583"/>
                      <a:pt x="1553816" y="354574"/>
                      <a:pt x="1553816" y="346369"/>
                    </a:cubicBezTo>
                    <a:cubicBezTo>
                      <a:pt x="1553816" y="338165"/>
                      <a:pt x="1552291" y="328888"/>
                      <a:pt x="1545200" y="328888"/>
                    </a:cubicBezTo>
                    <a:cubicBezTo>
                      <a:pt x="1538108" y="328888"/>
                      <a:pt x="1527429" y="324765"/>
                      <a:pt x="1520461" y="305180"/>
                    </a:cubicBezTo>
                    <a:cubicBezTo>
                      <a:pt x="1513494" y="285596"/>
                      <a:pt x="1502691" y="285637"/>
                      <a:pt x="1494651" y="280442"/>
                    </a:cubicBezTo>
                    <a:cubicBezTo>
                      <a:pt x="1486611" y="275247"/>
                      <a:pt x="1464470" y="289678"/>
                      <a:pt x="1454699" y="293760"/>
                    </a:cubicBezTo>
                    <a:cubicBezTo>
                      <a:pt x="1444927" y="297841"/>
                      <a:pt x="1428063" y="289637"/>
                      <a:pt x="1415613" y="286585"/>
                    </a:cubicBezTo>
                    <a:cubicBezTo>
                      <a:pt x="1403161" y="283534"/>
                      <a:pt x="1396068" y="257724"/>
                      <a:pt x="1384525" y="260857"/>
                    </a:cubicBezTo>
                    <a:cubicBezTo>
                      <a:pt x="1372980" y="263991"/>
                      <a:pt x="1370299" y="290708"/>
                      <a:pt x="1361394" y="290708"/>
                    </a:cubicBezTo>
                    <a:cubicBezTo>
                      <a:pt x="1352489" y="290708"/>
                      <a:pt x="1336656" y="237109"/>
                      <a:pt x="1319669" y="207340"/>
                    </a:cubicBezTo>
                    <a:cubicBezTo>
                      <a:pt x="1302682" y="177572"/>
                      <a:pt x="1272583" y="117870"/>
                      <a:pt x="1245949" y="106532"/>
                    </a:cubicBezTo>
                    <a:cubicBezTo>
                      <a:pt x="1219314" y="95194"/>
                      <a:pt x="1227271" y="79773"/>
                      <a:pt x="1234404" y="71527"/>
                    </a:cubicBezTo>
                    <a:cubicBezTo>
                      <a:pt x="1241537" y="63281"/>
                      <a:pt x="1218407" y="61261"/>
                      <a:pt x="1207728" y="68476"/>
                    </a:cubicBezTo>
                    <a:cubicBezTo>
                      <a:pt x="1197050" y="75692"/>
                      <a:pt x="1183773" y="89091"/>
                      <a:pt x="1171322" y="92101"/>
                    </a:cubicBezTo>
                    <a:cubicBezTo>
                      <a:pt x="1158871" y="95111"/>
                      <a:pt x="1141100" y="117870"/>
                      <a:pt x="1127783" y="112716"/>
                    </a:cubicBezTo>
                    <a:cubicBezTo>
                      <a:pt x="1114465" y="107563"/>
                      <a:pt x="1108239" y="132260"/>
                      <a:pt x="1097560" y="120963"/>
                    </a:cubicBezTo>
                    <a:cubicBezTo>
                      <a:pt x="1086881" y="109665"/>
                      <a:pt x="1111826" y="101419"/>
                      <a:pt x="1111826" y="91153"/>
                    </a:cubicBezTo>
                    <a:cubicBezTo>
                      <a:pt x="1111826" y="80887"/>
                      <a:pt x="1094922" y="94245"/>
                      <a:pt x="1090469" y="88061"/>
                    </a:cubicBezTo>
                    <a:cubicBezTo>
                      <a:pt x="1086016" y="81876"/>
                      <a:pt x="1071791" y="75692"/>
                      <a:pt x="1071791" y="84968"/>
                    </a:cubicBezTo>
                    <a:cubicBezTo>
                      <a:pt x="1071791" y="94245"/>
                      <a:pt x="1060247" y="89091"/>
                      <a:pt x="1060247" y="81876"/>
                    </a:cubicBezTo>
                    <a:cubicBezTo>
                      <a:pt x="1060247" y="74661"/>
                      <a:pt x="1052289" y="61261"/>
                      <a:pt x="1045157" y="70579"/>
                    </a:cubicBezTo>
                    <a:cubicBezTo>
                      <a:pt x="1038024" y="79897"/>
                      <a:pt x="1014069" y="84968"/>
                      <a:pt x="1008708" y="77753"/>
                    </a:cubicBezTo>
                    <a:cubicBezTo>
                      <a:pt x="1003348" y="70538"/>
                      <a:pt x="1012296" y="67487"/>
                      <a:pt x="1013203" y="58210"/>
                    </a:cubicBezTo>
                    <a:cubicBezTo>
                      <a:pt x="1014110" y="48933"/>
                      <a:pt x="1004298" y="36605"/>
                      <a:pt x="1006070" y="25226"/>
                    </a:cubicBezTo>
                    <a:cubicBezTo>
                      <a:pt x="1007843" y="13846"/>
                      <a:pt x="989165" y="2549"/>
                      <a:pt x="980301" y="6672"/>
                    </a:cubicBezTo>
                    <a:cubicBezTo>
                      <a:pt x="971436" y="10795"/>
                      <a:pt x="958985" y="6672"/>
                      <a:pt x="949213" y="1559"/>
                    </a:cubicBezTo>
                    <a:cubicBezTo>
                      <a:pt x="939441" y="-3553"/>
                      <a:pt x="901263" y="4651"/>
                      <a:pt x="899448" y="14918"/>
                    </a:cubicBezTo>
                    <a:cubicBezTo>
                      <a:pt x="897634" y="25184"/>
                      <a:pt x="849725" y="33430"/>
                      <a:pt x="840818" y="37553"/>
                    </a:cubicBezTo>
                    <a:cubicBezTo>
                      <a:pt x="831913" y="41676"/>
                      <a:pt x="796413" y="47820"/>
                      <a:pt x="784002" y="49923"/>
                    </a:cubicBezTo>
                    <a:cubicBezTo>
                      <a:pt x="771592" y="52025"/>
                      <a:pt x="759264" y="64312"/>
                      <a:pt x="743102" y="64312"/>
                    </a:cubicBezTo>
                    <a:cubicBezTo>
                      <a:pt x="726940" y="64312"/>
                      <a:pt x="696883" y="66415"/>
                      <a:pt x="682700" y="78743"/>
                    </a:cubicBezTo>
                    <a:cubicBezTo>
                      <a:pt x="668516" y="91070"/>
                      <a:pt x="645593" y="80804"/>
                      <a:pt x="634748" y="84927"/>
                    </a:cubicBezTo>
                    <a:cubicBezTo>
                      <a:pt x="623905" y="89050"/>
                      <a:pt x="606300" y="82866"/>
                      <a:pt x="600940" y="86989"/>
                    </a:cubicBezTo>
                    <a:cubicBezTo>
                      <a:pt x="595579" y="91112"/>
                      <a:pt x="597435" y="115850"/>
                      <a:pt x="602754" y="126075"/>
                    </a:cubicBezTo>
                    <a:cubicBezTo>
                      <a:pt x="608072" y="136300"/>
                      <a:pt x="636521" y="140506"/>
                      <a:pt x="638295" y="146690"/>
                    </a:cubicBezTo>
                    <a:cubicBezTo>
                      <a:pt x="640067" y="152875"/>
                      <a:pt x="609845" y="152875"/>
                      <a:pt x="595621" y="154936"/>
                    </a:cubicBezTo>
                    <a:cubicBezTo>
                      <a:pt x="581396" y="156998"/>
                      <a:pt x="584983" y="177572"/>
                      <a:pt x="588529" y="187921"/>
                    </a:cubicBezTo>
                    <a:cubicBezTo>
                      <a:pt x="592074" y="198270"/>
                      <a:pt x="574305" y="208536"/>
                      <a:pt x="563791" y="212659"/>
                    </a:cubicBezTo>
                    <a:cubicBezTo>
                      <a:pt x="553277" y="216782"/>
                      <a:pt x="563791" y="237397"/>
                      <a:pt x="574429" y="237397"/>
                    </a:cubicBezTo>
                    <a:cubicBezTo>
                      <a:pt x="585065" y="237397"/>
                      <a:pt x="594013" y="247705"/>
                      <a:pt x="602877" y="247705"/>
                    </a:cubicBezTo>
                    <a:cubicBezTo>
                      <a:pt x="611741" y="247705"/>
                      <a:pt x="613515" y="268320"/>
                      <a:pt x="613515" y="280689"/>
                    </a:cubicBezTo>
                    <a:cubicBezTo>
                      <a:pt x="613515" y="293058"/>
                      <a:pt x="602877" y="297182"/>
                      <a:pt x="588777" y="297182"/>
                    </a:cubicBezTo>
                    <a:cubicBezTo>
                      <a:pt x="574675" y="297182"/>
                      <a:pt x="567460" y="284812"/>
                      <a:pt x="558555" y="282792"/>
                    </a:cubicBezTo>
                    <a:cubicBezTo>
                      <a:pt x="549649" y="280772"/>
                      <a:pt x="551463" y="301346"/>
                      <a:pt x="544330" y="305428"/>
                    </a:cubicBezTo>
                    <a:cubicBezTo>
                      <a:pt x="537197" y="309509"/>
                      <a:pt x="535465" y="291038"/>
                      <a:pt x="524828" y="291038"/>
                    </a:cubicBezTo>
                    <a:cubicBezTo>
                      <a:pt x="514191" y="291038"/>
                      <a:pt x="501739" y="288977"/>
                      <a:pt x="498152" y="276608"/>
                    </a:cubicBezTo>
                    <a:cubicBezTo>
                      <a:pt x="494565" y="264238"/>
                      <a:pt x="469703" y="262218"/>
                      <a:pt x="459106" y="274587"/>
                    </a:cubicBezTo>
                    <a:cubicBezTo>
                      <a:pt x="448511" y="286956"/>
                      <a:pt x="444841" y="280772"/>
                      <a:pt x="435976" y="272526"/>
                    </a:cubicBezTo>
                    <a:cubicBezTo>
                      <a:pt x="427112" y="264280"/>
                      <a:pt x="400435" y="276649"/>
                      <a:pt x="396890" y="286915"/>
                    </a:cubicBezTo>
                    <a:cubicBezTo>
                      <a:pt x="393344" y="297182"/>
                      <a:pt x="373801" y="301346"/>
                      <a:pt x="359783" y="291038"/>
                    </a:cubicBezTo>
                    <a:cubicBezTo>
                      <a:pt x="345764" y="280731"/>
                      <a:pt x="336693" y="276608"/>
                      <a:pt x="336693" y="291038"/>
                    </a:cubicBezTo>
                    <a:cubicBezTo>
                      <a:pt x="336693" y="305469"/>
                      <a:pt x="326015" y="293100"/>
                      <a:pt x="326015" y="284854"/>
                    </a:cubicBezTo>
                    <a:cubicBezTo>
                      <a:pt x="326015" y="276608"/>
                      <a:pt x="302926" y="260115"/>
                      <a:pt x="292288" y="251869"/>
                    </a:cubicBezTo>
                    <a:cubicBezTo>
                      <a:pt x="281651" y="243623"/>
                      <a:pt x="247841" y="243623"/>
                      <a:pt x="246069" y="235377"/>
                    </a:cubicBezTo>
                    <a:cubicBezTo>
                      <a:pt x="244296" y="227131"/>
                      <a:pt x="222980" y="220988"/>
                      <a:pt x="217661" y="235377"/>
                    </a:cubicBezTo>
                    <a:cubicBezTo>
                      <a:pt x="212342" y="249766"/>
                      <a:pt x="203437" y="239500"/>
                      <a:pt x="196303" y="235377"/>
                    </a:cubicBezTo>
                    <a:cubicBezTo>
                      <a:pt x="189170" y="231254"/>
                      <a:pt x="173256" y="241562"/>
                      <a:pt x="166123" y="245685"/>
                    </a:cubicBezTo>
                    <a:cubicBezTo>
                      <a:pt x="158991" y="249808"/>
                      <a:pt x="135901" y="268320"/>
                      <a:pt x="123491" y="268320"/>
                    </a:cubicBezTo>
                    <a:cubicBezTo>
                      <a:pt x="111080" y="268320"/>
                      <a:pt x="118130" y="286833"/>
                      <a:pt x="102175" y="290956"/>
                    </a:cubicBezTo>
                    <a:cubicBezTo>
                      <a:pt x="86218" y="295079"/>
                      <a:pt x="89806" y="307448"/>
                      <a:pt x="91496" y="315694"/>
                    </a:cubicBezTo>
                    <a:cubicBezTo>
                      <a:pt x="93186" y="323940"/>
                      <a:pt x="102175" y="338330"/>
                      <a:pt x="87951" y="344555"/>
                    </a:cubicBezTo>
                    <a:cubicBezTo>
                      <a:pt x="73725" y="350781"/>
                      <a:pt x="68366" y="323940"/>
                      <a:pt x="55956" y="313715"/>
                    </a:cubicBezTo>
                    <a:cubicBezTo>
                      <a:pt x="43545" y="303490"/>
                      <a:pt x="32825" y="315776"/>
                      <a:pt x="32825" y="330207"/>
                    </a:cubicBezTo>
                    <a:cubicBezTo>
                      <a:pt x="32825" y="344638"/>
                      <a:pt x="18642" y="344597"/>
                      <a:pt x="11509" y="359068"/>
                    </a:cubicBezTo>
                    <a:cubicBezTo>
                      <a:pt x="4376" y="373540"/>
                      <a:pt x="23878" y="375561"/>
                      <a:pt x="23878" y="381704"/>
                    </a:cubicBezTo>
                    <a:cubicBezTo>
                      <a:pt x="23878" y="387847"/>
                      <a:pt x="13199" y="394073"/>
                      <a:pt x="9694" y="396093"/>
                    </a:cubicBezTo>
                    <a:cubicBezTo>
                      <a:pt x="6190" y="398114"/>
                      <a:pt x="-2675" y="418770"/>
                      <a:pt x="789" y="424955"/>
                    </a:cubicBezTo>
                    <a:cubicBezTo>
                      <a:pt x="4252" y="431139"/>
                      <a:pt x="25527" y="429078"/>
                      <a:pt x="23878" y="443467"/>
                    </a:cubicBezTo>
                    <a:cubicBezTo>
                      <a:pt x="22228" y="457857"/>
                      <a:pt x="20332" y="472329"/>
                      <a:pt x="31011" y="468206"/>
                    </a:cubicBezTo>
                    <a:cubicBezTo>
                      <a:pt x="41689" y="464083"/>
                      <a:pt x="52327" y="466144"/>
                      <a:pt x="59418" y="466144"/>
                    </a:cubicBezTo>
                    <a:cubicBezTo>
                      <a:pt x="66510" y="466144"/>
                      <a:pt x="71787" y="482636"/>
                      <a:pt x="84157" y="499128"/>
                    </a:cubicBezTo>
                    <a:cubicBezTo>
                      <a:pt x="96526" y="515621"/>
                      <a:pt x="101968" y="523867"/>
                      <a:pt x="89517" y="527990"/>
                    </a:cubicBezTo>
                    <a:cubicBezTo>
                      <a:pt x="77065" y="532113"/>
                      <a:pt x="82384" y="540359"/>
                      <a:pt x="98422" y="548605"/>
                    </a:cubicBezTo>
                    <a:cubicBezTo>
                      <a:pt x="102999" y="551141"/>
                      <a:pt x="107329" y="554138"/>
                      <a:pt x="111328" y="557552"/>
                    </a:cubicBezTo>
                    <a:cubicBezTo>
                      <a:pt x="113884" y="555664"/>
                      <a:pt x="116317" y="553581"/>
                      <a:pt x="118543" y="551326"/>
                    </a:cubicBezTo>
                    <a:cubicBezTo>
                      <a:pt x="138663" y="530711"/>
                      <a:pt x="175400" y="511539"/>
                      <a:pt x="202653" y="519785"/>
                    </a:cubicBezTo>
                    <a:cubicBezTo>
                      <a:pt x="229907" y="528031"/>
                      <a:pt x="252418" y="514301"/>
                      <a:pt x="264252" y="533515"/>
                    </a:cubicBezTo>
                    <a:cubicBezTo>
                      <a:pt x="276085" y="552728"/>
                      <a:pt x="264252" y="588351"/>
                      <a:pt x="268952" y="602122"/>
                    </a:cubicBezTo>
                    <a:cubicBezTo>
                      <a:pt x="273652" y="615893"/>
                      <a:pt x="247636" y="617212"/>
                      <a:pt x="229907" y="614491"/>
                    </a:cubicBezTo>
                    <a:cubicBezTo>
                      <a:pt x="212177" y="611770"/>
                      <a:pt x="175359" y="622737"/>
                      <a:pt x="180141" y="635106"/>
                    </a:cubicBezTo>
                    <a:cubicBezTo>
                      <a:pt x="184924" y="647476"/>
                      <a:pt x="197912" y="676337"/>
                      <a:pt x="174204" y="661205"/>
                    </a:cubicBezTo>
                    <a:cubicBezTo>
                      <a:pt x="150497" y="646074"/>
                      <a:pt x="141220" y="676296"/>
                      <a:pt x="154083" y="676296"/>
                    </a:cubicBezTo>
                    <a:cubicBezTo>
                      <a:pt x="166948" y="676296"/>
                      <a:pt x="184883" y="694149"/>
                      <a:pt x="184883" y="706476"/>
                    </a:cubicBezTo>
                    <a:cubicBezTo>
                      <a:pt x="184883" y="718804"/>
                      <a:pt x="186037" y="746264"/>
                      <a:pt x="197912" y="742141"/>
                    </a:cubicBezTo>
                    <a:cubicBezTo>
                      <a:pt x="209786" y="738018"/>
                      <a:pt x="209744" y="762756"/>
                      <a:pt x="226319" y="761354"/>
                    </a:cubicBezTo>
                    <a:cubicBezTo>
                      <a:pt x="242894" y="759952"/>
                      <a:pt x="258314" y="766838"/>
                      <a:pt x="245286" y="784690"/>
                    </a:cubicBezTo>
                    <a:cubicBezTo>
                      <a:pt x="232257" y="802543"/>
                      <a:pt x="253532" y="851896"/>
                      <a:pt x="258314" y="840929"/>
                    </a:cubicBezTo>
                    <a:cubicBezTo>
                      <a:pt x="261283" y="834043"/>
                      <a:pt x="258685" y="819036"/>
                      <a:pt x="263344" y="809511"/>
                    </a:cubicBezTo>
                    <a:cubicBezTo>
                      <a:pt x="254067" y="784278"/>
                      <a:pt x="293319" y="784196"/>
                      <a:pt x="304575" y="784196"/>
                    </a:cubicBezTo>
                    <a:cubicBezTo>
                      <a:pt x="317191" y="784196"/>
                      <a:pt x="339374" y="806172"/>
                      <a:pt x="353557" y="828189"/>
                    </a:cubicBezTo>
                    <a:cubicBezTo>
                      <a:pt x="367740" y="850206"/>
                      <a:pt x="382047" y="835528"/>
                      <a:pt x="382047" y="835528"/>
                    </a:cubicBezTo>
                    <a:lnTo>
                      <a:pt x="386789" y="630365"/>
                    </a:lnTo>
                    <a:lnTo>
                      <a:pt x="488133" y="599071"/>
                    </a:lnTo>
                    <a:cubicBezTo>
                      <a:pt x="488958" y="596354"/>
                      <a:pt x="490112" y="593728"/>
                      <a:pt x="491473" y="591237"/>
                    </a:cubicBezTo>
                    <a:cubicBezTo>
                      <a:pt x="504542" y="569261"/>
                      <a:pt x="522065" y="587444"/>
                      <a:pt x="528209" y="592639"/>
                    </a:cubicBezTo>
                    <a:cubicBezTo>
                      <a:pt x="533362" y="596762"/>
                      <a:pt x="530559" y="569303"/>
                      <a:pt x="544701" y="570663"/>
                    </a:cubicBezTo>
                    <a:cubicBezTo>
                      <a:pt x="558843" y="572024"/>
                      <a:pt x="543506" y="598082"/>
                      <a:pt x="554184" y="598082"/>
                    </a:cubicBezTo>
                    <a:cubicBezTo>
                      <a:pt x="562430" y="598082"/>
                      <a:pt x="581479" y="632179"/>
                      <a:pt x="575501" y="658979"/>
                    </a:cubicBezTo>
                    <a:cubicBezTo>
                      <a:pt x="591291" y="673987"/>
                      <a:pt x="619823" y="709321"/>
                      <a:pt x="622379" y="718268"/>
                    </a:cubicBezTo>
                    <a:cubicBezTo>
                      <a:pt x="625513" y="729236"/>
                      <a:pt x="666661" y="710970"/>
                      <a:pt x="674577" y="714599"/>
                    </a:cubicBezTo>
                    <a:cubicBezTo>
                      <a:pt x="682494" y="718227"/>
                      <a:pt x="744174" y="718268"/>
                      <a:pt x="755265" y="718268"/>
                    </a:cubicBezTo>
                    <a:cubicBezTo>
                      <a:pt x="766356" y="718268"/>
                      <a:pt x="774190" y="742058"/>
                      <a:pt x="786848" y="745728"/>
                    </a:cubicBezTo>
                    <a:cubicBezTo>
                      <a:pt x="799505" y="749397"/>
                      <a:pt x="794764" y="773229"/>
                      <a:pt x="796372" y="789679"/>
                    </a:cubicBezTo>
                    <a:cubicBezTo>
                      <a:pt x="797980" y="806130"/>
                      <a:pt x="816987" y="822664"/>
                      <a:pt x="818513" y="837383"/>
                    </a:cubicBezTo>
                    <a:cubicBezTo>
                      <a:pt x="820038" y="852102"/>
                      <a:pt x="840653" y="844681"/>
                      <a:pt x="853311" y="848350"/>
                    </a:cubicBezTo>
                    <a:cubicBezTo>
                      <a:pt x="865969" y="852020"/>
                      <a:pt x="884893" y="857462"/>
                      <a:pt x="886502" y="872140"/>
                    </a:cubicBezTo>
                    <a:cubicBezTo>
                      <a:pt x="888109" y="886818"/>
                      <a:pt x="903901" y="875810"/>
                      <a:pt x="905467" y="864801"/>
                    </a:cubicBezTo>
                    <a:cubicBezTo>
                      <a:pt x="907035" y="853793"/>
                      <a:pt x="922909" y="839197"/>
                      <a:pt x="946698" y="828189"/>
                    </a:cubicBezTo>
                    <a:cubicBezTo>
                      <a:pt x="957377" y="823241"/>
                      <a:pt x="964427" y="823241"/>
                      <a:pt x="969787" y="825591"/>
                    </a:cubicBezTo>
                    <a:cubicBezTo>
                      <a:pt x="974199" y="812480"/>
                      <a:pt x="978734" y="801348"/>
                      <a:pt x="981867" y="799740"/>
                    </a:cubicBezTo>
                    <a:cubicBezTo>
                      <a:pt x="990114" y="795617"/>
                      <a:pt x="1005575" y="781969"/>
                      <a:pt x="1006606" y="768240"/>
                    </a:cubicBezTo>
                    <a:cubicBezTo>
                      <a:pt x="1007636" y="754510"/>
                      <a:pt x="1039590" y="754510"/>
                      <a:pt x="1061071" y="766838"/>
                    </a:cubicBezTo>
                    <a:cubicBezTo>
                      <a:pt x="1082553" y="779166"/>
                      <a:pt x="1095458" y="779207"/>
                      <a:pt x="1096612" y="759993"/>
                    </a:cubicBezTo>
                    <a:cubicBezTo>
                      <a:pt x="1097767" y="740780"/>
                      <a:pt x="1128566" y="735255"/>
                      <a:pt x="1138090" y="740780"/>
                    </a:cubicBezTo>
                    <a:cubicBezTo>
                      <a:pt x="1147615" y="746305"/>
                      <a:pt x="1177177" y="765518"/>
                      <a:pt x="1191360" y="758592"/>
                    </a:cubicBezTo>
                    <a:cubicBezTo>
                      <a:pt x="1205543" y="751665"/>
                      <a:pt x="1276665" y="759993"/>
                      <a:pt x="1294436" y="765518"/>
                    </a:cubicBezTo>
                    <a:cubicBezTo>
                      <a:pt x="1312206" y="771043"/>
                      <a:pt x="1316947" y="757272"/>
                      <a:pt x="1332326" y="777888"/>
                    </a:cubicBezTo>
                    <a:cubicBezTo>
                      <a:pt x="1345232" y="795163"/>
                      <a:pt x="1351540" y="779619"/>
                      <a:pt x="1365889" y="792937"/>
                    </a:cubicBezTo>
                    <a:cubicBezTo>
                      <a:pt x="1365889" y="787659"/>
                      <a:pt x="1364899" y="781062"/>
                      <a:pt x="1364899" y="774053"/>
                    </a:cubicBezTo>
                    <a:cubicBezTo>
                      <a:pt x="1364899" y="760695"/>
                      <a:pt x="1382669" y="749315"/>
                      <a:pt x="1386215" y="739090"/>
                    </a:cubicBezTo>
                    <a:cubicBezTo>
                      <a:pt x="1389761" y="728865"/>
                      <a:pt x="1370218" y="697859"/>
                      <a:pt x="1370218" y="687634"/>
                    </a:cubicBezTo>
                    <a:cubicBezTo>
                      <a:pt x="1370218" y="677409"/>
                      <a:pt x="1370218" y="652671"/>
                      <a:pt x="1361312" y="647517"/>
                    </a:cubicBezTo>
                    <a:cubicBezTo>
                      <a:pt x="1352406" y="642363"/>
                      <a:pt x="1378216" y="629004"/>
                      <a:pt x="1384360" y="629334"/>
                    </a:cubicBezTo>
                    <a:cubicBezTo>
                      <a:pt x="1397553" y="630118"/>
                      <a:pt x="1416313" y="614203"/>
                      <a:pt x="1422044" y="620799"/>
                    </a:cubicBezTo>
                    <a:cubicBezTo>
                      <a:pt x="1427775" y="627396"/>
                      <a:pt x="1439279" y="629334"/>
                      <a:pt x="1450905" y="629334"/>
                    </a:cubicBezTo>
                    <a:cubicBezTo>
                      <a:pt x="1462532" y="629334"/>
                      <a:pt x="1457461" y="614203"/>
                      <a:pt x="1450905" y="607523"/>
                    </a:cubicBezTo>
                    <a:cubicBezTo>
                      <a:pt x="1444350" y="600844"/>
                      <a:pt x="1471520" y="539163"/>
                      <a:pt x="1475643" y="518300"/>
                    </a:cubicBezTo>
                    <a:cubicBezTo>
                      <a:pt x="1479767" y="497438"/>
                      <a:pt x="1489580" y="516404"/>
                      <a:pt x="1502691" y="518300"/>
                    </a:cubicBezTo>
                    <a:cubicBezTo>
                      <a:pt x="1515802" y="520197"/>
                      <a:pt x="1531552" y="517311"/>
                      <a:pt x="1539798" y="522053"/>
                    </a:cubicBezTo>
                    <a:cubicBezTo>
                      <a:pt x="1548044" y="526794"/>
                      <a:pt x="1571752" y="516404"/>
                      <a:pt x="1577524" y="505931"/>
                    </a:cubicBezTo>
                    <a:cubicBezTo>
                      <a:pt x="1583297" y="495459"/>
                      <a:pt x="1570928" y="492614"/>
                      <a:pt x="1571752" y="468824"/>
                    </a:cubicBezTo>
                    <a:cubicBezTo>
                      <a:pt x="1572576" y="445034"/>
                      <a:pt x="1584904" y="433696"/>
                      <a:pt x="1598016" y="433696"/>
                    </a:cubicBezTo>
                    <a:cubicBezTo>
                      <a:pt x="1611127" y="433696"/>
                      <a:pt x="1615209" y="419471"/>
                      <a:pt x="1615209" y="408092"/>
                    </a:cubicBezTo>
                    <a:cubicBezTo>
                      <a:pt x="1615209" y="397784"/>
                      <a:pt x="1625888" y="391269"/>
                      <a:pt x="1629103" y="378199"/>
                    </a:cubicBezTo>
                    <a:cubicBezTo>
                      <a:pt x="1624568" y="373070"/>
                      <a:pt x="1621476" y="366824"/>
                      <a:pt x="1620115" y="360099"/>
                    </a:cubicBezTo>
                    <a:close/>
                    <a:moveTo>
                      <a:pt x="606382" y="561139"/>
                    </a:moveTo>
                    <a:cubicBezTo>
                      <a:pt x="601640" y="568684"/>
                      <a:pt x="554803" y="554625"/>
                      <a:pt x="550885" y="543575"/>
                    </a:cubicBezTo>
                    <a:cubicBezTo>
                      <a:pt x="546681" y="531700"/>
                      <a:pt x="616607" y="545142"/>
                      <a:pt x="606382" y="561139"/>
                    </a:cubicBezTo>
                    <a:close/>
                    <a:moveTo>
                      <a:pt x="1279057" y="556233"/>
                    </a:moveTo>
                    <a:cubicBezTo>
                      <a:pt x="1246073" y="556233"/>
                      <a:pt x="1172435" y="537019"/>
                      <a:pt x="1142996" y="574085"/>
                    </a:cubicBezTo>
                    <a:cubicBezTo>
                      <a:pt x="1113558" y="611152"/>
                      <a:pt x="1134750" y="630365"/>
                      <a:pt x="1121681" y="633086"/>
                    </a:cubicBezTo>
                    <a:cubicBezTo>
                      <a:pt x="1107703" y="636013"/>
                      <a:pt x="1100364" y="576807"/>
                      <a:pt x="1116938" y="557593"/>
                    </a:cubicBezTo>
                    <a:cubicBezTo>
                      <a:pt x="1133513" y="538380"/>
                      <a:pt x="1187030" y="530216"/>
                      <a:pt x="1220015" y="539782"/>
                    </a:cubicBezTo>
                    <a:cubicBezTo>
                      <a:pt x="1252999" y="549347"/>
                      <a:pt x="1312371" y="531536"/>
                      <a:pt x="1320700" y="534339"/>
                    </a:cubicBezTo>
                    <a:cubicBezTo>
                      <a:pt x="1329029" y="537143"/>
                      <a:pt x="1312041" y="556233"/>
                      <a:pt x="1279057" y="556233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</a:lstStyle>
              <a:p>
                <a:pPr marL="0" marR="0" lvl="0" indent="0" algn="l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43" name="Freeform: Shape 142">
                <a:extLst>
                  <a:ext uri="{FF2B5EF4-FFF2-40B4-BE49-F238E27FC236}">
                    <a16:creationId xmlns:a16="http://schemas.microsoft.com/office/drawing/2014/main" id="{E3FA316C-DFDD-655B-5D8C-F42533C39967}"/>
                  </a:ext>
                </a:extLst>
              </p:cNvPr>
              <p:cNvSpPr/>
              <p:nvPr>
                <p:custDataLst>
                  <p:tags r:id="rId408"/>
                </p:custDataLst>
              </p:nvPr>
            </p:nvSpPr>
            <p:spPr>
              <a:xfrm>
                <a:off x="7333417" y="1410479"/>
                <a:ext cx="301433" cy="110585"/>
              </a:xfrm>
              <a:custGeom>
                <a:avLst/>
                <a:gdLst>
                  <a:gd name="connsiteX0" fmla="*/ 323777 w 351978"/>
                  <a:gd name="connsiteY0" fmla="*/ 39330 h 129128"/>
                  <a:gd name="connsiteX1" fmla="*/ 295905 w 351978"/>
                  <a:gd name="connsiteY1" fmla="*/ 40979 h 129128"/>
                  <a:gd name="connsiteX2" fmla="*/ 230555 w 351978"/>
                  <a:gd name="connsiteY2" fmla="*/ 22178 h 129128"/>
                  <a:gd name="connsiteX3" fmla="*/ 213568 w 351978"/>
                  <a:gd name="connsiteY3" fmla="*/ 25847 h 129128"/>
                  <a:gd name="connsiteX4" fmla="*/ 211796 w 351978"/>
                  <a:gd name="connsiteY4" fmla="*/ 20611 h 129128"/>
                  <a:gd name="connsiteX5" fmla="*/ 183800 w 351978"/>
                  <a:gd name="connsiteY5" fmla="*/ -4 h 129128"/>
                  <a:gd name="connsiteX6" fmla="*/ 183388 w 351978"/>
                  <a:gd name="connsiteY6" fmla="*/ 41226 h 129128"/>
                  <a:gd name="connsiteX7" fmla="*/ 151393 w 351978"/>
                  <a:gd name="connsiteY7" fmla="*/ 20611 h 129128"/>
                  <a:gd name="connsiteX8" fmla="*/ 118409 w 351978"/>
                  <a:gd name="connsiteY8" fmla="*/ 18549 h 129128"/>
                  <a:gd name="connsiteX9" fmla="*/ 107441 w 351978"/>
                  <a:gd name="connsiteY9" fmla="*/ 3377 h 129128"/>
                  <a:gd name="connsiteX10" fmla="*/ 77632 w 351978"/>
                  <a:gd name="connsiteY10" fmla="*/ 10056 h 129128"/>
                  <a:gd name="connsiteX11" fmla="*/ 77632 w 351978"/>
                  <a:gd name="connsiteY11" fmla="*/ 10345 h 129128"/>
                  <a:gd name="connsiteX12" fmla="*/ 65262 w 351978"/>
                  <a:gd name="connsiteY12" fmla="*/ 9850 h 129128"/>
                  <a:gd name="connsiteX13" fmla="*/ 60314 w 351978"/>
                  <a:gd name="connsiteY13" fmla="*/ 9479 h 129128"/>
                  <a:gd name="connsiteX14" fmla="*/ 46750 w 351978"/>
                  <a:gd name="connsiteY14" fmla="*/ 7747 h 129128"/>
                  <a:gd name="connsiteX15" fmla="*/ 49224 w 351978"/>
                  <a:gd name="connsiteY15" fmla="*/ 26796 h 129128"/>
                  <a:gd name="connsiteX16" fmla="*/ 27784 w 351978"/>
                  <a:gd name="connsiteY16" fmla="*/ 6469 h 129128"/>
                  <a:gd name="connsiteX17" fmla="*/ 9230 w 351978"/>
                  <a:gd name="connsiteY17" fmla="*/ 10592 h 129128"/>
                  <a:gd name="connsiteX18" fmla="*/ 2138 w 351978"/>
                  <a:gd name="connsiteY18" fmla="*/ 19704 h 129128"/>
                  <a:gd name="connsiteX19" fmla="*/ 22754 w 351978"/>
                  <a:gd name="connsiteY19" fmla="*/ 40319 h 129128"/>
                  <a:gd name="connsiteX20" fmla="*/ 18301 w 351978"/>
                  <a:gd name="connsiteY20" fmla="*/ 57842 h 129128"/>
                  <a:gd name="connsiteX21" fmla="*/ 163968 w 351978"/>
                  <a:gd name="connsiteY21" fmla="*/ 62996 h 129128"/>
                  <a:gd name="connsiteX22" fmla="*/ 80476 w 351978"/>
                  <a:gd name="connsiteY22" fmla="*/ 95980 h 129128"/>
                  <a:gd name="connsiteX23" fmla="*/ 174647 w 351978"/>
                  <a:gd name="connsiteY23" fmla="*/ 110370 h 129128"/>
                  <a:gd name="connsiteX24" fmla="*/ 222639 w 351978"/>
                  <a:gd name="connsiteY24" fmla="*/ 128923 h 129128"/>
                  <a:gd name="connsiteX25" fmla="*/ 267993 w 351978"/>
                  <a:gd name="connsiteY25" fmla="*/ 115524 h 129128"/>
                  <a:gd name="connsiteX26" fmla="*/ 319490 w 351978"/>
                  <a:gd name="connsiteY26" fmla="*/ 89796 h 129128"/>
                  <a:gd name="connsiteX27" fmla="*/ 351979 w 351978"/>
                  <a:gd name="connsiteY27" fmla="*/ 65429 h 129128"/>
                  <a:gd name="connsiteX28" fmla="*/ 323777 w 351978"/>
                  <a:gd name="connsiteY28" fmla="*/ 39330 h 1291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351978" h="129128">
                    <a:moveTo>
                      <a:pt x="323777" y="39330"/>
                    </a:moveTo>
                    <a:cubicBezTo>
                      <a:pt x="315160" y="43811"/>
                      <a:pt x="305018" y="44409"/>
                      <a:pt x="295905" y="40979"/>
                    </a:cubicBezTo>
                    <a:cubicBezTo>
                      <a:pt x="274466" y="32238"/>
                      <a:pt x="253273" y="24487"/>
                      <a:pt x="230555" y="22178"/>
                    </a:cubicBezTo>
                    <a:cubicBezTo>
                      <a:pt x="224660" y="29269"/>
                      <a:pt x="217609" y="30424"/>
                      <a:pt x="213568" y="25847"/>
                    </a:cubicBezTo>
                    <a:cubicBezTo>
                      <a:pt x="212537" y="24285"/>
                      <a:pt x="211919" y="22481"/>
                      <a:pt x="211796" y="20611"/>
                    </a:cubicBezTo>
                    <a:cubicBezTo>
                      <a:pt x="199797" y="18390"/>
                      <a:pt x="189490" y="10793"/>
                      <a:pt x="183800" y="-4"/>
                    </a:cubicBezTo>
                    <a:cubicBezTo>
                      <a:pt x="169699" y="12118"/>
                      <a:pt x="187923" y="37763"/>
                      <a:pt x="183388" y="41226"/>
                    </a:cubicBezTo>
                    <a:cubicBezTo>
                      <a:pt x="178852" y="44690"/>
                      <a:pt x="153166" y="35083"/>
                      <a:pt x="151393" y="20611"/>
                    </a:cubicBezTo>
                    <a:cubicBezTo>
                      <a:pt x="149620" y="6139"/>
                      <a:pt x="122078" y="36072"/>
                      <a:pt x="118409" y="18549"/>
                    </a:cubicBezTo>
                    <a:cubicBezTo>
                      <a:pt x="116594" y="12379"/>
                      <a:pt x="112719" y="7019"/>
                      <a:pt x="107441" y="3377"/>
                    </a:cubicBezTo>
                    <a:cubicBezTo>
                      <a:pt x="97999" y="7463"/>
                      <a:pt x="87898" y="9729"/>
                      <a:pt x="77632" y="10056"/>
                    </a:cubicBezTo>
                    <a:lnTo>
                      <a:pt x="77632" y="10345"/>
                    </a:lnTo>
                    <a:cubicBezTo>
                      <a:pt x="75611" y="14138"/>
                      <a:pt x="70663" y="12654"/>
                      <a:pt x="65262" y="9850"/>
                    </a:cubicBezTo>
                    <a:lnTo>
                      <a:pt x="60314" y="9479"/>
                    </a:lnTo>
                    <a:cubicBezTo>
                      <a:pt x="55532" y="8984"/>
                      <a:pt x="51079" y="8324"/>
                      <a:pt x="46750" y="7747"/>
                    </a:cubicBezTo>
                    <a:cubicBezTo>
                      <a:pt x="48234" y="13643"/>
                      <a:pt x="51326" y="21972"/>
                      <a:pt x="49224" y="26796"/>
                    </a:cubicBezTo>
                    <a:cubicBezTo>
                      <a:pt x="46502" y="33145"/>
                      <a:pt x="37473" y="15127"/>
                      <a:pt x="27784" y="6469"/>
                    </a:cubicBezTo>
                    <a:cubicBezTo>
                      <a:pt x="21393" y="6762"/>
                      <a:pt x="15126" y="8157"/>
                      <a:pt x="9230" y="10592"/>
                    </a:cubicBezTo>
                    <a:cubicBezTo>
                      <a:pt x="7705" y="14715"/>
                      <a:pt x="6592" y="19209"/>
                      <a:pt x="2138" y="19704"/>
                    </a:cubicBezTo>
                    <a:cubicBezTo>
                      <a:pt x="-6767" y="20735"/>
                      <a:pt x="14507" y="33104"/>
                      <a:pt x="22754" y="40319"/>
                    </a:cubicBezTo>
                    <a:cubicBezTo>
                      <a:pt x="31000" y="47534"/>
                      <a:pt x="9601" y="47741"/>
                      <a:pt x="18301" y="57842"/>
                    </a:cubicBezTo>
                    <a:cubicBezTo>
                      <a:pt x="44936" y="88683"/>
                      <a:pt x="149744" y="53719"/>
                      <a:pt x="163968" y="62996"/>
                    </a:cubicBezTo>
                    <a:cubicBezTo>
                      <a:pt x="178193" y="72273"/>
                      <a:pt x="76065" y="83611"/>
                      <a:pt x="80476" y="95980"/>
                    </a:cubicBezTo>
                    <a:cubicBezTo>
                      <a:pt x="84888" y="108349"/>
                      <a:pt x="168462" y="118616"/>
                      <a:pt x="174647" y="110370"/>
                    </a:cubicBezTo>
                    <a:cubicBezTo>
                      <a:pt x="180832" y="102124"/>
                      <a:pt x="195262" y="126862"/>
                      <a:pt x="222639" y="128923"/>
                    </a:cubicBezTo>
                    <a:cubicBezTo>
                      <a:pt x="250016" y="130985"/>
                      <a:pt x="247378" y="116554"/>
                      <a:pt x="267993" y="115524"/>
                    </a:cubicBezTo>
                    <a:cubicBezTo>
                      <a:pt x="288608" y="114493"/>
                      <a:pt x="318623" y="103154"/>
                      <a:pt x="319490" y="89796"/>
                    </a:cubicBezTo>
                    <a:cubicBezTo>
                      <a:pt x="319984" y="82704"/>
                      <a:pt x="336930" y="74747"/>
                      <a:pt x="351979" y="65429"/>
                    </a:cubicBezTo>
                    <a:cubicBezTo>
                      <a:pt x="338703" y="62204"/>
                      <a:pt x="328024" y="52330"/>
                      <a:pt x="323777" y="3933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</a:lstStyle>
              <a:p>
                <a:pPr marL="0" marR="0" lvl="0" indent="0" algn="l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44" name="Freeform: Shape 143">
                <a:extLst>
                  <a:ext uri="{FF2B5EF4-FFF2-40B4-BE49-F238E27FC236}">
                    <a16:creationId xmlns:a16="http://schemas.microsoft.com/office/drawing/2014/main" id="{8DBDF4B0-F92F-A91F-33F6-CF03A7BBE1D2}"/>
                  </a:ext>
                </a:extLst>
              </p:cNvPr>
              <p:cNvSpPr/>
              <p:nvPr>
                <p:custDataLst>
                  <p:tags r:id="rId409"/>
                </p:custDataLst>
              </p:nvPr>
            </p:nvSpPr>
            <p:spPr>
              <a:xfrm>
                <a:off x="7098471" y="1441143"/>
                <a:ext cx="466346" cy="307418"/>
              </a:xfrm>
              <a:custGeom>
                <a:avLst/>
                <a:gdLst>
                  <a:gd name="connsiteX0" fmla="*/ 516320 w 544543"/>
                  <a:gd name="connsiteY0" fmla="*/ 224684 h 358966"/>
                  <a:gd name="connsiteX1" fmla="*/ 483335 w 544543"/>
                  <a:gd name="connsiteY1" fmla="*/ 215407 h 358966"/>
                  <a:gd name="connsiteX2" fmla="*/ 476244 w 544543"/>
                  <a:gd name="connsiteY2" fmla="*/ 196895 h 358966"/>
                  <a:gd name="connsiteX3" fmla="*/ 445156 w 544543"/>
                  <a:gd name="connsiteY3" fmla="*/ 183536 h 358966"/>
                  <a:gd name="connsiteX4" fmla="*/ 422933 w 544543"/>
                  <a:gd name="connsiteY4" fmla="*/ 157808 h 358966"/>
                  <a:gd name="connsiteX5" fmla="*/ 414934 w 544543"/>
                  <a:gd name="connsiteY5" fmla="*/ 131050 h 358966"/>
                  <a:gd name="connsiteX6" fmla="*/ 386526 w 544543"/>
                  <a:gd name="connsiteY6" fmla="*/ 110435 h 358966"/>
                  <a:gd name="connsiteX7" fmla="*/ 365911 w 544543"/>
                  <a:gd name="connsiteY7" fmla="*/ 105281 h 358966"/>
                  <a:gd name="connsiteX8" fmla="*/ 349955 w 544543"/>
                  <a:gd name="connsiteY8" fmla="*/ 99096 h 358966"/>
                  <a:gd name="connsiteX9" fmla="*/ 312847 w 544543"/>
                  <a:gd name="connsiteY9" fmla="*/ 90850 h 358966"/>
                  <a:gd name="connsiteX10" fmla="*/ 296850 w 544543"/>
                  <a:gd name="connsiteY10" fmla="*/ 54856 h 358966"/>
                  <a:gd name="connsiteX11" fmla="*/ 263866 w 544543"/>
                  <a:gd name="connsiteY11" fmla="*/ 71348 h 358966"/>
                  <a:gd name="connsiteX12" fmla="*/ 274503 w 544543"/>
                  <a:gd name="connsiteY12" fmla="*/ 38364 h 358966"/>
                  <a:gd name="connsiteX13" fmla="*/ 232736 w 544543"/>
                  <a:gd name="connsiteY13" fmla="*/ 21872 h 358966"/>
                  <a:gd name="connsiteX14" fmla="*/ 211421 w 544543"/>
                  <a:gd name="connsiteY14" fmla="*/ 267 h 358966"/>
                  <a:gd name="connsiteX15" fmla="*/ 201649 w 544543"/>
                  <a:gd name="connsiteY15" fmla="*/ 22861 h 358966"/>
                  <a:gd name="connsiteX16" fmla="*/ 196330 w 544543"/>
                  <a:gd name="connsiteY16" fmla="*/ 44507 h 358966"/>
                  <a:gd name="connsiteX17" fmla="*/ 221068 w 544543"/>
                  <a:gd name="connsiteY17" fmla="*/ 114599 h 358966"/>
                  <a:gd name="connsiteX18" fmla="*/ 176663 w 544543"/>
                  <a:gd name="connsiteY18" fmla="*/ 55969 h 358966"/>
                  <a:gd name="connsiteX19" fmla="*/ 149121 w 544543"/>
                  <a:gd name="connsiteY19" fmla="*/ 32303 h 358966"/>
                  <a:gd name="connsiteX20" fmla="*/ 133124 w 544543"/>
                  <a:gd name="connsiteY20" fmla="*/ 69410 h 358966"/>
                  <a:gd name="connsiteX21" fmla="*/ 122486 w 544543"/>
                  <a:gd name="connsiteY21" fmla="*/ 77656 h 358966"/>
                  <a:gd name="connsiteX22" fmla="*/ 92264 w 544543"/>
                  <a:gd name="connsiteY22" fmla="*/ 49867 h 358966"/>
                  <a:gd name="connsiteX23" fmla="*/ 126032 w 544543"/>
                  <a:gd name="connsiteY23" fmla="*/ 35478 h 358966"/>
                  <a:gd name="connsiteX24" fmla="*/ 102943 w 544543"/>
                  <a:gd name="connsiteY24" fmla="*/ 26201 h 358966"/>
                  <a:gd name="connsiteX25" fmla="*/ 69175 w 544543"/>
                  <a:gd name="connsiteY25" fmla="*/ 32385 h 358966"/>
                  <a:gd name="connsiteX26" fmla="*/ 40768 w 544543"/>
                  <a:gd name="connsiteY26" fmla="*/ 29293 h 358966"/>
                  <a:gd name="connsiteX27" fmla="*/ 8773 w 544543"/>
                  <a:gd name="connsiteY27" fmla="*/ 45785 h 358966"/>
                  <a:gd name="connsiteX28" fmla="*/ 8773 w 544543"/>
                  <a:gd name="connsiteY28" fmla="*/ 92128 h 358966"/>
                  <a:gd name="connsiteX29" fmla="*/ 50539 w 544543"/>
                  <a:gd name="connsiteY29" fmla="*/ 88005 h 358966"/>
                  <a:gd name="connsiteX30" fmla="*/ 27450 w 544543"/>
                  <a:gd name="connsiteY30" fmla="*/ 133359 h 358966"/>
                  <a:gd name="connsiteX31" fmla="*/ 27038 w 544543"/>
                  <a:gd name="connsiteY31" fmla="*/ 140203 h 358966"/>
                  <a:gd name="connsiteX32" fmla="*/ 54786 w 544543"/>
                  <a:gd name="connsiteY32" fmla="*/ 173435 h 358966"/>
                  <a:gd name="connsiteX33" fmla="*/ 59775 w 544543"/>
                  <a:gd name="connsiteY33" fmla="*/ 177558 h 358966"/>
                  <a:gd name="connsiteX34" fmla="*/ 82204 w 544543"/>
                  <a:gd name="connsiteY34" fmla="*/ 193061 h 358966"/>
                  <a:gd name="connsiteX35" fmla="*/ 124259 w 544543"/>
                  <a:gd name="connsiteY35" fmla="*/ 188937 h 358966"/>
                  <a:gd name="connsiteX36" fmla="*/ 147390 w 544543"/>
                  <a:gd name="connsiteY36" fmla="*/ 152943 h 358966"/>
                  <a:gd name="connsiteX37" fmla="*/ 166891 w 544543"/>
                  <a:gd name="connsiteY37" fmla="*/ 132328 h 358966"/>
                  <a:gd name="connsiteX38" fmla="*/ 170437 w 544543"/>
                  <a:gd name="connsiteY38" fmla="*/ 160076 h 358966"/>
                  <a:gd name="connsiteX39" fmla="*/ 205071 w 544543"/>
                  <a:gd name="connsiteY39" fmla="*/ 155953 h 358966"/>
                  <a:gd name="connsiteX40" fmla="*/ 221068 w 544543"/>
                  <a:gd name="connsiteY40" fmla="*/ 171373 h 358966"/>
                  <a:gd name="connsiteX41" fmla="*/ 173076 w 544543"/>
                  <a:gd name="connsiteY41" fmla="*/ 197101 h 358966"/>
                  <a:gd name="connsiteX42" fmla="*/ 110034 w 544543"/>
                  <a:gd name="connsiteY42" fmla="*/ 221839 h 358966"/>
                  <a:gd name="connsiteX43" fmla="*/ 146441 w 544543"/>
                  <a:gd name="connsiteY43" fmla="*/ 238332 h 358966"/>
                  <a:gd name="connsiteX44" fmla="*/ 226428 w 544543"/>
                  <a:gd name="connsiteY44" fmla="*/ 234209 h 358966"/>
                  <a:gd name="connsiteX45" fmla="*/ 189980 w 544543"/>
                  <a:gd name="connsiteY45" fmla="*/ 244516 h 358966"/>
                  <a:gd name="connsiteX46" fmla="*/ 155347 w 544543"/>
                  <a:gd name="connsiteY46" fmla="*/ 261998 h 358966"/>
                  <a:gd name="connsiteX47" fmla="*/ 117497 w 544543"/>
                  <a:gd name="connsiteY47" fmla="*/ 267399 h 358966"/>
                  <a:gd name="connsiteX48" fmla="*/ 160995 w 544543"/>
                  <a:gd name="connsiteY48" fmla="*/ 299724 h 358966"/>
                  <a:gd name="connsiteX49" fmla="*/ 169777 w 544543"/>
                  <a:gd name="connsiteY49" fmla="*/ 313742 h 358966"/>
                  <a:gd name="connsiteX50" fmla="*/ 195299 w 544543"/>
                  <a:gd name="connsiteY50" fmla="*/ 313453 h 358966"/>
                  <a:gd name="connsiteX51" fmla="*/ 175756 w 544543"/>
                  <a:gd name="connsiteY51" fmla="*/ 330935 h 358966"/>
                  <a:gd name="connsiteX52" fmla="*/ 208740 w 544543"/>
                  <a:gd name="connsiteY52" fmla="*/ 353571 h 358966"/>
                  <a:gd name="connsiteX53" fmla="*/ 235375 w 544543"/>
                  <a:gd name="connsiteY53" fmla="*/ 344294 h 358966"/>
                  <a:gd name="connsiteX54" fmla="*/ 281554 w 544543"/>
                  <a:gd name="connsiteY54" fmla="*/ 260967 h 358966"/>
                  <a:gd name="connsiteX55" fmla="*/ 296685 w 544543"/>
                  <a:gd name="connsiteY55" fmla="*/ 221881 h 358966"/>
                  <a:gd name="connsiteX56" fmla="*/ 315321 w 544543"/>
                  <a:gd name="connsiteY56" fmla="*/ 204399 h 358966"/>
                  <a:gd name="connsiteX57" fmla="*/ 329545 w 544543"/>
                  <a:gd name="connsiteY57" fmla="*/ 165312 h 358966"/>
                  <a:gd name="connsiteX58" fmla="*/ 377538 w 544543"/>
                  <a:gd name="connsiteY58" fmla="*/ 148820 h 358966"/>
                  <a:gd name="connsiteX59" fmla="*/ 385495 w 544543"/>
                  <a:gd name="connsiteY59" fmla="*/ 159087 h 358966"/>
                  <a:gd name="connsiteX60" fmla="*/ 391721 w 544543"/>
                  <a:gd name="connsiteY60" fmla="*/ 194091 h 358966"/>
                  <a:gd name="connsiteX61" fmla="*/ 405946 w 544543"/>
                  <a:gd name="connsiteY61" fmla="*/ 210583 h 358966"/>
                  <a:gd name="connsiteX62" fmla="*/ 398813 w 544543"/>
                  <a:gd name="connsiteY62" fmla="*/ 254824 h 358966"/>
                  <a:gd name="connsiteX63" fmla="*/ 437034 w 544543"/>
                  <a:gd name="connsiteY63" fmla="*/ 264101 h 358966"/>
                  <a:gd name="connsiteX64" fmla="*/ 456453 w 544543"/>
                  <a:gd name="connsiteY64" fmla="*/ 262658 h 358966"/>
                  <a:gd name="connsiteX65" fmla="*/ 487252 w 544543"/>
                  <a:gd name="connsiteY65" fmla="*/ 275728 h 358966"/>
                  <a:gd name="connsiteX66" fmla="*/ 490963 w 544543"/>
                  <a:gd name="connsiteY66" fmla="*/ 279851 h 358966"/>
                  <a:gd name="connsiteX67" fmla="*/ 509887 w 544543"/>
                  <a:gd name="connsiteY67" fmla="*/ 260101 h 358966"/>
                  <a:gd name="connsiteX68" fmla="*/ 544521 w 544543"/>
                  <a:gd name="connsiteY68" fmla="*/ 233343 h 358966"/>
                  <a:gd name="connsiteX69" fmla="*/ 516320 w 544543"/>
                  <a:gd name="connsiteY69" fmla="*/ 224684 h 3589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</a:cxnLst>
                <a:rect l="l" t="t" r="r" b="b"/>
                <a:pathLst>
                  <a:path w="544543" h="358966">
                    <a:moveTo>
                      <a:pt x="516320" y="224684"/>
                    </a:moveTo>
                    <a:cubicBezTo>
                      <a:pt x="503950" y="230869"/>
                      <a:pt x="472780" y="226746"/>
                      <a:pt x="483335" y="215407"/>
                    </a:cubicBezTo>
                    <a:cubicBezTo>
                      <a:pt x="493891" y="204069"/>
                      <a:pt x="492241" y="194792"/>
                      <a:pt x="476244" y="196895"/>
                    </a:cubicBezTo>
                    <a:cubicBezTo>
                      <a:pt x="460246" y="198998"/>
                      <a:pt x="431838" y="189680"/>
                      <a:pt x="445156" y="183536"/>
                    </a:cubicBezTo>
                    <a:cubicBezTo>
                      <a:pt x="458473" y="177393"/>
                      <a:pt x="435384" y="156778"/>
                      <a:pt x="422933" y="157808"/>
                    </a:cubicBezTo>
                    <a:cubicBezTo>
                      <a:pt x="410481" y="158839"/>
                      <a:pt x="414068" y="142347"/>
                      <a:pt x="414934" y="131050"/>
                    </a:cubicBezTo>
                    <a:cubicBezTo>
                      <a:pt x="415800" y="119753"/>
                      <a:pt x="379393" y="114558"/>
                      <a:pt x="386526" y="110435"/>
                    </a:cubicBezTo>
                    <a:cubicBezTo>
                      <a:pt x="393659" y="106312"/>
                      <a:pt x="371394" y="97035"/>
                      <a:pt x="365911" y="105281"/>
                    </a:cubicBezTo>
                    <a:cubicBezTo>
                      <a:pt x="360427" y="113527"/>
                      <a:pt x="349955" y="111424"/>
                      <a:pt x="349955" y="99096"/>
                    </a:cubicBezTo>
                    <a:cubicBezTo>
                      <a:pt x="349955" y="86768"/>
                      <a:pt x="323279" y="89861"/>
                      <a:pt x="312847" y="90850"/>
                    </a:cubicBezTo>
                    <a:cubicBezTo>
                      <a:pt x="302416" y="91840"/>
                      <a:pt x="307487" y="64133"/>
                      <a:pt x="296850" y="54856"/>
                    </a:cubicBezTo>
                    <a:cubicBezTo>
                      <a:pt x="286212" y="45579"/>
                      <a:pt x="272112" y="73369"/>
                      <a:pt x="263866" y="71348"/>
                    </a:cubicBezTo>
                    <a:cubicBezTo>
                      <a:pt x="255619" y="69328"/>
                      <a:pt x="270050" y="50733"/>
                      <a:pt x="274503" y="38364"/>
                    </a:cubicBezTo>
                    <a:cubicBezTo>
                      <a:pt x="278956" y="25995"/>
                      <a:pt x="237190" y="9503"/>
                      <a:pt x="232736" y="21872"/>
                    </a:cubicBezTo>
                    <a:cubicBezTo>
                      <a:pt x="228284" y="34241"/>
                      <a:pt x="220367" y="3318"/>
                      <a:pt x="211421" y="267"/>
                    </a:cubicBezTo>
                    <a:cubicBezTo>
                      <a:pt x="202473" y="-2784"/>
                      <a:pt x="209647" y="20882"/>
                      <a:pt x="201649" y="22861"/>
                    </a:cubicBezTo>
                    <a:cubicBezTo>
                      <a:pt x="193650" y="24840"/>
                      <a:pt x="183013" y="34200"/>
                      <a:pt x="196330" y="44507"/>
                    </a:cubicBezTo>
                    <a:cubicBezTo>
                      <a:pt x="209647" y="54815"/>
                      <a:pt x="222965" y="106353"/>
                      <a:pt x="221068" y="114599"/>
                    </a:cubicBezTo>
                    <a:cubicBezTo>
                      <a:pt x="219172" y="122845"/>
                      <a:pt x="178436" y="77492"/>
                      <a:pt x="176663" y="55969"/>
                    </a:cubicBezTo>
                    <a:cubicBezTo>
                      <a:pt x="174890" y="34447"/>
                      <a:pt x="154481" y="16883"/>
                      <a:pt x="149121" y="32303"/>
                    </a:cubicBezTo>
                    <a:cubicBezTo>
                      <a:pt x="143761" y="47723"/>
                      <a:pt x="128506" y="53908"/>
                      <a:pt x="133124" y="69410"/>
                    </a:cubicBezTo>
                    <a:cubicBezTo>
                      <a:pt x="137742" y="84913"/>
                      <a:pt x="122486" y="90026"/>
                      <a:pt x="122486" y="77656"/>
                    </a:cubicBezTo>
                    <a:cubicBezTo>
                      <a:pt x="122486" y="65287"/>
                      <a:pt x="100263" y="50898"/>
                      <a:pt x="92264" y="49867"/>
                    </a:cubicBezTo>
                    <a:cubicBezTo>
                      <a:pt x="84265" y="48836"/>
                      <a:pt x="112880" y="42693"/>
                      <a:pt x="126032" y="35478"/>
                    </a:cubicBezTo>
                    <a:cubicBezTo>
                      <a:pt x="139185" y="28262"/>
                      <a:pt x="114488" y="17996"/>
                      <a:pt x="102943" y="26201"/>
                    </a:cubicBezTo>
                    <a:cubicBezTo>
                      <a:pt x="91398" y="34406"/>
                      <a:pt x="76308" y="21088"/>
                      <a:pt x="69175" y="32385"/>
                    </a:cubicBezTo>
                    <a:cubicBezTo>
                      <a:pt x="62042" y="43683"/>
                      <a:pt x="53219" y="32385"/>
                      <a:pt x="40768" y="29293"/>
                    </a:cubicBezTo>
                    <a:cubicBezTo>
                      <a:pt x="28316" y="26201"/>
                      <a:pt x="17637" y="49908"/>
                      <a:pt x="8773" y="45785"/>
                    </a:cubicBezTo>
                    <a:cubicBezTo>
                      <a:pt x="-92" y="41662"/>
                      <a:pt x="-5452" y="66401"/>
                      <a:pt x="8773" y="92128"/>
                    </a:cubicBezTo>
                    <a:cubicBezTo>
                      <a:pt x="22997" y="117856"/>
                      <a:pt x="33511" y="83882"/>
                      <a:pt x="50539" y="88005"/>
                    </a:cubicBezTo>
                    <a:cubicBezTo>
                      <a:pt x="67567" y="92128"/>
                      <a:pt x="32727" y="113733"/>
                      <a:pt x="27450" y="133359"/>
                    </a:cubicBezTo>
                    <a:cubicBezTo>
                      <a:pt x="26832" y="135585"/>
                      <a:pt x="26667" y="137919"/>
                      <a:pt x="27038" y="140203"/>
                    </a:cubicBezTo>
                    <a:cubicBezTo>
                      <a:pt x="37510" y="150185"/>
                      <a:pt x="46828" y="161334"/>
                      <a:pt x="54786" y="173435"/>
                    </a:cubicBezTo>
                    <a:lnTo>
                      <a:pt x="59775" y="177558"/>
                    </a:lnTo>
                    <a:cubicBezTo>
                      <a:pt x="68887" y="179854"/>
                      <a:pt x="76844" y="185359"/>
                      <a:pt x="82204" y="193061"/>
                    </a:cubicBezTo>
                    <a:cubicBezTo>
                      <a:pt x="97129" y="197184"/>
                      <a:pt x="115972" y="194751"/>
                      <a:pt x="124259" y="188937"/>
                    </a:cubicBezTo>
                    <a:cubicBezTo>
                      <a:pt x="135804" y="180691"/>
                      <a:pt x="132258" y="151830"/>
                      <a:pt x="147390" y="152943"/>
                    </a:cubicBezTo>
                    <a:cubicBezTo>
                      <a:pt x="162521" y="154056"/>
                      <a:pt x="154481" y="137482"/>
                      <a:pt x="166891" y="132328"/>
                    </a:cubicBezTo>
                    <a:cubicBezTo>
                      <a:pt x="179302" y="127174"/>
                      <a:pt x="181116" y="145687"/>
                      <a:pt x="170437" y="160076"/>
                    </a:cubicBezTo>
                    <a:cubicBezTo>
                      <a:pt x="159759" y="174466"/>
                      <a:pt x="189115" y="173476"/>
                      <a:pt x="205071" y="155953"/>
                    </a:cubicBezTo>
                    <a:cubicBezTo>
                      <a:pt x="221027" y="138430"/>
                      <a:pt x="224655" y="154922"/>
                      <a:pt x="221068" y="171373"/>
                    </a:cubicBezTo>
                    <a:cubicBezTo>
                      <a:pt x="217481" y="187824"/>
                      <a:pt x="184662" y="178547"/>
                      <a:pt x="173076" y="197101"/>
                    </a:cubicBezTo>
                    <a:cubicBezTo>
                      <a:pt x="161490" y="215655"/>
                      <a:pt x="126032" y="201224"/>
                      <a:pt x="110034" y="221839"/>
                    </a:cubicBezTo>
                    <a:cubicBezTo>
                      <a:pt x="94037" y="242455"/>
                      <a:pt x="124259" y="243444"/>
                      <a:pt x="146441" y="238332"/>
                    </a:cubicBezTo>
                    <a:cubicBezTo>
                      <a:pt x="168623" y="233219"/>
                      <a:pt x="210431" y="230085"/>
                      <a:pt x="226428" y="234209"/>
                    </a:cubicBezTo>
                    <a:cubicBezTo>
                      <a:pt x="242425" y="238332"/>
                      <a:pt x="216656" y="244516"/>
                      <a:pt x="189980" y="244516"/>
                    </a:cubicBezTo>
                    <a:cubicBezTo>
                      <a:pt x="163304" y="244516"/>
                      <a:pt x="154481" y="253752"/>
                      <a:pt x="155347" y="261998"/>
                    </a:cubicBezTo>
                    <a:cubicBezTo>
                      <a:pt x="156172" y="269543"/>
                      <a:pt x="124259" y="255566"/>
                      <a:pt x="117497" y="267399"/>
                    </a:cubicBezTo>
                    <a:cubicBezTo>
                      <a:pt x="132794" y="277459"/>
                      <a:pt x="149657" y="286571"/>
                      <a:pt x="160995" y="299724"/>
                    </a:cubicBezTo>
                    <a:cubicBezTo>
                      <a:pt x="164624" y="303909"/>
                      <a:pt x="167593" y="308638"/>
                      <a:pt x="169777" y="313742"/>
                    </a:cubicBezTo>
                    <a:cubicBezTo>
                      <a:pt x="178725" y="313495"/>
                      <a:pt x="189568" y="311021"/>
                      <a:pt x="195299" y="313453"/>
                    </a:cubicBezTo>
                    <a:cubicBezTo>
                      <a:pt x="205071" y="317577"/>
                      <a:pt x="179302" y="325823"/>
                      <a:pt x="175756" y="330935"/>
                    </a:cubicBezTo>
                    <a:cubicBezTo>
                      <a:pt x="172210" y="336048"/>
                      <a:pt x="203339" y="343304"/>
                      <a:pt x="208740" y="353571"/>
                    </a:cubicBezTo>
                    <a:cubicBezTo>
                      <a:pt x="214141" y="363837"/>
                      <a:pt x="236282" y="358725"/>
                      <a:pt x="235375" y="344294"/>
                    </a:cubicBezTo>
                    <a:cubicBezTo>
                      <a:pt x="234262" y="326400"/>
                      <a:pt x="254918" y="272305"/>
                      <a:pt x="281554" y="260967"/>
                    </a:cubicBezTo>
                    <a:cubicBezTo>
                      <a:pt x="308188" y="249629"/>
                      <a:pt x="293139" y="239362"/>
                      <a:pt x="296685" y="221881"/>
                    </a:cubicBezTo>
                    <a:cubicBezTo>
                      <a:pt x="300231" y="204399"/>
                      <a:pt x="321423" y="218788"/>
                      <a:pt x="315321" y="204399"/>
                    </a:cubicBezTo>
                    <a:cubicBezTo>
                      <a:pt x="309219" y="190009"/>
                      <a:pt x="312682" y="183784"/>
                      <a:pt x="329545" y="165312"/>
                    </a:cubicBezTo>
                    <a:cubicBezTo>
                      <a:pt x="346409" y="146841"/>
                      <a:pt x="357088" y="160117"/>
                      <a:pt x="377538" y="148820"/>
                    </a:cubicBezTo>
                    <a:cubicBezTo>
                      <a:pt x="397988" y="137523"/>
                      <a:pt x="407719" y="157066"/>
                      <a:pt x="385495" y="159087"/>
                    </a:cubicBezTo>
                    <a:cubicBezTo>
                      <a:pt x="366035" y="160942"/>
                      <a:pt x="375724" y="186876"/>
                      <a:pt x="391721" y="194091"/>
                    </a:cubicBezTo>
                    <a:cubicBezTo>
                      <a:pt x="407719" y="201307"/>
                      <a:pt x="393494" y="207450"/>
                      <a:pt x="405946" y="210583"/>
                    </a:cubicBezTo>
                    <a:cubicBezTo>
                      <a:pt x="418397" y="213717"/>
                      <a:pt x="414810" y="235322"/>
                      <a:pt x="398813" y="254824"/>
                    </a:cubicBezTo>
                    <a:cubicBezTo>
                      <a:pt x="382815" y="274326"/>
                      <a:pt x="403266" y="278490"/>
                      <a:pt x="437034" y="264101"/>
                    </a:cubicBezTo>
                    <a:cubicBezTo>
                      <a:pt x="450145" y="258493"/>
                      <a:pt x="454886" y="259153"/>
                      <a:pt x="456453" y="262658"/>
                    </a:cubicBezTo>
                    <a:cubicBezTo>
                      <a:pt x="468121" y="262278"/>
                      <a:pt x="479419" y="267057"/>
                      <a:pt x="487252" y="275728"/>
                    </a:cubicBezTo>
                    <a:cubicBezTo>
                      <a:pt x="488448" y="277129"/>
                      <a:pt x="489726" y="278366"/>
                      <a:pt x="490963" y="279851"/>
                    </a:cubicBezTo>
                    <a:cubicBezTo>
                      <a:pt x="498096" y="274115"/>
                      <a:pt x="504445" y="267473"/>
                      <a:pt x="509887" y="260101"/>
                    </a:cubicBezTo>
                    <a:cubicBezTo>
                      <a:pt x="524112" y="240558"/>
                      <a:pt x="545346" y="243815"/>
                      <a:pt x="544521" y="233343"/>
                    </a:cubicBezTo>
                    <a:cubicBezTo>
                      <a:pt x="543903" y="221551"/>
                      <a:pt x="528689" y="218459"/>
                      <a:pt x="516320" y="224684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</a:lstStyle>
              <a:p>
                <a:pPr marL="0" marR="0" lvl="0" indent="0" algn="l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45" name="Freeform: Shape 144">
                <a:extLst>
                  <a:ext uri="{FF2B5EF4-FFF2-40B4-BE49-F238E27FC236}">
                    <a16:creationId xmlns:a16="http://schemas.microsoft.com/office/drawing/2014/main" id="{086AEE88-B3B0-1D1C-09B2-DC97650E821A}"/>
                  </a:ext>
                </a:extLst>
              </p:cNvPr>
              <p:cNvSpPr/>
              <p:nvPr>
                <p:custDataLst>
                  <p:tags r:id="rId410"/>
                </p:custDataLst>
              </p:nvPr>
            </p:nvSpPr>
            <p:spPr>
              <a:xfrm>
                <a:off x="8196311" y="3906151"/>
                <a:ext cx="114898" cy="113221"/>
              </a:xfrm>
              <a:custGeom>
                <a:avLst/>
                <a:gdLst>
                  <a:gd name="connsiteX0" fmla="*/ 126084 w 134164"/>
                  <a:gd name="connsiteY0" fmla="*/ 102682 h 132206"/>
                  <a:gd name="connsiteX1" fmla="*/ 101345 w 134164"/>
                  <a:gd name="connsiteY1" fmla="*/ 68419 h 132206"/>
                  <a:gd name="connsiteX2" fmla="*/ 87121 w 134164"/>
                  <a:gd name="connsiteY2" fmla="*/ 31312 h 132206"/>
                  <a:gd name="connsiteX3" fmla="*/ 76112 w 134164"/>
                  <a:gd name="connsiteY3" fmla="*/ 4347 h 132206"/>
                  <a:gd name="connsiteX4" fmla="*/ 40572 w 134164"/>
                  <a:gd name="connsiteY4" fmla="*/ 224 h 132206"/>
                  <a:gd name="connsiteX5" fmla="*/ 1 w 134164"/>
                  <a:gd name="connsiteY5" fmla="*/ 9748 h 132206"/>
                  <a:gd name="connsiteX6" fmla="*/ 8948 w 134164"/>
                  <a:gd name="connsiteY6" fmla="*/ 46443 h 132206"/>
                  <a:gd name="connsiteX7" fmla="*/ 39747 w 134164"/>
                  <a:gd name="connsiteY7" fmla="*/ 61533 h 132206"/>
                  <a:gd name="connsiteX8" fmla="*/ 47086 w 134164"/>
                  <a:gd name="connsiteY8" fmla="*/ 78603 h 132206"/>
                  <a:gd name="connsiteX9" fmla="*/ 50797 w 134164"/>
                  <a:gd name="connsiteY9" fmla="*/ 78603 h 132206"/>
                  <a:gd name="connsiteX10" fmla="*/ 61393 w 134164"/>
                  <a:gd name="connsiteY10" fmla="*/ 88869 h 132206"/>
                  <a:gd name="connsiteX11" fmla="*/ 80936 w 134164"/>
                  <a:gd name="connsiteY11" fmla="*/ 99548 h 132206"/>
                  <a:gd name="connsiteX12" fmla="*/ 99737 w 134164"/>
                  <a:gd name="connsiteY12" fmla="*/ 107464 h 132206"/>
                  <a:gd name="connsiteX13" fmla="*/ 108313 w 134164"/>
                  <a:gd name="connsiteY13" fmla="*/ 132203 h 132206"/>
                  <a:gd name="connsiteX14" fmla="*/ 134165 w 134164"/>
                  <a:gd name="connsiteY14" fmla="*/ 125853 h 132206"/>
                  <a:gd name="connsiteX15" fmla="*/ 126084 w 134164"/>
                  <a:gd name="connsiteY15" fmla="*/ 102682 h 132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34164" h="132206">
                    <a:moveTo>
                      <a:pt x="126084" y="102682"/>
                    </a:moveTo>
                    <a:cubicBezTo>
                      <a:pt x="126084" y="91714"/>
                      <a:pt x="101345" y="82066"/>
                      <a:pt x="101345" y="68419"/>
                    </a:cubicBezTo>
                    <a:cubicBezTo>
                      <a:pt x="101345" y="54772"/>
                      <a:pt x="84853" y="42320"/>
                      <a:pt x="87121" y="31312"/>
                    </a:cubicBezTo>
                    <a:cubicBezTo>
                      <a:pt x="88770" y="23725"/>
                      <a:pt x="80400" y="13005"/>
                      <a:pt x="76112" y="4347"/>
                    </a:cubicBezTo>
                    <a:cubicBezTo>
                      <a:pt x="64609" y="801"/>
                      <a:pt x="52569" y="-597"/>
                      <a:pt x="40572" y="224"/>
                    </a:cubicBezTo>
                    <a:cubicBezTo>
                      <a:pt x="25728" y="2244"/>
                      <a:pt x="14638" y="7109"/>
                      <a:pt x="1" y="9748"/>
                    </a:cubicBezTo>
                    <a:cubicBezTo>
                      <a:pt x="7835" y="23478"/>
                      <a:pt x="2310" y="27271"/>
                      <a:pt x="8948" y="46443"/>
                    </a:cubicBezTo>
                    <a:cubicBezTo>
                      <a:pt x="16040" y="67058"/>
                      <a:pt x="33686" y="56091"/>
                      <a:pt x="39747" y="61533"/>
                    </a:cubicBezTo>
                    <a:cubicBezTo>
                      <a:pt x="43169" y="66745"/>
                      <a:pt x="45684" y="72526"/>
                      <a:pt x="47086" y="78603"/>
                    </a:cubicBezTo>
                    <a:cubicBezTo>
                      <a:pt x="48322" y="78376"/>
                      <a:pt x="49560" y="78376"/>
                      <a:pt x="50797" y="78603"/>
                    </a:cubicBezTo>
                    <a:cubicBezTo>
                      <a:pt x="56116" y="79502"/>
                      <a:pt x="60321" y="83584"/>
                      <a:pt x="61393" y="88869"/>
                    </a:cubicBezTo>
                    <a:cubicBezTo>
                      <a:pt x="69639" y="91055"/>
                      <a:pt x="77101" y="97528"/>
                      <a:pt x="80936" y="99548"/>
                    </a:cubicBezTo>
                    <a:cubicBezTo>
                      <a:pt x="86090" y="102146"/>
                      <a:pt x="89512" y="94229"/>
                      <a:pt x="99737" y="107464"/>
                    </a:cubicBezTo>
                    <a:cubicBezTo>
                      <a:pt x="108684" y="118967"/>
                      <a:pt x="109385" y="121895"/>
                      <a:pt x="108313" y="132203"/>
                    </a:cubicBezTo>
                    <a:cubicBezTo>
                      <a:pt x="117301" y="132166"/>
                      <a:pt x="126166" y="129989"/>
                      <a:pt x="134165" y="125853"/>
                    </a:cubicBezTo>
                    <a:cubicBezTo>
                      <a:pt x="130000" y="117525"/>
                      <a:pt x="126084" y="108000"/>
                      <a:pt x="126084" y="10268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</a:lstStyle>
              <a:p>
                <a:pPr marL="0" marR="0" lvl="0" indent="0" algn="l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46" name="Freeform: Shape 145">
                <a:extLst>
                  <a:ext uri="{FF2B5EF4-FFF2-40B4-BE49-F238E27FC236}">
                    <a16:creationId xmlns:a16="http://schemas.microsoft.com/office/drawing/2014/main" id="{A19CDC53-17D7-B589-321A-37E578E26F76}"/>
                  </a:ext>
                </a:extLst>
              </p:cNvPr>
              <p:cNvSpPr/>
              <p:nvPr>
                <p:custDataLst>
                  <p:tags r:id="rId411"/>
                </p:custDataLst>
              </p:nvPr>
            </p:nvSpPr>
            <p:spPr>
              <a:xfrm>
                <a:off x="8248786" y="3879686"/>
                <a:ext cx="164518" cy="161506"/>
              </a:xfrm>
              <a:custGeom>
                <a:avLst/>
                <a:gdLst>
                  <a:gd name="connsiteX0" fmla="*/ 188011 w 192105"/>
                  <a:gd name="connsiteY0" fmla="*/ 62295 h 188588"/>
                  <a:gd name="connsiteX1" fmla="*/ 152223 w 192105"/>
                  <a:gd name="connsiteY1" fmla="*/ 8695 h 188588"/>
                  <a:gd name="connsiteX2" fmla="*/ 126413 w 192105"/>
                  <a:gd name="connsiteY2" fmla="*/ 30630 h 188588"/>
                  <a:gd name="connsiteX3" fmla="*/ 108642 w 192105"/>
                  <a:gd name="connsiteY3" fmla="*/ 30630 h 188588"/>
                  <a:gd name="connsiteX4" fmla="*/ 78421 w 192105"/>
                  <a:gd name="connsiteY4" fmla="*/ 5892 h 188588"/>
                  <a:gd name="connsiteX5" fmla="*/ 65763 w 192105"/>
                  <a:gd name="connsiteY5" fmla="*/ -4 h 188588"/>
                  <a:gd name="connsiteX6" fmla="*/ 57723 w 192105"/>
                  <a:gd name="connsiteY6" fmla="*/ 16859 h 188588"/>
                  <a:gd name="connsiteX7" fmla="*/ 70752 w 192105"/>
                  <a:gd name="connsiteY7" fmla="*/ 37474 h 188588"/>
                  <a:gd name="connsiteX8" fmla="*/ 39953 w 192105"/>
                  <a:gd name="connsiteY8" fmla="*/ 34712 h 188588"/>
                  <a:gd name="connsiteX9" fmla="*/ 12699 w 192105"/>
                  <a:gd name="connsiteY9" fmla="*/ 25146 h 188588"/>
                  <a:gd name="connsiteX10" fmla="*/ 25728 w 192105"/>
                  <a:gd name="connsiteY10" fmla="*/ 62254 h 188588"/>
                  <a:gd name="connsiteX11" fmla="*/ 39953 w 192105"/>
                  <a:gd name="connsiteY11" fmla="*/ 99361 h 188588"/>
                  <a:gd name="connsiteX12" fmla="*/ 64691 w 192105"/>
                  <a:gd name="connsiteY12" fmla="*/ 133624 h 188588"/>
                  <a:gd name="connsiteX13" fmla="*/ 72648 w 192105"/>
                  <a:gd name="connsiteY13" fmla="*/ 156795 h 188588"/>
                  <a:gd name="connsiteX14" fmla="*/ 120600 w 192105"/>
                  <a:gd name="connsiteY14" fmla="*/ 122409 h 188588"/>
                  <a:gd name="connsiteX15" fmla="*/ 128516 w 192105"/>
                  <a:gd name="connsiteY15" fmla="*/ 164547 h 188588"/>
                  <a:gd name="connsiteX16" fmla="*/ 157377 w 192105"/>
                  <a:gd name="connsiteY16" fmla="*/ 188584 h 188588"/>
                  <a:gd name="connsiteX17" fmla="*/ 164386 w 192105"/>
                  <a:gd name="connsiteY17" fmla="*/ 161083 h 188588"/>
                  <a:gd name="connsiteX18" fmla="*/ 188011 w 192105"/>
                  <a:gd name="connsiteY18" fmla="*/ 62295 h 188588"/>
                  <a:gd name="connsiteX19" fmla="*/ 19544 w 192105"/>
                  <a:gd name="connsiteY19" fmla="*/ 130490 h 188588"/>
                  <a:gd name="connsiteX20" fmla="*/ 1 w 192105"/>
                  <a:gd name="connsiteY20" fmla="*/ 119811 h 188588"/>
                  <a:gd name="connsiteX21" fmla="*/ 13153 w 192105"/>
                  <a:gd name="connsiteY21" fmla="*/ 144550 h 188588"/>
                  <a:gd name="connsiteX22" fmla="*/ 40076 w 192105"/>
                  <a:gd name="connsiteY22" fmla="*/ 162856 h 188588"/>
                  <a:gd name="connsiteX23" fmla="*/ 46920 w 192105"/>
                  <a:gd name="connsiteY23" fmla="*/ 163310 h 188588"/>
                  <a:gd name="connsiteX24" fmla="*/ 38345 w 192105"/>
                  <a:gd name="connsiteY24" fmla="*/ 138571 h 188588"/>
                  <a:gd name="connsiteX25" fmla="*/ 19544 w 192105"/>
                  <a:gd name="connsiteY25" fmla="*/ 130490 h 1885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92105" h="188588">
                    <a:moveTo>
                      <a:pt x="188011" y="62295"/>
                    </a:moveTo>
                    <a:cubicBezTo>
                      <a:pt x="183146" y="52029"/>
                      <a:pt x="168097" y="31249"/>
                      <a:pt x="152223" y="8695"/>
                    </a:cubicBezTo>
                    <a:cubicBezTo>
                      <a:pt x="147317" y="25641"/>
                      <a:pt x="129794" y="21064"/>
                      <a:pt x="126413" y="30630"/>
                    </a:cubicBezTo>
                    <a:cubicBezTo>
                      <a:pt x="123032" y="40195"/>
                      <a:pt x="114044" y="28568"/>
                      <a:pt x="108642" y="30630"/>
                    </a:cubicBezTo>
                    <a:cubicBezTo>
                      <a:pt x="103242" y="32692"/>
                      <a:pt x="90873" y="7994"/>
                      <a:pt x="78421" y="5892"/>
                    </a:cubicBezTo>
                    <a:cubicBezTo>
                      <a:pt x="73885" y="4745"/>
                      <a:pt x="69556" y="2746"/>
                      <a:pt x="65763" y="-4"/>
                    </a:cubicBezTo>
                    <a:cubicBezTo>
                      <a:pt x="60609" y="6345"/>
                      <a:pt x="55951" y="13437"/>
                      <a:pt x="57723" y="16859"/>
                    </a:cubicBezTo>
                    <a:cubicBezTo>
                      <a:pt x="61268" y="23703"/>
                      <a:pt x="76647" y="30589"/>
                      <a:pt x="70752" y="37474"/>
                    </a:cubicBezTo>
                    <a:cubicBezTo>
                      <a:pt x="64856" y="44360"/>
                      <a:pt x="46013" y="41597"/>
                      <a:pt x="39953" y="34712"/>
                    </a:cubicBezTo>
                    <a:cubicBezTo>
                      <a:pt x="33892" y="27826"/>
                      <a:pt x="16245" y="16900"/>
                      <a:pt x="12699" y="25146"/>
                    </a:cubicBezTo>
                    <a:cubicBezTo>
                      <a:pt x="9154" y="33392"/>
                      <a:pt x="28120" y="51204"/>
                      <a:pt x="25728" y="62254"/>
                    </a:cubicBezTo>
                    <a:cubicBezTo>
                      <a:pt x="23337" y="73304"/>
                      <a:pt x="39953" y="85549"/>
                      <a:pt x="39953" y="99361"/>
                    </a:cubicBezTo>
                    <a:cubicBezTo>
                      <a:pt x="39953" y="113173"/>
                      <a:pt x="64691" y="122656"/>
                      <a:pt x="64691" y="133624"/>
                    </a:cubicBezTo>
                    <a:cubicBezTo>
                      <a:pt x="64691" y="138942"/>
                      <a:pt x="68608" y="148467"/>
                      <a:pt x="72648" y="156795"/>
                    </a:cubicBezTo>
                    <a:cubicBezTo>
                      <a:pt x="92067" y="147271"/>
                      <a:pt x="108024" y="129666"/>
                      <a:pt x="120600" y="122409"/>
                    </a:cubicBezTo>
                    <a:cubicBezTo>
                      <a:pt x="139565" y="111401"/>
                      <a:pt x="131649" y="157249"/>
                      <a:pt x="128516" y="164547"/>
                    </a:cubicBezTo>
                    <a:cubicBezTo>
                      <a:pt x="126330" y="169618"/>
                      <a:pt x="141380" y="181616"/>
                      <a:pt x="157377" y="188584"/>
                    </a:cubicBezTo>
                    <a:cubicBezTo>
                      <a:pt x="156552" y="178891"/>
                      <a:pt x="159027" y="169201"/>
                      <a:pt x="164386" y="161083"/>
                    </a:cubicBezTo>
                    <a:cubicBezTo>
                      <a:pt x="184466" y="132222"/>
                      <a:pt x="199762" y="86992"/>
                      <a:pt x="188011" y="62295"/>
                    </a:cubicBezTo>
                    <a:close/>
                    <a:moveTo>
                      <a:pt x="19544" y="130490"/>
                    </a:moveTo>
                    <a:cubicBezTo>
                      <a:pt x="15710" y="128470"/>
                      <a:pt x="8288" y="121997"/>
                      <a:pt x="1" y="119811"/>
                    </a:cubicBezTo>
                    <a:cubicBezTo>
                      <a:pt x="2515" y="128058"/>
                      <a:pt x="2310" y="138613"/>
                      <a:pt x="13153" y="144550"/>
                    </a:cubicBezTo>
                    <a:cubicBezTo>
                      <a:pt x="30552" y="153703"/>
                      <a:pt x="5237" y="157372"/>
                      <a:pt x="40076" y="162856"/>
                    </a:cubicBezTo>
                    <a:cubicBezTo>
                      <a:pt x="42344" y="163190"/>
                      <a:pt x="44612" y="163343"/>
                      <a:pt x="46920" y="163310"/>
                    </a:cubicBezTo>
                    <a:cubicBezTo>
                      <a:pt x="47992" y="153043"/>
                      <a:pt x="47292" y="150116"/>
                      <a:pt x="38345" y="138571"/>
                    </a:cubicBezTo>
                    <a:cubicBezTo>
                      <a:pt x="28120" y="125171"/>
                      <a:pt x="24698" y="133088"/>
                      <a:pt x="19544" y="13049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</a:lstStyle>
              <a:p>
                <a:pPr marL="0" marR="0" lvl="0" indent="0" algn="l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47" name="Turkey">
                <a:extLst>
                  <a:ext uri="{FF2B5EF4-FFF2-40B4-BE49-F238E27FC236}">
                    <a16:creationId xmlns:a16="http://schemas.microsoft.com/office/drawing/2014/main" id="{36F20B96-003B-01AF-D96A-603FB3EC1753}"/>
                  </a:ext>
                </a:extLst>
              </p:cNvPr>
              <p:cNvSpPr/>
              <p:nvPr>
                <p:custDataLst>
                  <p:tags r:id="rId412"/>
                </p:custDataLst>
              </p:nvPr>
            </p:nvSpPr>
            <p:spPr>
              <a:xfrm>
                <a:off x="7605688" y="3867716"/>
                <a:ext cx="639206" cy="290422"/>
              </a:xfrm>
              <a:custGeom>
                <a:avLst/>
                <a:gdLst>
                  <a:gd name="connsiteX0" fmla="*/ 727718 w 746390"/>
                  <a:gd name="connsiteY0" fmla="*/ 235216 h 339120"/>
                  <a:gd name="connsiteX1" fmla="*/ 727718 w 746390"/>
                  <a:gd name="connsiteY1" fmla="*/ 185739 h 339120"/>
                  <a:gd name="connsiteX2" fmla="*/ 726151 w 746390"/>
                  <a:gd name="connsiteY2" fmla="*/ 147271 h 339120"/>
                  <a:gd name="connsiteX3" fmla="*/ 736624 w 746390"/>
                  <a:gd name="connsiteY3" fmla="*/ 123440 h 339120"/>
                  <a:gd name="connsiteX4" fmla="*/ 729285 w 746390"/>
                  <a:gd name="connsiteY4" fmla="*/ 106371 h 339120"/>
                  <a:gd name="connsiteX5" fmla="*/ 698486 w 746390"/>
                  <a:gd name="connsiteY5" fmla="*/ 91280 h 339120"/>
                  <a:gd name="connsiteX6" fmla="*/ 687807 w 746390"/>
                  <a:gd name="connsiteY6" fmla="*/ 51493 h 339120"/>
                  <a:gd name="connsiteX7" fmla="*/ 659400 w 746390"/>
                  <a:gd name="connsiteY7" fmla="*/ 25435 h 339120"/>
                  <a:gd name="connsiteX8" fmla="*/ 617550 w 746390"/>
                  <a:gd name="connsiteY8" fmla="*/ 26878 h 339120"/>
                  <a:gd name="connsiteX9" fmla="*/ 543335 w 746390"/>
                  <a:gd name="connsiteY9" fmla="*/ 55739 h 339120"/>
                  <a:gd name="connsiteX10" fmla="*/ 473243 w 746390"/>
                  <a:gd name="connsiteY10" fmla="*/ 57801 h 339120"/>
                  <a:gd name="connsiteX11" fmla="*/ 425870 w 746390"/>
                  <a:gd name="connsiteY11" fmla="*/ 39948 h 339120"/>
                  <a:gd name="connsiteX12" fmla="*/ 390329 w 746390"/>
                  <a:gd name="connsiteY12" fmla="*/ 21436 h 339120"/>
                  <a:gd name="connsiteX13" fmla="*/ 330504 w 746390"/>
                  <a:gd name="connsiteY13" fmla="*/ 2923 h 339120"/>
                  <a:gd name="connsiteX14" fmla="*/ 209080 w 746390"/>
                  <a:gd name="connsiteY14" fmla="*/ 46133 h 339120"/>
                  <a:gd name="connsiteX15" fmla="*/ 121465 w 746390"/>
                  <a:gd name="connsiteY15" fmla="*/ 51616 h 339120"/>
                  <a:gd name="connsiteX16" fmla="*/ 101304 w 746390"/>
                  <a:gd name="connsiteY16" fmla="*/ 87281 h 339120"/>
                  <a:gd name="connsiteX17" fmla="*/ 17193 w 746390"/>
                  <a:gd name="connsiteY17" fmla="*/ 95527 h 339120"/>
                  <a:gd name="connsiteX18" fmla="*/ 8947 w 746390"/>
                  <a:gd name="connsiteY18" fmla="*/ 129789 h 339120"/>
                  <a:gd name="connsiteX19" fmla="*/ 25439 w 746390"/>
                  <a:gd name="connsiteY19" fmla="*/ 142777 h 339120"/>
                  <a:gd name="connsiteX20" fmla="*/ 28944 w 746390"/>
                  <a:gd name="connsiteY20" fmla="*/ 177122 h 339120"/>
                  <a:gd name="connsiteX21" fmla="*/ 30181 w 746390"/>
                  <a:gd name="connsiteY21" fmla="*/ 209323 h 339120"/>
                  <a:gd name="connsiteX22" fmla="*/ 30181 w 746390"/>
                  <a:gd name="connsiteY22" fmla="*/ 234721 h 339120"/>
                  <a:gd name="connsiteX23" fmla="*/ 50301 w 746390"/>
                  <a:gd name="connsiteY23" fmla="*/ 258717 h 339120"/>
                  <a:gd name="connsiteX24" fmla="*/ 76607 w 746390"/>
                  <a:gd name="connsiteY24" fmla="*/ 277353 h 339120"/>
                  <a:gd name="connsiteX25" fmla="*/ 96768 w 746390"/>
                  <a:gd name="connsiteY25" fmla="*/ 284239 h 339120"/>
                  <a:gd name="connsiteX26" fmla="*/ 121507 w 746390"/>
                  <a:gd name="connsiteY26" fmla="*/ 313718 h 339120"/>
                  <a:gd name="connsiteX27" fmla="*/ 173003 w 746390"/>
                  <a:gd name="connsiteY27" fmla="*/ 302751 h 339120"/>
                  <a:gd name="connsiteX28" fmla="*/ 205576 w 746390"/>
                  <a:gd name="connsiteY28" fmla="*/ 285558 h 339120"/>
                  <a:gd name="connsiteX29" fmla="*/ 260082 w 746390"/>
                  <a:gd name="connsiteY29" fmla="*/ 322665 h 339120"/>
                  <a:gd name="connsiteX30" fmla="*/ 301313 w 746390"/>
                  <a:gd name="connsiteY30" fmla="*/ 314419 h 339120"/>
                  <a:gd name="connsiteX31" fmla="*/ 338626 w 746390"/>
                  <a:gd name="connsiteY31" fmla="*/ 286960 h 339120"/>
                  <a:gd name="connsiteX32" fmla="*/ 369467 w 746390"/>
                  <a:gd name="connsiteY32" fmla="*/ 295866 h 339120"/>
                  <a:gd name="connsiteX33" fmla="*/ 400224 w 746390"/>
                  <a:gd name="connsiteY33" fmla="*/ 286300 h 339120"/>
                  <a:gd name="connsiteX34" fmla="*/ 389587 w 746390"/>
                  <a:gd name="connsiteY34" fmla="*/ 323408 h 339120"/>
                  <a:gd name="connsiteX35" fmla="*/ 390494 w 746390"/>
                  <a:gd name="connsiteY35" fmla="*/ 339116 h 339120"/>
                  <a:gd name="connsiteX36" fmla="*/ 414202 w 746390"/>
                  <a:gd name="connsiteY36" fmla="*/ 306915 h 339120"/>
                  <a:gd name="connsiteX37" fmla="*/ 430034 w 746390"/>
                  <a:gd name="connsiteY37" fmla="*/ 295907 h 339120"/>
                  <a:gd name="connsiteX38" fmla="*/ 466399 w 746390"/>
                  <a:gd name="connsiteY38" fmla="*/ 295907 h 339120"/>
                  <a:gd name="connsiteX39" fmla="*/ 491715 w 746390"/>
                  <a:gd name="connsiteY39" fmla="*/ 290464 h 339120"/>
                  <a:gd name="connsiteX40" fmla="*/ 537563 w 746390"/>
                  <a:gd name="connsiteY40" fmla="*/ 292279 h 339120"/>
                  <a:gd name="connsiteX41" fmla="*/ 591163 w 746390"/>
                  <a:gd name="connsiteY41" fmla="*/ 273931 h 339120"/>
                  <a:gd name="connsiteX42" fmla="*/ 635486 w 746390"/>
                  <a:gd name="connsiteY42" fmla="*/ 266633 h 339120"/>
                  <a:gd name="connsiteX43" fmla="*/ 650493 w 746390"/>
                  <a:gd name="connsiteY43" fmla="*/ 271828 h 339120"/>
                  <a:gd name="connsiteX44" fmla="*/ 668346 w 746390"/>
                  <a:gd name="connsiteY44" fmla="*/ 256161 h 339120"/>
                  <a:gd name="connsiteX45" fmla="*/ 703886 w 746390"/>
                  <a:gd name="connsiteY45" fmla="*/ 264407 h 339120"/>
                  <a:gd name="connsiteX46" fmla="*/ 746189 w 746390"/>
                  <a:gd name="connsiteY46" fmla="*/ 272158 h 339120"/>
                  <a:gd name="connsiteX47" fmla="*/ 727718 w 746390"/>
                  <a:gd name="connsiteY47" fmla="*/ 235216 h 339120"/>
                  <a:gd name="connsiteX48" fmla="*/ 60609 w 746390"/>
                  <a:gd name="connsiteY48" fmla="*/ 58420 h 339120"/>
                  <a:gd name="connsiteX49" fmla="*/ 114497 w 746390"/>
                  <a:gd name="connsiteY49" fmla="*/ 52235 h 339120"/>
                  <a:gd name="connsiteX50" fmla="*/ 84317 w 746390"/>
                  <a:gd name="connsiteY50" fmla="*/ 24116 h 339120"/>
                  <a:gd name="connsiteX51" fmla="*/ 74421 w 746390"/>
                  <a:gd name="connsiteY51" fmla="*/ -4 h 339120"/>
                  <a:gd name="connsiteX52" fmla="*/ 58218 w 746390"/>
                  <a:gd name="connsiteY52" fmla="*/ 3501 h 339120"/>
                  <a:gd name="connsiteX53" fmla="*/ 17358 w 746390"/>
                  <a:gd name="connsiteY53" fmla="*/ 3501 h 339120"/>
                  <a:gd name="connsiteX54" fmla="*/ 20904 w 746390"/>
                  <a:gd name="connsiteY54" fmla="*/ 34382 h 339120"/>
                  <a:gd name="connsiteX55" fmla="*/ 9359 w 746390"/>
                  <a:gd name="connsiteY55" fmla="*/ 55987 h 339120"/>
                  <a:gd name="connsiteX56" fmla="*/ 1 w 746390"/>
                  <a:gd name="connsiteY56" fmla="*/ 71902 h 339120"/>
                  <a:gd name="connsiteX57" fmla="*/ 23295 w 746390"/>
                  <a:gd name="connsiteY57" fmla="*/ 85178 h 339120"/>
                  <a:gd name="connsiteX58" fmla="*/ 60609 w 746390"/>
                  <a:gd name="connsiteY58" fmla="*/ 58420 h 339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746390" h="339120">
                    <a:moveTo>
                      <a:pt x="727718" y="235216"/>
                    </a:moveTo>
                    <a:cubicBezTo>
                      <a:pt x="721368" y="233402"/>
                      <a:pt x="730892" y="193119"/>
                      <a:pt x="727718" y="185739"/>
                    </a:cubicBezTo>
                    <a:cubicBezTo>
                      <a:pt x="724543" y="178359"/>
                      <a:pt x="716627" y="147271"/>
                      <a:pt x="726151" y="147271"/>
                    </a:cubicBezTo>
                    <a:cubicBezTo>
                      <a:pt x="734768" y="147271"/>
                      <a:pt x="725286" y="124759"/>
                      <a:pt x="736624" y="123440"/>
                    </a:cubicBezTo>
                    <a:cubicBezTo>
                      <a:pt x="735222" y="117362"/>
                      <a:pt x="732706" y="111582"/>
                      <a:pt x="729285" y="106371"/>
                    </a:cubicBezTo>
                    <a:cubicBezTo>
                      <a:pt x="723348" y="100928"/>
                      <a:pt x="705577" y="111854"/>
                      <a:pt x="698486" y="91280"/>
                    </a:cubicBezTo>
                    <a:cubicBezTo>
                      <a:pt x="691394" y="70706"/>
                      <a:pt x="698486" y="67985"/>
                      <a:pt x="687807" y="51493"/>
                    </a:cubicBezTo>
                    <a:cubicBezTo>
                      <a:pt x="677128" y="35000"/>
                      <a:pt x="672387" y="18508"/>
                      <a:pt x="659400" y="25435"/>
                    </a:cubicBezTo>
                    <a:cubicBezTo>
                      <a:pt x="653379" y="28568"/>
                      <a:pt x="636022" y="28527"/>
                      <a:pt x="617550" y="26878"/>
                    </a:cubicBezTo>
                    <a:cubicBezTo>
                      <a:pt x="598296" y="47163"/>
                      <a:pt x="556158" y="61099"/>
                      <a:pt x="543335" y="55739"/>
                    </a:cubicBezTo>
                    <a:cubicBezTo>
                      <a:pt x="527338" y="48936"/>
                      <a:pt x="496580" y="57801"/>
                      <a:pt x="473243" y="57801"/>
                    </a:cubicBezTo>
                    <a:cubicBezTo>
                      <a:pt x="449907" y="57801"/>
                      <a:pt x="443599" y="38588"/>
                      <a:pt x="425870" y="39948"/>
                    </a:cubicBezTo>
                    <a:cubicBezTo>
                      <a:pt x="408141" y="41309"/>
                      <a:pt x="408100" y="21436"/>
                      <a:pt x="390329" y="21436"/>
                    </a:cubicBezTo>
                    <a:cubicBezTo>
                      <a:pt x="372559" y="21436"/>
                      <a:pt x="386206" y="11128"/>
                      <a:pt x="330504" y="2923"/>
                    </a:cubicBezTo>
                    <a:cubicBezTo>
                      <a:pt x="274801" y="-5282"/>
                      <a:pt x="226850" y="28280"/>
                      <a:pt x="209080" y="46133"/>
                    </a:cubicBezTo>
                    <a:cubicBezTo>
                      <a:pt x="191309" y="63986"/>
                      <a:pt x="127361" y="46793"/>
                      <a:pt x="121465" y="51616"/>
                    </a:cubicBezTo>
                    <a:cubicBezTo>
                      <a:pt x="115569" y="56440"/>
                      <a:pt x="122620" y="77674"/>
                      <a:pt x="101304" y="87281"/>
                    </a:cubicBezTo>
                    <a:cubicBezTo>
                      <a:pt x="79987" y="96887"/>
                      <a:pt x="33191" y="87281"/>
                      <a:pt x="17193" y="95527"/>
                    </a:cubicBezTo>
                    <a:cubicBezTo>
                      <a:pt x="1196" y="103773"/>
                      <a:pt x="-4700" y="131150"/>
                      <a:pt x="8947" y="129789"/>
                    </a:cubicBezTo>
                    <a:cubicBezTo>
                      <a:pt x="22595" y="128429"/>
                      <a:pt x="29562" y="135974"/>
                      <a:pt x="25439" y="142777"/>
                    </a:cubicBezTo>
                    <a:cubicBezTo>
                      <a:pt x="21316" y="149580"/>
                      <a:pt x="36654" y="168876"/>
                      <a:pt x="28944" y="177122"/>
                    </a:cubicBezTo>
                    <a:cubicBezTo>
                      <a:pt x="20698" y="186469"/>
                      <a:pt x="21275" y="200632"/>
                      <a:pt x="30181" y="209323"/>
                    </a:cubicBezTo>
                    <a:cubicBezTo>
                      <a:pt x="39664" y="217569"/>
                      <a:pt x="41396" y="232701"/>
                      <a:pt x="30181" y="234721"/>
                    </a:cubicBezTo>
                    <a:cubicBezTo>
                      <a:pt x="18966" y="236741"/>
                      <a:pt x="49724" y="251873"/>
                      <a:pt x="50301" y="258717"/>
                    </a:cubicBezTo>
                    <a:cubicBezTo>
                      <a:pt x="50879" y="265561"/>
                      <a:pt x="76607" y="269107"/>
                      <a:pt x="76607" y="277353"/>
                    </a:cubicBezTo>
                    <a:cubicBezTo>
                      <a:pt x="76607" y="285599"/>
                      <a:pt x="84317" y="288320"/>
                      <a:pt x="96768" y="284239"/>
                    </a:cubicBezTo>
                    <a:cubicBezTo>
                      <a:pt x="109220" y="280157"/>
                      <a:pt x="113920" y="299989"/>
                      <a:pt x="121507" y="313718"/>
                    </a:cubicBezTo>
                    <a:cubicBezTo>
                      <a:pt x="129093" y="327448"/>
                      <a:pt x="173003" y="317842"/>
                      <a:pt x="173003" y="302751"/>
                    </a:cubicBezTo>
                    <a:cubicBezTo>
                      <a:pt x="173003" y="287661"/>
                      <a:pt x="186032" y="283496"/>
                      <a:pt x="205576" y="285558"/>
                    </a:cubicBezTo>
                    <a:cubicBezTo>
                      <a:pt x="225119" y="287620"/>
                      <a:pt x="250599" y="318542"/>
                      <a:pt x="260082" y="322665"/>
                    </a:cubicBezTo>
                    <a:cubicBezTo>
                      <a:pt x="269565" y="326788"/>
                      <a:pt x="288943" y="314419"/>
                      <a:pt x="301313" y="314419"/>
                    </a:cubicBezTo>
                    <a:cubicBezTo>
                      <a:pt x="313682" y="314419"/>
                      <a:pt x="331493" y="291784"/>
                      <a:pt x="338626" y="286960"/>
                    </a:cubicBezTo>
                    <a:cubicBezTo>
                      <a:pt x="345759" y="282136"/>
                      <a:pt x="358170" y="302792"/>
                      <a:pt x="369467" y="295866"/>
                    </a:cubicBezTo>
                    <a:cubicBezTo>
                      <a:pt x="380764" y="288939"/>
                      <a:pt x="393133" y="281476"/>
                      <a:pt x="400224" y="286300"/>
                    </a:cubicBezTo>
                    <a:cubicBezTo>
                      <a:pt x="407316" y="291124"/>
                      <a:pt x="383031" y="312358"/>
                      <a:pt x="389587" y="323408"/>
                    </a:cubicBezTo>
                    <a:cubicBezTo>
                      <a:pt x="391772" y="328364"/>
                      <a:pt x="392102" y="333942"/>
                      <a:pt x="390494" y="339116"/>
                    </a:cubicBezTo>
                    <a:cubicBezTo>
                      <a:pt x="415232" y="335200"/>
                      <a:pt x="412717" y="315491"/>
                      <a:pt x="414202" y="306915"/>
                    </a:cubicBezTo>
                    <a:cubicBezTo>
                      <a:pt x="415686" y="298340"/>
                      <a:pt x="422118" y="288609"/>
                      <a:pt x="430034" y="295907"/>
                    </a:cubicBezTo>
                    <a:cubicBezTo>
                      <a:pt x="437950" y="303205"/>
                      <a:pt x="449000" y="305060"/>
                      <a:pt x="466399" y="295907"/>
                    </a:cubicBezTo>
                    <a:cubicBezTo>
                      <a:pt x="483799" y="286754"/>
                      <a:pt x="485365" y="281270"/>
                      <a:pt x="491715" y="290464"/>
                    </a:cubicBezTo>
                    <a:cubicBezTo>
                      <a:pt x="498064" y="299659"/>
                      <a:pt x="512330" y="292279"/>
                      <a:pt x="537563" y="292279"/>
                    </a:cubicBezTo>
                    <a:cubicBezTo>
                      <a:pt x="562796" y="292279"/>
                      <a:pt x="567620" y="272117"/>
                      <a:pt x="591163" y="273931"/>
                    </a:cubicBezTo>
                    <a:cubicBezTo>
                      <a:pt x="606294" y="274822"/>
                      <a:pt x="621426" y="272327"/>
                      <a:pt x="635486" y="266633"/>
                    </a:cubicBezTo>
                    <a:lnTo>
                      <a:pt x="650493" y="271828"/>
                    </a:lnTo>
                    <a:cubicBezTo>
                      <a:pt x="656636" y="265314"/>
                      <a:pt x="656225" y="257934"/>
                      <a:pt x="668346" y="256161"/>
                    </a:cubicBezTo>
                    <a:cubicBezTo>
                      <a:pt x="687313" y="253440"/>
                      <a:pt x="694445" y="269890"/>
                      <a:pt x="703886" y="264407"/>
                    </a:cubicBezTo>
                    <a:cubicBezTo>
                      <a:pt x="713328" y="258923"/>
                      <a:pt x="743468" y="296319"/>
                      <a:pt x="746189" y="272158"/>
                    </a:cubicBezTo>
                    <a:cubicBezTo>
                      <a:pt x="748250" y="266427"/>
                      <a:pt x="734026" y="237071"/>
                      <a:pt x="727718" y="235216"/>
                    </a:cubicBezTo>
                    <a:close/>
                    <a:moveTo>
                      <a:pt x="60609" y="58420"/>
                    </a:moveTo>
                    <a:cubicBezTo>
                      <a:pt x="74793" y="52235"/>
                      <a:pt x="106746" y="60481"/>
                      <a:pt x="114497" y="52235"/>
                    </a:cubicBezTo>
                    <a:cubicBezTo>
                      <a:pt x="122248" y="43989"/>
                      <a:pt x="94336" y="33722"/>
                      <a:pt x="84317" y="24116"/>
                    </a:cubicBezTo>
                    <a:cubicBezTo>
                      <a:pt x="78420" y="18508"/>
                      <a:pt x="76400" y="8077"/>
                      <a:pt x="74421" y="-4"/>
                    </a:cubicBezTo>
                    <a:cubicBezTo>
                      <a:pt x="69721" y="3707"/>
                      <a:pt x="63619" y="6675"/>
                      <a:pt x="58218" y="3501"/>
                    </a:cubicBezTo>
                    <a:cubicBezTo>
                      <a:pt x="47580" y="-2684"/>
                      <a:pt x="21811" y="1480"/>
                      <a:pt x="17358" y="3501"/>
                    </a:cubicBezTo>
                    <a:cubicBezTo>
                      <a:pt x="12906" y="5521"/>
                      <a:pt x="20904" y="23044"/>
                      <a:pt x="20904" y="34382"/>
                    </a:cubicBezTo>
                    <a:cubicBezTo>
                      <a:pt x="20904" y="45720"/>
                      <a:pt x="9359" y="48771"/>
                      <a:pt x="9359" y="55987"/>
                    </a:cubicBezTo>
                    <a:cubicBezTo>
                      <a:pt x="9359" y="61553"/>
                      <a:pt x="5236" y="65346"/>
                      <a:pt x="1" y="71902"/>
                    </a:cubicBezTo>
                    <a:cubicBezTo>
                      <a:pt x="7793" y="78664"/>
                      <a:pt x="15338" y="85178"/>
                      <a:pt x="23295" y="85178"/>
                    </a:cubicBezTo>
                    <a:cubicBezTo>
                      <a:pt x="39911" y="85178"/>
                      <a:pt x="46385" y="64604"/>
                      <a:pt x="60609" y="5842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</a:lstStyle>
              <a:p>
                <a:pPr marL="0" marR="0" lvl="0" indent="0" algn="l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cxnSp>
            <p:nvCxnSpPr>
              <p:cNvPr id="148" name="Straight Connector 147">
                <a:extLst>
                  <a:ext uri="{FF2B5EF4-FFF2-40B4-BE49-F238E27FC236}">
                    <a16:creationId xmlns:a16="http://schemas.microsoft.com/office/drawing/2014/main" id="{C6C579F3-7825-6E76-BE4B-356256A0B54F}"/>
                  </a:ext>
                </a:extLst>
              </p:cNvPr>
              <p:cNvCxnSpPr>
                <a:cxnSpLocks/>
                <a:endCxn id="578" idx="1"/>
              </p:cNvCxnSpPr>
              <p:nvPr>
                <p:custDataLst>
                  <p:tags r:id="rId413"/>
                </p:custDataLst>
              </p:nvPr>
            </p:nvCxnSpPr>
            <p:spPr>
              <a:xfrm flipV="1">
                <a:off x="8104385" y="1819323"/>
                <a:ext cx="3968016" cy="1337144"/>
              </a:xfrm>
              <a:prstGeom prst="line">
                <a:avLst/>
              </a:prstGeom>
              <a:ln w="6350" cap="sq">
                <a:solidFill>
                  <a:srgbClr val="5F249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201" name="TextBox 200">
              <a:extLst>
                <a:ext uri="{FF2B5EF4-FFF2-40B4-BE49-F238E27FC236}">
                  <a16:creationId xmlns:a16="http://schemas.microsoft.com/office/drawing/2014/main" id="{07D3E48C-D660-3EC3-5D50-61258A7D263F}"/>
                </a:ext>
              </a:extLst>
            </p:cNvPr>
            <p:cNvSpPr txBox="1"/>
            <p:nvPr>
              <p:custDataLst>
                <p:tags r:id="rId203"/>
              </p:custDataLst>
            </p:nvPr>
          </p:nvSpPr>
          <p:spPr>
            <a:xfrm>
              <a:off x="8538628" y="4447077"/>
              <a:ext cx="562084" cy="2000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UAE</a:t>
              </a:r>
            </a:p>
          </p:txBody>
        </p:sp>
        <p:sp>
          <p:nvSpPr>
            <p:cNvPr id="202" name="Freeform: Shape 201">
              <a:extLst>
                <a:ext uri="{FF2B5EF4-FFF2-40B4-BE49-F238E27FC236}">
                  <a16:creationId xmlns:a16="http://schemas.microsoft.com/office/drawing/2014/main" id="{9D62051E-E4EB-ED3D-C228-3E61DD3E2987}"/>
                </a:ext>
              </a:extLst>
            </p:cNvPr>
            <p:cNvSpPr/>
            <p:nvPr>
              <p:custDataLst>
                <p:tags r:id="rId204"/>
              </p:custDataLst>
            </p:nvPr>
          </p:nvSpPr>
          <p:spPr>
            <a:xfrm>
              <a:off x="8523641" y="3842544"/>
              <a:ext cx="485218" cy="351456"/>
            </a:xfrm>
            <a:custGeom>
              <a:avLst/>
              <a:gdLst>
                <a:gd name="connsiteX0" fmla="*/ 563571 w 566579"/>
                <a:gd name="connsiteY0" fmla="*/ 260650 h 410388"/>
                <a:gd name="connsiteX1" fmla="*/ 528030 w 566579"/>
                <a:gd name="connsiteY1" fmla="*/ 246921 h 410388"/>
                <a:gd name="connsiteX2" fmla="*/ 486552 w 566579"/>
                <a:gd name="connsiteY2" fmla="*/ 215379 h 410388"/>
                <a:gd name="connsiteX3" fmla="*/ 440374 w 566579"/>
                <a:gd name="connsiteY3" fmla="*/ 183838 h 410388"/>
                <a:gd name="connsiteX4" fmla="*/ 400091 w 566579"/>
                <a:gd name="connsiteY4" fmla="*/ 149534 h 410388"/>
                <a:gd name="connsiteX5" fmla="*/ 382322 w 566579"/>
                <a:gd name="connsiteY5" fmla="*/ 111107 h 410388"/>
                <a:gd name="connsiteX6" fmla="*/ 365830 w 566579"/>
                <a:gd name="connsiteY6" fmla="*/ 80927 h 410388"/>
                <a:gd name="connsiteX7" fmla="*/ 306581 w 566579"/>
                <a:gd name="connsiteY7" fmla="*/ 72681 h 410388"/>
                <a:gd name="connsiteX8" fmla="*/ 292398 w 566579"/>
                <a:gd name="connsiteY8" fmla="*/ 23204 h 410388"/>
                <a:gd name="connsiteX9" fmla="*/ 261599 w 566579"/>
                <a:gd name="connsiteY9" fmla="*/ 10835 h 410388"/>
                <a:gd name="connsiteX10" fmla="*/ 233149 w 566579"/>
                <a:gd name="connsiteY10" fmla="*/ 2589 h 410388"/>
                <a:gd name="connsiteX11" fmla="*/ 216657 w 566579"/>
                <a:gd name="connsiteY11" fmla="*/ 12154 h 410388"/>
                <a:gd name="connsiteX12" fmla="*/ 202433 w 566579"/>
                <a:gd name="connsiteY12" fmla="*/ 30007 h 410388"/>
                <a:gd name="connsiteX13" fmla="*/ 173984 w 566579"/>
                <a:gd name="connsiteY13" fmla="*/ 54745 h 410388"/>
                <a:gd name="connsiteX14" fmla="*/ 159800 w 566579"/>
                <a:gd name="connsiteY14" fmla="*/ 76680 h 410388"/>
                <a:gd name="connsiteX15" fmla="*/ 131599 w 566579"/>
                <a:gd name="connsiteY15" fmla="*/ 68970 h 410388"/>
                <a:gd name="connsiteX16" fmla="*/ 103562 w 566579"/>
                <a:gd name="connsiteY16" fmla="*/ 61219 h 410388"/>
                <a:gd name="connsiteX17" fmla="*/ 54580 w 566579"/>
                <a:gd name="connsiteY17" fmla="*/ 17226 h 410388"/>
                <a:gd name="connsiteX18" fmla="*/ 13349 w 566579"/>
                <a:gd name="connsiteY18" fmla="*/ 42541 h 410388"/>
                <a:gd name="connsiteX19" fmla="*/ 32027 w 566579"/>
                <a:gd name="connsiteY19" fmla="*/ 34295 h 410388"/>
                <a:gd name="connsiteX20" fmla="*/ 62786 w 566579"/>
                <a:gd name="connsiteY20" fmla="*/ 76804 h 410388"/>
                <a:gd name="connsiteX21" fmla="*/ 81751 w 566579"/>
                <a:gd name="connsiteY21" fmla="*/ 104263 h 410388"/>
                <a:gd name="connsiteX22" fmla="*/ 41510 w 566579"/>
                <a:gd name="connsiteY22" fmla="*/ 113870 h 410388"/>
                <a:gd name="connsiteX23" fmla="*/ 4774 w 566579"/>
                <a:gd name="connsiteY23" fmla="*/ 113870 h 410388"/>
                <a:gd name="connsiteX24" fmla="*/ 13020 w 566579"/>
                <a:gd name="connsiteY24" fmla="*/ 152256 h 410388"/>
                <a:gd name="connsiteX25" fmla="*/ 15371 w 566579"/>
                <a:gd name="connsiteY25" fmla="*/ 181117 h 410388"/>
                <a:gd name="connsiteX26" fmla="*/ 37882 w 566579"/>
                <a:gd name="connsiteY26" fmla="*/ 192125 h 410388"/>
                <a:gd name="connsiteX27" fmla="*/ 46128 w 566579"/>
                <a:gd name="connsiteY27" fmla="*/ 229233 h 410388"/>
                <a:gd name="connsiteX28" fmla="*/ 46128 w 566579"/>
                <a:gd name="connsiteY28" fmla="*/ 291326 h 410388"/>
                <a:gd name="connsiteX29" fmla="*/ 79113 w 566579"/>
                <a:gd name="connsiteY29" fmla="*/ 284069 h 410388"/>
                <a:gd name="connsiteX30" fmla="*/ 114612 w 566579"/>
                <a:gd name="connsiteY30" fmla="*/ 255208 h 410388"/>
                <a:gd name="connsiteX31" fmla="*/ 143061 w 566579"/>
                <a:gd name="connsiteY31" fmla="*/ 251085 h 410388"/>
                <a:gd name="connsiteX32" fmla="*/ 189239 w 566579"/>
                <a:gd name="connsiteY32" fmla="*/ 252446 h 410388"/>
                <a:gd name="connsiteX33" fmla="*/ 218842 w 566579"/>
                <a:gd name="connsiteY33" fmla="*/ 267536 h 410388"/>
                <a:gd name="connsiteX34" fmla="*/ 237809 w 566579"/>
                <a:gd name="connsiteY34" fmla="*/ 278544 h 410388"/>
                <a:gd name="connsiteX35" fmla="*/ 272153 w 566579"/>
                <a:gd name="connsiteY35" fmla="*/ 290913 h 410388"/>
                <a:gd name="connsiteX36" fmla="*/ 289924 w 566579"/>
                <a:gd name="connsiteY36" fmla="*/ 307406 h 410388"/>
                <a:gd name="connsiteX37" fmla="*/ 317177 w 566579"/>
                <a:gd name="connsiteY37" fmla="*/ 333463 h 410388"/>
                <a:gd name="connsiteX38" fmla="*/ 345585 w 566579"/>
                <a:gd name="connsiteY38" fmla="*/ 338988 h 410388"/>
                <a:gd name="connsiteX39" fmla="*/ 352759 w 566579"/>
                <a:gd name="connsiteY39" fmla="*/ 395763 h 410388"/>
                <a:gd name="connsiteX40" fmla="*/ 361253 w 566579"/>
                <a:gd name="connsiteY40" fmla="*/ 394855 h 410388"/>
                <a:gd name="connsiteX41" fmla="*/ 389742 w 566579"/>
                <a:gd name="connsiteY41" fmla="*/ 404009 h 410388"/>
                <a:gd name="connsiteX42" fmla="*/ 424542 w 566579"/>
                <a:gd name="connsiteY42" fmla="*/ 389331 h 410388"/>
                <a:gd name="connsiteX43" fmla="*/ 481480 w 566579"/>
                <a:gd name="connsiteY43" fmla="*/ 350904 h 410388"/>
                <a:gd name="connsiteX44" fmla="*/ 505229 w 566579"/>
                <a:gd name="connsiteY44" fmla="*/ 305097 h 410388"/>
                <a:gd name="connsiteX45" fmla="*/ 536812 w 566579"/>
                <a:gd name="connsiteY45" fmla="*/ 283080 h 410388"/>
                <a:gd name="connsiteX46" fmla="*/ 566581 w 566579"/>
                <a:gd name="connsiteY46" fmla="*/ 291326 h 410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566579" h="410388">
                  <a:moveTo>
                    <a:pt x="563571" y="260650"/>
                  </a:moveTo>
                  <a:cubicBezTo>
                    <a:pt x="563571" y="260650"/>
                    <a:pt x="537513" y="245560"/>
                    <a:pt x="528030" y="246921"/>
                  </a:cubicBezTo>
                  <a:cubicBezTo>
                    <a:pt x="518546" y="248281"/>
                    <a:pt x="503291" y="222182"/>
                    <a:pt x="486552" y="215379"/>
                  </a:cubicBezTo>
                  <a:cubicBezTo>
                    <a:pt x="469813" y="208576"/>
                    <a:pt x="447506" y="196207"/>
                    <a:pt x="440374" y="183838"/>
                  </a:cubicBezTo>
                  <a:cubicBezTo>
                    <a:pt x="433241" y="171469"/>
                    <a:pt x="403638" y="159100"/>
                    <a:pt x="400091" y="149534"/>
                  </a:cubicBezTo>
                  <a:cubicBezTo>
                    <a:pt x="395639" y="136093"/>
                    <a:pt x="389660" y="123205"/>
                    <a:pt x="382322" y="111107"/>
                  </a:cubicBezTo>
                  <a:cubicBezTo>
                    <a:pt x="374076" y="98738"/>
                    <a:pt x="374076" y="82246"/>
                    <a:pt x="365830" y="80927"/>
                  </a:cubicBezTo>
                  <a:cubicBezTo>
                    <a:pt x="357584" y="79607"/>
                    <a:pt x="306581" y="80927"/>
                    <a:pt x="306581" y="72681"/>
                  </a:cubicBezTo>
                  <a:cubicBezTo>
                    <a:pt x="306581" y="64435"/>
                    <a:pt x="303035" y="26008"/>
                    <a:pt x="292398" y="23204"/>
                  </a:cubicBezTo>
                  <a:cubicBezTo>
                    <a:pt x="281760" y="20400"/>
                    <a:pt x="267660" y="17721"/>
                    <a:pt x="261599" y="10835"/>
                  </a:cubicBezTo>
                  <a:cubicBezTo>
                    <a:pt x="255538" y="3949"/>
                    <a:pt x="236861" y="-4297"/>
                    <a:pt x="233149" y="2589"/>
                  </a:cubicBezTo>
                  <a:cubicBezTo>
                    <a:pt x="229439" y="8192"/>
                    <a:pt x="223337" y="11734"/>
                    <a:pt x="216657" y="12154"/>
                  </a:cubicBezTo>
                  <a:cubicBezTo>
                    <a:pt x="213071" y="12154"/>
                    <a:pt x="214266" y="31409"/>
                    <a:pt x="202433" y="30007"/>
                  </a:cubicBezTo>
                  <a:cubicBezTo>
                    <a:pt x="190600" y="28605"/>
                    <a:pt x="173984" y="45097"/>
                    <a:pt x="173984" y="54745"/>
                  </a:cubicBezTo>
                  <a:cubicBezTo>
                    <a:pt x="173984" y="64393"/>
                    <a:pt x="175179" y="78041"/>
                    <a:pt x="159800" y="76680"/>
                  </a:cubicBezTo>
                  <a:cubicBezTo>
                    <a:pt x="149988" y="76070"/>
                    <a:pt x="140381" y="73448"/>
                    <a:pt x="131599" y="68970"/>
                  </a:cubicBezTo>
                  <a:cubicBezTo>
                    <a:pt x="129373" y="70949"/>
                    <a:pt x="116549" y="81339"/>
                    <a:pt x="103562" y="61219"/>
                  </a:cubicBezTo>
                  <a:cubicBezTo>
                    <a:pt x="89379" y="39201"/>
                    <a:pt x="67197" y="17226"/>
                    <a:pt x="54580" y="17226"/>
                  </a:cubicBezTo>
                  <a:cubicBezTo>
                    <a:pt x="43160" y="17226"/>
                    <a:pt x="3909" y="17226"/>
                    <a:pt x="13349" y="42541"/>
                  </a:cubicBezTo>
                  <a:cubicBezTo>
                    <a:pt x="16113" y="36893"/>
                    <a:pt x="21596" y="33141"/>
                    <a:pt x="32027" y="34295"/>
                  </a:cubicBezTo>
                  <a:cubicBezTo>
                    <a:pt x="60435" y="37016"/>
                    <a:pt x="47406" y="75526"/>
                    <a:pt x="62786" y="76804"/>
                  </a:cubicBezTo>
                  <a:cubicBezTo>
                    <a:pt x="78165" y="78082"/>
                    <a:pt x="95770" y="105665"/>
                    <a:pt x="81751" y="104263"/>
                  </a:cubicBezTo>
                  <a:cubicBezTo>
                    <a:pt x="67733" y="102861"/>
                    <a:pt x="55693" y="119354"/>
                    <a:pt x="41510" y="113870"/>
                  </a:cubicBezTo>
                  <a:cubicBezTo>
                    <a:pt x="27327" y="108386"/>
                    <a:pt x="9515" y="94657"/>
                    <a:pt x="4774" y="113870"/>
                  </a:cubicBezTo>
                  <a:cubicBezTo>
                    <a:pt x="32" y="133083"/>
                    <a:pt x="-5905" y="153657"/>
                    <a:pt x="13020" y="152256"/>
                  </a:cubicBezTo>
                  <a:cubicBezTo>
                    <a:pt x="31944" y="150854"/>
                    <a:pt x="28399" y="165985"/>
                    <a:pt x="15371" y="181117"/>
                  </a:cubicBezTo>
                  <a:cubicBezTo>
                    <a:pt x="2341" y="196248"/>
                    <a:pt x="35532" y="178354"/>
                    <a:pt x="37882" y="192125"/>
                  </a:cubicBezTo>
                  <a:cubicBezTo>
                    <a:pt x="40232" y="205896"/>
                    <a:pt x="50911" y="207174"/>
                    <a:pt x="46128" y="229233"/>
                  </a:cubicBezTo>
                  <a:cubicBezTo>
                    <a:pt x="43119" y="243086"/>
                    <a:pt x="45344" y="270834"/>
                    <a:pt x="46128" y="291326"/>
                  </a:cubicBezTo>
                  <a:cubicBezTo>
                    <a:pt x="58498" y="291326"/>
                    <a:pt x="75608" y="289965"/>
                    <a:pt x="79113" y="284069"/>
                  </a:cubicBezTo>
                  <a:cubicBezTo>
                    <a:pt x="85050" y="274504"/>
                    <a:pt x="103851" y="255208"/>
                    <a:pt x="114612" y="255208"/>
                  </a:cubicBezTo>
                  <a:cubicBezTo>
                    <a:pt x="125373" y="255208"/>
                    <a:pt x="137123" y="260692"/>
                    <a:pt x="143061" y="251085"/>
                  </a:cubicBezTo>
                  <a:cubicBezTo>
                    <a:pt x="148998" y="241478"/>
                    <a:pt x="183344" y="244199"/>
                    <a:pt x="189239" y="252446"/>
                  </a:cubicBezTo>
                  <a:cubicBezTo>
                    <a:pt x="195135" y="260692"/>
                    <a:pt x="213978" y="267536"/>
                    <a:pt x="218842" y="267536"/>
                  </a:cubicBezTo>
                  <a:cubicBezTo>
                    <a:pt x="223707" y="267536"/>
                    <a:pt x="225975" y="279905"/>
                    <a:pt x="237809" y="278544"/>
                  </a:cubicBezTo>
                  <a:cubicBezTo>
                    <a:pt x="249641" y="277184"/>
                    <a:pt x="272153" y="282667"/>
                    <a:pt x="272153" y="290913"/>
                  </a:cubicBezTo>
                  <a:cubicBezTo>
                    <a:pt x="272937" y="300170"/>
                    <a:pt x="280647" y="307311"/>
                    <a:pt x="289924" y="307406"/>
                  </a:cubicBezTo>
                  <a:cubicBezTo>
                    <a:pt x="299407" y="307406"/>
                    <a:pt x="307694" y="334865"/>
                    <a:pt x="317177" y="333463"/>
                  </a:cubicBezTo>
                  <a:cubicBezTo>
                    <a:pt x="326661" y="332062"/>
                    <a:pt x="345585" y="332144"/>
                    <a:pt x="345585" y="338988"/>
                  </a:cubicBezTo>
                  <a:cubicBezTo>
                    <a:pt x="345585" y="344719"/>
                    <a:pt x="347316" y="377209"/>
                    <a:pt x="352759" y="395763"/>
                  </a:cubicBezTo>
                  <a:cubicBezTo>
                    <a:pt x="355151" y="393808"/>
                    <a:pt x="358490" y="393454"/>
                    <a:pt x="361253" y="394855"/>
                  </a:cubicBezTo>
                  <a:cubicBezTo>
                    <a:pt x="365994" y="398525"/>
                    <a:pt x="386568" y="391186"/>
                    <a:pt x="389742" y="404009"/>
                  </a:cubicBezTo>
                  <a:cubicBezTo>
                    <a:pt x="392917" y="416831"/>
                    <a:pt x="426108" y="409492"/>
                    <a:pt x="424542" y="389331"/>
                  </a:cubicBezTo>
                  <a:cubicBezTo>
                    <a:pt x="422974" y="369169"/>
                    <a:pt x="476698" y="369210"/>
                    <a:pt x="481480" y="350904"/>
                  </a:cubicBezTo>
                  <a:cubicBezTo>
                    <a:pt x="486264" y="332598"/>
                    <a:pt x="492572" y="299572"/>
                    <a:pt x="505229" y="305097"/>
                  </a:cubicBezTo>
                  <a:cubicBezTo>
                    <a:pt x="517887" y="310622"/>
                    <a:pt x="525844" y="281266"/>
                    <a:pt x="536812" y="283080"/>
                  </a:cubicBezTo>
                  <a:cubicBezTo>
                    <a:pt x="546955" y="284770"/>
                    <a:pt x="554459" y="293923"/>
                    <a:pt x="566581" y="29132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203" name="China">
              <a:extLst>
                <a:ext uri="{FF2B5EF4-FFF2-40B4-BE49-F238E27FC236}">
                  <a16:creationId xmlns:a16="http://schemas.microsoft.com/office/drawing/2014/main" id="{D31984B6-33E2-4E7C-D2B9-4C2BE931675D}"/>
                </a:ext>
              </a:extLst>
            </p:cNvPr>
            <p:cNvGrpSpPr/>
            <p:nvPr>
              <p:custDataLst>
                <p:tags r:id="rId205"/>
              </p:custDataLst>
            </p:nvPr>
          </p:nvGrpSpPr>
          <p:grpSpPr>
            <a:xfrm>
              <a:off x="9258005" y="3292499"/>
              <a:ext cx="2054831" cy="1631472"/>
              <a:chOff x="9257480" y="2805173"/>
              <a:chExt cx="2054831" cy="1631472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204" name="China group">
                <a:extLst>
                  <a:ext uri="{FF2B5EF4-FFF2-40B4-BE49-F238E27FC236}">
                    <a16:creationId xmlns:a16="http://schemas.microsoft.com/office/drawing/2014/main" id="{B64E4FB5-6B8A-6480-8114-B1E604D46DA5}"/>
                  </a:ext>
                </a:extLst>
              </p:cNvPr>
              <p:cNvSpPr/>
              <p:nvPr>
                <p:custDataLst>
                  <p:tags r:id="rId399"/>
                </p:custDataLst>
              </p:nvPr>
            </p:nvSpPr>
            <p:spPr>
              <a:xfrm>
                <a:off x="10411725" y="4367714"/>
                <a:ext cx="79382" cy="68930"/>
              </a:xfrm>
              <a:custGeom>
                <a:avLst/>
                <a:gdLst>
                  <a:gd name="connsiteX0" fmla="*/ 17348 w 92694"/>
                  <a:gd name="connsiteY0" fmla="*/ 80486 h 80489"/>
                  <a:gd name="connsiteX1" fmla="*/ 22213 w 92694"/>
                  <a:gd name="connsiteY1" fmla="*/ 76775 h 80489"/>
                  <a:gd name="connsiteX2" fmla="*/ 74329 w 92694"/>
                  <a:gd name="connsiteY2" fmla="*/ 49192 h 80489"/>
                  <a:gd name="connsiteX3" fmla="*/ 92387 w 92694"/>
                  <a:gd name="connsiteY3" fmla="*/ 5776 h 80489"/>
                  <a:gd name="connsiteX4" fmla="*/ 42623 w 92694"/>
                  <a:gd name="connsiteY4" fmla="*/ 1653 h 80489"/>
                  <a:gd name="connsiteX5" fmla="*/ 3537 w 92694"/>
                  <a:gd name="connsiteY5" fmla="*/ 64694 h 80489"/>
                  <a:gd name="connsiteX6" fmla="*/ 17348 w 92694"/>
                  <a:gd name="connsiteY6" fmla="*/ 80486 h 804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2694" h="80489">
                    <a:moveTo>
                      <a:pt x="17348" y="80486"/>
                    </a:moveTo>
                    <a:cubicBezTo>
                      <a:pt x="18915" y="79166"/>
                      <a:pt x="20523" y="77929"/>
                      <a:pt x="22213" y="76775"/>
                    </a:cubicBezTo>
                    <a:cubicBezTo>
                      <a:pt x="38788" y="66179"/>
                      <a:pt x="56228" y="56943"/>
                      <a:pt x="74329" y="49192"/>
                    </a:cubicBezTo>
                    <a:cubicBezTo>
                      <a:pt x="80884" y="33854"/>
                      <a:pt x="94944" y="15630"/>
                      <a:pt x="92387" y="5776"/>
                    </a:cubicBezTo>
                    <a:cubicBezTo>
                      <a:pt x="89832" y="-4078"/>
                      <a:pt x="58043" y="1653"/>
                      <a:pt x="42623" y="1653"/>
                    </a:cubicBezTo>
                    <a:cubicBezTo>
                      <a:pt x="27203" y="1653"/>
                      <a:pt x="-11885" y="27710"/>
                      <a:pt x="3537" y="64694"/>
                    </a:cubicBezTo>
                    <a:cubicBezTo>
                      <a:pt x="6092" y="71456"/>
                      <a:pt x="10999" y="77064"/>
                      <a:pt x="17348" y="80486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</a:lstStyle>
              <a:p>
                <a:pPr marL="0" marR="0" lvl="0" indent="0" algn="l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grpSp>
            <p:nvGrpSpPr>
              <p:cNvPr id="205" name="China group">
                <a:extLst>
                  <a:ext uri="{FF2B5EF4-FFF2-40B4-BE49-F238E27FC236}">
                    <a16:creationId xmlns:a16="http://schemas.microsoft.com/office/drawing/2014/main" id="{D0A98F2E-0984-8E6E-5B69-55510CD5475C}"/>
                  </a:ext>
                </a:extLst>
              </p:cNvPr>
              <p:cNvGrpSpPr/>
              <p:nvPr>
                <p:custDataLst>
                  <p:tags r:id="rId400"/>
                </p:custDataLst>
              </p:nvPr>
            </p:nvGrpSpPr>
            <p:grpSpPr>
              <a:xfrm>
                <a:off x="9257480" y="2805173"/>
                <a:ext cx="2054831" cy="1550774"/>
                <a:chOff x="9257480" y="2805173"/>
                <a:chExt cx="2054831" cy="1550774"/>
              </a:xfrm>
              <a:grpFill/>
            </p:grpSpPr>
            <p:sp>
              <p:nvSpPr>
                <p:cNvPr id="206" name="China group">
                  <a:extLst>
                    <a:ext uri="{FF2B5EF4-FFF2-40B4-BE49-F238E27FC236}">
                      <a16:creationId xmlns:a16="http://schemas.microsoft.com/office/drawing/2014/main" id="{9C098F11-A909-181B-F2A9-4679C0328743}"/>
                    </a:ext>
                  </a:extLst>
                </p:cNvPr>
                <p:cNvSpPr/>
                <p:nvPr>
                  <p:custDataLst>
                    <p:tags r:id="rId401"/>
                  </p:custDataLst>
                </p:nvPr>
              </p:nvSpPr>
              <p:spPr>
                <a:xfrm>
                  <a:off x="9257480" y="2805173"/>
                  <a:ext cx="2054831" cy="1550774"/>
                </a:xfrm>
                <a:custGeom>
                  <a:avLst/>
                  <a:gdLst>
                    <a:gd name="connsiteX0" fmla="*/ 2393717 w 2399387"/>
                    <a:gd name="connsiteY0" fmla="*/ 340462 h 1810810"/>
                    <a:gd name="connsiteX1" fmla="*/ 2361722 w 2399387"/>
                    <a:gd name="connsiteY1" fmla="*/ 330855 h 1810810"/>
                    <a:gd name="connsiteX2" fmla="*/ 2322636 w 2399387"/>
                    <a:gd name="connsiteY2" fmla="*/ 347347 h 1810810"/>
                    <a:gd name="connsiteX3" fmla="*/ 2287095 w 2399387"/>
                    <a:gd name="connsiteY3" fmla="*/ 356995 h 1810810"/>
                    <a:gd name="connsiteX4" fmla="*/ 2248009 w 2399387"/>
                    <a:gd name="connsiteY4" fmla="*/ 339142 h 1810810"/>
                    <a:gd name="connsiteX5" fmla="*/ 2239763 w 2399387"/>
                    <a:gd name="connsiteY5" fmla="*/ 299396 h 1810810"/>
                    <a:gd name="connsiteX6" fmla="*/ 2211313 w 2399387"/>
                    <a:gd name="connsiteY6" fmla="*/ 277420 h 1810810"/>
                    <a:gd name="connsiteX7" fmla="*/ 2171072 w 2399387"/>
                    <a:gd name="connsiteY7" fmla="*/ 256805 h 1810810"/>
                    <a:gd name="connsiteX8" fmla="*/ 2131945 w 2399387"/>
                    <a:gd name="connsiteY8" fmla="*/ 240313 h 1810810"/>
                    <a:gd name="connsiteX9" fmla="*/ 2116566 w 2399387"/>
                    <a:gd name="connsiteY9" fmla="*/ 214255 h 1810810"/>
                    <a:gd name="connsiteX10" fmla="*/ 2096404 w 2399387"/>
                    <a:gd name="connsiteY10" fmla="*/ 157975 h 1810810"/>
                    <a:gd name="connsiteX11" fmla="*/ 2072738 w 2399387"/>
                    <a:gd name="connsiteY11" fmla="*/ 103098 h 1810810"/>
                    <a:gd name="connsiteX12" fmla="*/ 2053772 w 2399387"/>
                    <a:gd name="connsiteY12" fmla="*/ 60630 h 1810810"/>
                    <a:gd name="connsiteX13" fmla="*/ 2027714 w 2399387"/>
                    <a:gd name="connsiteY13" fmla="*/ 26285 h 1810810"/>
                    <a:gd name="connsiteX14" fmla="*/ 1979144 w 2399387"/>
                    <a:gd name="connsiteY14" fmla="*/ 9793 h 1810810"/>
                    <a:gd name="connsiteX15" fmla="*/ 1934162 w 2399387"/>
                    <a:gd name="connsiteY15" fmla="*/ 1547 h 1810810"/>
                    <a:gd name="connsiteX16" fmla="*/ 1874956 w 2399387"/>
                    <a:gd name="connsiteY16" fmla="*/ 7031 h 1810810"/>
                    <a:gd name="connsiteX17" fmla="*/ 1823995 w 2399387"/>
                    <a:gd name="connsiteY17" fmla="*/ 26203 h 1810810"/>
                    <a:gd name="connsiteX18" fmla="*/ 1827541 w 2399387"/>
                    <a:gd name="connsiteY18" fmla="*/ 50941 h 1810810"/>
                    <a:gd name="connsiteX19" fmla="*/ 1839415 w 2399387"/>
                    <a:gd name="connsiteY19" fmla="*/ 83925 h 1810810"/>
                    <a:gd name="connsiteX20" fmla="*/ 1821644 w 2399387"/>
                    <a:gd name="connsiteY20" fmla="*/ 107262 h 1810810"/>
                    <a:gd name="connsiteX21" fmla="*/ 1796906 w 2399387"/>
                    <a:gd name="connsiteY21" fmla="*/ 151172 h 1810810"/>
                    <a:gd name="connsiteX22" fmla="*/ 1777899 w 2399387"/>
                    <a:gd name="connsiteY22" fmla="*/ 199165 h 1810810"/>
                    <a:gd name="connsiteX23" fmla="*/ 1760170 w 2399387"/>
                    <a:gd name="connsiteY23" fmla="*/ 219780 h 1810810"/>
                    <a:gd name="connsiteX24" fmla="*/ 1722279 w 2399387"/>
                    <a:gd name="connsiteY24" fmla="*/ 243116 h 1810810"/>
                    <a:gd name="connsiteX25" fmla="*/ 1683193 w 2399387"/>
                    <a:gd name="connsiteY25" fmla="*/ 230747 h 1810810"/>
                    <a:gd name="connsiteX26" fmla="*/ 1674245 w 2399387"/>
                    <a:gd name="connsiteY26" fmla="*/ 223037 h 1810810"/>
                    <a:gd name="connsiteX27" fmla="*/ 1642209 w 2399387"/>
                    <a:gd name="connsiteY27" fmla="*/ 297252 h 1810810"/>
                    <a:gd name="connsiteX28" fmla="*/ 1639612 w 2399387"/>
                    <a:gd name="connsiteY28" fmla="*/ 321124 h 1810810"/>
                    <a:gd name="connsiteX29" fmla="*/ 1634458 w 2399387"/>
                    <a:gd name="connsiteY29" fmla="*/ 345038 h 1810810"/>
                    <a:gd name="connsiteX30" fmla="*/ 1675689 w 2399387"/>
                    <a:gd name="connsiteY30" fmla="*/ 348048 h 1810810"/>
                    <a:gd name="connsiteX31" fmla="*/ 1714362 w 2399387"/>
                    <a:gd name="connsiteY31" fmla="*/ 354026 h 1810810"/>
                    <a:gd name="connsiteX32" fmla="*/ 1753078 w 2399387"/>
                    <a:gd name="connsiteY32" fmla="*/ 348048 h 1810810"/>
                    <a:gd name="connsiteX33" fmla="*/ 1804699 w 2399387"/>
                    <a:gd name="connsiteY33" fmla="*/ 410801 h 1810810"/>
                    <a:gd name="connsiteX34" fmla="*/ 1763468 w 2399387"/>
                    <a:gd name="connsiteY34" fmla="*/ 416779 h 1810810"/>
                    <a:gd name="connsiteX35" fmla="*/ 1711848 w 2399387"/>
                    <a:gd name="connsiteY35" fmla="*/ 428736 h 1810810"/>
                    <a:gd name="connsiteX36" fmla="*/ 1662783 w 2399387"/>
                    <a:gd name="connsiteY36" fmla="*/ 452649 h 1810810"/>
                    <a:gd name="connsiteX37" fmla="*/ 1626665 w 2399387"/>
                    <a:gd name="connsiteY37" fmla="*/ 491530 h 1810810"/>
                    <a:gd name="connsiteX38" fmla="*/ 1567335 w 2399387"/>
                    <a:gd name="connsiteY38" fmla="*/ 512434 h 1810810"/>
                    <a:gd name="connsiteX39" fmla="*/ 1502810 w 2399387"/>
                    <a:gd name="connsiteY39" fmla="*/ 518412 h 1810810"/>
                    <a:gd name="connsiteX40" fmla="*/ 1464094 w 2399387"/>
                    <a:gd name="connsiteY40" fmla="*/ 530369 h 1810810"/>
                    <a:gd name="connsiteX41" fmla="*/ 1474401 w 2399387"/>
                    <a:gd name="connsiteY41" fmla="*/ 583969 h 1810810"/>
                    <a:gd name="connsiteX42" fmla="*/ 1425379 w 2399387"/>
                    <a:gd name="connsiteY42" fmla="*/ 628827 h 1810810"/>
                    <a:gd name="connsiteX43" fmla="*/ 1353143 w 2399387"/>
                    <a:gd name="connsiteY43" fmla="*/ 664739 h 1810810"/>
                    <a:gd name="connsiteX44" fmla="*/ 1262848 w 2399387"/>
                    <a:gd name="connsiteY44" fmla="*/ 667708 h 1810810"/>
                    <a:gd name="connsiteX45" fmla="*/ 1193127 w 2399387"/>
                    <a:gd name="connsiteY45" fmla="*/ 709515 h 1810810"/>
                    <a:gd name="connsiteX46" fmla="*/ 1162163 w 2399387"/>
                    <a:gd name="connsiteY46" fmla="*/ 691580 h 1810810"/>
                    <a:gd name="connsiteX47" fmla="*/ 1120933 w 2399387"/>
                    <a:gd name="connsiteY47" fmla="*/ 679623 h 1810810"/>
                    <a:gd name="connsiteX48" fmla="*/ 1077064 w 2399387"/>
                    <a:gd name="connsiteY48" fmla="*/ 667708 h 1810810"/>
                    <a:gd name="connsiteX49" fmla="*/ 1004828 w 2399387"/>
                    <a:gd name="connsiteY49" fmla="*/ 649772 h 1810810"/>
                    <a:gd name="connsiteX50" fmla="*/ 909296 w 2399387"/>
                    <a:gd name="connsiteY50" fmla="*/ 646763 h 1810810"/>
                    <a:gd name="connsiteX51" fmla="*/ 857676 w 2399387"/>
                    <a:gd name="connsiteY51" fmla="*/ 640825 h 1810810"/>
                    <a:gd name="connsiteX52" fmla="*/ 834505 w 2399387"/>
                    <a:gd name="connsiteY52" fmla="*/ 592998 h 1810810"/>
                    <a:gd name="connsiteX53" fmla="*/ 803541 w 2399387"/>
                    <a:gd name="connsiteY53" fmla="*/ 554118 h 1810810"/>
                    <a:gd name="connsiteX54" fmla="*/ 777730 w 2399387"/>
                    <a:gd name="connsiteY54" fmla="*/ 533214 h 1810810"/>
                    <a:gd name="connsiteX55" fmla="*/ 747673 w 2399387"/>
                    <a:gd name="connsiteY55" fmla="*/ 512186 h 1810810"/>
                    <a:gd name="connsiteX56" fmla="*/ 657461 w 2399387"/>
                    <a:gd name="connsiteY56" fmla="*/ 486582 h 1810810"/>
                    <a:gd name="connsiteX57" fmla="*/ 666491 w 2399387"/>
                    <a:gd name="connsiteY57" fmla="*/ 448609 h 1810810"/>
                    <a:gd name="connsiteX58" fmla="*/ 668965 w 2399387"/>
                    <a:gd name="connsiteY58" fmla="*/ 402101 h 1810810"/>
                    <a:gd name="connsiteX59" fmla="*/ 647607 w 2399387"/>
                    <a:gd name="connsiteY59" fmla="*/ 366973 h 1810810"/>
                    <a:gd name="connsiteX60" fmla="*/ 613180 w 2399387"/>
                    <a:gd name="connsiteY60" fmla="*/ 334648 h 1810810"/>
                    <a:gd name="connsiteX61" fmla="*/ 577144 w 2399387"/>
                    <a:gd name="connsiteY61" fmla="*/ 311889 h 1810810"/>
                    <a:gd name="connsiteX62" fmla="*/ 548283 w 2399387"/>
                    <a:gd name="connsiteY62" fmla="*/ 269133 h 1810810"/>
                    <a:gd name="connsiteX63" fmla="*/ 546963 w 2399387"/>
                    <a:gd name="connsiteY63" fmla="*/ 263567 h 1810810"/>
                    <a:gd name="connsiteX64" fmla="*/ 531667 w 2399387"/>
                    <a:gd name="connsiteY64" fmla="*/ 260763 h 1810810"/>
                    <a:gd name="connsiteX65" fmla="*/ 521153 w 2399387"/>
                    <a:gd name="connsiteY65" fmla="*/ 253506 h 1810810"/>
                    <a:gd name="connsiteX66" fmla="*/ 507258 w 2399387"/>
                    <a:gd name="connsiteY66" fmla="*/ 283398 h 1810810"/>
                    <a:gd name="connsiteX67" fmla="*/ 490065 w 2399387"/>
                    <a:gd name="connsiteY67" fmla="*/ 309003 h 1810810"/>
                    <a:gd name="connsiteX68" fmla="*/ 463802 w 2399387"/>
                    <a:gd name="connsiteY68" fmla="*/ 344131 h 1810810"/>
                    <a:gd name="connsiteX69" fmla="*/ 469574 w 2399387"/>
                    <a:gd name="connsiteY69" fmla="*/ 381238 h 1810810"/>
                    <a:gd name="connsiteX70" fmla="*/ 431848 w 2399387"/>
                    <a:gd name="connsiteY70" fmla="*/ 397360 h 1810810"/>
                    <a:gd name="connsiteX71" fmla="*/ 394741 w 2399387"/>
                    <a:gd name="connsiteY71" fmla="*/ 393607 h 1810810"/>
                    <a:gd name="connsiteX72" fmla="*/ 367693 w 2399387"/>
                    <a:gd name="connsiteY72" fmla="*/ 393607 h 1810810"/>
                    <a:gd name="connsiteX73" fmla="*/ 342955 w 2399387"/>
                    <a:gd name="connsiteY73" fmla="*/ 482830 h 1810810"/>
                    <a:gd name="connsiteX74" fmla="*/ 342955 w 2399387"/>
                    <a:gd name="connsiteY74" fmla="*/ 504641 h 1810810"/>
                    <a:gd name="connsiteX75" fmla="*/ 314094 w 2399387"/>
                    <a:gd name="connsiteY75" fmla="*/ 496107 h 1810810"/>
                    <a:gd name="connsiteX76" fmla="*/ 276409 w 2399387"/>
                    <a:gd name="connsiteY76" fmla="*/ 504641 h 1810810"/>
                    <a:gd name="connsiteX77" fmla="*/ 253361 w 2399387"/>
                    <a:gd name="connsiteY77" fmla="*/ 522824 h 1810810"/>
                    <a:gd name="connsiteX78" fmla="*/ 262267 w 2399387"/>
                    <a:gd name="connsiteY78" fmla="*/ 562941 h 1810810"/>
                    <a:gd name="connsiteX79" fmla="*/ 278265 w 2399387"/>
                    <a:gd name="connsiteY79" fmla="*/ 614397 h 1810810"/>
                    <a:gd name="connsiteX80" fmla="*/ 256948 w 2399387"/>
                    <a:gd name="connsiteY80" fmla="*/ 649360 h 1810810"/>
                    <a:gd name="connsiteX81" fmla="*/ 254310 w 2399387"/>
                    <a:gd name="connsiteY81" fmla="*/ 678221 h 1810810"/>
                    <a:gd name="connsiteX82" fmla="*/ 218727 w 2399387"/>
                    <a:gd name="connsiteY82" fmla="*/ 698837 h 1810810"/>
                    <a:gd name="connsiteX83" fmla="*/ 187639 w 2399387"/>
                    <a:gd name="connsiteY83" fmla="*/ 719452 h 1810810"/>
                    <a:gd name="connsiteX84" fmla="*/ 155686 w 2399387"/>
                    <a:gd name="connsiteY84" fmla="*/ 740067 h 1810810"/>
                    <a:gd name="connsiteX85" fmla="*/ 119239 w 2399387"/>
                    <a:gd name="connsiteY85" fmla="*/ 752436 h 1810810"/>
                    <a:gd name="connsiteX86" fmla="*/ 95242 w 2399387"/>
                    <a:gd name="connsiteY86" fmla="*/ 770949 h 1810810"/>
                    <a:gd name="connsiteX87" fmla="*/ 70504 w 2399387"/>
                    <a:gd name="connsiteY87" fmla="*/ 761713 h 1810810"/>
                    <a:gd name="connsiteX88" fmla="*/ 46508 w 2399387"/>
                    <a:gd name="connsiteY88" fmla="*/ 770949 h 1810810"/>
                    <a:gd name="connsiteX89" fmla="*/ 24326 w 2399387"/>
                    <a:gd name="connsiteY89" fmla="*/ 787441 h 1810810"/>
                    <a:gd name="connsiteX90" fmla="*/ 6555 w 2399387"/>
                    <a:gd name="connsiteY90" fmla="*/ 799810 h 1810810"/>
                    <a:gd name="connsiteX91" fmla="*/ 1 w 2399387"/>
                    <a:gd name="connsiteY91" fmla="*/ 822817 h 1810810"/>
                    <a:gd name="connsiteX92" fmla="*/ 1 w 2399387"/>
                    <a:gd name="connsiteY92" fmla="*/ 822817 h 1810810"/>
                    <a:gd name="connsiteX93" fmla="*/ 6308 w 2399387"/>
                    <a:gd name="connsiteY93" fmla="*/ 863058 h 1810810"/>
                    <a:gd name="connsiteX94" fmla="*/ 45848 w 2399387"/>
                    <a:gd name="connsiteY94" fmla="*/ 892414 h 1810810"/>
                    <a:gd name="connsiteX95" fmla="*/ 53764 w 2399387"/>
                    <a:gd name="connsiteY95" fmla="*/ 954713 h 1810810"/>
                    <a:gd name="connsiteX96" fmla="*/ 52610 w 2399387"/>
                    <a:gd name="connsiteY96" fmla="*/ 954713 h 1810810"/>
                    <a:gd name="connsiteX97" fmla="*/ 89099 w 2399387"/>
                    <a:gd name="connsiteY97" fmla="*/ 989017 h 1810810"/>
                    <a:gd name="connsiteX98" fmla="*/ 109714 w 2399387"/>
                    <a:gd name="connsiteY98" fmla="*/ 1023980 h 1810810"/>
                    <a:gd name="connsiteX99" fmla="*/ 141008 w 2399387"/>
                    <a:gd name="connsiteY99" fmla="*/ 1043194 h 1810810"/>
                    <a:gd name="connsiteX100" fmla="*/ 142492 w 2399387"/>
                    <a:gd name="connsiteY100" fmla="*/ 1038823 h 1810810"/>
                    <a:gd name="connsiteX101" fmla="*/ 158284 w 2399387"/>
                    <a:gd name="connsiteY101" fmla="*/ 1037009 h 1810810"/>
                    <a:gd name="connsiteX102" fmla="*/ 167354 w 2399387"/>
                    <a:gd name="connsiteY102" fmla="*/ 1045956 h 1810810"/>
                    <a:gd name="connsiteX103" fmla="*/ 212708 w 2399387"/>
                    <a:gd name="connsiteY103" fmla="*/ 1015734 h 1810810"/>
                    <a:gd name="connsiteX104" fmla="*/ 258886 w 2399387"/>
                    <a:gd name="connsiteY104" fmla="*/ 1060015 h 1810810"/>
                    <a:gd name="connsiteX105" fmla="*/ 218892 w 2399387"/>
                    <a:gd name="connsiteY105" fmla="*/ 1115553 h 1810810"/>
                    <a:gd name="connsiteX106" fmla="*/ 201823 w 2399387"/>
                    <a:gd name="connsiteY106" fmla="*/ 1117573 h 1810810"/>
                    <a:gd name="connsiteX107" fmla="*/ 199349 w 2399387"/>
                    <a:gd name="connsiteY107" fmla="*/ 1134065 h 1810810"/>
                    <a:gd name="connsiteX108" fmla="*/ 221490 w 2399387"/>
                    <a:gd name="connsiteY108" fmla="*/ 1174348 h 1810810"/>
                    <a:gd name="connsiteX109" fmla="*/ 197783 w 2399387"/>
                    <a:gd name="connsiteY109" fmla="*/ 1190840 h 1810810"/>
                    <a:gd name="connsiteX110" fmla="*/ 188300 w 2399387"/>
                    <a:gd name="connsiteY110" fmla="*/ 1210960 h 1810810"/>
                    <a:gd name="connsiteX111" fmla="*/ 202524 w 2399387"/>
                    <a:gd name="connsiteY111" fmla="*/ 1247655 h 1810810"/>
                    <a:gd name="connsiteX112" fmla="*/ 235508 w 2399387"/>
                    <a:gd name="connsiteY112" fmla="*/ 1275074 h 1810810"/>
                    <a:gd name="connsiteX113" fmla="*/ 259257 w 2399387"/>
                    <a:gd name="connsiteY113" fmla="*/ 1298905 h 1810810"/>
                    <a:gd name="connsiteX114" fmla="*/ 276656 w 2399387"/>
                    <a:gd name="connsiteY114" fmla="*/ 1319066 h 1810810"/>
                    <a:gd name="connsiteX115" fmla="*/ 275873 w 2399387"/>
                    <a:gd name="connsiteY115" fmla="*/ 1321870 h 1810810"/>
                    <a:gd name="connsiteX116" fmla="*/ 300611 w 2399387"/>
                    <a:gd name="connsiteY116" fmla="*/ 1313088 h 1810810"/>
                    <a:gd name="connsiteX117" fmla="*/ 332606 w 2399387"/>
                    <a:gd name="connsiteY117" fmla="*/ 1320262 h 1810810"/>
                    <a:gd name="connsiteX118" fmla="*/ 414325 w 2399387"/>
                    <a:gd name="connsiteY118" fmla="*/ 1389200 h 1810810"/>
                    <a:gd name="connsiteX119" fmla="*/ 491632 w 2399387"/>
                    <a:gd name="connsiteY119" fmla="*/ 1425235 h 1810810"/>
                    <a:gd name="connsiteX120" fmla="*/ 544078 w 2399387"/>
                    <a:gd name="connsiteY120" fmla="*/ 1436532 h 1810810"/>
                    <a:gd name="connsiteX121" fmla="*/ 553231 w 2399387"/>
                    <a:gd name="connsiteY121" fmla="*/ 1436779 h 1810810"/>
                    <a:gd name="connsiteX122" fmla="*/ 566300 w 2399387"/>
                    <a:gd name="connsiteY122" fmla="*/ 1425317 h 1810810"/>
                    <a:gd name="connsiteX123" fmla="*/ 578958 w 2399387"/>
                    <a:gd name="connsiteY123" fmla="*/ 1449107 h 1810810"/>
                    <a:gd name="connsiteX124" fmla="*/ 581226 w 2399387"/>
                    <a:gd name="connsiteY124" fmla="*/ 1469475 h 1810810"/>
                    <a:gd name="connsiteX125" fmla="*/ 590255 w 2399387"/>
                    <a:gd name="connsiteY125" fmla="*/ 1449891 h 1810810"/>
                    <a:gd name="connsiteX126" fmla="*/ 618704 w 2399387"/>
                    <a:gd name="connsiteY126" fmla="*/ 1421029 h 1810810"/>
                    <a:gd name="connsiteX127" fmla="*/ 651688 w 2399387"/>
                    <a:gd name="connsiteY127" fmla="*/ 1427214 h 1810810"/>
                    <a:gd name="connsiteX128" fmla="*/ 697908 w 2399387"/>
                    <a:gd name="connsiteY128" fmla="*/ 1441851 h 1810810"/>
                    <a:gd name="connsiteX129" fmla="*/ 711927 w 2399387"/>
                    <a:gd name="connsiteY129" fmla="*/ 1436243 h 1810810"/>
                    <a:gd name="connsiteX130" fmla="*/ 730933 w 2399387"/>
                    <a:gd name="connsiteY130" fmla="*/ 1416082 h 1810810"/>
                    <a:gd name="connsiteX131" fmla="*/ 746725 w 2399387"/>
                    <a:gd name="connsiteY131" fmla="*/ 1397776 h 1810810"/>
                    <a:gd name="connsiteX132" fmla="*/ 781523 w 2399387"/>
                    <a:gd name="connsiteY132" fmla="*/ 1372130 h 1810810"/>
                    <a:gd name="connsiteX133" fmla="*/ 828979 w 2399387"/>
                    <a:gd name="connsiteY133" fmla="*/ 1370316 h 1810810"/>
                    <a:gd name="connsiteX134" fmla="*/ 849595 w 2399387"/>
                    <a:gd name="connsiteY134" fmla="*/ 1366646 h 1810810"/>
                    <a:gd name="connsiteX135" fmla="*/ 865428 w 2399387"/>
                    <a:gd name="connsiteY135" fmla="*/ 1397776 h 1810810"/>
                    <a:gd name="connsiteX136" fmla="*/ 888434 w 2399387"/>
                    <a:gd name="connsiteY136" fmla="*/ 1412247 h 1810810"/>
                    <a:gd name="connsiteX137" fmla="*/ 895155 w 2399387"/>
                    <a:gd name="connsiteY137" fmla="*/ 1407671 h 1810810"/>
                    <a:gd name="connsiteX138" fmla="*/ 921831 w 2399387"/>
                    <a:gd name="connsiteY138" fmla="*/ 1421029 h 1810810"/>
                    <a:gd name="connsiteX139" fmla="*/ 930737 w 2399387"/>
                    <a:gd name="connsiteY139" fmla="*/ 1446757 h 1810810"/>
                    <a:gd name="connsiteX140" fmla="*/ 946693 w 2399387"/>
                    <a:gd name="connsiteY140" fmla="*/ 1469393 h 1810810"/>
                    <a:gd name="connsiteX141" fmla="*/ 936921 w 2399387"/>
                    <a:gd name="connsiteY141" fmla="*/ 1537341 h 1810810"/>
                    <a:gd name="connsiteX142" fmla="*/ 903937 w 2399387"/>
                    <a:gd name="connsiteY142" fmla="*/ 1602114 h 1810810"/>
                    <a:gd name="connsiteX143" fmla="*/ 911029 w 2399387"/>
                    <a:gd name="connsiteY143" fmla="*/ 1624749 h 1810810"/>
                    <a:gd name="connsiteX144" fmla="*/ 947434 w 2399387"/>
                    <a:gd name="connsiteY144" fmla="*/ 1632995 h 1810810"/>
                    <a:gd name="connsiteX145" fmla="*/ 959804 w 2399387"/>
                    <a:gd name="connsiteY145" fmla="*/ 1671051 h 1810810"/>
                    <a:gd name="connsiteX146" fmla="*/ 974895 w 2399387"/>
                    <a:gd name="connsiteY146" fmla="*/ 1691666 h 1810810"/>
                    <a:gd name="connsiteX147" fmla="*/ 974895 w 2399387"/>
                    <a:gd name="connsiteY147" fmla="*/ 1722506 h 1810810"/>
                    <a:gd name="connsiteX148" fmla="*/ 997117 w 2399387"/>
                    <a:gd name="connsiteY148" fmla="*/ 1734876 h 1810810"/>
                    <a:gd name="connsiteX149" fmla="*/ 1021856 w 2399387"/>
                    <a:gd name="connsiteY149" fmla="*/ 1750296 h 1810810"/>
                    <a:gd name="connsiteX150" fmla="*/ 1039915 w 2399387"/>
                    <a:gd name="connsiteY150" fmla="*/ 1745926 h 1810810"/>
                    <a:gd name="connsiteX151" fmla="*/ 1059664 w 2399387"/>
                    <a:gd name="connsiteY151" fmla="*/ 1767819 h 1810810"/>
                    <a:gd name="connsiteX152" fmla="*/ 1061231 w 2399387"/>
                    <a:gd name="connsiteY152" fmla="*/ 1731165 h 1810810"/>
                    <a:gd name="connsiteX153" fmla="*/ 1067581 w 2399387"/>
                    <a:gd name="connsiteY153" fmla="*/ 1707375 h 1810810"/>
                    <a:gd name="connsiteX154" fmla="*/ 1094463 w 2399387"/>
                    <a:gd name="connsiteY154" fmla="*/ 1696366 h 1810810"/>
                    <a:gd name="connsiteX155" fmla="*/ 1124520 w 2399387"/>
                    <a:gd name="connsiteY155" fmla="*/ 1692697 h 1810810"/>
                    <a:gd name="connsiteX156" fmla="*/ 1159318 w 2399387"/>
                    <a:gd name="connsiteY156" fmla="*/ 1692697 h 1810810"/>
                    <a:gd name="connsiteX157" fmla="*/ 1186201 w 2399387"/>
                    <a:gd name="connsiteY157" fmla="*/ 1687213 h 1810810"/>
                    <a:gd name="connsiteX158" fmla="*/ 1217824 w 2399387"/>
                    <a:gd name="connsiteY158" fmla="*/ 1663382 h 1810810"/>
                    <a:gd name="connsiteX159" fmla="*/ 1251015 w 2399387"/>
                    <a:gd name="connsiteY159" fmla="*/ 1683585 h 1810810"/>
                    <a:gd name="connsiteX160" fmla="*/ 1262106 w 2399387"/>
                    <a:gd name="connsiteY160" fmla="*/ 1711044 h 1810810"/>
                    <a:gd name="connsiteX161" fmla="*/ 1301646 w 2399387"/>
                    <a:gd name="connsiteY161" fmla="*/ 1745843 h 1810810"/>
                    <a:gd name="connsiteX162" fmla="*/ 1309892 w 2399387"/>
                    <a:gd name="connsiteY162" fmla="*/ 1753429 h 1810810"/>
                    <a:gd name="connsiteX163" fmla="*/ 1334383 w 2399387"/>
                    <a:gd name="connsiteY163" fmla="*/ 1745884 h 1810810"/>
                    <a:gd name="connsiteX164" fmla="*/ 1356235 w 2399387"/>
                    <a:gd name="connsiteY164" fmla="*/ 1747203 h 1810810"/>
                    <a:gd name="connsiteX165" fmla="*/ 1379365 w 2399387"/>
                    <a:gd name="connsiteY165" fmla="*/ 1747203 h 1810810"/>
                    <a:gd name="connsiteX166" fmla="*/ 1390003 w 2399387"/>
                    <a:gd name="connsiteY166" fmla="*/ 1766458 h 1810810"/>
                    <a:gd name="connsiteX167" fmla="*/ 1398908 w 2399387"/>
                    <a:gd name="connsiteY167" fmla="*/ 1806905 h 1810810"/>
                    <a:gd name="connsiteX168" fmla="*/ 1409587 w 2399387"/>
                    <a:gd name="connsiteY168" fmla="*/ 1787032 h 1810810"/>
                    <a:gd name="connsiteX169" fmla="*/ 1465825 w 2399387"/>
                    <a:gd name="connsiteY169" fmla="*/ 1747905 h 1810810"/>
                    <a:gd name="connsiteX170" fmla="*/ 1544163 w 2399387"/>
                    <a:gd name="connsiteY170" fmla="*/ 1695088 h 1810810"/>
                    <a:gd name="connsiteX171" fmla="*/ 1583250 w 2399387"/>
                    <a:gd name="connsiteY171" fmla="*/ 1696449 h 1810810"/>
                    <a:gd name="connsiteX172" fmla="*/ 1595331 w 2399387"/>
                    <a:gd name="connsiteY172" fmla="*/ 1690594 h 1810810"/>
                    <a:gd name="connsiteX173" fmla="*/ 1602752 w 2399387"/>
                    <a:gd name="connsiteY173" fmla="*/ 1683420 h 1810810"/>
                    <a:gd name="connsiteX174" fmla="*/ 1624316 w 2399387"/>
                    <a:gd name="connsiteY174" fmla="*/ 1668536 h 1810810"/>
                    <a:gd name="connsiteX175" fmla="*/ 1642085 w 2399387"/>
                    <a:gd name="connsiteY175" fmla="*/ 1652044 h 1810810"/>
                    <a:gd name="connsiteX176" fmla="*/ 1721166 w 2399387"/>
                    <a:gd name="connsiteY176" fmla="*/ 1617204 h 1810810"/>
                    <a:gd name="connsiteX177" fmla="*/ 1723021 w 2399387"/>
                    <a:gd name="connsiteY177" fmla="*/ 1609535 h 1810810"/>
                    <a:gd name="connsiteX178" fmla="*/ 1739513 w 2399387"/>
                    <a:gd name="connsiteY178" fmla="*/ 1598485 h 1810810"/>
                    <a:gd name="connsiteX179" fmla="*/ 1753903 w 2399387"/>
                    <a:gd name="connsiteY179" fmla="*/ 1530125 h 1810810"/>
                    <a:gd name="connsiteX180" fmla="*/ 1831086 w 2399387"/>
                    <a:gd name="connsiteY180" fmla="*/ 1453024 h 1810810"/>
                    <a:gd name="connsiteX181" fmla="*/ 1831704 w 2399387"/>
                    <a:gd name="connsiteY181" fmla="*/ 1452529 h 1810810"/>
                    <a:gd name="connsiteX182" fmla="*/ 1833602 w 2399387"/>
                    <a:gd name="connsiteY182" fmla="*/ 1444283 h 1810810"/>
                    <a:gd name="connsiteX183" fmla="*/ 1859658 w 2399387"/>
                    <a:gd name="connsiteY183" fmla="*/ 1416164 h 1810810"/>
                    <a:gd name="connsiteX184" fmla="*/ 1867905 w 2399387"/>
                    <a:gd name="connsiteY184" fmla="*/ 1378438 h 1810810"/>
                    <a:gd name="connsiteX185" fmla="*/ 1874461 w 2399387"/>
                    <a:gd name="connsiteY185" fmla="*/ 1360586 h 1810810"/>
                    <a:gd name="connsiteX186" fmla="*/ 1891571 w 2399387"/>
                    <a:gd name="connsiteY186" fmla="*/ 1332508 h 1810810"/>
                    <a:gd name="connsiteX187" fmla="*/ 1875079 w 2399387"/>
                    <a:gd name="connsiteY187" fmla="*/ 1326983 h 1810810"/>
                    <a:gd name="connsiteX188" fmla="*/ 1851949 w 2399387"/>
                    <a:gd name="connsiteY188" fmla="*/ 1317376 h 1810810"/>
                    <a:gd name="connsiteX189" fmla="*/ 1837766 w 2399387"/>
                    <a:gd name="connsiteY189" fmla="*/ 1307811 h 1810810"/>
                    <a:gd name="connsiteX190" fmla="*/ 1879821 w 2399387"/>
                    <a:gd name="connsiteY190" fmla="*/ 1283773 h 1810810"/>
                    <a:gd name="connsiteX191" fmla="*/ 1855535 w 2399387"/>
                    <a:gd name="connsiteY191" fmla="*/ 1258416 h 1810810"/>
                    <a:gd name="connsiteX192" fmla="*/ 1819995 w 2399387"/>
                    <a:gd name="connsiteY192" fmla="*/ 1228195 h 1810810"/>
                    <a:gd name="connsiteX193" fmla="*/ 1842507 w 2399387"/>
                    <a:gd name="connsiteY193" fmla="*/ 1226834 h 1810810"/>
                    <a:gd name="connsiteX194" fmla="*/ 1878048 w 2399387"/>
                    <a:gd name="connsiteY194" fmla="*/ 1235080 h 1810810"/>
                    <a:gd name="connsiteX195" fmla="*/ 1844280 w 2399387"/>
                    <a:gd name="connsiteY195" fmla="*/ 1191170 h 1810810"/>
                    <a:gd name="connsiteX196" fmla="*/ 1837188 w 2399387"/>
                    <a:gd name="connsiteY196" fmla="*/ 1163050 h 1810810"/>
                    <a:gd name="connsiteX197" fmla="*/ 1811667 w 2399387"/>
                    <a:gd name="connsiteY197" fmla="*/ 1106812 h 1810810"/>
                    <a:gd name="connsiteX198" fmla="*/ 1776167 w 2399387"/>
                    <a:gd name="connsiteY198" fmla="*/ 1077951 h 1810810"/>
                    <a:gd name="connsiteX199" fmla="*/ 1795133 w 2399387"/>
                    <a:gd name="connsiteY199" fmla="*/ 1034741 h 1810810"/>
                    <a:gd name="connsiteX200" fmla="*/ 1814100 w 2399387"/>
                    <a:gd name="connsiteY200" fmla="*/ 1010003 h 1810810"/>
                    <a:gd name="connsiteX201" fmla="*/ 1835992 w 2399387"/>
                    <a:gd name="connsiteY201" fmla="*/ 992191 h 1810810"/>
                    <a:gd name="connsiteX202" fmla="*/ 1860278 w 2399387"/>
                    <a:gd name="connsiteY202" fmla="*/ 977761 h 1810810"/>
                    <a:gd name="connsiteX203" fmla="*/ 1905879 w 2399387"/>
                    <a:gd name="connsiteY203" fmla="*/ 962011 h 1810810"/>
                    <a:gd name="connsiteX204" fmla="*/ 1882748 w 2399387"/>
                    <a:gd name="connsiteY204" fmla="*/ 932490 h 1810810"/>
                    <a:gd name="connsiteX205" fmla="*/ 1843662 w 2399387"/>
                    <a:gd name="connsiteY205" fmla="*/ 913977 h 1810810"/>
                    <a:gd name="connsiteX206" fmla="*/ 1790351 w 2399387"/>
                    <a:gd name="connsiteY206" fmla="*/ 954466 h 1810810"/>
                    <a:gd name="connsiteX207" fmla="*/ 1765613 w 2399387"/>
                    <a:gd name="connsiteY207" fmla="*/ 917358 h 1810810"/>
                    <a:gd name="connsiteX208" fmla="*/ 1724176 w 2399387"/>
                    <a:gd name="connsiteY208" fmla="*/ 900866 h 1810810"/>
                    <a:gd name="connsiteX209" fmla="*/ 1723598 w 2399387"/>
                    <a:gd name="connsiteY209" fmla="*/ 843143 h 1810810"/>
                    <a:gd name="connsiteX210" fmla="*/ 1773363 w 2399387"/>
                    <a:gd name="connsiteY210" fmla="*/ 825991 h 1810810"/>
                    <a:gd name="connsiteX211" fmla="*/ 1820119 w 2399387"/>
                    <a:gd name="connsiteY211" fmla="*/ 788266 h 1810810"/>
                    <a:gd name="connsiteX212" fmla="*/ 1888232 w 2399387"/>
                    <a:gd name="connsiteY212" fmla="*/ 757384 h 1810810"/>
                    <a:gd name="connsiteX213" fmla="*/ 1860978 w 2399387"/>
                    <a:gd name="connsiteY213" fmla="*/ 820467 h 1810810"/>
                    <a:gd name="connsiteX214" fmla="*/ 1855082 w 2399387"/>
                    <a:gd name="connsiteY214" fmla="*/ 856131 h 1810810"/>
                    <a:gd name="connsiteX215" fmla="*/ 1882872 w 2399387"/>
                    <a:gd name="connsiteY215" fmla="*/ 855471 h 1810810"/>
                    <a:gd name="connsiteX216" fmla="*/ 1957087 w 2399387"/>
                    <a:gd name="connsiteY216" fmla="*/ 807479 h 1810810"/>
                    <a:gd name="connsiteX217" fmla="*/ 1976423 w 2399387"/>
                    <a:gd name="connsiteY217" fmla="*/ 804634 h 1810810"/>
                    <a:gd name="connsiteX218" fmla="*/ 1987721 w 2399387"/>
                    <a:gd name="connsiteY218" fmla="*/ 784019 h 1810810"/>
                    <a:gd name="connsiteX219" fmla="*/ 2062554 w 2399387"/>
                    <a:gd name="connsiteY219" fmla="*/ 736191 h 1810810"/>
                    <a:gd name="connsiteX220" fmla="*/ 2088364 w 2399387"/>
                    <a:gd name="connsiteY220" fmla="*/ 703207 h 1810810"/>
                    <a:gd name="connsiteX221" fmla="*/ 2114174 w 2399387"/>
                    <a:gd name="connsiteY221" fmla="*/ 715123 h 1810810"/>
                    <a:gd name="connsiteX222" fmla="*/ 2139943 w 2399387"/>
                    <a:gd name="connsiteY222" fmla="*/ 706176 h 1810810"/>
                    <a:gd name="connsiteX223" fmla="*/ 2155446 w 2399387"/>
                    <a:gd name="connsiteY223" fmla="*/ 688199 h 1810810"/>
                    <a:gd name="connsiteX224" fmla="*/ 2183854 w 2399387"/>
                    <a:gd name="connsiteY224" fmla="*/ 664368 h 1810810"/>
                    <a:gd name="connsiteX225" fmla="*/ 2207066 w 2399387"/>
                    <a:gd name="connsiteY225" fmla="*/ 628456 h 1810810"/>
                    <a:gd name="connsiteX226" fmla="*/ 2240629 w 2399387"/>
                    <a:gd name="connsiteY226" fmla="*/ 643423 h 1810810"/>
                    <a:gd name="connsiteX227" fmla="*/ 2251637 w 2399387"/>
                    <a:gd name="connsiteY227" fmla="*/ 645237 h 1810810"/>
                    <a:gd name="connsiteX228" fmla="*/ 2261409 w 2399387"/>
                    <a:gd name="connsiteY228" fmla="*/ 636744 h 1810810"/>
                    <a:gd name="connsiteX229" fmla="*/ 2258563 w 2399387"/>
                    <a:gd name="connsiteY229" fmla="*/ 592380 h 1810810"/>
                    <a:gd name="connsiteX230" fmla="*/ 2256173 w 2399387"/>
                    <a:gd name="connsiteY230" fmla="*/ 553994 h 1810810"/>
                    <a:gd name="connsiteX231" fmla="*/ 2262109 w 2399387"/>
                    <a:gd name="connsiteY231" fmla="*/ 521010 h 1810810"/>
                    <a:gd name="connsiteX232" fmla="*/ 2295094 w 2399387"/>
                    <a:gd name="connsiteY232" fmla="*/ 503157 h 1810810"/>
                    <a:gd name="connsiteX233" fmla="*/ 2330634 w 2399387"/>
                    <a:gd name="connsiteY233" fmla="*/ 503157 h 1810810"/>
                    <a:gd name="connsiteX234" fmla="*/ 2349600 w 2399387"/>
                    <a:gd name="connsiteY234" fmla="*/ 472976 h 1810810"/>
                    <a:gd name="connsiteX235" fmla="*/ 2373267 w 2399387"/>
                    <a:gd name="connsiteY235" fmla="*/ 437312 h 1810810"/>
                    <a:gd name="connsiteX236" fmla="*/ 2394582 w 2399387"/>
                    <a:gd name="connsiteY236" fmla="*/ 378311 h 1810810"/>
                    <a:gd name="connsiteX237" fmla="*/ 2393717 w 2399387"/>
                    <a:gd name="connsiteY237" fmla="*/ 340462 h 18108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</a:cxnLst>
                  <a:rect l="l" t="t" r="r" b="b"/>
                  <a:pathLst>
                    <a:path w="2399387" h="1810810">
                      <a:moveTo>
                        <a:pt x="2393717" y="340462"/>
                      </a:moveTo>
                      <a:cubicBezTo>
                        <a:pt x="2394913" y="315723"/>
                        <a:pt x="2369968" y="323969"/>
                        <a:pt x="2361722" y="330855"/>
                      </a:cubicBezTo>
                      <a:cubicBezTo>
                        <a:pt x="2353476" y="337740"/>
                        <a:pt x="2329768" y="330855"/>
                        <a:pt x="2322636" y="347347"/>
                      </a:cubicBezTo>
                      <a:cubicBezTo>
                        <a:pt x="2315503" y="363839"/>
                        <a:pt x="2303670" y="354232"/>
                        <a:pt x="2287095" y="356995"/>
                      </a:cubicBezTo>
                      <a:cubicBezTo>
                        <a:pt x="2270521" y="359757"/>
                        <a:pt x="2246813" y="351470"/>
                        <a:pt x="2248009" y="339142"/>
                      </a:cubicBezTo>
                      <a:cubicBezTo>
                        <a:pt x="2249204" y="326814"/>
                        <a:pt x="2238526" y="314404"/>
                        <a:pt x="2239763" y="299396"/>
                      </a:cubicBezTo>
                      <a:cubicBezTo>
                        <a:pt x="2240999" y="284388"/>
                        <a:pt x="2223271" y="291150"/>
                        <a:pt x="2211313" y="277420"/>
                      </a:cubicBezTo>
                      <a:cubicBezTo>
                        <a:pt x="2199357" y="263690"/>
                        <a:pt x="2175814" y="254084"/>
                        <a:pt x="2171072" y="256805"/>
                      </a:cubicBezTo>
                      <a:cubicBezTo>
                        <a:pt x="2166331" y="259526"/>
                        <a:pt x="2152107" y="241715"/>
                        <a:pt x="2131945" y="240313"/>
                      </a:cubicBezTo>
                      <a:cubicBezTo>
                        <a:pt x="2111783" y="238911"/>
                        <a:pt x="2114215" y="223820"/>
                        <a:pt x="2116566" y="214255"/>
                      </a:cubicBezTo>
                      <a:cubicBezTo>
                        <a:pt x="2118916" y="204689"/>
                        <a:pt x="2100074" y="174468"/>
                        <a:pt x="2096404" y="157975"/>
                      </a:cubicBezTo>
                      <a:cubicBezTo>
                        <a:pt x="2092734" y="141483"/>
                        <a:pt x="2078675" y="138803"/>
                        <a:pt x="2072738" y="103098"/>
                      </a:cubicBezTo>
                      <a:cubicBezTo>
                        <a:pt x="2066800" y="67392"/>
                        <a:pt x="2050226" y="77081"/>
                        <a:pt x="2053772" y="60630"/>
                      </a:cubicBezTo>
                      <a:cubicBezTo>
                        <a:pt x="2057318" y="44179"/>
                        <a:pt x="2033652" y="35892"/>
                        <a:pt x="2027714" y="26285"/>
                      </a:cubicBezTo>
                      <a:cubicBezTo>
                        <a:pt x="2021777" y="16679"/>
                        <a:pt x="1996915" y="20802"/>
                        <a:pt x="1979144" y="9793"/>
                      </a:cubicBezTo>
                      <a:cubicBezTo>
                        <a:pt x="1961375" y="-1215"/>
                        <a:pt x="1950737" y="7072"/>
                        <a:pt x="1934162" y="1547"/>
                      </a:cubicBezTo>
                      <a:cubicBezTo>
                        <a:pt x="1917587" y="-3978"/>
                        <a:pt x="1879656" y="7031"/>
                        <a:pt x="1874956" y="7031"/>
                      </a:cubicBezTo>
                      <a:cubicBezTo>
                        <a:pt x="1870255" y="7031"/>
                        <a:pt x="1840569" y="145"/>
                        <a:pt x="1823995" y="26203"/>
                      </a:cubicBezTo>
                      <a:cubicBezTo>
                        <a:pt x="1807420" y="52261"/>
                        <a:pt x="1820448" y="50941"/>
                        <a:pt x="1827541" y="50941"/>
                      </a:cubicBezTo>
                      <a:cubicBezTo>
                        <a:pt x="1834632" y="50941"/>
                        <a:pt x="1838219" y="75679"/>
                        <a:pt x="1839415" y="83925"/>
                      </a:cubicBezTo>
                      <a:cubicBezTo>
                        <a:pt x="1840611" y="92172"/>
                        <a:pt x="1827541" y="104541"/>
                        <a:pt x="1821644" y="107262"/>
                      </a:cubicBezTo>
                      <a:cubicBezTo>
                        <a:pt x="1815748" y="109983"/>
                        <a:pt x="1799132" y="140246"/>
                        <a:pt x="1796906" y="151172"/>
                      </a:cubicBezTo>
                      <a:cubicBezTo>
                        <a:pt x="1794679" y="162099"/>
                        <a:pt x="1775549" y="189558"/>
                        <a:pt x="1777899" y="199165"/>
                      </a:cubicBezTo>
                      <a:cubicBezTo>
                        <a:pt x="1780249" y="208771"/>
                        <a:pt x="1768457" y="218337"/>
                        <a:pt x="1760170" y="219780"/>
                      </a:cubicBezTo>
                      <a:cubicBezTo>
                        <a:pt x="1751882" y="221223"/>
                        <a:pt x="1729371" y="240395"/>
                        <a:pt x="1722279" y="243116"/>
                      </a:cubicBezTo>
                      <a:cubicBezTo>
                        <a:pt x="1715188" y="245838"/>
                        <a:pt x="1686738" y="240354"/>
                        <a:pt x="1683193" y="230747"/>
                      </a:cubicBezTo>
                      <a:cubicBezTo>
                        <a:pt x="1681254" y="227160"/>
                        <a:pt x="1678080" y="224414"/>
                        <a:pt x="1674245" y="223037"/>
                      </a:cubicBezTo>
                      <a:lnTo>
                        <a:pt x="1642209" y="297252"/>
                      </a:lnTo>
                      <a:lnTo>
                        <a:pt x="1639612" y="321124"/>
                      </a:lnTo>
                      <a:cubicBezTo>
                        <a:pt x="1639612" y="321124"/>
                        <a:pt x="1618997" y="327144"/>
                        <a:pt x="1634458" y="345038"/>
                      </a:cubicBezTo>
                      <a:cubicBezTo>
                        <a:pt x="1649920" y="362932"/>
                        <a:pt x="1652517" y="348048"/>
                        <a:pt x="1675689" y="348048"/>
                      </a:cubicBezTo>
                      <a:cubicBezTo>
                        <a:pt x="1698860" y="348048"/>
                        <a:pt x="1709209" y="368952"/>
                        <a:pt x="1714362" y="354026"/>
                      </a:cubicBezTo>
                      <a:cubicBezTo>
                        <a:pt x="1719516" y="339101"/>
                        <a:pt x="1740173" y="330154"/>
                        <a:pt x="1753078" y="348048"/>
                      </a:cubicBezTo>
                      <a:cubicBezTo>
                        <a:pt x="1765983" y="365942"/>
                        <a:pt x="1807296" y="395875"/>
                        <a:pt x="1804699" y="410801"/>
                      </a:cubicBezTo>
                      <a:cubicBezTo>
                        <a:pt x="1802101" y="425726"/>
                        <a:pt x="1778889" y="422757"/>
                        <a:pt x="1763468" y="416779"/>
                      </a:cubicBezTo>
                      <a:cubicBezTo>
                        <a:pt x="1748048" y="410801"/>
                        <a:pt x="1727309" y="428736"/>
                        <a:pt x="1711848" y="428736"/>
                      </a:cubicBezTo>
                      <a:cubicBezTo>
                        <a:pt x="1692758" y="428987"/>
                        <a:pt x="1674740" y="437757"/>
                        <a:pt x="1662783" y="452649"/>
                      </a:cubicBezTo>
                      <a:cubicBezTo>
                        <a:pt x="1647322" y="470585"/>
                        <a:pt x="1649920" y="488520"/>
                        <a:pt x="1626665" y="491530"/>
                      </a:cubicBezTo>
                      <a:cubicBezTo>
                        <a:pt x="1603412" y="494540"/>
                        <a:pt x="1593104" y="491530"/>
                        <a:pt x="1567335" y="512434"/>
                      </a:cubicBezTo>
                      <a:cubicBezTo>
                        <a:pt x="1549070" y="527396"/>
                        <a:pt x="1523506" y="529763"/>
                        <a:pt x="1502810" y="518412"/>
                      </a:cubicBezTo>
                      <a:cubicBezTo>
                        <a:pt x="1492502" y="512434"/>
                        <a:pt x="1474401" y="509465"/>
                        <a:pt x="1464094" y="530369"/>
                      </a:cubicBezTo>
                      <a:cubicBezTo>
                        <a:pt x="1453786" y="551273"/>
                        <a:pt x="1476999" y="560261"/>
                        <a:pt x="1474401" y="583969"/>
                      </a:cubicBezTo>
                      <a:cubicBezTo>
                        <a:pt x="1471804" y="607676"/>
                        <a:pt x="1446035" y="601945"/>
                        <a:pt x="1425379" y="628827"/>
                      </a:cubicBezTo>
                      <a:cubicBezTo>
                        <a:pt x="1404722" y="655709"/>
                        <a:pt x="1371201" y="667708"/>
                        <a:pt x="1353143" y="664739"/>
                      </a:cubicBezTo>
                      <a:cubicBezTo>
                        <a:pt x="1335083" y="661771"/>
                        <a:pt x="1296368" y="649772"/>
                        <a:pt x="1262848" y="667708"/>
                      </a:cubicBezTo>
                      <a:cubicBezTo>
                        <a:pt x="1229328" y="685643"/>
                        <a:pt x="1206032" y="712525"/>
                        <a:pt x="1193127" y="709515"/>
                      </a:cubicBezTo>
                      <a:cubicBezTo>
                        <a:pt x="1180223" y="706505"/>
                        <a:pt x="1180263" y="688570"/>
                        <a:pt x="1162163" y="691580"/>
                      </a:cubicBezTo>
                      <a:cubicBezTo>
                        <a:pt x="1144063" y="694590"/>
                        <a:pt x="1133838" y="688570"/>
                        <a:pt x="1120933" y="679623"/>
                      </a:cubicBezTo>
                      <a:cubicBezTo>
                        <a:pt x="1108028" y="670676"/>
                        <a:pt x="1097720" y="685602"/>
                        <a:pt x="1077064" y="667708"/>
                      </a:cubicBezTo>
                      <a:cubicBezTo>
                        <a:pt x="1056407" y="649814"/>
                        <a:pt x="1020289" y="652741"/>
                        <a:pt x="1004828" y="649772"/>
                      </a:cubicBezTo>
                      <a:cubicBezTo>
                        <a:pt x="989367" y="646804"/>
                        <a:pt x="929953" y="649772"/>
                        <a:pt x="909296" y="646763"/>
                      </a:cubicBezTo>
                      <a:cubicBezTo>
                        <a:pt x="888640" y="643753"/>
                        <a:pt x="860274" y="652741"/>
                        <a:pt x="857676" y="640825"/>
                      </a:cubicBezTo>
                      <a:cubicBezTo>
                        <a:pt x="855079" y="628910"/>
                        <a:pt x="839658" y="619839"/>
                        <a:pt x="834505" y="592998"/>
                      </a:cubicBezTo>
                      <a:cubicBezTo>
                        <a:pt x="829351" y="566157"/>
                        <a:pt x="816445" y="557086"/>
                        <a:pt x="803541" y="554118"/>
                      </a:cubicBezTo>
                      <a:cubicBezTo>
                        <a:pt x="790635" y="551149"/>
                        <a:pt x="789069" y="535358"/>
                        <a:pt x="777730" y="533214"/>
                      </a:cubicBezTo>
                      <a:cubicBezTo>
                        <a:pt x="772246" y="532142"/>
                        <a:pt x="765691" y="512186"/>
                        <a:pt x="747673" y="512186"/>
                      </a:cubicBezTo>
                      <a:cubicBezTo>
                        <a:pt x="729656" y="512186"/>
                        <a:pt x="666491" y="503693"/>
                        <a:pt x="657461" y="486582"/>
                      </a:cubicBezTo>
                      <a:cubicBezTo>
                        <a:pt x="648431" y="469472"/>
                        <a:pt x="666491" y="465678"/>
                        <a:pt x="666491" y="448609"/>
                      </a:cubicBezTo>
                      <a:cubicBezTo>
                        <a:pt x="666491" y="431539"/>
                        <a:pt x="676344" y="408698"/>
                        <a:pt x="668965" y="402101"/>
                      </a:cubicBezTo>
                      <a:cubicBezTo>
                        <a:pt x="661584" y="395504"/>
                        <a:pt x="649256" y="380208"/>
                        <a:pt x="647607" y="366973"/>
                      </a:cubicBezTo>
                      <a:cubicBezTo>
                        <a:pt x="645958" y="353738"/>
                        <a:pt x="626332" y="335637"/>
                        <a:pt x="613180" y="334648"/>
                      </a:cubicBezTo>
                      <a:cubicBezTo>
                        <a:pt x="600027" y="333658"/>
                        <a:pt x="589431" y="324217"/>
                        <a:pt x="577144" y="311889"/>
                      </a:cubicBezTo>
                      <a:cubicBezTo>
                        <a:pt x="564858" y="299561"/>
                        <a:pt x="553354" y="300427"/>
                        <a:pt x="548283" y="269133"/>
                      </a:cubicBezTo>
                      <a:cubicBezTo>
                        <a:pt x="547953" y="267071"/>
                        <a:pt x="547416" y="265422"/>
                        <a:pt x="546963" y="263567"/>
                      </a:cubicBezTo>
                      <a:cubicBezTo>
                        <a:pt x="542016" y="262989"/>
                        <a:pt x="535708" y="260763"/>
                        <a:pt x="531667" y="260763"/>
                      </a:cubicBezTo>
                      <a:cubicBezTo>
                        <a:pt x="527338" y="259819"/>
                        <a:pt x="523586" y="257213"/>
                        <a:pt x="521153" y="253506"/>
                      </a:cubicBezTo>
                      <a:cubicBezTo>
                        <a:pt x="517937" y="266576"/>
                        <a:pt x="507258" y="273091"/>
                        <a:pt x="507258" y="283398"/>
                      </a:cubicBezTo>
                      <a:cubicBezTo>
                        <a:pt x="507258" y="294778"/>
                        <a:pt x="503135" y="309003"/>
                        <a:pt x="490065" y="309003"/>
                      </a:cubicBezTo>
                      <a:cubicBezTo>
                        <a:pt x="476995" y="309003"/>
                        <a:pt x="464668" y="320423"/>
                        <a:pt x="463802" y="344131"/>
                      </a:cubicBezTo>
                      <a:cubicBezTo>
                        <a:pt x="462935" y="367838"/>
                        <a:pt x="475304" y="370725"/>
                        <a:pt x="469574" y="381238"/>
                      </a:cubicBezTo>
                      <a:cubicBezTo>
                        <a:pt x="463843" y="391752"/>
                        <a:pt x="440012" y="402060"/>
                        <a:pt x="431848" y="397360"/>
                      </a:cubicBezTo>
                      <a:cubicBezTo>
                        <a:pt x="423684" y="392659"/>
                        <a:pt x="408058" y="395463"/>
                        <a:pt x="394741" y="393607"/>
                      </a:cubicBezTo>
                      <a:cubicBezTo>
                        <a:pt x="381423" y="391752"/>
                        <a:pt x="371775" y="372663"/>
                        <a:pt x="367693" y="393607"/>
                      </a:cubicBezTo>
                      <a:cubicBezTo>
                        <a:pt x="363612" y="414553"/>
                        <a:pt x="336523" y="476068"/>
                        <a:pt x="342955" y="482830"/>
                      </a:cubicBezTo>
                      <a:cubicBezTo>
                        <a:pt x="349387" y="489592"/>
                        <a:pt x="354417" y="504641"/>
                        <a:pt x="342955" y="504641"/>
                      </a:cubicBezTo>
                      <a:cubicBezTo>
                        <a:pt x="331493" y="504641"/>
                        <a:pt x="319990" y="502745"/>
                        <a:pt x="314094" y="496107"/>
                      </a:cubicBezTo>
                      <a:cubicBezTo>
                        <a:pt x="308198" y="489468"/>
                        <a:pt x="289603" y="505424"/>
                        <a:pt x="276409" y="504641"/>
                      </a:cubicBezTo>
                      <a:cubicBezTo>
                        <a:pt x="270265" y="504311"/>
                        <a:pt x="244496" y="517670"/>
                        <a:pt x="253361" y="522824"/>
                      </a:cubicBezTo>
                      <a:cubicBezTo>
                        <a:pt x="262226" y="527978"/>
                        <a:pt x="262267" y="552675"/>
                        <a:pt x="262267" y="562941"/>
                      </a:cubicBezTo>
                      <a:cubicBezTo>
                        <a:pt x="262267" y="573207"/>
                        <a:pt x="281810" y="604171"/>
                        <a:pt x="278265" y="614397"/>
                      </a:cubicBezTo>
                      <a:cubicBezTo>
                        <a:pt x="274719" y="624622"/>
                        <a:pt x="256948" y="636001"/>
                        <a:pt x="256948" y="649360"/>
                      </a:cubicBezTo>
                      <a:cubicBezTo>
                        <a:pt x="256948" y="662719"/>
                        <a:pt x="260494" y="675088"/>
                        <a:pt x="254310" y="678221"/>
                      </a:cubicBezTo>
                      <a:cubicBezTo>
                        <a:pt x="248125" y="681355"/>
                        <a:pt x="228499" y="690591"/>
                        <a:pt x="218727" y="698837"/>
                      </a:cubicBezTo>
                      <a:cubicBezTo>
                        <a:pt x="208956" y="707083"/>
                        <a:pt x="192958" y="707083"/>
                        <a:pt x="187639" y="719452"/>
                      </a:cubicBezTo>
                      <a:cubicBezTo>
                        <a:pt x="182321" y="731821"/>
                        <a:pt x="174281" y="742417"/>
                        <a:pt x="155686" y="740067"/>
                      </a:cubicBezTo>
                      <a:cubicBezTo>
                        <a:pt x="139648" y="737964"/>
                        <a:pt x="131690" y="734872"/>
                        <a:pt x="119239" y="752436"/>
                      </a:cubicBezTo>
                      <a:cubicBezTo>
                        <a:pt x="106787" y="770000"/>
                        <a:pt x="104148" y="762744"/>
                        <a:pt x="95242" y="770949"/>
                      </a:cubicBezTo>
                      <a:cubicBezTo>
                        <a:pt x="86337" y="779154"/>
                        <a:pt x="77472" y="764805"/>
                        <a:pt x="70504" y="761713"/>
                      </a:cubicBezTo>
                      <a:cubicBezTo>
                        <a:pt x="63536" y="758621"/>
                        <a:pt x="53640" y="770949"/>
                        <a:pt x="46508" y="770949"/>
                      </a:cubicBezTo>
                      <a:cubicBezTo>
                        <a:pt x="39375" y="770949"/>
                        <a:pt x="33190" y="784307"/>
                        <a:pt x="24326" y="787441"/>
                      </a:cubicBezTo>
                      <a:cubicBezTo>
                        <a:pt x="15462" y="790574"/>
                        <a:pt x="6555" y="787441"/>
                        <a:pt x="6555" y="799810"/>
                      </a:cubicBezTo>
                      <a:cubicBezTo>
                        <a:pt x="6803" y="807970"/>
                        <a:pt x="4494" y="816005"/>
                        <a:pt x="1" y="822817"/>
                      </a:cubicBezTo>
                      <a:lnTo>
                        <a:pt x="1" y="822817"/>
                      </a:lnTo>
                      <a:lnTo>
                        <a:pt x="6308" y="863058"/>
                      </a:lnTo>
                      <a:cubicBezTo>
                        <a:pt x="6308" y="863058"/>
                        <a:pt x="44282" y="877736"/>
                        <a:pt x="45848" y="892414"/>
                      </a:cubicBezTo>
                      <a:cubicBezTo>
                        <a:pt x="47416" y="907092"/>
                        <a:pt x="53764" y="954713"/>
                        <a:pt x="53764" y="954713"/>
                      </a:cubicBezTo>
                      <a:lnTo>
                        <a:pt x="52610" y="954713"/>
                      </a:lnTo>
                      <a:cubicBezTo>
                        <a:pt x="67989" y="968690"/>
                        <a:pt x="89099" y="983574"/>
                        <a:pt x="89099" y="989017"/>
                      </a:cubicBezTo>
                      <a:cubicBezTo>
                        <a:pt x="89058" y="1003567"/>
                        <a:pt x="96974" y="1016983"/>
                        <a:pt x="109714" y="1023980"/>
                      </a:cubicBezTo>
                      <a:cubicBezTo>
                        <a:pt x="120600" y="1029637"/>
                        <a:pt x="131030" y="1036060"/>
                        <a:pt x="141008" y="1043194"/>
                      </a:cubicBezTo>
                      <a:lnTo>
                        <a:pt x="142492" y="1038823"/>
                      </a:lnTo>
                      <a:lnTo>
                        <a:pt x="158284" y="1037009"/>
                      </a:lnTo>
                      <a:cubicBezTo>
                        <a:pt x="161665" y="1039611"/>
                        <a:pt x="164716" y="1042616"/>
                        <a:pt x="167354" y="1045956"/>
                      </a:cubicBezTo>
                      <a:cubicBezTo>
                        <a:pt x="171271" y="1031113"/>
                        <a:pt x="198566" y="1014786"/>
                        <a:pt x="212708" y="1015734"/>
                      </a:cubicBezTo>
                      <a:cubicBezTo>
                        <a:pt x="227799" y="1016765"/>
                        <a:pt x="262432" y="1048718"/>
                        <a:pt x="258886" y="1060015"/>
                      </a:cubicBezTo>
                      <a:cubicBezTo>
                        <a:pt x="255340" y="1071313"/>
                        <a:pt x="230478" y="1112461"/>
                        <a:pt x="218892" y="1115553"/>
                      </a:cubicBezTo>
                      <a:cubicBezTo>
                        <a:pt x="213286" y="1116810"/>
                        <a:pt x="207554" y="1117487"/>
                        <a:pt x="201823" y="1117573"/>
                      </a:cubicBezTo>
                      <a:cubicBezTo>
                        <a:pt x="200710" y="1123024"/>
                        <a:pt x="199886" y="1128528"/>
                        <a:pt x="199349" y="1134065"/>
                      </a:cubicBezTo>
                      <a:cubicBezTo>
                        <a:pt x="199349" y="1143260"/>
                        <a:pt x="213573" y="1157855"/>
                        <a:pt x="221490" y="1174348"/>
                      </a:cubicBezTo>
                      <a:cubicBezTo>
                        <a:pt x="229406" y="1190840"/>
                        <a:pt x="208832" y="1201807"/>
                        <a:pt x="197783" y="1190840"/>
                      </a:cubicBezTo>
                      <a:cubicBezTo>
                        <a:pt x="186732" y="1179872"/>
                        <a:pt x="181991" y="1201807"/>
                        <a:pt x="188300" y="1210960"/>
                      </a:cubicBezTo>
                      <a:cubicBezTo>
                        <a:pt x="194608" y="1220113"/>
                        <a:pt x="191433" y="1245800"/>
                        <a:pt x="202524" y="1247655"/>
                      </a:cubicBezTo>
                      <a:cubicBezTo>
                        <a:pt x="213615" y="1249511"/>
                        <a:pt x="223139" y="1275074"/>
                        <a:pt x="235508" y="1275074"/>
                      </a:cubicBezTo>
                      <a:cubicBezTo>
                        <a:pt x="247878" y="1275074"/>
                        <a:pt x="259257" y="1298905"/>
                        <a:pt x="259257" y="1298905"/>
                      </a:cubicBezTo>
                      <a:cubicBezTo>
                        <a:pt x="259257" y="1298905"/>
                        <a:pt x="276656" y="1311727"/>
                        <a:pt x="276656" y="1319066"/>
                      </a:cubicBezTo>
                      <a:cubicBezTo>
                        <a:pt x="276615" y="1320048"/>
                        <a:pt x="276326" y="1321008"/>
                        <a:pt x="275873" y="1321870"/>
                      </a:cubicBezTo>
                      <a:cubicBezTo>
                        <a:pt x="289685" y="1320221"/>
                        <a:pt x="298798" y="1319685"/>
                        <a:pt x="300611" y="1313088"/>
                      </a:cubicBezTo>
                      <a:cubicBezTo>
                        <a:pt x="302425" y="1306491"/>
                        <a:pt x="320196" y="1305873"/>
                        <a:pt x="332606" y="1320262"/>
                      </a:cubicBezTo>
                      <a:cubicBezTo>
                        <a:pt x="345017" y="1334652"/>
                        <a:pt x="395689" y="1371718"/>
                        <a:pt x="414325" y="1389200"/>
                      </a:cubicBezTo>
                      <a:cubicBezTo>
                        <a:pt x="432961" y="1406681"/>
                        <a:pt x="476542" y="1426307"/>
                        <a:pt x="491632" y="1425235"/>
                      </a:cubicBezTo>
                      <a:cubicBezTo>
                        <a:pt x="506722" y="1424163"/>
                        <a:pt x="520947" y="1437604"/>
                        <a:pt x="544078" y="1436532"/>
                      </a:cubicBezTo>
                      <a:cubicBezTo>
                        <a:pt x="547129" y="1436417"/>
                        <a:pt x="550180" y="1436499"/>
                        <a:pt x="553231" y="1436779"/>
                      </a:cubicBezTo>
                      <a:cubicBezTo>
                        <a:pt x="556529" y="1432656"/>
                        <a:pt x="562053" y="1432656"/>
                        <a:pt x="566300" y="1425317"/>
                      </a:cubicBezTo>
                      <a:cubicBezTo>
                        <a:pt x="572609" y="1414309"/>
                        <a:pt x="582133" y="1434470"/>
                        <a:pt x="578958" y="1449107"/>
                      </a:cubicBezTo>
                      <a:cubicBezTo>
                        <a:pt x="577721" y="1455972"/>
                        <a:pt x="578504" y="1463051"/>
                        <a:pt x="581226" y="1469475"/>
                      </a:cubicBezTo>
                      <a:cubicBezTo>
                        <a:pt x="584854" y="1463254"/>
                        <a:pt x="587864" y="1456694"/>
                        <a:pt x="590255" y="1449891"/>
                      </a:cubicBezTo>
                      <a:cubicBezTo>
                        <a:pt x="598213" y="1427255"/>
                        <a:pt x="610664" y="1428286"/>
                        <a:pt x="618704" y="1421029"/>
                      </a:cubicBezTo>
                      <a:cubicBezTo>
                        <a:pt x="626744" y="1413773"/>
                        <a:pt x="634661" y="1416906"/>
                        <a:pt x="651688" y="1427214"/>
                      </a:cubicBezTo>
                      <a:cubicBezTo>
                        <a:pt x="667604" y="1436944"/>
                        <a:pt x="674077" y="1416453"/>
                        <a:pt x="697908" y="1441851"/>
                      </a:cubicBezTo>
                      <a:cubicBezTo>
                        <a:pt x="702278" y="1439257"/>
                        <a:pt x="706979" y="1437365"/>
                        <a:pt x="711927" y="1436243"/>
                      </a:cubicBezTo>
                      <a:cubicBezTo>
                        <a:pt x="716668" y="1436243"/>
                        <a:pt x="723017" y="1425276"/>
                        <a:pt x="730933" y="1416082"/>
                      </a:cubicBezTo>
                      <a:cubicBezTo>
                        <a:pt x="738850" y="1406887"/>
                        <a:pt x="737242" y="1395920"/>
                        <a:pt x="746725" y="1397776"/>
                      </a:cubicBezTo>
                      <a:cubicBezTo>
                        <a:pt x="756208" y="1399631"/>
                        <a:pt x="760990" y="1384994"/>
                        <a:pt x="781523" y="1372130"/>
                      </a:cubicBezTo>
                      <a:cubicBezTo>
                        <a:pt x="802056" y="1359266"/>
                        <a:pt x="819496" y="1379510"/>
                        <a:pt x="828979" y="1370316"/>
                      </a:cubicBezTo>
                      <a:cubicBezTo>
                        <a:pt x="838463" y="1361122"/>
                        <a:pt x="849595" y="1357452"/>
                        <a:pt x="849595" y="1366646"/>
                      </a:cubicBezTo>
                      <a:cubicBezTo>
                        <a:pt x="849595" y="1375841"/>
                        <a:pt x="862253" y="1386808"/>
                        <a:pt x="865428" y="1397776"/>
                      </a:cubicBezTo>
                      <a:cubicBezTo>
                        <a:pt x="868272" y="1407629"/>
                        <a:pt x="884888" y="1411588"/>
                        <a:pt x="888434" y="1412247"/>
                      </a:cubicBezTo>
                      <a:cubicBezTo>
                        <a:pt x="890784" y="1410874"/>
                        <a:pt x="893010" y="1409345"/>
                        <a:pt x="895155" y="1407671"/>
                      </a:cubicBezTo>
                      <a:cubicBezTo>
                        <a:pt x="904927" y="1399425"/>
                        <a:pt x="921831" y="1408701"/>
                        <a:pt x="921831" y="1421029"/>
                      </a:cubicBezTo>
                      <a:cubicBezTo>
                        <a:pt x="921831" y="1433357"/>
                        <a:pt x="922696" y="1446757"/>
                        <a:pt x="930737" y="1446757"/>
                      </a:cubicBezTo>
                      <a:cubicBezTo>
                        <a:pt x="938777" y="1446757"/>
                        <a:pt x="946693" y="1446757"/>
                        <a:pt x="946693" y="1469393"/>
                      </a:cubicBezTo>
                      <a:cubicBezTo>
                        <a:pt x="946693" y="1492028"/>
                        <a:pt x="953784" y="1517756"/>
                        <a:pt x="936921" y="1537341"/>
                      </a:cubicBezTo>
                      <a:cubicBezTo>
                        <a:pt x="920058" y="1556925"/>
                        <a:pt x="900473" y="1591847"/>
                        <a:pt x="903937" y="1602114"/>
                      </a:cubicBezTo>
                      <a:cubicBezTo>
                        <a:pt x="907400" y="1612380"/>
                        <a:pt x="898577" y="1632006"/>
                        <a:pt x="911029" y="1624749"/>
                      </a:cubicBezTo>
                      <a:cubicBezTo>
                        <a:pt x="923480" y="1617493"/>
                        <a:pt x="951929" y="1624749"/>
                        <a:pt x="947434" y="1632995"/>
                      </a:cubicBezTo>
                      <a:cubicBezTo>
                        <a:pt x="942941" y="1641241"/>
                        <a:pt x="948341" y="1670103"/>
                        <a:pt x="959804" y="1671051"/>
                      </a:cubicBezTo>
                      <a:cubicBezTo>
                        <a:pt x="971266" y="1671999"/>
                        <a:pt x="978481" y="1679297"/>
                        <a:pt x="974895" y="1691666"/>
                      </a:cubicBezTo>
                      <a:cubicBezTo>
                        <a:pt x="971307" y="1704035"/>
                        <a:pt x="965122" y="1722506"/>
                        <a:pt x="974895" y="1722506"/>
                      </a:cubicBezTo>
                      <a:cubicBezTo>
                        <a:pt x="984666" y="1722506"/>
                        <a:pt x="998890" y="1722506"/>
                        <a:pt x="997117" y="1734876"/>
                      </a:cubicBezTo>
                      <a:cubicBezTo>
                        <a:pt x="995345" y="1747245"/>
                        <a:pt x="1004209" y="1758542"/>
                        <a:pt x="1021856" y="1750296"/>
                      </a:cubicBezTo>
                      <a:cubicBezTo>
                        <a:pt x="1032328" y="1745472"/>
                        <a:pt x="1037523" y="1741060"/>
                        <a:pt x="1039915" y="1745926"/>
                      </a:cubicBezTo>
                      <a:cubicBezTo>
                        <a:pt x="1046965" y="1745678"/>
                        <a:pt x="1047460" y="1764273"/>
                        <a:pt x="1059664" y="1767819"/>
                      </a:cubicBezTo>
                      <a:cubicBezTo>
                        <a:pt x="1071869" y="1771364"/>
                        <a:pt x="1066013" y="1736690"/>
                        <a:pt x="1061231" y="1731165"/>
                      </a:cubicBezTo>
                      <a:cubicBezTo>
                        <a:pt x="1056449" y="1725640"/>
                        <a:pt x="1062839" y="1701850"/>
                        <a:pt x="1067581" y="1707375"/>
                      </a:cubicBezTo>
                      <a:cubicBezTo>
                        <a:pt x="1072322" y="1712900"/>
                        <a:pt x="1086505" y="1707375"/>
                        <a:pt x="1094463" y="1696366"/>
                      </a:cubicBezTo>
                      <a:cubicBezTo>
                        <a:pt x="1102420" y="1685358"/>
                        <a:pt x="1118170" y="1705520"/>
                        <a:pt x="1124520" y="1692697"/>
                      </a:cubicBezTo>
                      <a:cubicBezTo>
                        <a:pt x="1130869" y="1679874"/>
                        <a:pt x="1145135" y="1701850"/>
                        <a:pt x="1159318" y="1692697"/>
                      </a:cubicBezTo>
                      <a:cubicBezTo>
                        <a:pt x="1173501" y="1683544"/>
                        <a:pt x="1179934" y="1700036"/>
                        <a:pt x="1186201" y="1687213"/>
                      </a:cubicBezTo>
                      <a:cubicBezTo>
                        <a:pt x="1192468" y="1674391"/>
                        <a:pt x="1213083" y="1657899"/>
                        <a:pt x="1217824" y="1663382"/>
                      </a:cubicBezTo>
                      <a:cubicBezTo>
                        <a:pt x="1222565" y="1668866"/>
                        <a:pt x="1225740" y="1679874"/>
                        <a:pt x="1251015" y="1683585"/>
                      </a:cubicBezTo>
                      <a:cubicBezTo>
                        <a:pt x="1276289" y="1687296"/>
                        <a:pt x="1262106" y="1701850"/>
                        <a:pt x="1262106" y="1711044"/>
                      </a:cubicBezTo>
                      <a:cubicBezTo>
                        <a:pt x="1262106" y="1720239"/>
                        <a:pt x="1290596" y="1744029"/>
                        <a:pt x="1301646" y="1745843"/>
                      </a:cubicBezTo>
                      <a:cubicBezTo>
                        <a:pt x="1303666" y="1746214"/>
                        <a:pt x="1306552" y="1749018"/>
                        <a:pt x="1309892" y="1753429"/>
                      </a:cubicBezTo>
                      <a:cubicBezTo>
                        <a:pt x="1317602" y="1749059"/>
                        <a:pt x="1331332" y="1756357"/>
                        <a:pt x="1334383" y="1745884"/>
                      </a:cubicBezTo>
                      <a:cubicBezTo>
                        <a:pt x="1337888" y="1733515"/>
                        <a:pt x="1350875" y="1736896"/>
                        <a:pt x="1356235" y="1747203"/>
                      </a:cubicBezTo>
                      <a:cubicBezTo>
                        <a:pt x="1361595" y="1757511"/>
                        <a:pt x="1367491" y="1759573"/>
                        <a:pt x="1379365" y="1747203"/>
                      </a:cubicBezTo>
                      <a:cubicBezTo>
                        <a:pt x="1391240" y="1734834"/>
                        <a:pt x="1397135" y="1759573"/>
                        <a:pt x="1390003" y="1766458"/>
                      </a:cubicBezTo>
                      <a:cubicBezTo>
                        <a:pt x="1382870" y="1773344"/>
                        <a:pt x="1387652" y="1794536"/>
                        <a:pt x="1398908" y="1806905"/>
                      </a:cubicBezTo>
                      <a:cubicBezTo>
                        <a:pt x="1410164" y="1819274"/>
                        <a:pt x="1411938" y="1799360"/>
                        <a:pt x="1409587" y="1787032"/>
                      </a:cubicBezTo>
                      <a:cubicBezTo>
                        <a:pt x="1407237" y="1774704"/>
                        <a:pt x="1428512" y="1762294"/>
                        <a:pt x="1465825" y="1747905"/>
                      </a:cubicBezTo>
                      <a:cubicBezTo>
                        <a:pt x="1503139" y="1733515"/>
                        <a:pt x="1543380" y="1701932"/>
                        <a:pt x="1544163" y="1695088"/>
                      </a:cubicBezTo>
                      <a:cubicBezTo>
                        <a:pt x="1544947" y="1688244"/>
                        <a:pt x="1570840" y="1707457"/>
                        <a:pt x="1583250" y="1696449"/>
                      </a:cubicBezTo>
                      <a:cubicBezTo>
                        <a:pt x="1586878" y="1693728"/>
                        <a:pt x="1590960" y="1691749"/>
                        <a:pt x="1595331" y="1690594"/>
                      </a:cubicBezTo>
                      <a:cubicBezTo>
                        <a:pt x="1597557" y="1687955"/>
                        <a:pt x="1600030" y="1685523"/>
                        <a:pt x="1602752" y="1683420"/>
                      </a:cubicBezTo>
                      <a:cubicBezTo>
                        <a:pt x="1609926" y="1677937"/>
                        <a:pt x="1617059" y="1673071"/>
                        <a:pt x="1624316" y="1668536"/>
                      </a:cubicBezTo>
                      <a:cubicBezTo>
                        <a:pt x="1628109" y="1661114"/>
                        <a:pt x="1634376" y="1655260"/>
                        <a:pt x="1642085" y="1652044"/>
                      </a:cubicBezTo>
                      <a:cubicBezTo>
                        <a:pt x="1666288" y="1641324"/>
                        <a:pt x="1698159" y="1633737"/>
                        <a:pt x="1721166" y="1617204"/>
                      </a:cubicBezTo>
                      <a:cubicBezTo>
                        <a:pt x="1722279" y="1614771"/>
                        <a:pt x="1722897" y="1612174"/>
                        <a:pt x="1723021" y="1609535"/>
                      </a:cubicBezTo>
                      <a:cubicBezTo>
                        <a:pt x="1723021" y="1604752"/>
                        <a:pt x="1732009" y="1601825"/>
                        <a:pt x="1739513" y="1598485"/>
                      </a:cubicBezTo>
                      <a:cubicBezTo>
                        <a:pt x="1752996" y="1578200"/>
                        <a:pt x="1751058" y="1553791"/>
                        <a:pt x="1753903" y="1530125"/>
                      </a:cubicBezTo>
                      <a:cubicBezTo>
                        <a:pt x="1760170" y="1478546"/>
                        <a:pt x="1790392" y="1454467"/>
                        <a:pt x="1831086" y="1453024"/>
                      </a:cubicBezTo>
                      <a:lnTo>
                        <a:pt x="1831704" y="1452529"/>
                      </a:lnTo>
                      <a:cubicBezTo>
                        <a:pt x="1832571" y="1449837"/>
                        <a:pt x="1833189" y="1447079"/>
                        <a:pt x="1833602" y="1444283"/>
                      </a:cubicBezTo>
                      <a:cubicBezTo>
                        <a:pt x="1835415" y="1431255"/>
                        <a:pt x="1851949" y="1419545"/>
                        <a:pt x="1859658" y="1416164"/>
                      </a:cubicBezTo>
                      <a:cubicBezTo>
                        <a:pt x="1867369" y="1412783"/>
                        <a:pt x="1870338" y="1394230"/>
                        <a:pt x="1867905" y="1378438"/>
                      </a:cubicBezTo>
                      <a:cubicBezTo>
                        <a:pt x="1865473" y="1362647"/>
                        <a:pt x="1881552" y="1366770"/>
                        <a:pt x="1874461" y="1360586"/>
                      </a:cubicBezTo>
                      <a:cubicBezTo>
                        <a:pt x="1867369" y="1354401"/>
                        <a:pt x="1877388" y="1337290"/>
                        <a:pt x="1891571" y="1332508"/>
                      </a:cubicBezTo>
                      <a:cubicBezTo>
                        <a:pt x="1905755" y="1327725"/>
                        <a:pt x="1882707" y="1320139"/>
                        <a:pt x="1875079" y="1326983"/>
                      </a:cubicBezTo>
                      <a:cubicBezTo>
                        <a:pt x="1867452" y="1333827"/>
                        <a:pt x="1859082" y="1307110"/>
                        <a:pt x="1851949" y="1317376"/>
                      </a:cubicBezTo>
                      <a:cubicBezTo>
                        <a:pt x="1844816" y="1327642"/>
                        <a:pt x="1824736" y="1311233"/>
                        <a:pt x="1837766" y="1307811"/>
                      </a:cubicBezTo>
                      <a:cubicBezTo>
                        <a:pt x="1850794" y="1304388"/>
                        <a:pt x="1870750" y="1287195"/>
                        <a:pt x="1879821" y="1283773"/>
                      </a:cubicBezTo>
                      <a:cubicBezTo>
                        <a:pt x="1888891" y="1280351"/>
                        <a:pt x="1866750" y="1257716"/>
                        <a:pt x="1855535" y="1258416"/>
                      </a:cubicBezTo>
                      <a:cubicBezTo>
                        <a:pt x="1844321" y="1259117"/>
                        <a:pt x="1831828" y="1228195"/>
                        <a:pt x="1819995" y="1228195"/>
                      </a:cubicBezTo>
                      <a:cubicBezTo>
                        <a:pt x="1808162" y="1228195"/>
                        <a:pt x="1828859" y="1218629"/>
                        <a:pt x="1842507" y="1226834"/>
                      </a:cubicBezTo>
                      <a:cubicBezTo>
                        <a:pt x="1856154" y="1235039"/>
                        <a:pt x="1872110" y="1241965"/>
                        <a:pt x="1878048" y="1235080"/>
                      </a:cubicBezTo>
                      <a:cubicBezTo>
                        <a:pt x="1883985" y="1228195"/>
                        <a:pt x="1854959" y="1200818"/>
                        <a:pt x="1844280" y="1191170"/>
                      </a:cubicBezTo>
                      <a:cubicBezTo>
                        <a:pt x="1833602" y="1181522"/>
                        <a:pt x="1843662" y="1168534"/>
                        <a:pt x="1837188" y="1163050"/>
                      </a:cubicBezTo>
                      <a:cubicBezTo>
                        <a:pt x="1830715" y="1157567"/>
                        <a:pt x="1816573" y="1122603"/>
                        <a:pt x="1811667" y="1106812"/>
                      </a:cubicBezTo>
                      <a:cubicBezTo>
                        <a:pt x="1806760" y="1091021"/>
                        <a:pt x="1782105" y="1088300"/>
                        <a:pt x="1776167" y="1077951"/>
                      </a:cubicBezTo>
                      <a:cubicBezTo>
                        <a:pt x="1770230" y="1067602"/>
                        <a:pt x="1776745" y="1043688"/>
                        <a:pt x="1795133" y="1034741"/>
                      </a:cubicBezTo>
                      <a:cubicBezTo>
                        <a:pt x="1813522" y="1025794"/>
                        <a:pt x="1805771" y="1007983"/>
                        <a:pt x="1814100" y="1010003"/>
                      </a:cubicBezTo>
                      <a:cubicBezTo>
                        <a:pt x="1822427" y="1012023"/>
                        <a:pt x="1829437" y="1007941"/>
                        <a:pt x="1835992" y="992191"/>
                      </a:cubicBezTo>
                      <a:cubicBezTo>
                        <a:pt x="1842548" y="976441"/>
                        <a:pt x="1853763" y="986007"/>
                        <a:pt x="1860278" y="977761"/>
                      </a:cubicBezTo>
                      <a:cubicBezTo>
                        <a:pt x="1866791" y="969514"/>
                        <a:pt x="1895818" y="970216"/>
                        <a:pt x="1905879" y="962011"/>
                      </a:cubicBezTo>
                      <a:cubicBezTo>
                        <a:pt x="1915939" y="953806"/>
                        <a:pt x="1896395" y="928408"/>
                        <a:pt x="1882748" y="932490"/>
                      </a:cubicBezTo>
                      <a:cubicBezTo>
                        <a:pt x="1869100" y="936571"/>
                        <a:pt x="1853186" y="930428"/>
                        <a:pt x="1843662" y="913977"/>
                      </a:cubicBezTo>
                      <a:cubicBezTo>
                        <a:pt x="1834137" y="897526"/>
                        <a:pt x="1809316" y="944158"/>
                        <a:pt x="1790351" y="954466"/>
                      </a:cubicBezTo>
                      <a:cubicBezTo>
                        <a:pt x="1771384" y="964773"/>
                        <a:pt x="1758974" y="935912"/>
                        <a:pt x="1765613" y="917358"/>
                      </a:cubicBezTo>
                      <a:cubicBezTo>
                        <a:pt x="1772250" y="898804"/>
                        <a:pt x="1750810" y="899547"/>
                        <a:pt x="1724176" y="900866"/>
                      </a:cubicBezTo>
                      <a:cubicBezTo>
                        <a:pt x="1697541" y="902185"/>
                        <a:pt x="1707684" y="845988"/>
                        <a:pt x="1723598" y="843143"/>
                      </a:cubicBezTo>
                      <a:cubicBezTo>
                        <a:pt x="1739513" y="840298"/>
                        <a:pt x="1763262" y="860254"/>
                        <a:pt x="1773363" y="825991"/>
                      </a:cubicBezTo>
                      <a:cubicBezTo>
                        <a:pt x="1783465" y="791729"/>
                        <a:pt x="1797566" y="818446"/>
                        <a:pt x="1820119" y="788266"/>
                      </a:cubicBezTo>
                      <a:cubicBezTo>
                        <a:pt x="1842672" y="758085"/>
                        <a:pt x="1868647" y="739572"/>
                        <a:pt x="1888232" y="757384"/>
                      </a:cubicBezTo>
                      <a:cubicBezTo>
                        <a:pt x="1907816" y="775196"/>
                        <a:pt x="1867617" y="803356"/>
                        <a:pt x="1860978" y="820467"/>
                      </a:cubicBezTo>
                      <a:cubicBezTo>
                        <a:pt x="1854341" y="837577"/>
                        <a:pt x="1866874" y="843143"/>
                        <a:pt x="1855082" y="856131"/>
                      </a:cubicBezTo>
                      <a:cubicBezTo>
                        <a:pt x="1843290" y="869118"/>
                        <a:pt x="1859782" y="872623"/>
                        <a:pt x="1882872" y="855471"/>
                      </a:cubicBezTo>
                      <a:cubicBezTo>
                        <a:pt x="1905960" y="838319"/>
                        <a:pt x="1934410" y="817745"/>
                        <a:pt x="1957087" y="807479"/>
                      </a:cubicBezTo>
                      <a:cubicBezTo>
                        <a:pt x="1963189" y="804844"/>
                        <a:pt x="1969826" y="803863"/>
                        <a:pt x="1976423" y="804634"/>
                      </a:cubicBezTo>
                      <a:cubicBezTo>
                        <a:pt x="1979598" y="794697"/>
                        <a:pt x="1983309" y="786781"/>
                        <a:pt x="1987721" y="784019"/>
                      </a:cubicBezTo>
                      <a:cubicBezTo>
                        <a:pt x="2003223" y="775072"/>
                        <a:pt x="2054803" y="748189"/>
                        <a:pt x="2062554" y="736191"/>
                      </a:cubicBezTo>
                      <a:cubicBezTo>
                        <a:pt x="2070305" y="724193"/>
                        <a:pt x="2078056" y="703207"/>
                        <a:pt x="2088364" y="703207"/>
                      </a:cubicBezTo>
                      <a:cubicBezTo>
                        <a:pt x="2098671" y="703207"/>
                        <a:pt x="2098671" y="715123"/>
                        <a:pt x="2114174" y="715123"/>
                      </a:cubicBezTo>
                      <a:cubicBezTo>
                        <a:pt x="2129677" y="715123"/>
                        <a:pt x="2147695" y="721101"/>
                        <a:pt x="2139943" y="706176"/>
                      </a:cubicBezTo>
                      <a:cubicBezTo>
                        <a:pt x="2132192" y="691250"/>
                        <a:pt x="2137429" y="691209"/>
                        <a:pt x="2155446" y="688199"/>
                      </a:cubicBezTo>
                      <a:cubicBezTo>
                        <a:pt x="2173464" y="685189"/>
                        <a:pt x="2170948" y="664368"/>
                        <a:pt x="2183854" y="664368"/>
                      </a:cubicBezTo>
                      <a:cubicBezTo>
                        <a:pt x="2196759" y="664368"/>
                        <a:pt x="2194162" y="628456"/>
                        <a:pt x="2207066" y="628456"/>
                      </a:cubicBezTo>
                      <a:cubicBezTo>
                        <a:pt x="2219972" y="628456"/>
                        <a:pt x="2225126" y="649401"/>
                        <a:pt x="2240629" y="643423"/>
                      </a:cubicBezTo>
                      <a:cubicBezTo>
                        <a:pt x="2244380" y="642499"/>
                        <a:pt x="2248379" y="643155"/>
                        <a:pt x="2251637" y="645237"/>
                      </a:cubicBezTo>
                      <a:cubicBezTo>
                        <a:pt x="2254935" y="642268"/>
                        <a:pt x="2258152" y="639423"/>
                        <a:pt x="2261409" y="636744"/>
                      </a:cubicBezTo>
                      <a:cubicBezTo>
                        <a:pt x="2259842" y="618025"/>
                        <a:pt x="2261738" y="601203"/>
                        <a:pt x="2258563" y="592380"/>
                      </a:cubicBezTo>
                      <a:cubicBezTo>
                        <a:pt x="2252626" y="575887"/>
                        <a:pt x="2258563" y="563518"/>
                        <a:pt x="2256173" y="553994"/>
                      </a:cubicBezTo>
                      <a:cubicBezTo>
                        <a:pt x="2253781" y="544470"/>
                        <a:pt x="2252626" y="521010"/>
                        <a:pt x="2262109" y="521010"/>
                      </a:cubicBezTo>
                      <a:cubicBezTo>
                        <a:pt x="2271593" y="521010"/>
                        <a:pt x="2283425" y="493550"/>
                        <a:pt x="2295094" y="503157"/>
                      </a:cubicBezTo>
                      <a:cubicBezTo>
                        <a:pt x="2306762" y="512764"/>
                        <a:pt x="2330634" y="515526"/>
                        <a:pt x="2330634" y="503157"/>
                      </a:cubicBezTo>
                      <a:cubicBezTo>
                        <a:pt x="2330634" y="490788"/>
                        <a:pt x="2347126" y="489427"/>
                        <a:pt x="2349600" y="472976"/>
                      </a:cubicBezTo>
                      <a:cubicBezTo>
                        <a:pt x="2352075" y="456525"/>
                        <a:pt x="2369680" y="452361"/>
                        <a:pt x="2373267" y="437312"/>
                      </a:cubicBezTo>
                      <a:cubicBezTo>
                        <a:pt x="2376854" y="422263"/>
                        <a:pt x="2382750" y="386557"/>
                        <a:pt x="2394582" y="378311"/>
                      </a:cubicBezTo>
                      <a:cubicBezTo>
                        <a:pt x="2406416" y="370065"/>
                        <a:pt x="2392521" y="365200"/>
                        <a:pt x="2393717" y="340462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207" name="China group">
                  <a:extLst>
                    <a:ext uri="{FF2B5EF4-FFF2-40B4-BE49-F238E27FC236}">
                      <a16:creationId xmlns:a16="http://schemas.microsoft.com/office/drawing/2014/main" id="{60D56EAF-DB44-E085-3B85-0313F7ADE8C7}"/>
                    </a:ext>
                  </a:extLst>
                </p:cNvPr>
                <p:cNvSpPr/>
                <p:nvPr>
                  <p:custDataLst>
                    <p:tags r:id="rId402"/>
                  </p:custDataLst>
                </p:nvPr>
              </p:nvSpPr>
              <p:spPr>
                <a:xfrm>
                  <a:off x="10812555" y="4149965"/>
                  <a:ext cx="59996" cy="127756"/>
                </a:xfrm>
                <a:custGeom>
                  <a:avLst/>
                  <a:gdLst>
                    <a:gd name="connsiteX0" fmla="*/ 68525 w 70057"/>
                    <a:gd name="connsiteY0" fmla="*/ 4861 h 149178"/>
                    <a:gd name="connsiteX1" fmla="*/ 18678 w 70057"/>
                    <a:gd name="connsiteY1" fmla="*/ 25476 h 149178"/>
                    <a:gd name="connsiteX2" fmla="*/ 10432 w 70057"/>
                    <a:gd name="connsiteY2" fmla="*/ 53101 h 149178"/>
                    <a:gd name="connsiteX3" fmla="*/ 17235 w 70057"/>
                    <a:gd name="connsiteY3" fmla="*/ 61800 h 149178"/>
                    <a:gd name="connsiteX4" fmla="*/ 1526 w 70057"/>
                    <a:gd name="connsiteY4" fmla="*/ 123440 h 149178"/>
                    <a:gd name="connsiteX5" fmla="*/ 619 w 70057"/>
                    <a:gd name="connsiteY5" fmla="*/ 125831 h 149178"/>
                    <a:gd name="connsiteX6" fmla="*/ 1 w 70057"/>
                    <a:gd name="connsiteY6" fmla="*/ 127068 h 149178"/>
                    <a:gd name="connsiteX7" fmla="*/ 18678 w 70057"/>
                    <a:gd name="connsiteY7" fmla="*/ 148921 h 149178"/>
                    <a:gd name="connsiteX8" fmla="*/ 68525 w 70057"/>
                    <a:gd name="connsiteY8" fmla="*/ 4861 h 1491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70057" h="149178">
                      <a:moveTo>
                        <a:pt x="68525" y="4861"/>
                      </a:moveTo>
                      <a:cubicBezTo>
                        <a:pt x="61351" y="-6230"/>
                        <a:pt x="37438" y="2058"/>
                        <a:pt x="18678" y="25476"/>
                      </a:cubicBezTo>
                      <a:cubicBezTo>
                        <a:pt x="16823" y="34918"/>
                        <a:pt x="14060" y="44195"/>
                        <a:pt x="10432" y="53101"/>
                      </a:cubicBezTo>
                      <a:cubicBezTo>
                        <a:pt x="13070" y="55698"/>
                        <a:pt x="15379" y="58626"/>
                        <a:pt x="17235" y="61800"/>
                      </a:cubicBezTo>
                      <a:cubicBezTo>
                        <a:pt x="30058" y="84477"/>
                        <a:pt x="20451" y="108968"/>
                        <a:pt x="1526" y="123440"/>
                      </a:cubicBezTo>
                      <a:cubicBezTo>
                        <a:pt x="6061" y="120018"/>
                        <a:pt x="1073" y="125790"/>
                        <a:pt x="619" y="125831"/>
                      </a:cubicBezTo>
                      <a:cubicBezTo>
                        <a:pt x="453" y="126244"/>
                        <a:pt x="248" y="126656"/>
                        <a:pt x="1" y="127068"/>
                      </a:cubicBezTo>
                      <a:cubicBezTo>
                        <a:pt x="6557" y="143148"/>
                        <a:pt x="16493" y="150693"/>
                        <a:pt x="18678" y="148921"/>
                      </a:cubicBezTo>
                      <a:cubicBezTo>
                        <a:pt x="30634" y="139314"/>
                        <a:pt x="79245" y="21312"/>
                        <a:pt x="68525" y="4861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</p:grpSp>
        <p:sp>
          <p:nvSpPr>
            <p:cNvPr id="208" name="Freeform: Shape 207">
              <a:extLst>
                <a:ext uri="{FF2B5EF4-FFF2-40B4-BE49-F238E27FC236}">
                  <a16:creationId xmlns:a16="http://schemas.microsoft.com/office/drawing/2014/main" id="{EFC83DF8-6076-FE76-EF20-64B58362D2E4}"/>
                </a:ext>
              </a:extLst>
            </p:cNvPr>
            <p:cNvSpPr/>
            <p:nvPr>
              <p:custDataLst>
                <p:tags r:id="rId206"/>
              </p:custDataLst>
            </p:nvPr>
          </p:nvSpPr>
          <p:spPr>
            <a:xfrm>
              <a:off x="11022008" y="4054223"/>
              <a:ext cx="120961" cy="177472"/>
            </a:xfrm>
            <a:custGeom>
              <a:avLst/>
              <a:gdLst>
                <a:gd name="connsiteX0" fmla="*/ 128970 w 141244"/>
                <a:gd name="connsiteY0" fmla="*/ 69717 h 207231"/>
                <a:gd name="connsiteX1" fmla="*/ 128970 w 141244"/>
                <a:gd name="connsiteY1" fmla="*/ 65965 h 207231"/>
                <a:gd name="connsiteX2" fmla="*/ 124229 w 141244"/>
                <a:gd name="connsiteY2" fmla="*/ 62584 h 207231"/>
                <a:gd name="connsiteX3" fmla="*/ 73845 w 141244"/>
                <a:gd name="connsiteY3" fmla="*/ -4 h 207231"/>
                <a:gd name="connsiteX4" fmla="*/ 66423 w 141244"/>
                <a:gd name="connsiteY4" fmla="*/ 1027 h 207231"/>
                <a:gd name="connsiteX5" fmla="*/ 30058 w 141244"/>
                <a:gd name="connsiteY5" fmla="*/ 10180 h 207231"/>
                <a:gd name="connsiteX6" fmla="*/ 6474 w 141244"/>
                <a:gd name="connsiteY6" fmla="*/ 30795 h 207231"/>
                <a:gd name="connsiteX7" fmla="*/ 18843 w 141244"/>
                <a:gd name="connsiteY7" fmla="*/ 55533 h 207231"/>
                <a:gd name="connsiteX8" fmla="*/ 16452 w 141244"/>
                <a:gd name="connsiteY8" fmla="*/ 75406 h 207231"/>
                <a:gd name="connsiteX9" fmla="*/ 14679 w 141244"/>
                <a:gd name="connsiteY9" fmla="*/ 117956 h 207231"/>
                <a:gd name="connsiteX10" fmla="*/ 1692 w 141244"/>
                <a:gd name="connsiteY10" fmla="*/ 174194 h 207231"/>
                <a:gd name="connsiteX11" fmla="*/ 7587 w 141244"/>
                <a:gd name="connsiteY11" fmla="*/ 205076 h 207231"/>
                <a:gd name="connsiteX12" fmla="*/ 83988 w 141244"/>
                <a:gd name="connsiteY12" fmla="*/ 176215 h 207231"/>
                <a:gd name="connsiteX13" fmla="*/ 123074 w 141244"/>
                <a:gd name="connsiteY13" fmla="*/ 157001 h 207231"/>
                <a:gd name="connsiteX14" fmla="*/ 139566 w 141244"/>
                <a:gd name="connsiteY14" fmla="*/ 137128 h 207231"/>
                <a:gd name="connsiteX15" fmla="*/ 128970 w 141244"/>
                <a:gd name="connsiteY15" fmla="*/ 69717 h 207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1244" h="207231">
                  <a:moveTo>
                    <a:pt x="128970" y="69717"/>
                  </a:moveTo>
                  <a:cubicBezTo>
                    <a:pt x="129052" y="68467"/>
                    <a:pt x="129052" y="67214"/>
                    <a:pt x="128970" y="65965"/>
                  </a:cubicBezTo>
                  <a:cubicBezTo>
                    <a:pt x="127321" y="64925"/>
                    <a:pt x="125754" y="63796"/>
                    <a:pt x="124229" y="62584"/>
                  </a:cubicBezTo>
                  <a:cubicBezTo>
                    <a:pt x="103613" y="45514"/>
                    <a:pt x="84647" y="24693"/>
                    <a:pt x="73845" y="-4"/>
                  </a:cubicBezTo>
                  <a:cubicBezTo>
                    <a:pt x="71412" y="676"/>
                    <a:pt x="68938" y="1023"/>
                    <a:pt x="66423" y="1027"/>
                  </a:cubicBezTo>
                  <a:cubicBezTo>
                    <a:pt x="52199" y="1027"/>
                    <a:pt x="36407" y="2841"/>
                    <a:pt x="30058" y="10180"/>
                  </a:cubicBezTo>
                  <a:cubicBezTo>
                    <a:pt x="26471" y="14303"/>
                    <a:pt x="15710" y="22137"/>
                    <a:pt x="6474" y="30795"/>
                  </a:cubicBezTo>
                  <a:cubicBezTo>
                    <a:pt x="11010" y="39495"/>
                    <a:pt x="10143" y="54379"/>
                    <a:pt x="18843" y="55533"/>
                  </a:cubicBezTo>
                  <a:cubicBezTo>
                    <a:pt x="31212" y="56894"/>
                    <a:pt x="30099" y="78870"/>
                    <a:pt x="16452" y="75406"/>
                  </a:cubicBezTo>
                  <a:cubicBezTo>
                    <a:pt x="2804" y="71943"/>
                    <a:pt x="2845" y="96681"/>
                    <a:pt x="14679" y="117956"/>
                  </a:cubicBezTo>
                  <a:cubicBezTo>
                    <a:pt x="26512" y="139231"/>
                    <a:pt x="-7833" y="163310"/>
                    <a:pt x="1692" y="174194"/>
                  </a:cubicBezTo>
                  <a:cubicBezTo>
                    <a:pt x="11215" y="185079"/>
                    <a:pt x="3464" y="198191"/>
                    <a:pt x="7587" y="205076"/>
                  </a:cubicBezTo>
                  <a:cubicBezTo>
                    <a:pt x="11710" y="211962"/>
                    <a:pt x="62094" y="202314"/>
                    <a:pt x="83988" y="176215"/>
                  </a:cubicBezTo>
                  <a:cubicBezTo>
                    <a:pt x="105880" y="150116"/>
                    <a:pt x="111818" y="153579"/>
                    <a:pt x="123074" y="157001"/>
                  </a:cubicBezTo>
                  <a:cubicBezTo>
                    <a:pt x="134330" y="160424"/>
                    <a:pt x="145586" y="147395"/>
                    <a:pt x="139566" y="137128"/>
                  </a:cubicBezTo>
                  <a:cubicBezTo>
                    <a:pt x="133547" y="126862"/>
                    <a:pt x="127197" y="101299"/>
                    <a:pt x="128970" y="69717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5F249F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09" name="Freeform: Shape 208">
              <a:extLst>
                <a:ext uri="{FF2B5EF4-FFF2-40B4-BE49-F238E27FC236}">
                  <a16:creationId xmlns:a16="http://schemas.microsoft.com/office/drawing/2014/main" id="{3FB426F0-CCE9-7CF0-4E14-8901306D0594}"/>
                </a:ext>
              </a:extLst>
            </p:cNvPr>
            <p:cNvSpPr/>
            <p:nvPr>
              <p:custDataLst>
                <p:tags r:id="rId207"/>
              </p:custDataLst>
            </p:nvPr>
          </p:nvSpPr>
          <p:spPr>
            <a:xfrm>
              <a:off x="9733850" y="4589056"/>
              <a:ext cx="143911" cy="222844"/>
            </a:xfrm>
            <a:custGeom>
              <a:avLst/>
              <a:gdLst>
                <a:gd name="connsiteX0" fmla="*/ 168043 w 168042"/>
                <a:gd name="connsiteY0" fmla="*/ 216213 h 260210"/>
                <a:gd name="connsiteX1" fmla="*/ 151840 w 168042"/>
                <a:gd name="connsiteY1" fmla="*/ 126619 h 260210"/>
                <a:gd name="connsiteX2" fmla="*/ 122978 w 168042"/>
                <a:gd name="connsiteY2" fmla="*/ 162737 h 260210"/>
                <a:gd name="connsiteX3" fmla="*/ 125329 w 168042"/>
                <a:gd name="connsiteY3" fmla="*/ 112724 h 260210"/>
                <a:gd name="connsiteX4" fmla="*/ 156540 w 168042"/>
                <a:gd name="connsiteY4" fmla="*/ 65474 h 260210"/>
                <a:gd name="connsiteX5" fmla="*/ 127679 w 168042"/>
                <a:gd name="connsiteY5" fmla="*/ 54383 h 260210"/>
                <a:gd name="connsiteX6" fmla="*/ 82037 w 168042"/>
                <a:gd name="connsiteY6" fmla="*/ 57146 h 260210"/>
                <a:gd name="connsiteX7" fmla="*/ 62824 w 168042"/>
                <a:gd name="connsiteY7" fmla="*/ 34881 h 260210"/>
                <a:gd name="connsiteX8" fmla="*/ 36436 w 168042"/>
                <a:gd name="connsiteY8" fmla="*/ 9854 h 260210"/>
                <a:gd name="connsiteX9" fmla="*/ 2833 w 168042"/>
                <a:gd name="connsiteY9" fmla="*/ 9854 h 260210"/>
                <a:gd name="connsiteX10" fmla="*/ 29262 w 168042"/>
                <a:gd name="connsiteY10" fmla="*/ 48817 h 260210"/>
                <a:gd name="connsiteX11" fmla="*/ 7657 w 168042"/>
                <a:gd name="connsiteY11" fmla="*/ 68237 h 260210"/>
                <a:gd name="connsiteX12" fmla="*/ 17264 w 168042"/>
                <a:gd name="connsiteY12" fmla="*/ 137710 h 260210"/>
                <a:gd name="connsiteX13" fmla="*/ 31364 w 168042"/>
                <a:gd name="connsiteY13" fmla="*/ 222604 h 260210"/>
                <a:gd name="connsiteX14" fmla="*/ 58164 w 168042"/>
                <a:gd name="connsiteY14" fmla="*/ 214110 h 260210"/>
                <a:gd name="connsiteX15" fmla="*/ 90118 w 168042"/>
                <a:gd name="connsiteY15" fmla="*/ 196299 h 260210"/>
                <a:gd name="connsiteX16" fmla="*/ 114402 w 168042"/>
                <a:gd name="connsiteY16" fmla="*/ 173663 h 260210"/>
                <a:gd name="connsiteX17" fmla="*/ 135719 w 168042"/>
                <a:gd name="connsiteY17" fmla="*/ 236787 h 260210"/>
                <a:gd name="connsiteX18" fmla="*/ 141945 w 168042"/>
                <a:gd name="connsiteY18" fmla="*/ 260206 h 260210"/>
                <a:gd name="connsiteX19" fmla="*/ 156293 w 168042"/>
                <a:gd name="connsiteY19" fmla="*/ 246600 h 260210"/>
                <a:gd name="connsiteX20" fmla="*/ 168043 w 168042"/>
                <a:gd name="connsiteY20" fmla="*/ 216213 h 260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68042" h="260210">
                  <a:moveTo>
                    <a:pt x="168043" y="216213"/>
                  </a:moveTo>
                  <a:cubicBezTo>
                    <a:pt x="160951" y="170859"/>
                    <a:pt x="157035" y="126619"/>
                    <a:pt x="151840" y="126619"/>
                  </a:cubicBezTo>
                  <a:cubicBezTo>
                    <a:pt x="144666" y="126619"/>
                    <a:pt x="135059" y="165541"/>
                    <a:pt x="122978" y="162737"/>
                  </a:cubicBezTo>
                  <a:cubicBezTo>
                    <a:pt x="110898" y="159934"/>
                    <a:pt x="110939" y="112724"/>
                    <a:pt x="125329" y="112724"/>
                  </a:cubicBezTo>
                  <a:cubicBezTo>
                    <a:pt x="139718" y="112724"/>
                    <a:pt x="156540" y="76606"/>
                    <a:pt x="156540" y="65474"/>
                  </a:cubicBezTo>
                  <a:cubicBezTo>
                    <a:pt x="156540" y="54342"/>
                    <a:pt x="142151" y="54383"/>
                    <a:pt x="127679" y="54383"/>
                  </a:cubicBezTo>
                  <a:cubicBezTo>
                    <a:pt x="113207" y="54383"/>
                    <a:pt x="82037" y="57146"/>
                    <a:pt x="82037" y="57146"/>
                  </a:cubicBezTo>
                  <a:cubicBezTo>
                    <a:pt x="82037" y="57146"/>
                    <a:pt x="62824" y="48900"/>
                    <a:pt x="62824" y="34881"/>
                  </a:cubicBezTo>
                  <a:cubicBezTo>
                    <a:pt x="62824" y="20863"/>
                    <a:pt x="55649" y="9854"/>
                    <a:pt x="36436" y="9854"/>
                  </a:cubicBezTo>
                  <a:cubicBezTo>
                    <a:pt x="17223" y="9854"/>
                    <a:pt x="17264" y="-12327"/>
                    <a:pt x="2833" y="9854"/>
                  </a:cubicBezTo>
                  <a:cubicBezTo>
                    <a:pt x="-11597" y="32036"/>
                    <a:pt x="34044" y="32119"/>
                    <a:pt x="29262" y="48817"/>
                  </a:cubicBezTo>
                  <a:cubicBezTo>
                    <a:pt x="24479" y="65515"/>
                    <a:pt x="10049" y="54383"/>
                    <a:pt x="7657" y="68237"/>
                  </a:cubicBezTo>
                  <a:cubicBezTo>
                    <a:pt x="5265" y="82090"/>
                    <a:pt x="10090" y="118291"/>
                    <a:pt x="17264" y="137710"/>
                  </a:cubicBezTo>
                  <a:cubicBezTo>
                    <a:pt x="25922" y="165211"/>
                    <a:pt x="30664" y="193784"/>
                    <a:pt x="31364" y="222604"/>
                  </a:cubicBezTo>
                  <a:cubicBezTo>
                    <a:pt x="42538" y="220130"/>
                    <a:pt x="47857" y="214110"/>
                    <a:pt x="58164" y="214110"/>
                  </a:cubicBezTo>
                  <a:cubicBezTo>
                    <a:pt x="71193" y="214110"/>
                    <a:pt x="88922" y="212090"/>
                    <a:pt x="90118" y="196299"/>
                  </a:cubicBezTo>
                  <a:cubicBezTo>
                    <a:pt x="91314" y="180508"/>
                    <a:pt x="106116" y="168880"/>
                    <a:pt x="114402" y="173663"/>
                  </a:cubicBezTo>
                  <a:cubicBezTo>
                    <a:pt x="122689" y="178446"/>
                    <a:pt x="135017" y="216873"/>
                    <a:pt x="135719" y="236787"/>
                  </a:cubicBezTo>
                  <a:cubicBezTo>
                    <a:pt x="136461" y="244909"/>
                    <a:pt x="138564" y="252825"/>
                    <a:pt x="141945" y="260206"/>
                  </a:cubicBezTo>
                  <a:cubicBezTo>
                    <a:pt x="146356" y="255299"/>
                    <a:pt x="151139" y="250723"/>
                    <a:pt x="156293" y="246600"/>
                  </a:cubicBezTo>
                  <a:cubicBezTo>
                    <a:pt x="156293" y="246600"/>
                    <a:pt x="161364" y="225448"/>
                    <a:pt x="168043" y="21621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10" name="Freeform: Shape 209">
              <a:extLst>
                <a:ext uri="{FF2B5EF4-FFF2-40B4-BE49-F238E27FC236}">
                  <a16:creationId xmlns:a16="http://schemas.microsoft.com/office/drawing/2014/main" id="{4EAC531C-1DF5-5AE2-4AFC-4B031BD0E4DD}"/>
                </a:ext>
              </a:extLst>
            </p:cNvPr>
            <p:cNvSpPr/>
            <p:nvPr>
              <p:custDataLst>
                <p:tags r:id="rId208"/>
              </p:custDataLst>
            </p:nvPr>
          </p:nvSpPr>
          <p:spPr>
            <a:xfrm>
              <a:off x="9727305" y="3367541"/>
              <a:ext cx="1077217" cy="532960"/>
            </a:xfrm>
            <a:custGeom>
              <a:avLst/>
              <a:gdLst>
                <a:gd name="connsiteX0" fmla="*/ 1205002 w 1257846"/>
                <a:gd name="connsiteY0" fmla="*/ 260382 h 622327"/>
                <a:gd name="connsiteX1" fmla="*/ 1166286 w 1257846"/>
                <a:gd name="connsiteY1" fmla="*/ 266361 h 622327"/>
                <a:gd name="connsiteX2" fmla="*/ 1127612 w 1257846"/>
                <a:gd name="connsiteY2" fmla="*/ 260382 h 622327"/>
                <a:gd name="connsiteX3" fmla="*/ 1086382 w 1257846"/>
                <a:gd name="connsiteY3" fmla="*/ 257372 h 622327"/>
                <a:gd name="connsiteX4" fmla="*/ 1091536 w 1257846"/>
                <a:gd name="connsiteY4" fmla="*/ 233459 h 622327"/>
                <a:gd name="connsiteX5" fmla="*/ 1094133 w 1257846"/>
                <a:gd name="connsiteY5" fmla="*/ 209586 h 622327"/>
                <a:gd name="connsiteX6" fmla="*/ 1126169 w 1257846"/>
                <a:gd name="connsiteY6" fmla="*/ 135371 h 622327"/>
                <a:gd name="connsiteX7" fmla="*/ 1097308 w 1257846"/>
                <a:gd name="connsiteY7" fmla="*/ 132114 h 622327"/>
                <a:gd name="connsiteX8" fmla="*/ 1062963 w 1257846"/>
                <a:gd name="connsiteY8" fmla="*/ 123868 h 622327"/>
                <a:gd name="connsiteX9" fmla="*/ 1013198 w 1257846"/>
                <a:gd name="connsiteY9" fmla="*/ 121106 h 622327"/>
                <a:gd name="connsiteX10" fmla="*/ 981244 w 1257846"/>
                <a:gd name="connsiteY10" fmla="*/ 145844 h 622327"/>
                <a:gd name="connsiteX11" fmla="*/ 949249 w 1257846"/>
                <a:gd name="connsiteY11" fmla="*/ 159533 h 622327"/>
                <a:gd name="connsiteX12" fmla="*/ 897135 w 1257846"/>
                <a:gd name="connsiteY12" fmla="*/ 174664 h 622327"/>
                <a:gd name="connsiteX13" fmla="*/ 843864 w 1257846"/>
                <a:gd name="connsiteY13" fmla="*/ 174664 h 622327"/>
                <a:gd name="connsiteX14" fmla="*/ 792904 w 1257846"/>
                <a:gd name="connsiteY14" fmla="*/ 163656 h 622327"/>
                <a:gd name="connsiteX15" fmla="*/ 771546 w 1257846"/>
                <a:gd name="connsiteY15" fmla="*/ 137598 h 622327"/>
                <a:gd name="connsiteX16" fmla="*/ 738561 w 1257846"/>
                <a:gd name="connsiteY16" fmla="*/ 119786 h 622327"/>
                <a:gd name="connsiteX17" fmla="*/ 707804 w 1257846"/>
                <a:gd name="connsiteY17" fmla="*/ 110180 h 622327"/>
                <a:gd name="connsiteX18" fmla="*/ 671026 w 1257846"/>
                <a:gd name="connsiteY18" fmla="*/ 100573 h 622327"/>
                <a:gd name="connsiteX19" fmla="*/ 634331 w 1257846"/>
                <a:gd name="connsiteY19" fmla="*/ 106015 h 622327"/>
                <a:gd name="connsiteX20" fmla="*/ 605923 w 1257846"/>
                <a:gd name="connsiteY20" fmla="*/ 122507 h 622327"/>
                <a:gd name="connsiteX21" fmla="*/ 570383 w 1257846"/>
                <a:gd name="connsiteY21" fmla="*/ 110138 h 622327"/>
                <a:gd name="connsiteX22" fmla="*/ 545645 w 1257846"/>
                <a:gd name="connsiteY22" fmla="*/ 88204 h 622327"/>
                <a:gd name="connsiteX23" fmla="*/ 540903 w 1257846"/>
                <a:gd name="connsiteY23" fmla="*/ 48416 h 622327"/>
                <a:gd name="connsiteX24" fmla="*/ 501816 w 1257846"/>
                <a:gd name="connsiteY24" fmla="*/ 34687 h 622327"/>
                <a:gd name="connsiteX25" fmla="*/ 472213 w 1257846"/>
                <a:gd name="connsiteY25" fmla="*/ 20957 h 622327"/>
                <a:gd name="connsiteX26" fmla="*/ 447475 w 1257846"/>
                <a:gd name="connsiteY26" fmla="*/ 14113 h 622327"/>
                <a:gd name="connsiteX27" fmla="*/ 417912 w 1257846"/>
                <a:gd name="connsiteY27" fmla="*/ 383 h 622327"/>
                <a:gd name="connsiteX28" fmla="*/ 403688 w 1257846"/>
                <a:gd name="connsiteY28" fmla="*/ 15432 h 622327"/>
                <a:gd name="connsiteX29" fmla="*/ 382372 w 1257846"/>
                <a:gd name="connsiteY29" fmla="*/ 31924 h 622327"/>
                <a:gd name="connsiteX30" fmla="*/ 365880 w 1257846"/>
                <a:gd name="connsiteY30" fmla="*/ 55261 h 622327"/>
                <a:gd name="connsiteX31" fmla="*/ 380104 w 1257846"/>
                <a:gd name="connsiteY31" fmla="*/ 93646 h 622327"/>
                <a:gd name="connsiteX32" fmla="*/ 378949 w 1257846"/>
                <a:gd name="connsiteY32" fmla="*/ 121106 h 622327"/>
                <a:gd name="connsiteX33" fmla="*/ 345965 w 1257846"/>
                <a:gd name="connsiteY33" fmla="*/ 140319 h 622327"/>
                <a:gd name="connsiteX34" fmla="*/ 317558 w 1257846"/>
                <a:gd name="connsiteY34" fmla="*/ 130671 h 622327"/>
                <a:gd name="connsiteX35" fmla="*/ 285563 w 1257846"/>
                <a:gd name="connsiteY35" fmla="*/ 133475 h 622327"/>
                <a:gd name="connsiteX36" fmla="*/ 252372 w 1257846"/>
                <a:gd name="connsiteY36" fmla="*/ 118343 h 622327"/>
                <a:gd name="connsiteX37" fmla="*/ 239344 w 1257846"/>
                <a:gd name="connsiteY37" fmla="*/ 92286 h 622327"/>
                <a:gd name="connsiteX38" fmla="*/ 183724 w 1257846"/>
                <a:gd name="connsiteY38" fmla="*/ 81318 h 622327"/>
                <a:gd name="connsiteX39" fmla="*/ 155274 w 1257846"/>
                <a:gd name="connsiteY39" fmla="*/ 86802 h 622327"/>
                <a:gd name="connsiteX40" fmla="*/ 128021 w 1257846"/>
                <a:gd name="connsiteY40" fmla="*/ 100532 h 622327"/>
                <a:gd name="connsiteX41" fmla="*/ 101963 w 1257846"/>
                <a:gd name="connsiteY41" fmla="*/ 121147 h 622327"/>
                <a:gd name="connsiteX42" fmla="*/ 71164 w 1257846"/>
                <a:gd name="connsiteY42" fmla="*/ 141762 h 622327"/>
                <a:gd name="connsiteX43" fmla="*/ 34469 w 1257846"/>
                <a:gd name="connsiteY43" fmla="*/ 160976 h 622327"/>
                <a:gd name="connsiteX44" fmla="*/ 7216 w 1257846"/>
                <a:gd name="connsiteY44" fmla="*/ 173345 h 622327"/>
                <a:gd name="connsiteX45" fmla="*/ 1 w 1257846"/>
                <a:gd name="connsiteY45" fmla="*/ 176148 h 622327"/>
                <a:gd name="connsiteX46" fmla="*/ 1320 w 1257846"/>
                <a:gd name="connsiteY46" fmla="*/ 181715 h 622327"/>
                <a:gd name="connsiteX47" fmla="*/ 30181 w 1257846"/>
                <a:gd name="connsiteY47" fmla="*/ 224471 h 622327"/>
                <a:gd name="connsiteX48" fmla="*/ 66217 w 1257846"/>
                <a:gd name="connsiteY48" fmla="*/ 247230 h 622327"/>
                <a:gd name="connsiteX49" fmla="*/ 100644 w 1257846"/>
                <a:gd name="connsiteY49" fmla="*/ 279554 h 622327"/>
                <a:gd name="connsiteX50" fmla="*/ 122002 w 1257846"/>
                <a:gd name="connsiteY50" fmla="*/ 314683 h 622327"/>
                <a:gd name="connsiteX51" fmla="*/ 119528 w 1257846"/>
                <a:gd name="connsiteY51" fmla="*/ 361191 h 622327"/>
                <a:gd name="connsiteX52" fmla="*/ 110498 w 1257846"/>
                <a:gd name="connsiteY52" fmla="*/ 399164 h 622327"/>
                <a:gd name="connsiteX53" fmla="*/ 200710 w 1257846"/>
                <a:gd name="connsiteY53" fmla="*/ 424768 h 622327"/>
                <a:gd name="connsiteX54" fmla="*/ 230767 w 1257846"/>
                <a:gd name="connsiteY54" fmla="*/ 445796 h 622327"/>
                <a:gd name="connsiteX55" fmla="*/ 256578 w 1257846"/>
                <a:gd name="connsiteY55" fmla="*/ 466700 h 622327"/>
                <a:gd name="connsiteX56" fmla="*/ 287542 w 1257846"/>
                <a:gd name="connsiteY56" fmla="*/ 505580 h 622327"/>
                <a:gd name="connsiteX57" fmla="*/ 310713 w 1257846"/>
                <a:gd name="connsiteY57" fmla="*/ 553407 h 622327"/>
                <a:gd name="connsiteX58" fmla="*/ 362333 w 1257846"/>
                <a:gd name="connsiteY58" fmla="*/ 559344 h 622327"/>
                <a:gd name="connsiteX59" fmla="*/ 457865 w 1257846"/>
                <a:gd name="connsiteY59" fmla="*/ 562354 h 622327"/>
                <a:gd name="connsiteX60" fmla="*/ 530101 w 1257846"/>
                <a:gd name="connsiteY60" fmla="*/ 580289 h 622327"/>
                <a:gd name="connsiteX61" fmla="*/ 573970 w 1257846"/>
                <a:gd name="connsiteY61" fmla="*/ 592205 h 622327"/>
                <a:gd name="connsiteX62" fmla="*/ 615200 w 1257846"/>
                <a:gd name="connsiteY62" fmla="*/ 604162 h 622327"/>
                <a:gd name="connsiteX63" fmla="*/ 646164 w 1257846"/>
                <a:gd name="connsiteY63" fmla="*/ 622097 h 622327"/>
                <a:gd name="connsiteX64" fmla="*/ 715885 w 1257846"/>
                <a:gd name="connsiteY64" fmla="*/ 580289 h 622327"/>
                <a:gd name="connsiteX65" fmla="*/ 806180 w 1257846"/>
                <a:gd name="connsiteY65" fmla="*/ 577321 h 622327"/>
                <a:gd name="connsiteX66" fmla="*/ 878416 w 1257846"/>
                <a:gd name="connsiteY66" fmla="*/ 541409 h 622327"/>
                <a:gd name="connsiteX67" fmla="*/ 927438 w 1257846"/>
                <a:gd name="connsiteY67" fmla="*/ 496550 h 622327"/>
                <a:gd name="connsiteX68" fmla="*/ 917131 w 1257846"/>
                <a:gd name="connsiteY68" fmla="*/ 442951 h 622327"/>
                <a:gd name="connsiteX69" fmla="*/ 955847 w 1257846"/>
                <a:gd name="connsiteY69" fmla="*/ 430994 h 622327"/>
                <a:gd name="connsiteX70" fmla="*/ 1020372 w 1257846"/>
                <a:gd name="connsiteY70" fmla="*/ 425015 h 622327"/>
                <a:gd name="connsiteX71" fmla="*/ 1079702 w 1257846"/>
                <a:gd name="connsiteY71" fmla="*/ 404112 h 622327"/>
                <a:gd name="connsiteX72" fmla="*/ 1115820 w 1257846"/>
                <a:gd name="connsiteY72" fmla="*/ 365231 h 622327"/>
                <a:gd name="connsiteX73" fmla="*/ 1164885 w 1257846"/>
                <a:gd name="connsiteY73" fmla="*/ 341318 h 622327"/>
                <a:gd name="connsiteX74" fmla="*/ 1216506 w 1257846"/>
                <a:gd name="connsiteY74" fmla="*/ 329361 h 622327"/>
                <a:gd name="connsiteX75" fmla="*/ 1257736 w 1257846"/>
                <a:gd name="connsiteY75" fmla="*/ 323382 h 622327"/>
                <a:gd name="connsiteX76" fmla="*/ 1205002 w 1257846"/>
                <a:gd name="connsiteY76" fmla="*/ 260382 h 622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1257846" h="622327">
                  <a:moveTo>
                    <a:pt x="1205002" y="260382"/>
                  </a:moveTo>
                  <a:cubicBezTo>
                    <a:pt x="1192096" y="242488"/>
                    <a:pt x="1171481" y="251435"/>
                    <a:pt x="1166286" y="266361"/>
                  </a:cubicBezTo>
                  <a:cubicBezTo>
                    <a:pt x="1161091" y="281286"/>
                    <a:pt x="1150783" y="260382"/>
                    <a:pt x="1127612" y="260382"/>
                  </a:cubicBezTo>
                  <a:cubicBezTo>
                    <a:pt x="1104440" y="260382"/>
                    <a:pt x="1101802" y="275308"/>
                    <a:pt x="1086382" y="257372"/>
                  </a:cubicBezTo>
                  <a:cubicBezTo>
                    <a:pt x="1070962" y="239437"/>
                    <a:pt x="1091536" y="233459"/>
                    <a:pt x="1091536" y="233459"/>
                  </a:cubicBezTo>
                  <a:lnTo>
                    <a:pt x="1094133" y="209586"/>
                  </a:lnTo>
                  <a:lnTo>
                    <a:pt x="1126169" y="135371"/>
                  </a:lnTo>
                  <a:cubicBezTo>
                    <a:pt x="1117016" y="131248"/>
                    <a:pt x="1103616" y="129311"/>
                    <a:pt x="1097308" y="132114"/>
                  </a:cubicBezTo>
                  <a:cubicBezTo>
                    <a:pt x="1087825" y="136237"/>
                    <a:pt x="1065313" y="133516"/>
                    <a:pt x="1062963" y="123868"/>
                  </a:cubicBezTo>
                  <a:cubicBezTo>
                    <a:pt x="1060613" y="114220"/>
                    <a:pt x="1022681" y="112860"/>
                    <a:pt x="1013198" y="121106"/>
                  </a:cubicBezTo>
                  <a:cubicBezTo>
                    <a:pt x="1003715" y="129352"/>
                    <a:pt x="982440" y="136155"/>
                    <a:pt x="981244" y="145844"/>
                  </a:cubicBezTo>
                  <a:cubicBezTo>
                    <a:pt x="980048" y="155533"/>
                    <a:pt x="957537" y="152688"/>
                    <a:pt x="949249" y="159533"/>
                  </a:cubicBezTo>
                  <a:cubicBezTo>
                    <a:pt x="940962" y="166377"/>
                    <a:pt x="898288" y="169180"/>
                    <a:pt x="897135" y="174664"/>
                  </a:cubicBezTo>
                  <a:cubicBezTo>
                    <a:pt x="895980" y="180148"/>
                    <a:pt x="850956" y="181508"/>
                    <a:pt x="843864" y="174664"/>
                  </a:cubicBezTo>
                  <a:cubicBezTo>
                    <a:pt x="836773" y="167820"/>
                    <a:pt x="797645" y="174664"/>
                    <a:pt x="792904" y="163656"/>
                  </a:cubicBezTo>
                  <a:cubicBezTo>
                    <a:pt x="788162" y="152647"/>
                    <a:pt x="771546" y="147163"/>
                    <a:pt x="771546" y="137598"/>
                  </a:cubicBezTo>
                  <a:cubicBezTo>
                    <a:pt x="771546" y="128032"/>
                    <a:pt x="741942" y="127991"/>
                    <a:pt x="738561" y="119786"/>
                  </a:cubicBezTo>
                  <a:cubicBezTo>
                    <a:pt x="735181" y="111582"/>
                    <a:pt x="711350" y="107417"/>
                    <a:pt x="707804" y="110180"/>
                  </a:cubicBezTo>
                  <a:cubicBezTo>
                    <a:pt x="704258" y="112942"/>
                    <a:pt x="678118" y="101934"/>
                    <a:pt x="671026" y="100573"/>
                  </a:cubicBezTo>
                  <a:cubicBezTo>
                    <a:pt x="663935" y="99212"/>
                    <a:pt x="641464" y="106015"/>
                    <a:pt x="634331" y="106015"/>
                  </a:cubicBezTo>
                  <a:cubicBezTo>
                    <a:pt x="627198" y="106015"/>
                    <a:pt x="614169" y="121147"/>
                    <a:pt x="605923" y="122507"/>
                  </a:cubicBezTo>
                  <a:cubicBezTo>
                    <a:pt x="597677" y="123868"/>
                    <a:pt x="575083" y="106015"/>
                    <a:pt x="570383" y="110138"/>
                  </a:cubicBezTo>
                  <a:cubicBezTo>
                    <a:pt x="565682" y="114261"/>
                    <a:pt x="551417" y="96409"/>
                    <a:pt x="545645" y="88204"/>
                  </a:cubicBezTo>
                  <a:cubicBezTo>
                    <a:pt x="539872" y="79999"/>
                    <a:pt x="545645" y="56621"/>
                    <a:pt x="540903" y="48416"/>
                  </a:cubicBezTo>
                  <a:cubicBezTo>
                    <a:pt x="536162" y="40212"/>
                    <a:pt x="510145" y="40170"/>
                    <a:pt x="501816" y="34687"/>
                  </a:cubicBezTo>
                  <a:cubicBezTo>
                    <a:pt x="493488" y="29203"/>
                    <a:pt x="480500" y="20957"/>
                    <a:pt x="472213" y="20957"/>
                  </a:cubicBezTo>
                  <a:cubicBezTo>
                    <a:pt x="463926" y="20957"/>
                    <a:pt x="450896" y="18236"/>
                    <a:pt x="447475" y="14113"/>
                  </a:cubicBezTo>
                  <a:cubicBezTo>
                    <a:pt x="444052" y="9990"/>
                    <a:pt x="426199" y="3104"/>
                    <a:pt x="417912" y="383"/>
                  </a:cubicBezTo>
                  <a:cubicBezTo>
                    <a:pt x="409625" y="-2338"/>
                    <a:pt x="408430" y="9990"/>
                    <a:pt x="403688" y="15432"/>
                  </a:cubicBezTo>
                  <a:cubicBezTo>
                    <a:pt x="398947" y="20875"/>
                    <a:pt x="384722" y="22359"/>
                    <a:pt x="382372" y="31924"/>
                  </a:cubicBezTo>
                  <a:cubicBezTo>
                    <a:pt x="380021" y="41490"/>
                    <a:pt x="363405" y="44293"/>
                    <a:pt x="365880" y="55261"/>
                  </a:cubicBezTo>
                  <a:cubicBezTo>
                    <a:pt x="368354" y="66228"/>
                    <a:pt x="374126" y="88245"/>
                    <a:pt x="380104" y="93646"/>
                  </a:cubicBezTo>
                  <a:cubicBezTo>
                    <a:pt x="386082" y="99047"/>
                    <a:pt x="382496" y="115581"/>
                    <a:pt x="378949" y="121106"/>
                  </a:cubicBezTo>
                  <a:cubicBezTo>
                    <a:pt x="375404" y="126631"/>
                    <a:pt x="350501" y="130671"/>
                    <a:pt x="345965" y="140319"/>
                  </a:cubicBezTo>
                  <a:cubicBezTo>
                    <a:pt x="341430" y="149967"/>
                    <a:pt x="329473" y="138917"/>
                    <a:pt x="317558" y="130671"/>
                  </a:cubicBezTo>
                  <a:cubicBezTo>
                    <a:pt x="305641" y="122425"/>
                    <a:pt x="291458" y="127950"/>
                    <a:pt x="285563" y="133475"/>
                  </a:cubicBezTo>
                  <a:cubicBezTo>
                    <a:pt x="279667" y="139000"/>
                    <a:pt x="258350" y="119745"/>
                    <a:pt x="252372" y="118343"/>
                  </a:cubicBezTo>
                  <a:cubicBezTo>
                    <a:pt x="246394" y="116941"/>
                    <a:pt x="245280" y="90925"/>
                    <a:pt x="239344" y="92286"/>
                  </a:cubicBezTo>
                  <a:cubicBezTo>
                    <a:pt x="233406" y="93646"/>
                    <a:pt x="191970" y="84040"/>
                    <a:pt x="183724" y="81318"/>
                  </a:cubicBezTo>
                  <a:cubicBezTo>
                    <a:pt x="175478" y="78597"/>
                    <a:pt x="157624" y="79958"/>
                    <a:pt x="155274" y="86802"/>
                  </a:cubicBezTo>
                  <a:cubicBezTo>
                    <a:pt x="152925" y="93646"/>
                    <a:pt x="131567" y="92286"/>
                    <a:pt x="128021" y="100532"/>
                  </a:cubicBezTo>
                  <a:cubicBezTo>
                    <a:pt x="124475" y="108778"/>
                    <a:pt x="107859" y="112901"/>
                    <a:pt x="101963" y="121147"/>
                  </a:cubicBezTo>
                  <a:cubicBezTo>
                    <a:pt x="96068" y="129393"/>
                    <a:pt x="75905" y="129393"/>
                    <a:pt x="71164" y="141762"/>
                  </a:cubicBezTo>
                  <a:cubicBezTo>
                    <a:pt x="66422" y="154131"/>
                    <a:pt x="41561" y="159574"/>
                    <a:pt x="34469" y="160976"/>
                  </a:cubicBezTo>
                  <a:cubicBezTo>
                    <a:pt x="27377" y="162378"/>
                    <a:pt x="8412" y="166459"/>
                    <a:pt x="7216" y="173345"/>
                  </a:cubicBezTo>
                  <a:cubicBezTo>
                    <a:pt x="6679" y="176313"/>
                    <a:pt x="3711" y="176684"/>
                    <a:pt x="1" y="176148"/>
                  </a:cubicBezTo>
                  <a:cubicBezTo>
                    <a:pt x="453" y="178004"/>
                    <a:pt x="990" y="179653"/>
                    <a:pt x="1320" y="181715"/>
                  </a:cubicBezTo>
                  <a:cubicBezTo>
                    <a:pt x="6226" y="213008"/>
                    <a:pt x="17812" y="212101"/>
                    <a:pt x="30181" y="224471"/>
                  </a:cubicBezTo>
                  <a:cubicBezTo>
                    <a:pt x="42551" y="236840"/>
                    <a:pt x="53105" y="246281"/>
                    <a:pt x="66217" y="247230"/>
                  </a:cubicBezTo>
                  <a:cubicBezTo>
                    <a:pt x="79328" y="248178"/>
                    <a:pt x="99201" y="266196"/>
                    <a:pt x="100644" y="279554"/>
                  </a:cubicBezTo>
                  <a:cubicBezTo>
                    <a:pt x="102087" y="292913"/>
                    <a:pt x="114621" y="308004"/>
                    <a:pt x="122002" y="314683"/>
                  </a:cubicBezTo>
                  <a:cubicBezTo>
                    <a:pt x="129381" y="321362"/>
                    <a:pt x="119528" y="344121"/>
                    <a:pt x="119528" y="361191"/>
                  </a:cubicBezTo>
                  <a:cubicBezTo>
                    <a:pt x="119528" y="378260"/>
                    <a:pt x="101509" y="382053"/>
                    <a:pt x="110498" y="399164"/>
                  </a:cubicBezTo>
                  <a:cubicBezTo>
                    <a:pt x="119486" y="416275"/>
                    <a:pt x="182652" y="424768"/>
                    <a:pt x="200710" y="424768"/>
                  </a:cubicBezTo>
                  <a:cubicBezTo>
                    <a:pt x="218770" y="424768"/>
                    <a:pt x="225448" y="444724"/>
                    <a:pt x="230767" y="445796"/>
                  </a:cubicBezTo>
                  <a:cubicBezTo>
                    <a:pt x="242106" y="447939"/>
                    <a:pt x="243632" y="463690"/>
                    <a:pt x="256578" y="466700"/>
                  </a:cubicBezTo>
                  <a:cubicBezTo>
                    <a:pt x="269524" y="469709"/>
                    <a:pt x="282347" y="478656"/>
                    <a:pt x="287542" y="505580"/>
                  </a:cubicBezTo>
                  <a:cubicBezTo>
                    <a:pt x="292737" y="532503"/>
                    <a:pt x="308157" y="541409"/>
                    <a:pt x="310713" y="553407"/>
                  </a:cubicBezTo>
                  <a:cubicBezTo>
                    <a:pt x="313269" y="565405"/>
                    <a:pt x="341718" y="556376"/>
                    <a:pt x="362333" y="559344"/>
                  </a:cubicBezTo>
                  <a:cubicBezTo>
                    <a:pt x="382949" y="562313"/>
                    <a:pt x="442362" y="559344"/>
                    <a:pt x="457865" y="562354"/>
                  </a:cubicBezTo>
                  <a:cubicBezTo>
                    <a:pt x="473368" y="565364"/>
                    <a:pt x="509444" y="562354"/>
                    <a:pt x="530101" y="580289"/>
                  </a:cubicBezTo>
                  <a:cubicBezTo>
                    <a:pt x="550757" y="598225"/>
                    <a:pt x="561065" y="583258"/>
                    <a:pt x="573970" y="592205"/>
                  </a:cubicBezTo>
                  <a:cubicBezTo>
                    <a:pt x="586875" y="601152"/>
                    <a:pt x="597183" y="607172"/>
                    <a:pt x="615200" y="604162"/>
                  </a:cubicBezTo>
                  <a:cubicBezTo>
                    <a:pt x="633218" y="601152"/>
                    <a:pt x="633260" y="619128"/>
                    <a:pt x="646164" y="622097"/>
                  </a:cubicBezTo>
                  <a:cubicBezTo>
                    <a:pt x="659069" y="625066"/>
                    <a:pt x="682323" y="598183"/>
                    <a:pt x="715885" y="580289"/>
                  </a:cubicBezTo>
                  <a:cubicBezTo>
                    <a:pt x="749447" y="562395"/>
                    <a:pt x="788120" y="574311"/>
                    <a:pt x="806180" y="577321"/>
                  </a:cubicBezTo>
                  <a:cubicBezTo>
                    <a:pt x="824238" y="580331"/>
                    <a:pt x="857759" y="568332"/>
                    <a:pt x="878416" y="541409"/>
                  </a:cubicBezTo>
                  <a:cubicBezTo>
                    <a:pt x="899072" y="514485"/>
                    <a:pt x="924841" y="520505"/>
                    <a:pt x="927438" y="496550"/>
                  </a:cubicBezTo>
                  <a:cubicBezTo>
                    <a:pt x="930036" y="472595"/>
                    <a:pt x="906823" y="463566"/>
                    <a:pt x="917131" y="442951"/>
                  </a:cubicBezTo>
                  <a:cubicBezTo>
                    <a:pt x="927438" y="422336"/>
                    <a:pt x="945539" y="425015"/>
                    <a:pt x="955847" y="430994"/>
                  </a:cubicBezTo>
                  <a:cubicBezTo>
                    <a:pt x="976543" y="442345"/>
                    <a:pt x="1002107" y="439978"/>
                    <a:pt x="1020372" y="425015"/>
                  </a:cubicBezTo>
                  <a:cubicBezTo>
                    <a:pt x="1046141" y="404112"/>
                    <a:pt x="1056490" y="407080"/>
                    <a:pt x="1079702" y="404112"/>
                  </a:cubicBezTo>
                  <a:cubicBezTo>
                    <a:pt x="1102915" y="401143"/>
                    <a:pt x="1100317" y="383167"/>
                    <a:pt x="1115820" y="365231"/>
                  </a:cubicBezTo>
                  <a:cubicBezTo>
                    <a:pt x="1127777" y="350339"/>
                    <a:pt x="1145795" y="341569"/>
                    <a:pt x="1164885" y="341318"/>
                  </a:cubicBezTo>
                  <a:cubicBezTo>
                    <a:pt x="1180388" y="341318"/>
                    <a:pt x="1201003" y="323382"/>
                    <a:pt x="1216506" y="329361"/>
                  </a:cubicBezTo>
                  <a:cubicBezTo>
                    <a:pt x="1232008" y="335339"/>
                    <a:pt x="1255179" y="338349"/>
                    <a:pt x="1257736" y="323382"/>
                  </a:cubicBezTo>
                  <a:cubicBezTo>
                    <a:pt x="1260292" y="308416"/>
                    <a:pt x="1217907" y="278318"/>
                    <a:pt x="1205002" y="26038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11" name="Freeform: Shape 210">
              <a:extLst>
                <a:ext uri="{FF2B5EF4-FFF2-40B4-BE49-F238E27FC236}">
                  <a16:creationId xmlns:a16="http://schemas.microsoft.com/office/drawing/2014/main" id="{3291AD18-A86F-A7AC-BAE6-34824FF06F38}"/>
                </a:ext>
              </a:extLst>
            </p:cNvPr>
            <p:cNvSpPr/>
            <p:nvPr>
              <p:custDataLst>
                <p:tags r:id="rId209"/>
              </p:custDataLst>
            </p:nvPr>
          </p:nvSpPr>
          <p:spPr>
            <a:xfrm>
              <a:off x="9105351" y="3818479"/>
              <a:ext cx="373834" cy="182567"/>
            </a:xfrm>
            <a:custGeom>
              <a:avLst/>
              <a:gdLst>
                <a:gd name="connsiteX0" fmla="*/ 403120 w 436517"/>
                <a:gd name="connsiteY0" fmla="*/ 39101 h 213180"/>
                <a:gd name="connsiteX1" fmla="*/ 365229 w 436517"/>
                <a:gd name="connsiteY1" fmla="*/ 26732 h 213180"/>
                <a:gd name="connsiteX2" fmla="*/ 262153 w 436517"/>
                <a:gd name="connsiteY2" fmla="*/ 19805 h 213180"/>
                <a:gd name="connsiteX3" fmla="*/ 208884 w 436517"/>
                <a:gd name="connsiteY3" fmla="*/ 1994 h 213180"/>
                <a:gd name="connsiteX4" fmla="*/ 167405 w 436517"/>
                <a:gd name="connsiteY4" fmla="*/ 21207 h 213180"/>
                <a:gd name="connsiteX5" fmla="*/ 131865 w 436517"/>
                <a:gd name="connsiteY5" fmla="*/ 28051 h 213180"/>
                <a:gd name="connsiteX6" fmla="*/ 77399 w 436517"/>
                <a:gd name="connsiteY6" fmla="*/ 29453 h 213180"/>
                <a:gd name="connsiteX7" fmla="*/ 52661 w 436517"/>
                <a:gd name="connsiteY7" fmla="*/ 60953 h 213180"/>
                <a:gd name="connsiteX8" fmla="*/ 40581 w 436517"/>
                <a:gd name="connsiteY8" fmla="*/ 86805 h 213180"/>
                <a:gd name="connsiteX9" fmla="*/ 55424 w 436517"/>
                <a:gd name="connsiteY9" fmla="*/ 102225 h 213180"/>
                <a:gd name="connsiteX10" fmla="*/ 87089 w 436517"/>
                <a:gd name="connsiteY10" fmla="*/ 100411 h 213180"/>
                <a:gd name="connsiteX11" fmla="*/ 142461 w 436517"/>
                <a:gd name="connsiteY11" fmla="*/ 129684 h 213180"/>
                <a:gd name="connsiteX12" fmla="*/ 125020 w 436517"/>
                <a:gd name="connsiteY12" fmla="*/ 153516 h 213180"/>
                <a:gd name="connsiteX13" fmla="*/ 87089 w 436517"/>
                <a:gd name="connsiteY13" fmla="*/ 160855 h 213180"/>
                <a:gd name="connsiteX14" fmla="*/ 28542 w 436517"/>
                <a:gd name="connsiteY14" fmla="*/ 170008 h 213180"/>
                <a:gd name="connsiteX15" fmla="*/ 92 w 436517"/>
                <a:gd name="connsiteY15" fmla="*/ 197467 h 213180"/>
                <a:gd name="connsiteX16" fmla="*/ 57031 w 436517"/>
                <a:gd name="connsiteY16" fmla="*/ 202951 h 213180"/>
                <a:gd name="connsiteX17" fmla="*/ 93438 w 436517"/>
                <a:gd name="connsiteY17" fmla="*/ 204765 h 213180"/>
                <a:gd name="connsiteX18" fmla="*/ 126423 w 436517"/>
                <a:gd name="connsiteY18" fmla="*/ 212145 h 213180"/>
                <a:gd name="connsiteX19" fmla="*/ 178579 w 436517"/>
                <a:gd name="connsiteY19" fmla="*/ 208476 h 213180"/>
                <a:gd name="connsiteX20" fmla="*/ 185135 w 436517"/>
                <a:gd name="connsiteY20" fmla="*/ 185469 h 213180"/>
                <a:gd name="connsiteX21" fmla="*/ 202905 w 436517"/>
                <a:gd name="connsiteY21" fmla="*/ 173100 h 213180"/>
                <a:gd name="connsiteX22" fmla="*/ 225087 w 436517"/>
                <a:gd name="connsiteY22" fmla="*/ 156608 h 213180"/>
                <a:gd name="connsiteX23" fmla="*/ 249083 w 436517"/>
                <a:gd name="connsiteY23" fmla="*/ 147372 h 213180"/>
                <a:gd name="connsiteX24" fmla="*/ 273822 w 436517"/>
                <a:gd name="connsiteY24" fmla="*/ 156608 h 213180"/>
                <a:gd name="connsiteX25" fmla="*/ 297818 w 436517"/>
                <a:gd name="connsiteY25" fmla="*/ 138096 h 213180"/>
                <a:gd name="connsiteX26" fmla="*/ 334265 w 436517"/>
                <a:gd name="connsiteY26" fmla="*/ 125726 h 213180"/>
                <a:gd name="connsiteX27" fmla="*/ 366219 w 436517"/>
                <a:gd name="connsiteY27" fmla="*/ 105111 h 213180"/>
                <a:gd name="connsiteX28" fmla="*/ 397307 w 436517"/>
                <a:gd name="connsiteY28" fmla="*/ 84496 h 213180"/>
                <a:gd name="connsiteX29" fmla="*/ 432888 w 436517"/>
                <a:gd name="connsiteY29" fmla="*/ 63881 h 213180"/>
                <a:gd name="connsiteX30" fmla="*/ 436517 w 436517"/>
                <a:gd name="connsiteY30" fmla="*/ 53903 h 213180"/>
                <a:gd name="connsiteX31" fmla="*/ 403120 w 436517"/>
                <a:gd name="connsiteY31" fmla="*/ 39101 h 213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36517" h="213180">
                  <a:moveTo>
                    <a:pt x="403120" y="39101"/>
                  </a:moveTo>
                  <a:cubicBezTo>
                    <a:pt x="387741" y="18486"/>
                    <a:pt x="383000" y="32174"/>
                    <a:pt x="365229" y="26732"/>
                  </a:cubicBezTo>
                  <a:cubicBezTo>
                    <a:pt x="347459" y="21290"/>
                    <a:pt x="276419" y="12961"/>
                    <a:pt x="262153" y="19805"/>
                  </a:cubicBezTo>
                  <a:cubicBezTo>
                    <a:pt x="247887" y="26649"/>
                    <a:pt x="218326" y="7436"/>
                    <a:pt x="208884" y="1994"/>
                  </a:cubicBezTo>
                  <a:cubicBezTo>
                    <a:pt x="199442" y="-3449"/>
                    <a:pt x="168601" y="1994"/>
                    <a:pt x="167405" y="21207"/>
                  </a:cubicBezTo>
                  <a:cubicBezTo>
                    <a:pt x="166210" y="40421"/>
                    <a:pt x="153181" y="40379"/>
                    <a:pt x="131865" y="28051"/>
                  </a:cubicBezTo>
                  <a:cubicBezTo>
                    <a:pt x="110549" y="15723"/>
                    <a:pt x="78554" y="15682"/>
                    <a:pt x="77399" y="29453"/>
                  </a:cubicBezTo>
                  <a:cubicBezTo>
                    <a:pt x="76244" y="43224"/>
                    <a:pt x="60907" y="56871"/>
                    <a:pt x="52661" y="60953"/>
                  </a:cubicBezTo>
                  <a:cubicBezTo>
                    <a:pt x="49527" y="62561"/>
                    <a:pt x="44992" y="73693"/>
                    <a:pt x="40581" y="86805"/>
                  </a:cubicBezTo>
                  <a:cubicBezTo>
                    <a:pt x="47095" y="89691"/>
                    <a:pt x="51095" y="96164"/>
                    <a:pt x="55424" y="102225"/>
                  </a:cubicBezTo>
                  <a:cubicBezTo>
                    <a:pt x="63340" y="113192"/>
                    <a:pt x="83914" y="111378"/>
                    <a:pt x="87089" y="100411"/>
                  </a:cubicBezTo>
                  <a:cubicBezTo>
                    <a:pt x="90263" y="89443"/>
                    <a:pt x="123454" y="111378"/>
                    <a:pt x="142461" y="129684"/>
                  </a:cubicBezTo>
                  <a:cubicBezTo>
                    <a:pt x="161469" y="147991"/>
                    <a:pt x="132936" y="135168"/>
                    <a:pt x="125020" y="153516"/>
                  </a:cubicBezTo>
                  <a:cubicBezTo>
                    <a:pt x="117105" y="171863"/>
                    <a:pt x="93438" y="153516"/>
                    <a:pt x="87089" y="160855"/>
                  </a:cubicBezTo>
                  <a:cubicBezTo>
                    <a:pt x="80739" y="168194"/>
                    <a:pt x="39632" y="171822"/>
                    <a:pt x="28542" y="170008"/>
                  </a:cubicBezTo>
                  <a:cubicBezTo>
                    <a:pt x="17451" y="168194"/>
                    <a:pt x="-1474" y="188273"/>
                    <a:pt x="92" y="197467"/>
                  </a:cubicBezTo>
                  <a:cubicBezTo>
                    <a:pt x="1659" y="206662"/>
                    <a:pt x="42807" y="191984"/>
                    <a:pt x="57031" y="202951"/>
                  </a:cubicBezTo>
                  <a:cubicBezTo>
                    <a:pt x="71256" y="213918"/>
                    <a:pt x="85521" y="191984"/>
                    <a:pt x="93438" y="204765"/>
                  </a:cubicBezTo>
                  <a:cubicBezTo>
                    <a:pt x="101354" y="217546"/>
                    <a:pt x="118712" y="208476"/>
                    <a:pt x="126423" y="212145"/>
                  </a:cubicBezTo>
                  <a:cubicBezTo>
                    <a:pt x="134132" y="215815"/>
                    <a:pt x="178208" y="208517"/>
                    <a:pt x="178579" y="208476"/>
                  </a:cubicBezTo>
                  <a:cubicBezTo>
                    <a:pt x="183073" y="201665"/>
                    <a:pt x="185382" y="193629"/>
                    <a:pt x="185135" y="185469"/>
                  </a:cubicBezTo>
                  <a:cubicBezTo>
                    <a:pt x="185135" y="173100"/>
                    <a:pt x="193999" y="176234"/>
                    <a:pt x="202905" y="173100"/>
                  </a:cubicBezTo>
                  <a:cubicBezTo>
                    <a:pt x="211811" y="169967"/>
                    <a:pt x="217995" y="156608"/>
                    <a:pt x="225087" y="156608"/>
                  </a:cubicBezTo>
                  <a:cubicBezTo>
                    <a:pt x="232178" y="156608"/>
                    <a:pt x="241992" y="144239"/>
                    <a:pt x="249083" y="147372"/>
                  </a:cubicBezTo>
                  <a:cubicBezTo>
                    <a:pt x="256175" y="150506"/>
                    <a:pt x="265080" y="164854"/>
                    <a:pt x="273822" y="156608"/>
                  </a:cubicBezTo>
                  <a:cubicBezTo>
                    <a:pt x="282562" y="148362"/>
                    <a:pt x="285366" y="155577"/>
                    <a:pt x="297818" y="138096"/>
                  </a:cubicBezTo>
                  <a:cubicBezTo>
                    <a:pt x="310269" y="120614"/>
                    <a:pt x="318433" y="123665"/>
                    <a:pt x="334265" y="125726"/>
                  </a:cubicBezTo>
                  <a:cubicBezTo>
                    <a:pt x="352860" y="128118"/>
                    <a:pt x="360900" y="117480"/>
                    <a:pt x="366219" y="105111"/>
                  </a:cubicBezTo>
                  <a:cubicBezTo>
                    <a:pt x="371538" y="92742"/>
                    <a:pt x="387534" y="92742"/>
                    <a:pt x="397307" y="84496"/>
                  </a:cubicBezTo>
                  <a:cubicBezTo>
                    <a:pt x="407079" y="76250"/>
                    <a:pt x="426663" y="67014"/>
                    <a:pt x="432888" y="63881"/>
                  </a:cubicBezTo>
                  <a:cubicBezTo>
                    <a:pt x="435857" y="62355"/>
                    <a:pt x="436558" y="58727"/>
                    <a:pt x="436517" y="53903"/>
                  </a:cubicBezTo>
                  <a:cubicBezTo>
                    <a:pt x="422334" y="40833"/>
                    <a:pt x="415860" y="56377"/>
                    <a:pt x="403120" y="3910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12" name="Freeform: Shape 211">
              <a:extLst>
                <a:ext uri="{FF2B5EF4-FFF2-40B4-BE49-F238E27FC236}">
                  <a16:creationId xmlns:a16="http://schemas.microsoft.com/office/drawing/2014/main" id="{EAA9D4A8-BB6B-391B-EAC6-5DC9361C9105}"/>
                </a:ext>
              </a:extLst>
            </p:cNvPr>
            <p:cNvSpPr/>
            <p:nvPr>
              <p:custDataLst>
                <p:tags r:id="rId210"/>
              </p:custDataLst>
            </p:nvPr>
          </p:nvSpPr>
          <p:spPr>
            <a:xfrm>
              <a:off x="9401468" y="4162342"/>
              <a:ext cx="78745" cy="87248"/>
            </a:xfrm>
            <a:custGeom>
              <a:avLst/>
              <a:gdLst>
                <a:gd name="connsiteX0" fmla="*/ 45354 w 91949"/>
                <a:gd name="connsiteY0" fmla="*/ 35 h 101878"/>
                <a:gd name="connsiteX1" fmla="*/ 1 w 91949"/>
                <a:gd name="connsiteY1" fmla="*/ 30257 h 101878"/>
                <a:gd name="connsiteX2" fmla="*/ 6803 w 91949"/>
                <a:gd name="connsiteY2" fmla="*/ 43327 h 101878"/>
                <a:gd name="connsiteX3" fmla="*/ 30511 w 91949"/>
                <a:gd name="connsiteY3" fmla="*/ 74415 h 101878"/>
                <a:gd name="connsiteX4" fmla="*/ 34634 w 91949"/>
                <a:gd name="connsiteY4" fmla="*/ 101875 h 101878"/>
                <a:gd name="connsiteX5" fmla="*/ 51704 w 91949"/>
                <a:gd name="connsiteY5" fmla="*/ 99854 h 101878"/>
                <a:gd name="connsiteX6" fmla="*/ 91697 w 91949"/>
                <a:gd name="connsiteY6" fmla="*/ 44317 h 101878"/>
                <a:gd name="connsiteX7" fmla="*/ 45354 w 91949"/>
                <a:gd name="connsiteY7" fmla="*/ 35 h 101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949" h="101878">
                  <a:moveTo>
                    <a:pt x="45354" y="35"/>
                  </a:moveTo>
                  <a:cubicBezTo>
                    <a:pt x="31130" y="-913"/>
                    <a:pt x="3835" y="15414"/>
                    <a:pt x="1" y="30257"/>
                  </a:cubicBezTo>
                  <a:cubicBezTo>
                    <a:pt x="3175" y="34079"/>
                    <a:pt x="5484" y="38536"/>
                    <a:pt x="6803" y="43327"/>
                  </a:cubicBezTo>
                  <a:cubicBezTo>
                    <a:pt x="10597" y="56261"/>
                    <a:pt x="19049" y="67336"/>
                    <a:pt x="30511" y="74415"/>
                  </a:cubicBezTo>
                  <a:cubicBezTo>
                    <a:pt x="37314" y="78909"/>
                    <a:pt x="36325" y="90907"/>
                    <a:pt x="34634" y="101875"/>
                  </a:cubicBezTo>
                  <a:cubicBezTo>
                    <a:pt x="40365" y="101788"/>
                    <a:pt x="46096" y="101112"/>
                    <a:pt x="51704" y="99854"/>
                  </a:cubicBezTo>
                  <a:cubicBezTo>
                    <a:pt x="63290" y="96762"/>
                    <a:pt x="88151" y="55614"/>
                    <a:pt x="91697" y="44317"/>
                  </a:cubicBezTo>
                  <a:cubicBezTo>
                    <a:pt x="95243" y="33020"/>
                    <a:pt x="60609" y="1066"/>
                    <a:pt x="45354" y="3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13" name="Freeform: Shape 212">
              <a:extLst>
                <a:ext uri="{FF2B5EF4-FFF2-40B4-BE49-F238E27FC236}">
                  <a16:creationId xmlns:a16="http://schemas.microsoft.com/office/drawing/2014/main" id="{E45F25F2-9FC1-99BA-A098-EC43467E9FD3}"/>
                </a:ext>
              </a:extLst>
            </p:cNvPr>
            <p:cNvSpPr/>
            <p:nvPr>
              <p:custDataLst>
                <p:tags r:id="rId211"/>
              </p:custDataLst>
            </p:nvPr>
          </p:nvSpPr>
          <p:spPr>
            <a:xfrm>
              <a:off x="10950715" y="3830923"/>
              <a:ext cx="235692" cy="254225"/>
            </a:xfrm>
            <a:custGeom>
              <a:avLst/>
              <a:gdLst>
                <a:gd name="connsiteX0" fmla="*/ 148059 w 275213"/>
                <a:gd name="connsiteY0" fmla="*/ 226062 h 296854"/>
                <a:gd name="connsiteX1" fmla="*/ 135237 w 275213"/>
                <a:gd name="connsiteY1" fmla="*/ 213693 h 296854"/>
                <a:gd name="connsiteX2" fmla="*/ 146492 w 275213"/>
                <a:gd name="connsiteY2" fmla="*/ 172463 h 296854"/>
                <a:gd name="connsiteX3" fmla="*/ 159480 w 275213"/>
                <a:gd name="connsiteY3" fmla="*/ 165907 h 296854"/>
                <a:gd name="connsiteX4" fmla="*/ 198649 w 275213"/>
                <a:gd name="connsiteY4" fmla="*/ 110617 h 296854"/>
                <a:gd name="connsiteX5" fmla="*/ 224583 w 275213"/>
                <a:gd name="connsiteY5" fmla="*/ 97052 h 296854"/>
                <a:gd name="connsiteX6" fmla="*/ 230602 w 275213"/>
                <a:gd name="connsiteY6" fmla="*/ 66830 h 296854"/>
                <a:gd name="connsiteX7" fmla="*/ 275214 w 275213"/>
                <a:gd name="connsiteY7" fmla="*/ 16777 h 296854"/>
                <a:gd name="connsiteX8" fmla="*/ 264206 w 275213"/>
                <a:gd name="connsiteY8" fmla="*/ 14962 h 296854"/>
                <a:gd name="connsiteX9" fmla="*/ 230643 w 275213"/>
                <a:gd name="connsiteY9" fmla="*/ -4 h 296854"/>
                <a:gd name="connsiteX10" fmla="*/ 207431 w 275213"/>
                <a:gd name="connsiteY10" fmla="*/ 35908 h 296854"/>
                <a:gd name="connsiteX11" fmla="*/ 179023 w 275213"/>
                <a:gd name="connsiteY11" fmla="*/ 59739 h 296854"/>
                <a:gd name="connsiteX12" fmla="*/ 163520 w 275213"/>
                <a:gd name="connsiteY12" fmla="*/ 77715 h 296854"/>
                <a:gd name="connsiteX13" fmla="*/ 137751 w 275213"/>
                <a:gd name="connsiteY13" fmla="*/ 86662 h 296854"/>
                <a:gd name="connsiteX14" fmla="*/ 111941 w 275213"/>
                <a:gd name="connsiteY14" fmla="*/ 74747 h 296854"/>
                <a:gd name="connsiteX15" fmla="*/ 86130 w 275213"/>
                <a:gd name="connsiteY15" fmla="*/ 107731 h 296854"/>
                <a:gd name="connsiteX16" fmla="*/ 11298 w 275213"/>
                <a:gd name="connsiteY16" fmla="*/ 155558 h 296854"/>
                <a:gd name="connsiteX17" fmla="*/ 1 w 275213"/>
                <a:gd name="connsiteY17" fmla="*/ 176173 h 296854"/>
                <a:gd name="connsiteX18" fmla="*/ 45808 w 275213"/>
                <a:gd name="connsiteY18" fmla="*/ 202314 h 296854"/>
                <a:gd name="connsiteX19" fmla="*/ 22100 w 275213"/>
                <a:gd name="connsiteY19" fmla="*/ 252368 h 296854"/>
                <a:gd name="connsiteX20" fmla="*/ 29233 w 275213"/>
                <a:gd name="connsiteY20" fmla="*/ 280528 h 296854"/>
                <a:gd name="connsiteX21" fmla="*/ 49395 w 275213"/>
                <a:gd name="connsiteY21" fmla="*/ 292196 h 296854"/>
                <a:gd name="connsiteX22" fmla="*/ 80194 w 275213"/>
                <a:gd name="connsiteY22" fmla="*/ 285311 h 296854"/>
                <a:gd name="connsiteX23" fmla="*/ 89635 w 275213"/>
                <a:gd name="connsiteY23" fmla="*/ 291619 h 296854"/>
                <a:gd name="connsiteX24" fmla="*/ 113219 w 275213"/>
                <a:gd name="connsiteY24" fmla="*/ 271004 h 296854"/>
                <a:gd name="connsiteX25" fmla="*/ 149585 w 275213"/>
                <a:gd name="connsiteY25" fmla="*/ 261850 h 296854"/>
                <a:gd name="connsiteX26" fmla="*/ 157006 w 275213"/>
                <a:gd name="connsiteY26" fmla="*/ 260820 h 296854"/>
                <a:gd name="connsiteX27" fmla="*/ 148059 w 275213"/>
                <a:gd name="connsiteY27" fmla="*/ 226062 h 296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75213" h="296854">
                  <a:moveTo>
                    <a:pt x="148059" y="226062"/>
                  </a:moveTo>
                  <a:cubicBezTo>
                    <a:pt x="144142" y="221597"/>
                    <a:pt x="139854" y="217462"/>
                    <a:pt x="135237" y="213693"/>
                  </a:cubicBezTo>
                  <a:cubicBezTo>
                    <a:pt x="121630" y="204087"/>
                    <a:pt x="129918" y="177328"/>
                    <a:pt x="146492" y="172463"/>
                  </a:cubicBezTo>
                  <a:cubicBezTo>
                    <a:pt x="151068" y="170842"/>
                    <a:pt x="155439" y="168641"/>
                    <a:pt x="159480" y="165907"/>
                  </a:cubicBezTo>
                  <a:cubicBezTo>
                    <a:pt x="169663" y="145597"/>
                    <a:pt x="182858" y="126953"/>
                    <a:pt x="198649" y="110617"/>
                  </a:cubicBezTo>
                  <a:cubicBezTo>
                    <a:pt x="205246" y="102977"/>
                    <a:pt x="214523" y="98133"/>
                    <a:pt x="224583" y="97052"/>
                  </a:cubicBezTo>
                  <a:cubicBezTo>
                    <a:pt x="224707" y="86691"/>
                    <a:pt x="226727" y="76441"/>
                    <a:pt x="230602" y="66830"/>
                  </a:cubicBezTo>
                  <a:cubicBezTo>
                    <a:pt x="235839" y="55698"/>
                    <a:pt x="255340" y="34547"/>
                    <a:pt x="275214" y="16777"/>
                  </a:cubicBezTo>
                  <a:cubicBezTo>
                    <a:pt x="271956" y="14694"/>
                    <a:pt x="267957" y="14039"/>
                    <a:pt x="264206" y="14962"/>
                  </a:cubicBezTo>
                  <a:cubicBezTo>
                    <a:pt x="248703" y="20941"/>
                    <a:pt x="243590" y="-4"/>
                    <a:pt x="230643" y="-4"/>
                  </a:cubicBezTo>
                  <a:cubicBezTo>
                    <a:pt x="217698" y="-4"/>
                    <a:pt x="220295" y="35908"/>
                    <a:pt x="207431" y="35908"/>
                  </a:cubicBezTo>
                  <a:cubicBezTo>
                    <a:pt x="194567" y="35908"/>
                    <a:pt x="197082" y="56770"/>
                    <a:pt x="179023" y="59739"/>
                  </a:cubicBezTo>
                  <a:cubicBezTo>
                    <a:pt x="160964" y="62707"/>
                    <a:pt x="155769" y="62749"/>
                    <a:pt x="163520" y="77715"/>
                  </a:cubicBezTo>
                  <a:cubicBezTo>
                    <a:pt x="171272" y="92682"/>
                    <a:pt x="153254" y="86662"/>
                    <a:pt x="137751" y="86662"/>
                  </a:cubicBezTo>
                  <a:cubicBezTo>
                    <a:pt x="122248" y="86662"/>
                    <a:pt x="122248" y="74747"/>
                    <a:pt x="111941" y="74747"/>
                  </a:cubicBezTo>
                  <a:cubicBezTo>
                    <a:pt x="101633" y="74747"/>
                    <a:pt x="93882" y="95651"/>
                    <a:pt x="86130" y="107731"/>
                  </a:cubicBezTo>
                  <a:cubicBezTo>
                    <a:pt x="78380" y="119811"/>
                    <a:pt x="26800" y="146611"/>
                    <a:pt x="11298" y="155558"/>
                  </a:cubicBezTo>
                  <a:cubicBezTo>
                    <a:pt x="6886" y="158115"/>
                    <a:pt x="3052" y="166031"/>
                    <a:pt x="1" y="176173"/>
                  </a:cubicBezTo>
                  <a:cubicBezTo>
                    <a:pt x="18142" y="178433"/>
                    <a:pt x="34634" y="187842"/>
                    <a:pt x="45808" y="202314"/>
                  </a:cubicBezTo>
                  <a:cubicBezTo>
                    <a:pt x="57064" y="218806"/>
                    <a:pt x="32779" y="237277"/>
                    <a:pt x="22100" y="252368"/>
                  </a:cubicBezTo>
                  <a:cubicBezTo>
                    <a:pt x="11421" y="267458"/>
                    <a:pt x="28614" y="268159"/>
                    <a:pt x="29233" y="280528"/>
                  </a:cubicBezTo>
                  <a:cubicBezTo>
                    <a:pt x="29851" y="292897"/>
                    <a:pt x="44076" y="303163"/>
                    <a:pt x="49395" y="292196"/>
                  </a:cubicBezTo>
                  <a:cubicBezTo>
                    <a:pt x="54713" y="281229"/>
                    <a:pt x="63578" y="285311"/>
                    <a:pt x="80194" y="285311"/>
                  </a:cubicBezTo>
                  <a:cubicBezTo>
                    <a:pt x="84317" y="285278"/>
                    <a:pt x="88069" y="287780"/>
                    <a:pt x="89635" y="291619"/>
                  </a:cubicBezTo>
                  <a:cubicBezTo>
                    <a:pt x="98871" y="283002"/>
                    <a:pt x="109633" y="275127"/>
                    <a:pt x="113219" y="271004"/>
                  </a:cubicBezTo>
                  <a:cubicBezTo>
                    <a:pt x="119569" y="263665"/>
                    <a:pt x="135360" y="261850"/>
                    <a:pt x="149585" y="261850"/>
                  </a:cubicBezTo>
                  <a:cubicBezTo>
                    <a:pt x="152099" y="261846"/>
                    <a:pt x="154573" y="261500"/>
                    <a:pt x="157006" y="260820"/>
                  </a:cubicBezTo>
                  <a:cubicBezTo>
                    <a:pt x="152141" y="249807"/>
                    <a:pt x="149089" y="238060"/>
                    <a:pt x="148059" y="22606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14" name="Freeform: Shape 213">
              <a:extLst>
                <a:ext uri="{FF2B5EF4-FFF2-40B4-BE49-F238E27FC236}">
                  <a16:creationId xmlns:a16="http://schemas.microsoft.com/office/drawing/2014/main" id="{B2EFC12D-A37A-61FB-E0AB-6D480B415690}"/>
                </a:ext>
              </a:extLst>
            </p:cNvPr>
            <p:cNvSpPr/>
            <p:nvPr>
              <p:custDataLst>
                <p:tags r:id="rId212"/>
              </p:custDataLst>
            </p:nvPr>
          </p:nvSpPr>
          <p:spPr>
            <a:xfrm>
              <a:off x="9473536" y="4413002"/>
              <a:ext cx="258694" cy="170021"/>
            </a:xfrm>
            <a:custGeom>
              <a:avLst/>
              <a:gdLst>
                <a:gd name="connsiteX0" fmla="*/ 301890 w 302071"/>
                <a:gd name="connsiteY0" fmla="*/ 128430 h 198530"/>
                <a:gd name="connsiteX1" fmla="*/ 292737 w 302071"/>
                <a:gd name="connsiteY1" fmla="*/ 128182 h 198530"/>
                <a:gd name="connsiteX2" fmla="*/ 240292 w 302071"/>
                <a:gd name="connsiteY2" fmla="*/ 116885 h 198530"/>
                <a:gd name="connsiteX3" fmla="*/ 162985 w 302071"/>
                <a:gd name="connsiteY3" fmla="*/ 80850 h 198530"/>
                <a:gd name="connsiteX4" fmla="*/ 81267 w 302071"/>
                <a:gd name="connsiteY4" fmla="*/ 11912 h 198530"/>
                <a:gd name="connsiteX5" fmla="*/ 49272 w 302071"/>
                <a:gd name="connsiteY5" fmla="*/ 4738 h 198530"/>
                <a:gd name="connsiteX6" fmla="*/ 24533 w 302071"/>
                <a:gd name="connsiteY6" fmla="*/ 13520 h 198530"/>
                <a:gd name="connsiteX7" fmla="*/ 6350 w 302071"/>
                <a:gd name="connsiteY7" fmla="*/ 40031 h 198530"/>
                <a:gd name="connsiteX8" fmla="*/ 1 w 302071"/>
                <a:gd name="connsiteY8" fmla="*/ 74830 h 198530"/>
                <a:gd name="connsiteX9" fmla="*/ 20616 w 302071"/>
                <a:gd name="connsiteY9" fmla="*/ 93136 h 198530"/>
                <a:gd name="connsiteX10" fmla="*/ 52240 w 302071"/>
                <a:gd name="connsiteY10" fmla="*/ 111443 h 198530"/>
                <a:gd name="connsiteX11" fmla="*/ 82297 w 302071"/>
                <a:gd name="connsiteY11" fmla="*/ 129790 h 198530"/>
                <a:gd name="connsiteX12" fmla="*/ 115528 w 302071"/>
                <a:gd name="connsiteY12" fmla="*/ 151766 h 198530"/>
                <a:gd name="connsiteX13" fmla="*/ 153460 w 302071"/>
                <a:gd name="connsiteY13" fmla="*/ 144468 h 198530"/>
                <a:gd name="connsiteX14" fmla="*/ 175601 w 302071"/>
                <a:gd name="connsiteY14" fmla="*/ 170072 h 198530"/>
                <a:gd name="connsiteX15" fmla="*/ 227799 w 302071"/>
                <a:gd name="connsiteY15" fmla="*/ 193904 h 198530"/>
                <a:gd name="connsiteX16" fmla="*/ 297396 w 302071"/>
                <a:gd name="connsiteY16" fmla="*/ 186564 h 198530"/>
                <a:gd name="connsiteX17" fmla="*/ 299004 w 302071"/>
                <a:gd name="connsiteY17" fmla="*/ 138943 h 198530"/>
                <a:gd name="connsiteX18" fmla="*/ 301890 w 302071"/>
                <a:gd name="connsiteY18" fmla="*/ 128430 h 19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02071" h="198530">
                  <a:moveTo>
                    <a:pt x="301890" y="128430"/>
                  </a:moveTo>
                  <a:cubicBezTo>
                    <a:pt x="298839" y="128149"/>
                    <a:pt x="295788" y="128067"/>
                    <a:pt x="292737" y="128182"/>
                  </a:cubicBezTo>
                  <a:cubicBezTo>
                    <a:pt x="269607" y="129213"/>
                    <a:pt x="255629" y="115813"/>
                    <a:pt x="240292" y="116885"/>
                  </a:cubicBezTo>
                  <a:cubicBezTo>
                    <a:pt x="224954" y="117957"/>
                    <a:pt x="181662" y="98331"/>
                    <a:pt x="162985" y="80850"/>
                  </a:cubicBezTo>
                  <a:cubicBezTo>
                    <a:pt x="144307" y="63368"/>
                    <a:pt x="93717" y="26302"/>
                    <a:pt x="81267" y="11912"/>
                  </a:cubicBezTo>
                  <a:cubicBezTo>
                    <a:pt x="68815" y="-2477"/>
                    <a:pt x="51086" y="-2477"/>
                    <a:pt x="49272" y="4738"/>
                  </a:cubicBezTo>
                  <a:cubicBezTo>
                    <a:pt x="47457" y="11953"/>
                    <a:pt x="38551" y="11871"/>
                    <a:pt x="24533" y="13520"/>
                  </a:cubicBezTo>
                  <a:cubicBezTo>
                    <a:pt x="20987" y="20694"/>
                    <a:pt x="6350" y="30342"/>
                    <a:pt x="6350" y="40031"/>
                  </a:cubicBezTo>
                  <a:cubicBezTo>
                    <a:pt x="6350" y="50999"/>
                    <a:pt x="1" y="65677"/>
                    <a:pt x="1" y="74830"/>
                  </a:cubicBezTo>
                  <a:cubicBezTo>
                    <a:pt x="1" y="83983"/>
                    <a:pt x="15833" y="85797"/>
                    <a:pt x="20616" y="93136"/>
                  </a:cubicBezTo>
                  <a:cubicBezTo>
                    <a:pt x="25399" y="100475"/>
                    <a:pt x="50673" y="104145"/>
                    <a:pt x="52240" y="111443"/>
                  </a:cubicBezTo>
                  <a:cubicBezTo>
                    <a:pt x="53806" y="118740"/>
                    <a:pt x="71206" y="127935"/>
                    <a:pt x="82297" y="129790"/>
                  </a:cubicBezTo>
                  <a:cubicBezTo>
                    <a:pt x="93388" y="131646"/>
                    <a:pt x="109179" y="146282"/>
                    <a:pt x="115528" y="151766"/>
                  </a:cubicBezTo>
                  <a:cubicBezTo>
                    <a:pt x="121878" y="157250"/>
                    <a:pt x="145544" y="144468"/>
                    <a:pt x="153460" y="144468"/>
                  </a:cubicBezTo>
                  <a:cubicBezTo>
                    <a:pt x="161377" y="144468"/>
                    <a:pt x="174075" y="160960"/>
                    <a:pt x="175601" y="170072"/>
                  </a:cubicBezTo>
                  <a:cubicBezTo>
                    <a:pt x="177127" y="179184"/>
                    <a:pt x="218317" y="184750"/>
                    <a:pt x="227799" y="193904"/>
                  </a:cubicBezTo>
                  <a:cubicBezTo>
                    <a:pt x="237282" y="203057"/>
                    <a:pt x="287913" y="197573"/>
                    <a:pt x="297396" y="186564"/>
                  </a:cubicBezTo>
                  <a:cubicBezTo>
                    <a:pt x="306880" y="175556"/>
                    <a:pt x="299004" y="155394"/>
                    <a:pt x="299004" y="138943"/>
                  </a:cubicBezTo>
                  <a:cubicBezTo>
                    <a:pt x="298675" y="135208"/>
                    <a:pt x="299706" y="131485"/>
                    <a:pt x="301890" y="12843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15" name="Freeform: Shape 214">
              <a:extLst>
                <a:ext uri="{FF2B5EF4-FFF2-40B4-BE49-F238E27FC236}">
                  <a16:creationId xmlns:a16="http://schemas.microsoft.com/office/drawing/2014/main" id="{2FD64ADD-80F0-FEFE-D406-8D75D5CC6132}"/>
                </a:ext>
              </a:extLst>
            </p:cNvPr>
            <p:cNvSpPr/>
            <p:nvPr>
              <p:custDataLst>
                <p:tags r:id="rId213"/>
              </p:custDataLst>
            </p:nvPr>
          </p:nvSpPr>
          <p:spPr>
            <a:xfrm>
              <a:off x="9855867" y="4495427"/>
              <a:ext cx="293317" cy="743597"/>
            </a:xfrm>
            <a:custGeom>
              <a:avLst/>
              <a:gdLst>
                <a:gd name="connsiteX0" fmla="*/ 324196 w 342501"/>
                <a:gd name="connsiteY0" fmla="*/ 345743 h 868284"/>
                <a:gd name="connsiteX1" fmla="*/ 299458 w 342501"/>
                <a:gd name="connsiteY1" fmla="*/ 330323 h 868284"/>
                <a:gd name="connsiteX2" fmla="*/ 277234 w 342501"/>
                <a:gd name="connsiteY2" fmla="*/ 317954 h 868284"/>
                <a:gd name="connsiteX3" fmla="*/ 277234 w 342501"/>
                <a:gd name="connsiteY3" fmla="*/ 287113 h 868284"/>
                <a:gd name="connsiteX4" fmla="*/ 262144 w 342501"/>
                <a:gd name="connsiteY4" fmla="*/ 266498 h 868284"/>
                <a:gd name="connsiteX5" fmla="*/ 249775 w 342501"/>
                <a:gd name="connsiteY5" fmla="*/ 228442 h 868284"/>
                <a:gd name="connsiteX6" fmla="*/ 213368 w 342501"/>
                <a:gd name="connsiteY6" fmla="*/ 220196 h 868284"/>
                <a:gd name="connsiteX7" fmla="*/ 206277 w 342501"/>
                <a:gd name="connsiteY7" fmla="*/ 197561 h 868284"/>
                <a:gd name="connsiteX8" fmla="*/ 239261 w 342501"/>
                <a:gd name="connsiteY8" fmla="*/ 132788 h 868284"/>
                <a:gd name="connsiteX9" fmla="*/ 249033 w 342501"/>
                <a:gd name="connsiteY9" fmla="*/ 64840 h 868284"/>
                <a:gd name="connsiteX10" fmla="*/ 233076 w 342501"/>
                <a:gd name="connsiteY10" fmla="*/ 42204 h 868284"/>
                <a:gd name="connsiteX11" fmla="*/ 224171 w 342501"/>
                <a:gd name="connsiteY11" fmla="*/ 16476 h 868284"/>
                <a:gd name="connsiteX12" fmla="*/ 197495 w 342501"/>
                <a:gd name="connsiteY12" fmla="*/ 3118 h 868284"/>
                <a:gd name="connsiteX13" fmla="*/ 190774 w 342501"/>
                <a:gd name="connsiteY13" fmla="*/ 7694 h 868284"/>
                <a:gd name="connsiteX14" fmla="*/ 191516 w 342501"/>
                <a:gd name="connsiteY14" fmla="*/ 7694 h 868284"/>
                <a:gd name="connsiteX15" fmla="*/ 181992 w 342501"/>
                <a:gd name="connsiteY15" fmla="*/ 29670 h 868284"/>
                <a:gd name="connsiteX16" fmla="*/ 185167 w 342501"/>
                <a:gd name="connsiteY16" fmla="*/ 60799 h 868284"/>
                <a:gd name="connsiteX17" fmla="*/ 167767 w 342501"/>
                <a:gd name="connsiteY17" fmla="*/ 60799 h 868284"/>
                <a:gd name="connsiteX18" fmla="*/ 134577 w 342501"/>
                <a:gd name="connsiteY18" fmla="*/ 77291 h 868284"/>
                <a:gd name="connsiteX19" fmla="*/ 107695 w 342501"/>
                <a:gd name="connsiteY19" fmla="*/ 113945 h 868284"/>
                <a:gd name="connsiteX20" fmla="*/ 96604 w 342501"/>
                <a:gd name="connsiteY20" fmla="*/ 170719 h 868284"/>
                <a:gd name="connsiteX21" fmla="*/ 82379 w 342501"/>
                <a:gd name="connsiteY21" fmla="*/ 227535 h 868284"/>
                <a:gd name="connsiteX22" fmla="*/ 50755 w 342501"/>
                <a:gd name="connsiteY22" fmla="*/ 225680 h 868284"/>
                <a:gd name="connsiteX23" fmla="*/ 42840 w 342501"/>
                <a:gd name="connsiteY23" fmla="*/ 271445 h 868284"/>
                <a:gd name="connsiteX24" fmla="*/ 31748 w 342501"/>
                <a:gd name="connsiteY24" fmla="*/ 320922 h 868284"/>
                <a:gd name="connsiteX25" fmla="*/ 14349 w 342501"/>
                <a:gd name="connsiteY25" fmla="*/ 355721 h 868284"/>
                <a:gd name="connsiteX26" fmla="*/ 1 w 342501"/>
                <a:gd name="connsiteY26" fmla="*/ 369327 h 868284"/>
                <a:gd name="connsiteX27" fmla="*/ 37603 w 342501"/>
                <a:gd name="connsiteY27" fmla="*/ 415175 h 868284"/>
                <a:gd name="connsiteX28" fmla="*/ 83245 w 342501"/>
                <a:gd name="connsiteY28" fmla="*/ 509139 h 868284"/>
                <a:gd name="connsiteX29" fmla="*/ 84936 w 342501"/>
                <a:gd name="connsiteY29" fmla="*/ 558905 h 868284"/>
                <a:gd name="connsiteX30" fmla="*/ 85595 w 342501"/>
                <a:gd name="connsiteY30" fmla="*/ 565419 h 868284"/>
                <a:gd name="connsiteX31" fmla="*/ 85595 w 342501"/>
                <a:gd name="connsiteY31" fmla="*/ 589456 h 868284"/>
                <a:gd name="connsiteX32" fmla="*/ 83163 w 342501"/>
                <a:gd name="connsiteY32" fmla="*/ 603516 h 868284"/>
                <a:gd name="connsiteX33" fmla="*/ 93882 w 342501"/>
                <a:gd name="connsiteY33" fmla="*/ 609288 h 868284"/>
                <a:gd name="connsiteX34" fmla="*/ 132969 w 342501"/>
                <a:gd name="connsiteY34" fmla="*/ 603763 h 868284"/>
                <a:gd name="connsiteX35" fmla="*/ 166736 w 342501"/>
                <a:gd name="connsiteY35" fmla="*/ 557173 h 868284"/>
                <a:gd name="connsiteX36" fmla="*/ 187351 w 342501"/>
                <a:gd name="connsiteY36" fmla="*/ 575685 h 868284"/>
                <a:gd name="connsiteX37" fmla="*/ 203349 w 342501"/>
                <a:gd name="connsiteY37" fmla="*/ 627099 h 868284"/>
                <a:gd name="connsiteX38" fmla="*/ 223965 w 342501"/>
                <a:gd name="connsiteY38" fmla="*/ 727248 h 868284"/>
                <a:gd name="connsiteX39" fmla="*/ 239344 w 342501"/>
                <a:gd name="connsiteY39" fmla="*/ 800680 h 868284"/>
                <a:gd name="connsiteX40" fmla="*/ 244704 w 342501"/>
                <a:gd name="connsiteY40" fmla="*/ 855558 h 868284"/>
                <a:gd name="connsiteX41" fmla="*/ 242353 w 342501"/>
                <a:gd name="connsiteY41" fmla="*/ 868174 h 868284"/>
                <a:gd name="connsiteX42" fmla="*/ 276740 w 342501"/>
                <a:gd name="connsiteY42" fmla="*/ 791692 h 868284"/>
                <a:gd name="connsiteX43" fmla="*/ 264082 w 342501"/>
                <a:gd name="connsiteY43" fmla="*/ 756934 h 868284"/>
                <a:gd name="connsiteX44" fmla="*/ 248249 w 342501"/>
                <a:gd name="connsiteY44" fmla="*/ 700119 h 868284"/>
                <a:gd name="connsiteX45" fmla="*/ 234025 w 342501"/>
                <a:gd name="connsiteY45" fmla="*/ 650642 h 868284"/>
                <a:gd name="connsiteX46" fmla="*/ 240333 w 342501"/>
                <a:gd name="connsiteY46" fmla="*/ 617658 h 868284"/>
                <a:gd name="connsiteX47" fmla="*/ 241900 w 342501"/>
                <a:gd name="connsiteY47" fmla="*/ 595682 h 868284"/>
                <a:gd name="connsiteX48" fmla="*/ 234025 w 342501"/>
                <a:gd name="connsiteY48" fmla="*/ 564553 h 868284"/>
                <a:gd name="connsiteX49" fmla="*/ 203967 w 342501"/>
                <a:gd name="connsiteY49" fmla="*/ 522457 h 868284"/>
                <a:gd name="connsiteX50" fmla="*/ 211884 w 342501"/>
                <a:gd name="connsiteY50" fmla="*/ 449190 h 868284"/>
                <a:gd name="connsiteX51" fmla="*/ 234025 w 342501"/>
                <a:gd name="connsiteY51" fmla="*/ 434512 h 868284"/>
                <a:gd name="connsiteX52" fmla="*/ 264082 w 342501"/>
                <a:gd name="connsiteY52" fmla="*/ 423503 h 868284"/>
                <a:gd name="connsiteX53" fmla="*/ 300447 w 342501"/>
                <a:gd name="connsiteY53" fmla="*/ 399672 h 868284"/>
                <a:gd name="connsiteX54" fmla="*/ 321063 w 342501"/>
                <a:gd name="connsiteY54" fmla="*/ 379552 h 868284"/>
                <a:gd name="connsiteX55" fmla="*/ 341678 w 342501"/>
                <a:gd name="connsiteY55" fmla="*/ 341084 h 868284"/>
                <a:gd name="connsiteX56" fmla="*/ 342502 w 342501"/>
                <a:gd name="connsiteY56" fmla="*/ 341084 h 868284"/>
                <a:gd name="connsiteX57" fmla="*/ 324196 w 342501"/>
                <a:gd name="connsiteY57" fmla="*/ 345743 h 868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342501" h="868284">
                  <a:moveTo>
                    <a:pt x="324196" y="345743"/>
                  </a:moveTo>
                  <a:cubicBezTo>
                    <a:pt x="306426" y="353989"/>
                    <a:pt x="297561" y="342651"/>
                    <a:pt x="299458" y="330323"/>
                  </a:cubicBezTo>
                  <a:cubicBezTo>
                    <a:pt x="301354" y="317995"/>
                    <a:pt x="287089" y="317954"/>
                    <a:pt x="277234" y="317954"/>
                  </a:cubicBezTo>
                  <a:cubicBezTo>
                    <a:pt x="267380" y="317954"/>
                    <a:pt x="273689" y="299441"/>
                    <a:pt x="277234" y="287113"/>
                  </a:cubicBezTo>
                  <a:cubicBezTo>
                    <a:pt x="280780" y="274785"/>
                    <a:pt x="273689" y="267570"/>
                    <a:pt x="262144" y="266498"/>
                  </a:cubicBezTo>
                  <a:cubicBezTo>
                    <a:pt x="250599" y="265426"/>
                    <a:pt x="245280" y="236688"/>
                    <a:pt x="249775" y="228442"/>
                  </a:cubicBezTo>
                  <a:cubicBezTo>
                    <a:pt x="254269" y="220196"/>
                    <a:pt x="225820" y="213022"/>
                    <a:pt x="213368" y="220196"/>
                  </a:cubicBezTo>
                  <a:cubicBezTo>
                    <a:pt x="200916" y="227370"/>
                    <a:pt x="209823" y="207827"/>
                    <a:pt x="206277" y="197561"/>
                  </a:cubicBezTo>
                  <a:cubicBezTo>
                    <a:pt x="202731" y="187294"/>
                    <a:pt x="222275" y="152207"/>
                    <a:pt x="239261" y="132788"/>
                  </a:cubicBezTo>
                  <a:cubicBezTo>
                    <a:pt x="256248" y="113368"/>
                    <a:pt x="249033" y="87434"/>
                    <a:pt x="249033" y="64840"/>
                  </a:cubicBezTo>
                  <a:cubicBezTo>
                    <a:pt x="249033" y="42245"/>
                    <a:pt x="241034" y="42204"/>
                    <a:pt x="233076" y="42204"/>
                  </a:cubicBezTo>
                  <a:cubicBezTo>
                    <a:pt x="225119" y="42204"/>
                    <a:pt x="224171" y="28846"/>
                    <a:pt x="224171" y="16476"/>
                  </a:cubicBezTo>
                  <a:cubicBezTo>
                    <a:pt x="224171" y="4107"/>
                    <a:pt x="207266" y="-5087"/>
                    <a:pt x="197495" y="3118"/>
                  </a:cubicBezTo>
                  <a:cubicBezTo>
                    <a:pt x="195351" y="4796"/>
                    <a:pt x="193124" y="6321"/>
                    <a:pt x="190774" y="7694"/>
                  </a:cubicBezTo>
                  <a:lnTo>
                    <a:pt x="191516" y="7694"/>
                  </a:lnTo>
                  <a:cubicBezTo>
                    <a:pt x="191516" y="7694"/>
                    <a:pt x="188342" y="26001"/>
                    <a:pt x="181992" y="29670"/>
                  </a:cubicBezTo>
                  <a:cubicBezTo>
                    <a:pt x="175643" y="33340"/>
                    <a:pt x="175684" y="44307"/>
                    <a:pt x="185167" y="60799"/>
                  </a:cubicBezTo>
                  <a:cubicBezTo>
                    <a:pt x="194649" y="77291"/>
                    <a:pt x="170942" y="69952"/>
                    <a:pt x="167767" y="60799"/>
                  </a:cubicBezTo>
                  <a:cubicBezTo>
                    <a:pt x="164593" y="51646"/>
                    <a:pt x="145627" y="66283"/>
                    <a:pt x="134577" y="77291"/>
                  </a:cubicBezTo>
                  <a:cubicBezTo>
                    <a:pt x="123527" y="88300"/>
                    <a:pt x="107695" y="93784"/>
                    <a:pt x="107695" y="113945"/>
                  </a:cubicBezTo>
                  <a:cubicBezTo>
                    <a:pt x="107695" y="134107"/>
                    <a:pt x="93429" y="154227"/>
                    <a:pt x="96604" y="170719"/>
                  </a:cubicBezTo>
                  <a:cubicBezTo>
                    <a:pt x="99778" y="187212"/>
                    <a:pt x="80771" y="218341"/>
                    <a:pt x="82379" y="227535"/>
                  </a:cubicBezTo>
                  <a:cubicBezTo>
                    <a:pt x="83987" y="236729"/>
                    <a:pt x="55497" y="225680"/>
                    <a:pt x="50755" y="225680"/>
                  </a:cubicBezTo>
                  <a:cubicBezTo>
                    <a:pt x="46014" y="225680"/>
                    <a:pt x="49148" y="260479"/>
                    <a:pt x="42840" y="271445"/>
                  </a:cubicBezTo>
                  <a:cubicBezTo>
                    <a:pt x="36531" y="282413"/>
                    <a:pt x="41231" y="320922"/>
                    <a:pt x="31748" y="320922"/>
                  </a:cubicBezTo>
                  <a:cubicBezTo>
                    <a:pt x="22266" y="320922"/>
                    <a:pt x="14349" y="355721"/>
                    <a:pt x="14349" y="355721"/>
                  </a:cubicBezTo>
                  <a:cubicBezTo>
                    <a:pt x="9195" y="359844"/>
                    <a:pt x="4412" y="364420"/>
                    <a:pt x="1" y="369327"/>
                  </a:cubicBezTo>
                  <a:cubicBezTo>
                    <a:pt x="7752" y="387674"/>
                    <a:pt x="21894" y="407712"/>
                    <a:pt x="37603" y="415175"/>
                  </a:cubicBezTo>
                  <a:cubicBezTo>
                    <a:pt x="60692" y="426142"/>
                    <a:pt x="76112" y="480319"/>
                    <a:pt x="83245" y="509139"/>
                  </a:cubicBezTo>
                  <a:cubicBezTo>
                    <a:pt x="87121" y="525466"/>
                    <a:pt x="87698" y="542371"/>
                    <a:pt x="84936" y="558905"/>
                  </a:cubicBezTo>
                  <a:cubicBezTo>
                    <a:pt x="85306" y="561048"/>
                    <a:pt x="85554" y="563234"/>
                    <a:pt x="85595" y="565419"/>
                  </a:cubicBezTo>
                  <a:lnTo>
                    <a:pt x="85595" y="589456"/>
                  </a:lnTo>
                  <a:cubicBezTo>
                    <a:pt x="85554" y="594239"/>
                    <a:pt x="84729" y="598981"/>
                    <a:pt x="83163" y="603516"/>
                  </a:cubicBezTo>
                  <a:cubicBezTo>
                    <a:pt x="86297" y="605165"/>
                    <a:pt x="89966" y="606938"/>
                    <a:pt x="93882" y="609288"/>
                  </a:cubicBezTo>
                  <a:cubicBezTo>
                    <a:pt x="107530" y="617534"/>
                    <a:pt x="122744" y="620255"/>
                    <a:pt x="132969" y="603763"/>
                  </a:cubicBezTo>
                  <a:cubicBezTo>
                    <a:pt x="143194" y="587271"/>
                    <a:pt x="163768" y="575685"/>
                    <a:pt x="166736" y="557173"/>
                  </a:cubicBezTo>
                  <a:cubicBezTo>
                    <a:pt x="169706" y="538660"/>
                    <a:pt x="179105" y="566079"/>
                    <a:pt x="187351" y="575685"/>
                  </a:cubicBezTo>
                  <a:cubicBezTo>
                    <a:pt x="195598" y="585292"/>
                    <a:pt x="201536" y="603763"/>
                    <a:pt x="203349" y="627099"/>
                  </a:cubicBezTo>
                  <a:cubicBezTo>
                    <a:pt x="205163" y="650436"/>
                    <a:pt x="206854" y="708736"/>
                    <a:pt x="223965" y="727248"/>
                  </a:cubicBezTo>
                  <a:cubicBezTo>
                    <a:pt x="241075" y="745761"/>
                    <a:pt x="244085" y="786249"/>
                    <a:pt x="239344" y="800680"/>
                  </a:cubicBezTo>
                  <a:cubicBezTo>
                    <a:pt x="234602" y="815110"/>
                    <a:pt x="248249" y="839767"/>
                    <a:pt x="244704" y="855558"/>
                  </a:cubicBezTo>
                  <a:cubicBezTo>
                    <a:pt x="243962" y="858691"/>
                    <a:pt x="243219" y="863185"/>
                    <a:pt x="242353" y="868174"/>
                  </a:cubicBezTo>
                  <a:cubicBezTo>
                    <a:pt x="257815" y="871596"/>
                    <a:pt x="276740" y="791692"/>
                    <a:pt x="276740" y="791692"/>
                  </a:cubicBezTo>
                  <a:cubicBezTo>
                    <a:pt x="276740" y="773426"/>
                    <a:pt x="264082" y="771571"/>
                    <a:pt x="264082" y="756934"/>
                  </a:cubicBezTo>
                  <a:cubicBezTo>
                    <a:pt x="264082" y="742298"/>
                    <a:pt x="264082" y="716611"/>
                    <a:pt x="248249" y="700119"/>
                  </a:cubicBezTo>
                  <a:cubicBezTo>
                    <a:pt x="232417" y="683627"/>
                    <a:pt x="224500" y="659795"/>
                    <a:pt x="234025" y="650642"/>
                  </a:cubicBezTo>
                  <a:cubicBezTo>
                    <a:pt x="243549" y="641489"/>
                    <a:pt x="235592" y="615844"/>
                    <a:pt x="240333" y="617658"/>
                  </a:cubicBezTo>
                  <a:cubicBezTo>
                    <a:pt x="245074" y="619472"/>
                    <a:pt x="251424" y="601166"/>
                    <a:pt x="241900" y="595682"/>
                  </a:cubicBezTo>
                  <a:cubicBezTo>
                    <a:pt x="232376" y="590198"/>
                    <a:pt x="241900" y="568222"/>
                    <a:pt x="234025" y="564553"/>
                  </a:cubicBezTo>
                  <a:cubicBezTo>
                    <a:pt x="226150" y="560884"/>
                    <a:pt x="203967" y="531569"/>
                    <a:pt x="203967" y="522457"/>
                  </a:cubicBezTo>
                  <a:cubicBezTo>
                    <a:pt x="203967" y="513345"/>
                    <a:pt x="210317" y="461972"/>
                    <a:pt x="211884" y="449190"/>
                  </a:cubicBezTo>
                  <a:cubicBezTo>
                    <a:pt x="213451" y="436409"/>
                    <a:pt x="229242" y="434512"/>
                    <a:pt x="234025" y="434512"/>
                  </a:cubicBezTo>
                  <a:cubicBezTo>
                    <a:pt x="238808" y="434512"/>
                    <a:pt x="257732" y="436326"/>
                    <a:pt x="264082" y="423503"/>
                  </a:cubicBezTo>
                  <a:cubicBezTo>
                    <a:pt x="270431" y="410681"/>
                    <a:pt x="297273" y="408867"/>
                    <a:pt x="300447" y="399672"/>
                  </a:cubicBezTo>
                  <a:cubicBezTo>
                    <a:pt x="303622" y="390478"/>
                    <a:pt x="321063" y="390560"/>
                    <a:pt x="321063" y="379552"/>
                  </a:cubicBezTo>
                  <a:cubicBezTo>
                    <a:pt x="321063" y="368543"/>
                    <a:pt x="341678" y="341084"/>
                    <a:pt x="341678" y="341084"/>
                  </a:cubicBezTo>
                  <a:cubicBezTo>
                    <a:pt x="341678" y="341084"/>
                    <a:pt x="342213" y="341084"/>
                    <a:pt x="342502" y="341084"/>
                  </a:cubicBezTo>
                  <a:cubicBezTo>
                    <a:pt x="339864" y="336507"/>
                    <a:pt x="334669" y="340919"/>
                    <a:pt x="324196" y="34574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16" name="Freeform: Shape 215">
              <a:extLst>
                <a:ext uri="{FF2B5EF4-FFF2-40B4-BE49-F238E27FC236}">
                  <a16:creationId xmlns:a16="http://schemas.microsoft.com/office/drawing/2014/main" id="{985298C0-C931-3045-2686-1C3EBA66BF08}"/>
                </a:ext>
              </a:extLst>
            </p:cNvPr>
            <p:cNvSpPr/>
            <p:nvPr>
              <p:custDataLst>
                <p:tags r:id="rId214"/>
              </p:custDataLst>
            </p:nvPr>
          </p:nvSpPr>
          <p:spPr>
            <a:xfrm>
              <a:off x="9755942" y="4506199"/>
              <a:ext cx="100050" cy="64679"/>
            </a:xfrm>
            <a:custGeom>
              <a:avLst/>
              <a:gdLst>
                <a:gd name="connsiteX0" fmla="*/ 116683 w 116826"/>
                <a:gd name="connsiteY0" fmla="*/ 24721 h 75525"/>
                <a:gd name="connsiteX1" fmla="*/ 70464 w 116826"/>
                <a:gd name="connsiteY1" fmla="*/ 10084 h 75525"/>
                <a:gd name="connsiteX2" fmla="*/ 37479 w 116826"/>
                <a:gd name="connsiteY2" fmla="*/ 3899 h 75525"/>
                <a:gd name="connsiteX3" fmla="*/ 9031 w 116826"/>
                <a:gd name="connsiteY3" fmla="*/ 32761 h 75525"/>
                <a:gd name="connsiteX4" fmla="*/ 1 w 116826"/>
                <a:gd name="connsiteY4" fmla="*/ 52345 h 75525"/>
                <a:gd name="connsiteX5" fmla="*/ 10391 w 116826"/>
                <a:gd name="connsiteY5" fmla="*/ 63106 h 75525"/>
                <a:gd name="connsiteX6" fmla="*/ 37232 w 116826"/>
                <a:gd name="connsiteY6" fmla="*/ 70487 h 75525"/>
                <a:gd name="connsiteX7" fmla="*/ 75246 w 116826"/>
                <a:gd name="connsiteY7" fmla="*/ 74115 h 75525"/>
                <a:gd name="connsiteX8" fmla="*/ 114786 w 116826"/>
                <a:gd name="connsiteY8" fmla="*/ 68590 h 75525"/>
                <a:gd name="connsiteX9" fmla="*/ 110004 w 116826"/>
                <a:gd name="connsiteY9" fmla="*/ 28349 h 75525"/>
                <a:gd name="connsiteX10" fmla="*/ 116683 w 116826"/>
                <a:gd name="connsiteY10" fmla="*/ 24721 h 75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6824" h="75525">
                  <a:moveTo>
                    <a:pt x="116683" y="24721"/>
                  </a:moveTo>
                  <a:cubicBezTo>
                    <a:pt x="92852" y="-677"/>
                    <a:pt x="86379" y="19814"/>
                    <a:pt x="70464" y="10084"/>
                  </a:cubicBezTo>
                  <a:cubicBezTo>
                    <a:pt x="53559" y="-183"/>
                    <a:pt x="45725" y="-3275"/>
                    <a:pt x="37479" y="3899"/>
                  </a:cubicBezTo>
                  <a:cubicBezTo>
                    <a:pt x="29233" y="11073"/>
                    <a:pt x="16864" y="10084"/>
                    <a:pt x="9031" y="32761"/>
                  </a:cubicBezTo>
                  <a:cubicBezTo>
                    <a:pt x="6639" y="39564"/>
                    <a:pt x="3629" y="46123"/>
                    <a:pt x="1" y="52345"/>
                  </a:cubicBezTo>
                  <a:cubicBezTo>
                    <a:pt x="2764" y="59272"/>
                    <a:pt x="7010" y="64096"/>
                    <a:pt x="10391" y="63106"/>
                  </a:cubicBezTo>
                  <a:cubicBezTo>
                    <a:pt x="16740" y="61292"/>
                    <a:pt x="24616" y="74115"/>
                    <a:pt x="37232" y="70487"/>
                  </a:cubicBezTo>
                  <a:cubicBezTo>
                    <a:pt x="49848" y="66858"/>
                    <a:pt x="57847" y="79640"/>
                    <a:pt x="75246" y="74115"/>
                  </a:cubicBezTo>
                  <a:cubicBezTo>
                    <a:pt x="92646" y="68590"/>
                    <a:pt x="108230" y="81454"/>
                    <a:pt x="114786" y="68590"/>
                  </a:cubicBezTo>
                  <a:cubicBezTo>
                    <a:pt x="121342" y="55726"/>
                    <a:pt x="110004" y="28349"/>
                    <a:pt x="110004" y="28349"/>
                  </a:cubicBezTo>
                  <a:cubicBezTo>
                    <a:pt x="110004" y="28349"/>
                    <a:pt x="113055" y="26576"/>
                    <a:pt x="116683" y="2472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17" name="Freeform: Shape 216">
              <a:extLst>
                <a:ext uri="{FF2B5EF4-FFF2-40B4-BE49-F238E27FC236}">
                  <a16:creationId xmlns:a16="http://schemas.microsoft.com/office/drawing/2014/main" id="{5DC5476C-A280-D89D-3C3C-B8B01057EC01}"/>
                </a:ext>
              </a:extLst>
            </p:cNvPr>
            <p:cNvSpPr/>
            <p:nvPr>
              <p:custDataLst>
                <p:tags r:id="rId215"/>
              </p:custDataLst>
            </p:nvPr>
          </p:nvSpPr>
          <p:spPr>
            <a:xfrm>
              <a:off x="10193161" y="5080182"/>
              <a:ext cx="191458" cy="171817"/>
            </a:xfrm>
            <a:custGeom>
              <a:avLst/>
              <a:gdLst>
                <a:gd name="connsiteX0" fmla="*/ 219617 w 223562"/>
                <a:gd name="connsiteY0" fmla="*/ 57718 h 200627"/>
                <a:gd name="connsiteX1" fmla="*/ 205764 w 223562"/>
                <a:gd name="connsiteY1" fmla="*/ -4 h 200627"/>
                <a:gd name="connsiteX2" fmla="*/ 177315 w 223562"/>
                <a:gd name="connsiteY2" fmla="*/ 6551 h 200627"/>
                <a:gd name="connsiteX3" fmla="*/ 149979 w 223562"/>
                <a:gd name="connsiteY3" fmla="*/ 16447 h 200627"/>
                <a:gd name="connsiteX4" fmla="*/ 138022 w 223562"/>
                <a:gd name="connsiteY4" fmla="*/ 28321 h 200627"/>
                <a:gd name="connsiteX5" fmla="*/ 115799 w 223562"/>
                <a:gd name="connsiteY5" fmla="*/ 10510 h 200627"/>
                <a:gd name="connsiteX6" fmla="*/ 61086 w 223562"/>
                <a:gd name="connsiteY6" fmla="*/ 8531 h 200627"/>
                <a:gd name="connsiteX7" fmla="*/ 6415 w 223562"/>
                <a:gd name="connsiteY7" fmla="*/ 40237 h 200627"/>
                <a:gd name="connsiteX8" fmla="*/ 8063 w 223562"/>
                <a:gd name="connsiteY8" fmla="*/ 81756 h 200627"/>
                <a:gd name="connsiteX9" fmla="*/ 13217 w 223562"/>
                <a:gd name="connsiteY9" fmla="*/ 117420 h 200627"/>
                <a:gd name="connsiteX10" fmla="*/ 12847 w 223562"/>
                <a:gd name="connsiteY10" fmla="*/ 118822 h 200627"/>
                <a:gd name="connsiteX11" fmla="*/ 23483 w 223562"/>
                <a:gd name="connsiteY11" fmla="*/ 157826 h 200627"/>
                <a:gd name="connsiteX12" fmla="*/ 31730 w 223562"/>
                <a:gd name="connsiteY12" fmla="*/ 168051 h 200627"/>
                <a:gd name="connsiteX13" fmla="*/ 48222 w 223562"/>
                <a:gd name="connsiteY13" fmla="*/ 165371 h 200627"/>
                <a:gd name="connsiteX14" fmla="*/ 49294 w 223562"/>
                <a:gd name="connsiteY14" fmla="*/ 188873 h 200627"/>
                <a:gd name="connsiteX15" fmla="*/ 51727 w 223562"/>
                <a:gd name="connsiteY15" fmla="*/ 191676 h 200627"/>
                <a:gd name="connsiteX16" fmla="*/ 81990 w 223562"/>
                <a:gd name="connsiteY16" fmla="*/ 193532 h 200627"/>
                <a:gd name="connsiteX17" fmla="*/ 85577 w 223562"/>
                <a:gd name="connsiteY17" fmla="*/ 200623 h 200627"/>
                <a:gd name="connsiteX18" fmla="*/ 110315 w 223562"/>
                <a:gd name="connsiteY18" fmla="*/ 178194 h 200627"/>
                <a:gd name="connsiteX19" fmla="*/ 155999 w 223562"/>
                <a:gd name="connsiteY19" fmla="*/ 178194 h 200627"/>
                <a:gd name="connsiteX20" fmla="*/ 155999 w 223562"/>
                <a:gd name="connsiteY20" fmla="*/ 136963 h 200627"/>
                <a:gd name="connsiteX21" fmla="*/ 191539 w 223562"/>
                <a:gd name="connsiteY21" fmla="*/ 110535 h 200627"/>
                <a:gd name="connsiteX22" fmla="*/ 219617 w 223562"/>
                <a:gd name="connsiteY22" fmla="*/ 57718 h 200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23562" h="200627">
                  <a:moveTo>
                    <a:pt x="219617" y="57718"/>
                  </a:moveTo>
                  <a:cubicBezTo>
                    <a:pt x="210134" y="39990"/>
                    <a:pt x="205352" y="20116"/>
                    <a:pt x="205764" y="-4"/>
                  </a:cubicBezTo>
                  <a:cubicBezTo>
                    <a:pt x="198343" y="7500"/>
                    <a:pt x="187251" y="10056"/>
                    <a:pt x="177315" y="6551"/>
                  </a:cubicBezTo>
                  <a:cubicBezTo>
                    <a:pt x="168780" y="2428"/>
                    <a:pt x="149979" y="614"/>
                    <a:pt x="149979" y="16447"/>
                  </a:cubicBezTo>
                  <a:cubicBezTo>
                    <a:pt x="149979" y="32279"/>
                    <a:pt x="136290" y="36238"/>
                    <a:pt x="138022" y="28321"/>
                  </a:cubicBezTo>
                  <a:cubicBezTo>
                    <a:pt x="139754" y="20405"/>
                    <a:pt x="124334" y="22384"/>
                    <a:pt x="115799" y="10510"/>
                  </a:cubicBezTo>
                  <a:cubicBezTo>
                    <a:pt x="107264" y="-1365"/>
                    <a:pt x="76465" y="14633"/>
                    <a:pt x="61086" y="8531"/>
                  </a:cubicBezTo>
                  <a:cubicBezTo>
                    <a:pt x="45707" y="2428"/>
                    <a:pt x="21752" y="18384"/>
                    <a:pt x="6415" y="40237"/>
                  </a:cubicBezTo>
                  <a:cubicBezTo>
                    <a:pt x="-8923" y="62089"/>
                    <a:pt x="8063" y="62007"/>
                    <a:pt x="8063" y="81756"/>
                  </a:cubicBezTo>
                  <a:cubicBezTo>
                    <a:pt x="8063" y="101505"/>
                    <a:pt x="18330" y="101629"/>
                    <a:pt x="13217" y="117420"/>
                  </a:cubicBezTo>
                  <a:cubicBezTo>
                    <a:pt x="13052" y="117874"/>
                    <a:pt x="12929" y="118368"/>
                    <a:pt x="12847" y="118822"/>
                  </a:cubicBezTo>
                  <a:cubicBezTo>
                    <a:pt x="26865" y="125955"/>
                    <a:pt x="22783" y="145251"/>
                    <a:pt x="23483" y="157826"/>
                  </a:cubicBezTo>
                  <a:cubicBezTo>
                    <a:pt x="26247" y="161248"/>
                    <a:pt x="29050" y="164671"/>
                    <a:pt x="31730" y="168051"/>
                  </a:cubicBezTo>
                  <a:cubicBezTo>
                    <a:pt x="37255" y="167474"/>
                    <a:pt x="42780" y="166608"/>
                    <a:pt x="48222" y="165371"/>
                  </a:cubicBezTo>
                  <a:cubicBezTo>
                    <a:pt x="56221" y="164753"/>
                    <a:pt x="44099" y="179183"/>
                    <a:pt x="49294" y="188873"/>
                  </a:cubicBezTo>
                  <a:cubicBezTo>
                    <a:pt x="50078" y="189821"/>
                    <a:pt x="50902" y="190769"/>
                    <a:pt x="51727" y="191676"/>
                  </a:cubicBezTo>
                  <a:cubicBezTo>
                    <a:pt x="59973" y="197283"/>
                    <a:pt x="78155" y="182688"/>
                    <a:pt x="81990" y="193532"/>
                  </a:cubicBezTo>
                  <a:cubicBezTo>
                    <a:pt x="82897" y="196047"/>
                    <a:pt x="84093" y="198397"/>
                    <a:pt x="85577" y="200623"/>
                  </a:cubicBezTo>
                  <a:cubicBezTo>
                    <a:pt x="96544" y="194439"/>
                    <a:pt x="110315" y="185244"/>
                    <a:pt x="110315" y="178194"/>
                  </a:cubicBezTo>
                  <a:cubicBezTo>
                    <a:pt x="110315" y="166443"/>
                    <a:pt x="150927" y="189945"/>
                    <a:pt x="155999" y="178194"/>
                  </a:cubicBezTo>
                  <a:cubicBezTo>
                    <a:pt x="161070" y="166443"/>
                    <a:pt x="125570" y="128222"/>
                    <a:pt x="155999" y="136963"/>
                  </a:cubicBezTo>
                  <a:cubicBezTo>
                    <a:pt x="186426" y="145704"/>
                    <a:pt x="181396" y="125213"/>
                    <a:pt x="191539" y="110535"/>
                  </a:cubicBezTo>
                  <a:cubicBezTo>
                    <a:pt x="201681" y="95857"/>
                    <a:pt x="234872" y="84189"/>
                    <a:pt x="219617" y="5771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18" name="Freeform: Shape 217">
              <a:extLst>
                <a:ext uri="{FF2B5EF4-FFF2-40B4-BE49-F238E27FC236}">
                  <a16:creationId xmlns:a16="http://schemas.microsoft.com/office/drawing/2014/main" id="{70583101-1E19-CBB7-1997-33CEE1390AD6}"/>
                </a:ext>
              </a:extLst>
            </p:cNvPr>
            <p:cNvSpPr/>
            <p:nvPr>
              <p:custDataLst>
                <p:tags r:id="rId216"/>
              </p:custDataLst>
            </p:nvPr>
          </p:nvSpPr>
          <p:spPr>
            <a:xfrm>
              <a:off x="10118608" y="4753705"/>
              <a:ext cx="252529" cy="354082"/>
            </a:xfrm>
            <a:custGeom>
              <a:avLst/>
              <a:gdLst>
                <a:gd name="connsiteX0" fmla="*/ 200132 w 294873"/>
                <a:gd name="connsiteY0" fmla="*/ 189120 h 413454"/>
                <a:gd name="connsiteX1" fmla="*/ 157005 w 294873"/>
                <a:gd name="connsiteY1" fmla="*/ 145044 h 413454"/>
                <a:gd name="connsiteX2" fmla="*/ 187475 w 294873"/>
                <a:gd name="connsiteY2" fmla="*/ 124429 h 413454"/>
                <a:gd name="connsiteX3" fmla="*/ 174735 w 294873"/>
                <a:gd name="connsiteY3" fmla="*/ 89177 h 413454"/>
                <a:gd name="connsiteX4" fmla="*/ 146863 w 294873"/>
                <a:gd name="connsiteY4" fmla="*/ 80354 h 413454"/>
                <a:gd name="connsiteX5" fmla="*/ 113879 w 294873"/>
                <a:gd name="connsiteY5" fmla="*/ 59739 h 413454"/>
                <a:gd name="connsiteX6" fmla="*/ 93593 w 294873"/>
                <a:gd name="connsiteY6" fmla="*/ 24445 h 413454"/>
                <a:gd name="connsiteX7" fmla="*/ 79122 w 294873"/>
                <a:gd name="connsiteY7" fmla="*/ -4 h 413454"/>
                <a:gd name="connsiteX8" fmla="*/ 63165 w 294873"/>
                <a:gd name="connsiteY8" fmla="*/ 1150 h 413454"/>
                <a:gd name="connsiteX9" fmla="*/ 56815 w 294873"/>
                <a:gd name="connsiteY9" fmla="*/ 24940 h 413454"/>
                <a:gd name="connsiteX10" fmla="*/ 55249 w 294873"/>
                <a:gd name="connsiteY10" fmla="*/ 61594 h 413454"/>
                <a:gd name="connsiteX11" fmla="*/ 34634 w 294873"/>
                <a:gd name="connsiteY11" fmla="*/ 39618 h 413454"/>
                <a:gd name="connsiteX12" fmla="*/ 14018 w 294873"/>
                <a:gd name="connsiteY12" fmla="*/ 78086 h 413454"/>
                <a:gd name="connsiteX13" fmla="*/ 1 w 294873"/>
                <a:gd name="connsiteY13" fmla="*/ 91527 h 413454"/>
                <a:gd name="connsiteX14" fmla="*/ 7834 w 294873"/>
                <a:gd name="connsiteY14" fmla="*/ 100557 h 413454"/>
                <a:gd name="connsiteX15" fmla="*/ 11256 w 294873"/>
                <a:gd name="connsiteY15" fmla="*/ 136180 h 413454"/>
                <a:gd name="connsiteX16" fmla="*/ 38633 w 294873"/>
                <a:gd name="connsiteY16" fmla="*/ 148095 h 413454"/>
                <a:gd name="connsiteX17" fmla="*/ 35210 w 294873"/>
                <a:gd name="connsiteY17" fmla="*/ 197572 h 413454"/>
                <a:gd name="connsiteX18" fmla="*/ 24944 w 294873"/>
                <a:gd name="connsiteY18" fmla="*/ 233236 h 413454"/>
                <a:gd name="connsiteX19" fmla="*/ 60815 w 294873"/>
                <a:gd name="connsiteY19" fmla="*/ 217404 h 413454"/>
                <a:gd name="connsiteX20" fmla="*/ 89923 w 294873"/>
                <a:gd name="connsiteY20" fmla="*/ 215425 h 413454"/>
                <a:gd name="connsiteX21" fmla="*/ 115569 w 294873"/>
                <a:gd name="connsiteY21" fmla="*/ 207467 h 413454"/>
                <a:gd name="connsiteX22" fmla="*/ 153171 w 294873"/>
                <a:gd name="connsiteY22" fmla="*/ 205530 h 413454"/>
                <a:gd name="connsiteX23" fmla="*/ 182239 w 294873"/>
                <a:gd name="connsiteY23" fmla="*/ 239174 h 413454"/>
                <a:gd name="connsiteX24" fmla="*/ 185660 w 294873"/>
                <a:gd name="connsiteY24" fmla="*/ 294629 h 413454"/>
                <a:gd name="connsiteX25" fmla="*/ 213038 w 294873"/>
                <a:gd name="connsiteY25" fmla="*/ 344105 h 413454"/>
                <a:gd name="connsiteX26" fmla="*/ 207843 w 294873"/>
                <a:gd name="connsiteY26" fmla="*/ 396715 h 413454"/>
                <a:gd name="connsiteX27" fmla="*/ 224994 w 294873"/>
                <a:gd name="connsiteY27" fmla="*/ 409455 h 413454"/>
                <a:gd name="connsiteX28" fmla="*/ 236952 w 294873"/>
                <a:gd name="connsiteY28" fmla="*/ 397581 h 413454"/>
                <a:gd name="connsiteX29" fmla="*/ 264287 w 294873"/>
                <a:gd name="connsiteY29" fmla="*/ 387686 h 413454"/>
                <a:gd name="connsiteX30" fmla="*/ 292737 w 294873"/>
                <a:gd name="connsiteY30" fmla="*/ 381130 h 413454"/>
                <a:gd name="connsiteX31" fmla="*/ 293932 w 294873"/>
                <a:gd name="connsiteY31" fmla="*/ 362412 h 413454"/>
                <a:gd name="connsiteX32" fmla="*/ 286346 w 294873"/>
                <a:gd name="connsiteY32" fmla="*/ 315409 h 413454"/>
                <a:gd name="connsiteX33" fmla="*/ 253361 w 294873"/>
                <a:gd name="connsiteY33" fmla="*/ 280157 h 413454"/>
                <a:gd name="connsiteX34" fmla="*/ 220377 w 294873"/>
                <a:gd name="connsiteY34" fmla="*/ 230185 h 413454"/>
                <a:gd name="connsiteX35" fmla="*/ 200132 w 294873"/>
                <a:gd name="connsiteY35" fmla="*/ 189120 h 413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94873" h="413454">
                  <a:moveTo>
                    <a:pt x="200132" y="189120"/>
                  </a:moveTo>
                  <a:cubicBezTo>
                    <a:pt x="200132" y="177369"/>
                    <a:pt x="151893" y="159723"/>
                    <a:pt x="157005" y="145044"/>
                  </a:cubicBezTo>
                  <a:cubicBezTo>
                    <a:pt x="162118" y="130366"/>
                    <a:pt x="187475" y="139149"/>
                    <a:pt x="187475" y="124429"/>
                  </a:cubicBezTo>
                  <a:cubicBezTo>
                    <a:pt x="187475" y="109710"/>
                    <a:pt x="177291" y="109751"/>
                    <a:pt x="174735" y="89177"/>
                  </a:cubicBezTo>
                  <a:cubicBezTo>
                    <a:pt x="172179" y="68603"/>
                    <a:pt x="154450" y="74458"/>
                    <a:pt x="146863" y="80354"/>
                  </a:cubicBezTo>
                  <a:cubicBezTo>
                    <a:pt x="139276" y="86250"/>
                    <a:pt x="113879" y="74458"/>
                    <a:pt x="113879" y="59739"/>
                  </a:cubicBezTo>
                  <a:cubicBezTo>
                    <a:pt x="113879" y="45019"/>
                    <a:pt x="93593" y="36237"/>
                    <a:pt x="93593" y="24445"/>
                  </a:cubicBezTo>
                  <a:cubicBezTo>
                    <a:pt x="93593" y="17683"/>
                    <a:pt x="86048" y="8942"/>
                    <a:pt x="79122" y="-4"/>
                  </a:cubicBezTo>
                  <a:cubicBezTo>
                    <a:pt x="72689" y="3748"/>
                    <a:pt x="66092" y="4572"/>
                    <a:pt x="63165" y="1150"/>
                  </a:cubicBezTo>
                  <a:cubicBezTo>
                    <a:pt x="58424" y="-4375"/>
                    <a:pt x="52074" y="19456"/>
                    <a:pt x="56815" y="24940"/>
                  </a:cubicBezTo>
                  <a:cubicBezTo>
                    <a:pt x="61557" y="30424"/>
                    <a:pt x="67907" y="65263"/>
                    <a:pt x="55249" y="61594"/>
                  </a:cubicBezTo>
                  <a:cubicBezTo>
                    <a:pt x="42591" y="57924"/>
                    <a:pt x="42591" y="37763"/>
                    <a:pt x="34634" y="39618"/>
                  </a:cubicBezTo>
                  <a:cubicBezTo>
                    <a:pt x="34634" y="39618"/>
                    <a:pt x="14018" y="67078"/>
                    <a:pt x="14018" y="78086"/>
                  </a:cubicBezTo>
                  <a:cubicBezTo>
                    <a:pt x="14018" y="85508"/>
                    <a:pt x="6144" y="87940"/>
                    <a:pt x="1" y="91527"/>
                  </a:cubicBezTo>
                  <a:cubicBezTo>
                    <a:pt x="2886" y="94290"/>
                    <a:pt x="5525" y="97300"/>
                    <a:pt x="7834" y="100557"/>
                  </a:cubicBezTo>
                  <a:cubicBezTo>
                    <a:pt x="11298" y="106494"/>
                    <a:pt x="6144" y="122326"/>
                    <a:pt x="11256" y="136180"/>
                  </a:cubicBezTo>
                  <a:cubicBezTo>
                    <a:pt x="16369" y="150033"/>
                    <a:pt x="33479" y="128264"/>
                    <a:pt x="38633" y="148095"/>
                  </a:cubicBezTo>
                  <a:cubicBezTo>
                    <a:pt x="43787" y="167927"/>
                    <a:pt x="35210" y="177782"/>
                    <a:pt x="35210" y="197572"/>
                  </a:cubicBezTo>
                  <a:cubicBezTo>
                    <a:pt x="35210" y="217363"/>
                    <a:pt x="21523" y="215425"/>
                    <a:pt x="24944" y="233236"/>
                  </a:cubicBezTo>
                  <a:cubicBezTo>
                    <a:pt x="28367" y="251048"/>
                    <a:pt x="47168" y="229113"/>
                    <a:pt x="60815" y="217404"/>
                  </a:cubicBezTo>
                  <a:cubicBezTo>
                    <a:pt x="74462" y="205695"/>
                    <a:pt x="84811" y="207467"/>
                    <a:pt x="89923" y="215425"/>
                  </a:cubicBezTo>
                  <a:cubicBezTo>
                    <a:pt x="95036" y="223382"/>
                    <a:pt x="112147" y="217404"/>
                    <a:pt x="115569" y="207467"/>
                  </a:cubicBezTo>
                  <a:cubicBezTo>
                    <a:pt x="118991" y="197531"/>
                    <a:pt x="144430" y="193614"/>
                    <a:pt x="153171" y="205530"/>
                  </a:cubicBezTo>
                  <a:cubicBezTo>
                    <a:pt x="161913" y="217445"/>
                    <a:pt x="170282" y="231257"/>
                    <a:pt x="182239" y="239174"/>
                  </a:cubicBezTo>
                  <a:cubicBezTo>
                    <a:pt x="194195" y="247090"/>
                    <a:pt x="173704" y="290671"/>
                    <a:pt x="185660" y="294629"/>
                  </a:cubicBezTo>
                  <a:cubicBezTo>
                    <a:pt x="197618" y="298586"/>
                    <a:pt x="214522" y="320356"/>
                    <a:pt x="213038" y="344105"/>
                  </a:cubicBezTo>
                  <a:cubicBezTo>
                    <a:pt x="211553" y="364720"/>
                    <a:pt x="221284" y="379151"/>
                    <a:pt x="207843" y="396715"/>
                  </a:cubicBezTo>
                  <a:cubicBezTo>
                    <a:pt x="216089" y="403065"/>
                    <a:pt x="226397" y="402982"/>
                    <a:pt x="224994" y="409455"/>
                  </a:cubicBezTo>
                  <a:cubicBezTo>
                    <a:pt x="223263" y="417372"/>
                    <a:pt x="236952" y="413578"/>
                    <a:pt x="236952" y="397581"/>
                  </a:cubicBezTo>
                  <a:cubicBezTo>
                    <a:pt x="236952" y="381583"/>
                    <a:pt x="255752" y="383686"/>
                    <a:pt x="264287" y="387686"/>
                  </a:cubicBezTo>
                  <a:cubicBezTo>
                    <a:pt x="274224" y="391190"/>
                    <a:pt x="285315" y="388634"/>
                    <a:pt x="292737" y="381130"/>
                  </a:cubicBezTo>
                  <a:cubicBezTo>
                    <a:pt x="292696" y="374863"/>
                    <a:pt x="293107" y="368596"/>
                    <a:pt x="293932" y="362412"/>
                  </a:cubicBezTo>
                  <a:cubicBezTo>
                    <a:pt x="296447" y="344806"/>
                    <a:pt x="293932" y="324232"/>
                    <a:pt x="286346" y="315409"/>
                  </a:cubicBezTo>
                  <a:cubicBezTo>
                    <a:pt x="278759" y="306585"/>
                    <a:pt x="258391" y="297762"/>
                    <a:pt x="253361" y="280157"/>
                  </a:cubicBezTo>
                  <a:cubicBezTo>
                    <a:pt x="248331" y="262551"/>
                    <a:pt x="225448" y="244864"/>
                    <a:pt x="220377" y="230185"/>
                  </a:cubicBezTo>
                  <a:cubicBezTo>
                    <a:pt x="215306" y="215507"/>
                    <a:pt x="200132" y="200870"/>
                    <a:pt x="200132" y="18912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19" name="Freeform: Shape 218">
              <a:extLst>
                <a:ext uri="{FF2B5EF4-FFF2-40B4-BE49-F238E27FC236}">
                  <a16:creationId xmlns:a16="http://schemas.microsoft.com/office/drawing/2014/main" id="{24A92C7D-0683-3CF6-E451-9DF806CA797E}"/>
                </a:ext>
              </a:extLst>
            </p:cNvPr>
            <p:cNvSpPr/>
            <p:nvPr>
              <p:custDataLst>
                <p:tags r:id="rId217"/>
              </p:custDataLst>
            </p:nvPr>
          </p:nvSpPr>
          <p:spPr>
            <a:xfrm>
              <a:off x="10030440" y="4832166"/>
              <a:ext cx="272478" cy="601754"/>
            </a:xfrm>
            <a:custGeom>
              <a:avLst/>
              <a:gdLst>
                <a:gd name="connsiteX0" fmla="*/ 316074 w 318167"/>
                <a:gd name="connsiteY0" fmla="*/ 252574 h 702657"/>
                <a:gd name="connsiteX1" fmla="*/ 288696 w 318167"/>
                <a:gd name="connsiteY1" fmla="*/ 203097 h 702657"/>
                <a:gd name="connsiteX2" fmla="*/ 285275 w 318167"/>
                <a:gd name="connsiteY2" fmla="*/ 147642 h 702657"/>
                <a:gd name="connsiteX3" fmla="*/ 256207 w 318167"/>
                <a:gd name="connsiteY3" fmla="*/ 113998 h 702657"/>
                <a:gd name="connsiteX4" fmla="*/ 218604 w 318167"/>
                <a:gd name="connsiteY4" fmla="*/ 115936 h 702657"/>
                <a:gd name="connsiteX5" fmla="*/ 192959 w 318167"/>
                <a:gd name="connsiteY5" fmla="*/ 123894 h 702657"/>
                <a:gd name="connsiteX6" fmla="*/ 163851 w 318167"/>
                <a:gd name="connsiteY6" fmla="*/ 125873 h 702657"/>
                <a:gd name="connsiteX7" fmla="*/ 127980 w 318167"/>
                <a:gd name="connsiteY7" fmla="*/ 141705 h 702657"/>
                <a:gd name="connsiteX8" fmla="*/ 138246 w 318167"/>
                <a:gd name="connsiteY8" fmla="*/ 106040 h 702657"/>
                <a:gd name="connsiteX9" fmla="*/ 141669 w 318167"/>
                <a:gd name="connsiteY9" fmla="*/ 56564 h 702657"/>
                <a:gd name="connsiteX10" fmla="*/ 114292 w 318167"/>
                <a:gd name="connsiteY10" fmla="*/ 44648 h 702657"/>
                <a:gd name="connsiteX11" fmla="*/ 110870 w 318167"/>
                <a:gd name="connsiteY11" fmla="*/ 9026 h 702657"/>
                <a:gd name="connsiteX12" fmla="*/ 103036 w 318167"/>
                <a:gd name="connsiteY12" fmla="*/ -4 h 702657"/>
                <a:gd name="connsiteX13" fmla="*/ 96480 w 318167"/>
                <a:gd name="connsiteY13" fmla="*/ 6675 h 702657"/>
                <a:gd name="connsiteX14" fmla="*/ 60115 w 318167"/>
                <a:gd name="connsiteY14" fmla="*/ 30506 h 702657"/>
                <a:gd name="connsiteX15" fmla="*/ 30058 w 318167"/>
                <a:gd name="connsiteY15" fmla="*/ 41515 h 702657"/>
                <a:gd name="connsiteX16" fmla="*/ 7917 w 318167"/>
                <a:gd name="connsiteY16" fmla="*/ 56193 h 702657"/>
                <a:gd name="connsiteX17" fmla="*/ 1 w 318167"/>
                <a:gd name="connsiteY17" fmla="*/ 129460 h 702657"/>
                <a:gd name="connsiteX18" fmla="*/ 30058 w 318167"/>
                <a:gd name="connsiteY18" fmla="*/ 171556 h 702657"/>
                <a:gd name="connsiteX19" fmla="*/ 37933 w 318167"/>
                <a:gd name="connsiteY19" fmla="*/ 202685 h 702657"/>
                <a:gd name="connsiteX20" fmla="*/ 36366 w 318167"/>
                <a:gd name="connsiteY20" fmla="*/ 224661 h 702657"/>
                <a:gd name="connsiteX21" fmla="*/ 30058 w 318167"/>
                <a:gd name="connsiteY21" fmla="*/ 257645 h 702657"/>
                <a:gd name="connsiteX22" fmla="*/ 44283 w 318167"/>
                <a:gd name="connsiteY22" fmla="*/ 307121 h 702657"/>
                <a:gd name="connsiteX23" fmla="*/ 60115 w 318167"/>
                <a:gd name="connsiteY23" fmla="*/ 363937 h 702657"/>
                <a:gd name="connsiteX24" fmla="*/ 72773 w 318167"/>
                <a:gd name="connsiteY24" fmla="*/ 398694 h 702657"/>
                <a:gd name="connsiteX25" fmla="*/ 38386 w 318167"/>
                <a:gd name="connsiteY25" fmla="*/ 475177 h 702657"/>
                <a:gd name="connsiteX26" fmla="*/ 27089 w 318167"/>
                <a:gd name="connsiteY26" fmla="*/ 543496 h 702657"/>
                <a:gd name="connsiteX27" fmla="*/ 29481 w 318167"/>
                <a:gd name="connsiteY27" fmla="*/ 584726 h 702657"/>
                <a:gd name="connsiteX28" fmla="*/ 82174 w 318167"/>
                <a:gd name="connsiteY28" fmla="*/ 644387 h 702657"/>
                <a:gd name="connsiteX29" fmla="*/ 94171 w 318167"/>
                <a:gd name="connsiteY29" fmla="*/ 667352 h 702657"/>
                <a:gd name="connsiteX30" fmla="*/ 117426 w 318167"/>
                <a:gd name="connsiteY30" fmla="*/ 669166 h 702657"/>
                <a:gd name="connsiteX31" fmla="*/ 137092 w 318167"/>
                <a:gd name="connsiteY31" fmla="*/ 696502 h 702657"/>
                <a:gd name="connsiteX32" fmla="*/ 168634 w 318167"/>
                <a:gd name="connsiteY32" fmla="*/ 701079 h 702657"/>
                <a:gd name="connsiteX33" fmla="*/ 181003 w 318167"/>
                <a:gd name="connsiteY33" fmla="*/ 682360 h 702657"/>
                <a:gd name="connsiteX34" fmla="*/ 134866 w 318167"/>
                <a:gd name="connsiteY34" fmla="*/ 651231 h 702657"/>
                <a:gd name="connsiteX35" fmla="*/ 107036 w 318167"/>
                <a:gd name="connsiteY35" fmla="*/ 598456 h 702657"/>
                <a:gd name="connsiteX36" fmla="*/ 92234 w 318167"/>
                <a:gd name="connsiteY36" fmla="*/ 555247 h 702657"/>
                <a:gd name="connsiteX37" fmla="*/ 66795 w 318167"/>
                <a:gd name="connsiteY37" fmla="*/ 533270 h 702657"/>
                <a:gd name="connsiteX38" fmla="*/ 71536 w 318167"/>
                <a:gd name="connsiteY38" fmla="*/ 459056 h 702657"/>
                <a:gd name="connsiteX39" fmla="*/ 86626 w 318167"/>
                <a:gd name="connsiteY39" fmla="*/ 409868 h 702657"/>
                <a:gd name="connsiteX40" fmla="*/ 94872 w 318167"/>
                <a:gd name="connsiteY40" fmla="*/ 375564 h 702657"/>
                <a:gd name="connsiteX41" fmla="*/ 93553 w 318167"/>
                <a:gd name="connsiteY41" fmla="*/ 364432 h 702657"/>
                <a:gd name="connsiteX42" fmla="*/ 127321 w 318167"/>
                <a:gd name="connsiteY42" fmla="*/ 352723 h 702657"/>
                <a:gd name="connsiteX43" fmla="*/ 128021 w 318167"/>
                <a:gd name="connsiteY43" fmla="*/ 355691 h 702657"/>
                <a:gd name="connsiteX44" fmla="*/ 166779 w 318167"/>
                <a:gd name="connsiteY44" fmla="*/ 377997 h 702657"/>
                <a:gd name="connsiteX45" fmla="*/ 169293 w 318167"/>
                <a:gd name="connsiteY45" fmla="*/ 382532 h 702657"/>
                <a:gd name="connsiteX46" fmla="*/ 200133 w 318167"/>
                <a:gd name="connsiteY46" fmla="*/ 406982 h 702657"/>
                <a:gd name="connsiteX47" fmla="*/ 202938 w 318167"/>
                <a:gd name="connsiteY47" fmla="*/ 408384 h 702657"/>
                <a:gd name="connsiteX48" fmla="*/ 203308 w 318167"/>
                <a:gd name="connsiteY48" fmla="*/ 406982 h 702657"/>
                <a:gd name="connsiteX49" fmla="*/ 198154 w 318167"/>
                <a:gd name="connsiteY49" fmla="*/ 371318 h 702657"/>
                <a:gd name="connsiteX50" fmla="*/ 196506 w 318167"/>
                <a:gd name="connsiteY50" fmla="*/ 329798 h 702657"/>
                <a:gd name="connsiteX51" fmla="*/ 251177 w 318167"/>
                <a:gd name="connsiteY51" fmla="*/ 298092 h 702657"/>
                <a:gd name="connsiteX52" fmla="*/ 305890 w 318167"/>
                <a:gd name="connsiteY52" fmla="*/ 300071 h 702657"/>
                <a:gd name="connsiteX53" fmla="*/ 310961 w 318167"/>
                <a:gd name="connsiteY53" fmla="*/ 305142 h 702657"/>
                <a:gd name="connsiteX54" fmla="*/ 316074 w 318167"/>
                <a:gd name="connsiteY54" fmla="*/ 252574 h 702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318167" h="702657">
                  <a:moveTo>
                    <a:pt x="316074" y="252574"/>
                  </a:moveTo>
                  <a:cubicBezTo>
                    <a:pt x="317764" y="228825"/>
                    <a:pt x="300654" y="207014"/>
                    <a:pt x="288696" y="203097"/>
                  </a:cubicBezTo>
                  <a:cubicBezTo>
                    <a:pt x="276740" y="199180"/>
                    <a:pt x="297231" y="155517"/>
                    <a:pt x="285275" y="147642"/>
                  </a:cubicBezTo>
                  <a:cubicBezTo>
                    <a:pt x="273317" y="139767"/>
                    <a:pt x="264660" y="125873"/>
                    <a:pt x="256207" y="113998"/>
                  </a:cubicBezTo>
                  <a:cubicBezTo>
                    <a:pt x="247755" y="102124"/>
                    <a:pt x="222027" y="106082"/>
                    <a:pt x="218604" y="115936"/>
                  </a:cubicBezTo>
                  <a:cubicBezTo>
                    <a:pt x="215183" y="125790"/>
                    <a:pt x="197989" y="131809"/>
                    <a:pt x="192959" y="123894"/>
                  </a:cubicBezTo>
                  <a:cubicBezTo>
                    <a:pt x="187929" y="115977"/>
                    <a:pt x="177580" y="113916"/>
                    <a:pt x="163851" y="125873"/>
                  </a:cubicBezTo>
                  <a:cubicBezTo>
                    <a:pt x="150121" y="137829"/>
                    <a:pt x="131402" y="159517"/>
                    <a:pt x="127980" y="141705"/>
                  </a:cubicBezTo>
                  <a:cubicBezTo>
                    <a:pt x="124559" y="123894"/>
                    <a:pt x="138246" y="125873"/>
                    <a:pt x="138246" y="106040"/>
                  </a:cubicBezTo>
                  <a:cubicBezTo>
                    <a:pt x="138246" y="86209"/>
                    <a:pt x="146823" y="76313"/>
                    <a:pt x="141669" y="56564"/>
                  </a:cubicBezTo>
                  <a:cubicBezTo>
                    <a:pt x="136515" y="36815"/>
                    <a:pt x="119446" y="58543"/>
                    <a:pt x="114292" y="44648"/>
                  </a:cubicBezTo>
                  <a:cubicBezTo>
                    <a:pt x="109138" y="30754"/>
                    <a:pt x="114292" y="14962"/>
                    <a:pt x="110870" y="9026"/>
                  </a:cubicBezTo>
                  <a:cubicBezTo>
                    <a:pt x="108561" y="5768"/>
                    <a:pt x="105922" y="2758"/>
                    <a:pt x="103036" y="-4"/>
                  </a:cubicBezTo>
                  <a:cubicBezTo>
                    <a:pt x="100149" y="1397"/>
                    <a:pt x="97800" y="3748"/>
                    <a:pt x="96480" y="6675"/>
                  </a:cubicBezTo>
                  <a:cubicBezTo>
                    <a:pt x="93306" y="15869"/>
                    <a:pt x="66423" y="17684"/>
                    <a:pt x="60115" y="30506"/>
                  </a:cubicBezTo>
                  <a:cubicBezTo>
                    <a:pt x="53806" y="43329"/>
                    <a:pt x="34800" y="41515"/>
                    <a:pt x="30058" y="41515"/>
                  </a:cubicBezTo>
                  <a:cubicBezTo>
                    <a:pt x="25317" y="41515"/>
                    <a:pt x="9442" y="43329"/>
                    <a:pt x="7917" y="56193"/>
                  </a:cubicBezTo>
                  <a:cubicBezTo>
                    <a:pt x="6391" y="69057"/>
                    <a:pt x="1" y="120265"/>
                    <a:pt x="1" y="129460"/>
                  </a:cubicBezTo>
                  <a:cubicBezTo>
                    <a:pt x="1" y="138654"/>
                    <a:pt x="22100" y="167927"/>
                    <a:pt x="30058" y="171556"/>
                  </a:cubicBezTo>
                  <a:cubicBezTo>
                    <a:pt x="38016" y="175184"/>
                    <a:pt x="28450" y="197201"/>
                    <a:pt x="37933" y="202685"/>
                  </a:cubicBezTo>
                  <a:cubicBezTo>
                    <a:pt x="47416" y="208168"/>
                    <a:pt x="41108" y="226516"/>
                    <a:pt x="36366" y="224661"/>
                  </a:cubicBezTo>
                  <a:cubicBezTo>
                    <a:pt x="31625" y="222805"/>
                    <a:pt x="39541" y="248533"/>
                    <a:pt x="30058" y="257645"/>
                  </a:cubicBezTo>
                  <a:cubicBezTo>
                    <a:pt x="20575" y="266757"/>
                    <a:pt x="28450" y="290629"/>
                    <a:pt x="44283" y="307121"/>
                  </a:cubicBezTo>
                  <a:cubicBezTo>
                    <a:pt x="60115" y="323614"/>
                    <a:pt x="60115" y="349259"/>
                    <a:pt x="60115" y="363937"/>
                  </a:cubicBezTo>
                  <a:cubicBezTo>
                    <a:pt x="60115" y="378615"/>
                    <a:pt x="72773" y="380429"/>
                    <a:pt x="72773" y="398694"/>
                  </a:cubicBezTo>
                  <a:cubicBezTo>
                    <a:pt x="72773" y="398694"/>
                    <a:pt x="53848" y="478599"/>
                    <a:pt x="38386" y="475177"/>
                  </a:cubicBezTo>
                  <a:cubicBezTo>
                    <a:pt x="35088" y="495132"/>
                    <a:pt x="30923" y="526468"/>
                    <a:pt x="27089" y="543496"/>
                  </a:cubicBezTo>
                  <a:cubicBezTo>
                    <a:pt x="22389" y="564729"/>
                    <a:pt x="18843" y="583242"/>
                    <a:pt x="29481" y="584726"/>
                  </a:cubicBezTo>
                  <a:cubicBezTo>
                    <a:pt x="40119" y="586211"/>
                    <a:pt x="61476" y="614206"/>
                    <a:pt x="82174" y="644387"/>
                  </a:cubicBezTo>
                  <a:cubicBezTo>
                    <a:pt x="87038" y="651561"/>
                    <a:pt x="91079" y="659271"/>
                    <a:pt x="94171" y="667352"/>
                  </a:cubicBezTo>
                  <a:cubicBezTo>
                    <a:pt x="101964" y="666899"/>
                    <a:pt x="109798" y="667476"/>
                    <a:pt x="117426" y="669166"/>
                  </a:cubicBezTo>
                  <a:cubicBezTo>
                    <a:pt x="133134" y="672547"/>
                    <a:pt x="137092" y="687390"/>
                    <a:pt x="137092" y="696502"/>
                  </a:cubicBezTo>
                  <a:cubicBezTo>
                    <a:pt x="137092" y="705614"/>
                    <a:pt x="163728" y="702233"/>
                    <a:pt x="168634" y="701079"/>
                  </a:cubicBezTo>
                  <a:cubicBezTo>
                    <a:pt x="172427" y="700213"/>
                    <a:pt x="167562" y="687349"/>
                    <a:pt x="181003" y="682360"/>
                  </a:cubicBezTo>
                  <a:cubicBezTo>
                    <a:pt x="172757" y="669125"/>
                    <a:pt x="152142" y="653045"/>
                    <a:pt x="134866" y="651231"/>
                  </a:cubicBezTo>
                  <a:cubicBezTo>
                    <a:pt x="114745" y="649169"/>
                    <a:pt x="105262" y="614123"/>
                    <a:pt x="107036" y="598456"/>
                  </a:cubicBezTo>
                  <a:cubicBezTo>
                    <a:pt x="108808" y="582788"/>
                    <a:pt x="92234" y="568935"/>
                    <a:pt x="92234" y="555247"/>
                  </a:cubicBezTo>
                  <a:cubicBezTo>
                    <a:pt x="92234" y="541558"/>
                    <a:pt x="80400" y="540816"/>
                    <a:pt x="66795" y="533270"/>
                  </a:cubicBezTo>
                  <a:cubicBezTo>
                    <a:pt x="53188" y="525725"/>
                    <a:pt x="69722" y="479094"/>
                    <a:pt x="71536" y="459056"/>
                  </a:cubicBezTo>
                  <a:cubicBezTo>
                    <a:pt x="72401" y="448913"/>
                    <a:pt x="80236" y="429164"/>
                    <a:pt x="86626" y="409868"/>
                  </a:cubicBezTo>
                  <a:cubicBezTo>
                    <a:pt x="84441" y="397787"/>
                    <a:pt x="87451" y="385336"/>
                    <a:pt x="94872" y="375564"/>
                  </a:cubicBezTo>
                  <a:cubicBezTo>
                    <a:pt x="95326" y="371812"/>
                    <a:pt x="94872" y="367978"/>
                    <a:pt x="93553" y="364432"/>
                  </a:cubicBezTo>
                  <a:cubicBezTo>
                    <a:pt x="85307" y="346579"/>
                    <a:pt x="122415" y="332890"/>
                    <a:pt x="127321" y="352723"/>
                  </a:cubicBezTo>
                  <a:cubicBezTo>
                    <a:pt x="127527" y="353753"/>
                    <a:pt x="127775" y="354743"/>
                    <a:pt x="128021" y="355691"/>
                  </a:cubicBezTo>
                  <a:cubicBezTo>
                    <a:pt x="142658" y="353959"/>
                    <a:pt x="157707" y="360103"/>
                    <a:pt x="166779" y="377997"/>
                  </a:cubicBezTo>
                  <a:cubicBezTo>
                    <a:pt x="167562" y="379564"/>
                    <a:pt x="168469" y="381007"/>
                    <a:pt x="169293" y="382532"/>
                  </a:cubicBezTo>
                  <a:cubicBezTo>
                    <a:pt x="181910" y="387521"/>
                    <a:pt x="185002" y="402034"/>
                    <a:pt x="200133" y="406982"/>
                  </a:cubicBezTo>
                  <a:cubicBezTo>
                    <a:pt x="201123" y="407353"/>
                    <a:pt x="202030" y="407848"/>
                    <a:pt x="202938" y="408384"/>
                  </a:cubicBezTo>
                  <a:cubicBezTo>
                    <a:pt x="203020" y="407930"/>
                    <a:pt x="203143" y="407435"/>
                    <a:pt x="203308" y="406982"/>
                  </a:cubicBezTo>
                  <a:cubicBezTo>
                    <a:pt x="208421" y="391190"/>
                    <a:pt x="198154" y="391190"/>
                    <a:pt x="198154" y="371318"/>
                  </a:cubicBezTo>
                  <a:cubicBezTo>
                    <a:pt x="198154" y="351444"/>
                    <a:pt x="181085" y="351568"/>
                    <a:pt x="196506" y="329798"/>
                  </a:cubicBezTo>
                  <a:cubicBezTo>
                    <a:pt x="211926" y="308028"/>
                    <a:pt x="235757" y="292114"/>
                    <a:pt x="251177" y="298092"/>
                  </a:cubicBezTo>
                  <a:cubicBezTo>
                    <a:pt x="266597" y="304070"/>
                    <a:pt x="297314" y="288156"/>
                    <a:pt x="305890" y="300071"/>
                  </a:cubicBezTo>
                  <a:cubicBezTo>
                    <a:pt x="307333" y="302009"/>
                    <a:pt x="309024" y="303700"/>
                    <a:pt x="310961" y="305142"/>
                  </a:cubicBezTo>
                  <a:cubicBezTo>
                    <a:pt x="324444" y="287620"/>
                    <a:pt x="314589" y="273024"/>
                    <a:pt x="316074" y="252574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0" name="Freeform: Shape 219">
              <a:extLst>
                <a:ext uri="{FF2B5EF4-FFF2-40B4-BE49-F238E27FC236}">
                  <a16:creationId xmlns:a16="http://schemas.microsoft.com/office/drawing/2014/main" id="{6F77AE9F-B468-88EC-68CC-2750B81DFBE2}"/>
                </a:ext>
              </a:extLst>
            </p:cNvPr>
            <p:cNvSpPr/>
            <p:nvPr>
              <p:custDataLst>
                <p:tags r:id="rId218"/>
              </p:custDataLst>
            </p:nvPr>
          </p:nvSpPr>
          <p:spPr>
            <a:xfrm>
              <a:off x="10594511" y="5475967"/>
              <a:ext cx="43637" cy="32520"/>
            </a:xfrm>
            <a:custGeom>
              <a:avLst/>
              <a:gdLst>
                <a:gd name="connsiteX0" fmla="*/ 21729 w 50954"/>
                <a:gd name="connsiteY0" fmla="*/ 37969 h 37973"/>
                <a:gd name="connsiteX1" fmla="*/ 47746 w 50954"/>
                <a:gd name="connsiteY1" fmla="*/ 27002 h 37973"/>
                <a:gd name="connsiteX2" fmla="*/ 47334 w 50954"/>
                <a:gd name="connsiteY2" fmla="*/ -4 h 37973"/>
                <a:gd name="connsiteX3" fmla="*/ 27626 w 50954"/>
                <a:gd name="connsiteY3" fmla="*/ 10510 h 37973"/>
                <a:gd name="connsiteX4" fmla="*/ 1 w 50954"/>
                <a:gd name="connsiteY4" fmla="*/ 5232 h 37973"/>
                <a:gd name="connsiteX5" fmla="*/ 21729 w 50954"/>
                <a:gd name="connsiteY5" fmla="*/ 37969 h 37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953" h="37973">
                  <a:moveTo>
                    <a:pt x="21729" y="37969"/>
                  </a:moveTo>
                  <a:cubicBezTo>
                    <a:pt x="35913" y="37969"/>
                    <a:pt x="38221" y="24239"/>
                    <a:pt x="47746" y="27002"/>
                  </a:cubicBezTo>
                  <a:cubicBezTo>
                    <a:pt x="53023" y="28527"/>
                    <a:pt x="51003" y="16571"/>
                    <a:pt x="47334" y="-4"/>
                  </a:cubicBezTo>
                  <a:cubicBezTo>
                    <a:pt x="39088" y="3088"/>
                    <a:pt x="27626" y="3006"/>
                    <a:pt x="27626" y="10510"/>
                  </a:cubicBezTo>
                  <a:cubicBezTo>
                    <a:pt x="27626" y="22590"/>
                    <a:pt x="9690" y="6057"/>
                    <a:pt x="1" y="5232"/>
                  </a:cubicBezTo>
                  <a:cubicBezTo>
                    <a:pt x="8742" y="23910"/>
                    <a:pt x="16988" y="37969"/>
                    <a:pt x="21729" y="3796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1" name="Freeform: Shape 220">
              <a:extLst>
                <a:ext uri="{FF2B5EF4-FFF2-40B4-BE49-F238E27FC236}">
                  <a16:creationId xmlns:a16="http://schemas.microsoft.com/office/drawing/2014/main" id="{210AF0B5-CE47-8BFB-551E-D1FEC8283150}"/>
                </a:ext>
              </a:extLst>
            </p:cNvPr>
            <p:cNvSpPr/>
            <p:nvPr>
              <p:custDataLst>
                <p:tags r:id="rId219"/>
              </p:custDataLst>
            </p:nvPr>
          </p:nvSpPr>
          <p:spPr>
            <a:xfrm>
              <a:off x="8636236" y="3698796"/>
              <a:ext cx="596450" cy="410828"/>
            </a:xfrm>
            <a:custGeom>
              <a:avLst/>
              <a:gdLst>
                <a:gd name="connsiteX0" fmla="*/ 690074 w 696463"/>
                <a:gd name="connsiteY0" fmla="*/ 269478 h 479716"/>
                <a:gd name="connsiteX1" fmla="*/ 634702 w 696463"/>
                <a:gd name="connsiteY1" fmla="*/ 240204 h 479716"/>
                <a:gd name="connsiteX2" fmla="*/ 603037 w 696463"/>
                <a:gd name="connsiteY2" fmla="*/ 242019 h 479716"/>
                <a:gd name="connsiteX3" fmla="*/ 565105 w 696463"/>
                <a:gd name="connsiteY3" fmla="*/ 229196 h 479716"/>
                <a:gd name="connsiteX4" fmla="*/ 523875 w 696463"/>
                <a:gd name="connsiteY4" fmla="*/ 265808 h 479716"/>
                <a:gd name="connsiteX5" fmla="*/ 504909 w 696463"/>
                <a:gd name="connsiteY5" fmla="*/ 273148 h 479716"/>
                <a:gd name="connsiteX6" fmla="*/ 471718 w 696463"/>
                <a:gd name="connsiteY6" fmla="*/ 249358 h 479716"/>
                <a:gd name="connsiteX7" fmla="*/ 436920 w 696463"/>
                <a:gd name="connsiteY7" fmla="*/ 238390 h 479716"/>
                <a:gd name="connsiteX8" fmla="*/ 414778 w 696463"/>
                <a:gd name="connsiteY8" fmla="*/ 190687 h 479716"/>
                <a:gd name="connsiteX9" fmla="*/ 405255 w 696463"/>
                <a:gd name="connsiteY9" fmla="*/ 146735 h 479716"/>
                <a:gd name="connsiteX10" fmla="*/ 373672 w 696463"/>
                <a:gd name="connsiteY10" fmla="*/ 119275 h 479716"/>
                <a:gd name="connsiteX11" fmla="*/ 292984 w 696463"/>
                <a:gd name="connsiteY11" fmla="*/ 115606 h 479716"/>
                <a:gd name="connsiteX12" fmla="*/ 240786 w 696463"/>
                <a:gd name="connsiteY12" fmla="*/ 119275 h 479716"/>
                <a:gd name="connsiteX13" fmla="*/ 193907 w 696463"/>
                <a:gd name="connsiteY13" fmla="*/ 59986 h 479716"/>
                <a:gd name="connsiteX14" fmla="*/ 182074 w 696463"/>
                <a:gd name="connsiteY14" fmla="*/ 80065 h 479716"/>
                <a:gd name="connsiteX15" fmla="*/ 133504 w 696463"/>
                <a:gd name="connsiteY15" fmla="*/ 70459 h 479716"/>
                <a:gd name="connsiteX16" fmla="*/ 128763 w 696463"/>
                <a:gd name="connsiteY16" fmla="*/ 4490 h 479716"/>
                <a:gd name="connsiteX17" fmla="*/ 112271 w 696463"/>
                <a:gd name="connsiteY17" fmla="*/ 71737 h 479716"/>
                <a:gd name="connsiteX18" fmla="*/ 106540 w 696463"/>
                <a:gd name="connsiteY18" fmla="*/ -4 h 479716"/>
                <a:gd name="connsiteX19" fmla="*/ 5196 w 696463"/>
                <a:gd name="connsiteY19" fmla="*/ 31290 h 479716"/>
                <a:gd name="connsiteX20" fmla="*/ 453 w 696463"/>
                <a:gd name="connsiteY20" fmla="*/ 236452 h 479716"/>
                <a:gd name="connsiteX21" fmla="*/ 1 w 696463"/>
                <a:gd name="connsiteY21" fmla="*/ 236865 h 479716"/>
                <a:gd name="connsiteX22" fmla="*/ 28202 w 696463"/>
                <a:gd name="connsiteY22" fmla="*/ 244575 h 479716"/>
                <a:gd name="connsiteX23" fmla="*/ 42386 w 696463"/>
                <a:gd name="connsiteY23" fmla="*/ 222640 h 479716"/>
                <a:gd name="connsiteX24" fmla="*/ 70834 w 696463"/>
                <a:gd name="connsiteY24" fmla="*/ 197902 h 479716"/>
                <a:gd name="connsiteX25" fmla="*/ 85058 w 696463"/>
                <a:gd name="connsiteY25" fmla="*/ 180049 h 479716"/>
                <a:gd name="connsiteX26" fmla="*/ 101551 w 696463"/>
                <a:gd name="connsiteY26" fmla="*/ 170484 h 479716"/>
                <a:gd name="connsiteX27" fmla="*/ 130000 w 696463"/>
                <a:gd name="connsiteY27" fmla="*/ 178730 h 479716"/>
                <a:gd name="connsiteX28" fmla="*/ 160799 w 696463"/>
                <a:gd name="connsiteY28" fmla="*/ 191099 h 479716"/>
                <a:gd name="connsiteX29" fmla="*/ 174982 w 696463"/>
                <a:gd name="connsiteY29" fmla="*/ 240575 h 479716"/>
                <a:gd name="connsiteX30" fmla="*/ 234231 w 696463"/>
                <a:gd name="connsiteY30" fmla="*/ 248822 h 479716"/>
                <a:gd name="connsiteX31" fmla="*/ 250723 w 696463"/>
                <a:gd name="connsiteY31" fmla="*/ 279002 h 479716"/>
                <a:gd name="connsiteX32" fmla="*/ 268493 w 696463"/>
                <a:gd name="connsiteY32" fmla="*/ 317429 h 479716"/>
                <a:gd name="connsiteX33" fmla="*/ 308775 w 696463"/>
                <a:gd name="connsiteY33" fmla="*/ 351733 h 479716"/>
                <a:gd name="connsiteX34" fmla="*/ 354954 w 696463"/>
                <a:gd name="connsiteY34" fmla="*/ 383274 h 479716"/>
                <a:gd name="connsiteX35" fmla="*/ 396431 w 696463"/>
                <a:gd name="connsiteY35" fmla="*/ 414815 h 479716"/>
                <a:gd name="connsiteX36" fmla="*/ 431972 w 696463"/>
                <a:gd name="connsiteY36" fmla="*/ 428545 h 479716"/>
                <a:gd name="connsiteX37" fmla="*/ 434982 w 696463"/>
                <a:gd name="connsiteY37" fmla="*/ 459097 h 479716"/>
                <a:gd name="connsiteX38" fmla="*/ 438446 w 696463"/>
                <a:gd name="connsiteY38" fmla="*/ 458190 h 479716"/>
                <a:gd name="connsiteX39" fmla="*/ 471677 w 696463"/>
                <a:gd name="connsiteY39" fmla="*/ 471013 h 479716"/>
                <a:gd name="connsiteX40" fmla="*/ 487675 w 696463"/>
                <a:gd name="connsiteY40" fmla="*/ 479712 h 479716"/>
                <a:gd name="connsiteX41" fmla="*/ 504167 w 696463"/>
                <a:gd name="connsiteY41" fmla="*/ 431308 h 479716"/>
                <a:gd name="connsiteX42" fmla="*/ 499425 w 696463"/>
                <a:gd name="connsiteY42" fmla="*/ 390077 h 479716"/>
                <a:gd name="connsiteX43" fmla="*/ 474686 w 696463"/>
                <a:gd name="connsiteY43" fmla="*/ 354413 h 479716"/>
                <a:gd name="connsiteX44" fmla="*/ 512578 w 696463"/>
                <a:gd name="connsiteY44" fmla="*/ 337920 h 479716"/>
                <a:gd name="connsiteX45" fmla="*/ 525648 w 696463"/>
                <a:gd name="connsiteY45" fmla="*/ 311822 h 479716"/>
                <a:gd name="connsiteX46" fmla="*/ 544573 w 696463"/>
                <a:gd name="connsiteY46" fmla="*/ 287084 h 479716"/>
                <a:gd name="connsiteX47" fmla="*/ 575372 w 696463"/>
                <a:gd name="connsiteY47" fmla="*/ 278837 h 479716"/>
                <a:gd name="connsiteX48" fmla="*/ 602625 w 696463"/>
                <a:gd name="connsiteY48" fmla="*/ 271993 h 479716"/>
                <a:gd name="connsiteX49" fmla="*/ 588483 w 696463"/>
                <a:gd name="connsiteY49" fmla="*/ 310049 h 479716"/>
                <a:gd name="connsiteX50" fmla="*/ 634661 w 696463"/>
                <a:gd name="connsiteY50" fmla="*/ 300525 h 479716"/>
                <a:gd name="connsiteX51" fmla="*/ 672593 w 696463"/>
                <a:gd name="connsiteY51" fmla="*/ 293186 h 479716"/>
                <a:gd name="connsiteX52" fmla="*/ 690074 w 696463"/>
                <a:gd name="connsiteY52" fmla="*/ 269478 h 479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696463" h="479715">
                  <a:moveTo>
                    <a:pt x="690074" y="269478"/>
                  </a:moveTo>
                  <a:cubicBezTo>
                    <a:pt x="671068" y="251172"/>
                    <a:pt x="637877" y="229196"/>
                    <a:pt x="634702" y="240204"/>
                  </a:cubicBezTo>
                  <a:cubicBezTo>
                    <a:pt x="631527" y="251213"/>
                    <a:pt x="610953" y="252986"/>
                    <a:pt x="603037" y="242019"/>
                  </a:cubicBezTo>
                  <a:cubicBezTo>
                    <a:pt x="595121" y="231051"/>
                    <a:pt x="588854" y="218187"/>
                    <a:pt x="565105" y="229196"/>
                  </a:cubicBezTo>
                  <a:cubicBezTo>
                    <a:pt x="541357" y="240204"/>
                    <a:pt x="525565" y="254841"/>
                    <a:pt x="523875" y="265808"/>
                  </a:cubicBezTo>
                  <a:cubicBezTo>
                    <a:pt x="522184" y="276776"/>
                    <a:pt x="506476" y="287826"/>
                    <a:pt x="504909" y="273148"/>
                  </a:cubicBezTo>
                  <a:cubicBezTo>
                    <a:pt x="503342" y="258470"/>
                    <a:pt x="484293" y="252986"/>
                    <a:pt x="471718" y="249358"/>
                  </a:cubicBezTo>
                  <a:cubicBezTo>
                    <a:pt x="459142" y="245729"/>
                    <a:pt x="438486" y="252986"/>
                    <a:pt x="436920" y="238390"/>
                  </a:cubicBezTo>
                  <a:cubicBezTo>
                    <a:pt x="435353" y="223795"/>
                    <a:pt x="416304" y="207179"/>
                    <a:pt x="414778" y="190687"/>
                  </a:cubicBezTo>
                  <a:cubicBezTo>
                    <a:pt x="413253" y="174194"/>
                    <a:pt x="417912" y="150404"/>
                    <a:pt x="405255" y="146735"/>
                  </a:cubicBezTo>
                  <a:cubicBezTo>
                    <a:pt x="392597" y="143066"/>
                    <a:pt x="384640" y="119275"/>
                    <a:pt x="373672" y="119275"/>
                  </a:cubicBezTo>
                  <a:cubicBezTo>
                    <a:pt x="362705" y="119275"/>
                    <a:pt x="300900" y="119275"/>
                    <a:pt x="292984" y="115606"/>
                  </a:cubicBezTo>
                  <a:cubicBezTo>
                    <a:pt x="285067" y="111936"/>
                    <a:pt x="243920" y="130243"/>
                    <a:pt x="240786" y="119275"/>
                  </a:cubicBezTo>
                  <a:cubicBezTo>
                    <a:pt x="238230" y="110329"/>
                    <a:pt x="209698" y="74994"/>
                    <a:pt x="193907" y="59986"/>
                  </a:cubicBezTo>
                  <a:cubicBezTo>
                    <a:pt x="192340" y="67824"/>
                    <a:pt x="188176" y="74899"/>
                    <a:pt x="182074" y="80065"/>
                  </a:cubicBezTo>
                  <a:cubicBezTo>
                    <a:pt x="152429" y="104804"/>
                    <a:pt x="124022" y="100680"/>
                    <a:pt x="133504" y="70459"/>
                  </a:cubicBezTo>
                  <a:cubicBezTo>
                    <a:pt x="142987" y="40237"/>
                    <a:pt x="144142" y="4490"/>
                    <a:pt x="128763" y="4490"/>
                  </a:cubicBezTo>
                  <a:cubicBezTo>
                    <a:pt x="113384" y="4490"/>
                    <a:pt x="124022" y="67614"/>
                    <a:pt x="112271" y="71737"/>
                  </a:cubicBezTo>
                  <a:cubicBezTo>
                    <a:pt x="101798" y="75365"/>
                    <a:pt x="97716" y="25930"/>
                    <a:pt x="106540" y="-4"/>
                  </a:cubicBezTo>
                  <a:lnTo>
                    <a:pt x="5196" y="31290"/>
                  </a:lnTo>
                  <a:lnTo>
                    <a:pt x="453" y="236452"/>
                  </a:lnTo>
                  <a:cubicBezTo>
                    <a:pt x="289" y="236568"/>
                    <a:pt x="124" y="236708"/>
                    <a:pt x="1" y="236865"/>
                  </a:cubicBezTo>
                  <a:cubicBezTo>
                    <a:pt x="8782" y="241342"/>
                    <a:pt x="18389" y="243965"/>
                    <a:pt x="28202" y="244575"/>
                  </a:cubicBezTo>
                  <a:cubicBezTo>
                    <a:pt x="43581" y="245935"/>
                    <a:pt x="42386" y="232206"/>
                    <a:pt x="42386" y="222640"/>
                  </a:cubicBezTo>
                  <a:cubicBezTo>
                    <a:pt x="42386" y="213075"/>
                    <a:pt x="58878" y="196583"/>
                    <a:pt x="70834" y="197902"/>
                  </a:cubicBezTo>
                  <a:cubicBezTo>
                    <a:pt x="82792" y="199221"/>
                    <a:pt x="81472" y="180049"/>
                    <a:pt x="85058" y="180049"/>
                  </a:cubicBezTo>
                  <a:cubicBezTo>
                    <a:pt x="91738" y="179629"/>
                    <a:pt x="97840" y="176087"/>
                    <a:pt x="101551" y="170484"/>
                  </a:cubicBezTo>
                  <a:cubicBezTo>
                    <a:pt x="105097" y="163598"/>
                    <a:pt x="124063" y="171803"/>
                    <a:pt x="130000" y="178730"/>
                  </a:cubicBezTo>
                  <a:cubicBezTo>
                    <a:pt x="135937" y="185656"/>
                    <a:pt x="150120" y="188295"/>
                    <a:pt x="160799" y="191099"/>
                  </a:cubicBezTo>
                  <a:cubicBezTo>
                    <a:pt x="171478" y="193903"/>
                    <a:pt x="174982" y="232329"/>
                    <a:pt x="174982" y="240575"/>
                  </a:cubicBezTo>
                  <a:cubicBezTo>
                    <a:pt x="174982" y="248822"/>
                    <a:pt x="225944" y="247420"/>
                    <a:pt x="234231" y="248822"/>
                  </a:cubicBezTo>
                  <a:cubicBezTo>
                    <a:pt x="242518" y="250223"/>
                    <a:pt x="242477" y="266674"/>
                    <a:pt x="250723" y="279002"/>
                  </a:cubicBezTo>
                  <a:cubicBezTo>
                    <a:pt x="258062" y="291099"/>
                    <a:pt x="264041" y="303988"/>
                    <a:pt x="268493" y="317429"/>
                  </a:cubicBezTo>
                  <a:cubicBezTo>
                    <a:pt x="272039" y="327036"/>
                    <a:pt x="301683" y="339405"/>
                    <a:pt x="308775" y="351733"/>
                  </a:cubicBezTo>
                  <a:cubicBezTo>
                    <a:pt x="315867" y="364061"/>
                    <a:pt x="338379" y="376471"/>
                    <a:pt x="354954" y="383274"/>
                  </a:cubicBezTo>
                  <a:cubicBezTo>
                    <a:pt x="371528" y="390077"/>
                    <a:pt x="386948" y="416258"/>
                    <a:pt x="396431" y="414815"/>
                  </a:cubicBezTo>
                  <a:cubicBezTo>
                    <a:pt x="405914" y="413372"/>
                    <a:pt x="431972" y="428545"/>
                    <a:pt x="431972" y="428545"/>
                  </a:cubicBezTo>
                  <a:lnTo>
                    <a:pt x="434982" y="459097"/>
                  </a:lnTo>
                  <a:cubicBezTo>
                    <a:pt x="436178" y="458924"/>
                    <a:pt x="437332" y="458623"/>
                    <a:pt x="438446" y="458190"/>
                  </a:cubicBezTo>
                  <a:cubicBezTo>
                    <a:pt x="452670" y="452706"/>
                    <a:pt x="460586" y="471013"/>
                    <a:pt x="471677" y="471013"/>
                  </a:cubicBezTo>
                  <a:cubicBezTo>
                    <a:pt x="476336" y="471013"/>
                    <a:pt x="482108" y="475548"/>
                    <a:pt x="487675" y="479712"/>
                  </a:cubicBezTo>
                  <a:cubicBezTo>
                    <a:pt x="486891" y="452871"/>
                    <a:pt x="495096" y="439512"/>
                    <a:pt x="504167" y="431308"/>
                  </a:cubicBezTo>
                  <a:cubicBezTo>
                    <a:pt x="514803" y="421701"/>
                    <a:pt x="497034" y="405250"/>
                    <a:pt x="499425" y="390077"/>
                  </a:cubicBezTo>
                  <a:cubicBezTo>
                    <a:pt x="501816" y="374904"/>
                    <a:pt x="472172" y="366741"/>
                    <a:pt x="474686" y="354413"/>
                  </a:cubicBezTo>
                  <a:cubicBezTo>
                    <a:pt x="477202" y="342085"/>
                    <a:pt x="501899" y="343445"/>
                    <a:pt x="512578" y="337920"/>
                  </a:cubicBezTo>
                  <a:cubicBezTo>
                    <a:pt x="523256" y="332396"/>
                    <a:pt x="514969" y="311822"/>
                    <a:pt x="525648" y="311822"/>
                  </a:cubicBezTo>
                  <a:cubicBezTo>
                    <a:pt x="536327" y="311822"/>
                    <a:pt x="541027" y="299453"/>
                    <a:pt x="544573" y="287084"/>
                  </a:cubicBezTo>
                  <a:cubicBezTo>
                    <a:pt x="548118" y="274714"/>
                    <a:pt x="565889" y="287084"/>
                    <a:pt x="575372" y="278837"/>
                  </a:cubicBezTo>
                  <a:cubicBezTo>
                    <a:pt x="584854" y="270591"/>
                    <a:pt x="599079" y="265149"/>
                    <a:pt x="602625" y="271993"/>
                  </a:cubicBezTo>
                  <a:cubicBezTo>
                    <a:pt x="605429" y="277394"/>
                    <a:pt x="593678" y="300360"/>
                    <a:pt x="588483" y="310049"/>
                  </a:cubicBezTo>
                  <a:cubicBezTo>
                    <a:pt x="604975" y="309513"/>
                    <a:pt x="629713" y="305926"/>
                    <a:pt x="634661" y="300525"/>
                  </a:cubicBezTo>
                  <a:cubicBezTo>
                    <a:pt x="641010" y="293186"/>
                    <a:pt x="664677" y="311492"/>
                    <a:pt x="672593" y="293186"/>
                  </a:cubicBezTo>
                  <a:cubicBezTo>
                    <a:pt x="680509" y="274879"/>
                    <a:pt x="709041" y="287826"/>
                    <a:pt x="690074" y="26947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2" name="Freeform: Shape 221">
              <a:extLst>
                <a:ext uri="{FF2B5EF4-FFF2-40B4-BE49-F238E27FC236}">
                  <a16:creationId xmlns:a16="http://schemas.microsoft.com/office/drawing/2014/main" id="{D3F35A39-2AF9-A0B3-DBB4-12D8F08D779A}"/>
                </a:ext>
              </a:extLst>
            </p:cNvPr>
            <p:cNvSpPr/>
            <p:nvPr>
              <p:custDataLst>
                <p:tags r:id="rId220"/>
              </p:custDataLst>
            </p:nvPr>
          </p:nvSpPr>
          <p:spPr>
            <a:xfrm>
              <a:off x="10816937" y="5128256"/>
              <a:ext cx="37705" cy="45545"/>
            </a:xfrm>
            <a:custGeom>
              <a:avLst/>
              <a:gdLst>
                <a:gd name="connsiteX0" fmla="*/ 72 w 44027"/>
                <a:gd name="connsiteY0" fmla="*/ 2241 h 53182"/>
                <a:gd name="connsiteX1" fmla="*/ 37964 w 44027"/>
                <a:gd name="connsiteY1" fmla="*/ 51718 h 53182"/>
                <a:gd name="connsiteX2" fmla="*/ 72 w 44027"/>
                <a:gd name="connsiteY2" fmla="*/ 2241 h 53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4027" h="53182">
                  <a:moveTo>
                    <a:pt x="72" y="2241"/>
                  </a:moveTo>
                  <a:cubicBezTo>
                    <a:pt x="3619" y="21455"/>
                    <a:pt x="11906" y="61283"/>
                    <a:pt x="37964" y="51718"/>
                  </a:cubicBezTo>
                  <a:cubicBezTo>
                    <a:pt x="64021" y="42152"/>
                    <a:pt x="-2483" y="-11530"/>
                    <a:pt x="72" y="2241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3" name="Freeform: Shape 222">
              <a:extLst>
                <a:ext uri="{FF2B5EF4-FFF2-40B4-BE49-F238E27FC236}">
                  <a16:creationId xmlns:a16="http://schemas.microsoft.com/office/drawing/2014/main" id="{53C87DB7-3AEE-E271-D950-366D8DB7CF14}"/>
                </a:ext>
              </a:extLst>
            </p:cNvPr>
            <p:cNvSpPr/>
            <p:nvPr>
              <p:custDataLst>
                <p:tags r:id="rId221"/>
              </p:custDataLst>
            </p:nvPr>
          </p:nvSpPr>
          <p:spPr>
            <a:xfrm>
              <a:off x="10922107" y="5164536"/>
              <a:ext cx="74682" cy="101582"/>
            </a:xfrm>
            <a:custGeom>
              <a:avLst/>
              <a:gdLst>
                <a:gd name="connsiteX0" fmla="*/ 11 w 87205"/>
                <a:gd name="connsiteY0" fmla="*/ -4 h 118615"/>
                <a:gd name="connsiteX1" fmla="*/ 13494 w 87205"/>
                <a:gd name="connsiteY1" fmla="*/ 30012 h 118615"/>
                <a:gd name="connsiteX2" fmla="*/ 29986 w 87205"/>
                <a:gd name="connsiteY2" fmla="*/ 50627 h 118615"/>
                <a:gd name="connsiteX3" fmla="*/ 50107 w 87205"/>
                <a:gd name="connsiteY3" fmla="*/ 108350 h 118615"/>
                <a:gd name="connsiteX4" fmla="*/ 63177 w 87205"/>
                <a:gd name="connsiteY4" fmla="*/ 95980 h 118615"/>
                <a:gd name="connsiteX5" fmla="*/ 80947 w 87205"/>
                <a:gd name="connsiteY5" fmla="*/ 68562 h 118615"/>
                <a:gd name="connsiteX6" fmla="*/ 78638 w 87205"/>
                <a:gd name="connsiteY6" fmla="*/ 30341 h 118615"/>
                <a:gd name="connsiteX7" fmla="*/ 45241 w 87205"/>
                <a:gd name="connsiteY7" fmla="*/ 27909 h 118615"/>
                <a:gd name="connsiteX8" fmla="*/ 11 w 87205"/>
                <a:gd name="connsiteY8" fmla="*/ -4 h 118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7205" h="118615">
                  <a:moveTo>
                    <a:pt x="11" y="-4"/>
                  </a:moveTo>
                  <a:cubicBezTo>
                    <a:pt x="-276" y="16076"/>
                    <a:pt x="5124" y="38587"/>
                    <a:pt x="13494" y="30012"/>
                  </a:cubicBezTo>
                  <a:cubicBezTo>
                    <a:pt x="24173" y="19086"/>
                    <a:pt x="40748" y="32733"/>
                    <a:pt x="29986" y="50627"/>
                  </a:cubicBezTo>
                  <a:cubicBezTo>
                    <a:pt x="19226" y="68521"/>
                    <a:pt x="46478" y="86291"/>
                    <a:pt x="50107" y="108350"/>
                  </a:cubicBezTo>
                  <a:cubicBezTo>
                    <a:pt x="53735" y="130408"/>
                    <a:pt x="65527" y="112473"/>
                    <a:pt x="63177" y="95980"/>
                  </a:cubicBezTo>
                  <a:cubicBezTo>
                    <a:pt x="60826" y="79488"/>
                    <a:pt x="65527" y="80890"/>
                    <a:pt x="80947" y="68562"/>
                  </a:cubicBezTo>
                  <a:cubicBezTo>
                    <a:pt x="92203" y="59532"/>
                    <a:pt x="86308" y="46050"/>
                    <a:pt x="78638" y="30341"/>
                  </a:cubicBezTo>
                  <a:cubicBezTo>
                    <a:pt x="66847" y="30053"/>
                    <a:pt x="54766" y="30630"/>
                    <a:pt x="45241" y="27909"/>
                  </a:cubicBezTo>
                  <a:cubicBezTo>
                    <a:pt x="27883" y="22920"/>
                    <a:pt x="12257" y="13231"/>
                    <a:pt x="11" y="-4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4" name="Freeform: Shape 223">
              <a:extLst>
                <a:ext uri="{FF2B5EF4-FFF2-40B4-BE49-F238E27FC236}">
                  <a16:creationId xmlns:a16="http://schemas.microsoft.com/office/drawing/2014/main" id="{00CBA990-3349-4B9D-179C-5C08DEFB8156}"/>
                </a:ext>
              </a:extLst>
            </p:cNvPr>
            <p:cNvSpPr/>
            <p:nvPr>
              <p:custDataLst>
                <p:tags r:id="rId222"/>
              </p:custDataLst>
            </p:nvPr>
          </p:nvSpPr>
          <p:spPr>
            <a:xfrm>
              <a:off x="10934349" y="5267770"/>
              <a:ext cx="27064" cy="25910"/>
            </a:xfrm>
            <a:custGeom>
              <a:avLst/>
              <a:gdLst>
                <a:gd name="connsiteX0" fmla="*/ 352 w 31602"/>
                <a:gd name="connsiteY0" fmla="*/ 25905 h 30255"/>
                <a:gd name="connsiteX1" fmla="*/ 29955 w 31602"/>
                <a:gd name="connsiteY1" fmla="*/ 3970 h 30255"/>
                <a:gd name="connsiteX2" fmla="*/ 352 w 31602"/>
                <a:gd name="connsiteY2" fmla="*/ 25905 h 30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01" h="30255">
                  <a:moveTo>
                    <a:pt x="352" y="25905"/>
                  </a:moveTo>
                  <a:cubicBezTo>
                    <a:pt x="5094" y="39635"/>
                    <a:pt x="39438" y="17659"/>
                    <a:pt x="29955" y="3970"/>
                  </a:cubicBezTo>
                  <a:cubicBezTo>
                    <a:pt x="20473" y="-9718"/>
                    <a:pt x="-3152" y="15515"/>
                    <a:pt x="352" y="25905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5" name="Freeform: Shape 224">
              <a:extLst>
                <a:ext uri="{FF2B5EF4-FFF2-40B4-BE49-F238E27FC236}">
                  <a16:creationId xmlns:a16="http://schemas.microsoft.com/office/drawing/2014/main" id="{B31F58F7-96D0-EA96-FB29-449EA749468F}"/>
                </a:ext>
              </a:extLst>
            </p:cNvPr>
            <p:cNvSpPr/>
            <p:nvPr>
              <p:custDataLst>
                <p:tags r:id="rId223"/>
              </p:custDataLst>
            </p:nvPr>
          </p:nvSpPr>
          <p:spPr>
            <a:xfrm>
              <a:off x="10796731" y="4919413"/>
              <a:ext cx="101974" cy="203527"/>
            </a:xfrm>
            <a:custGeom>
              <a:avLst/>
              <a:gdLst>
                <a:gd name="connsiteX0" fmla="*/ 99489 w 119072"/>
                <a:gd name="connsiteY0" fmla="*/ 233776 h 237655"/>
                <a:gd name="connsiteX1" fmla="*/ 119073 w 119072"/>
                <a:gd name="connsiteY1" fmla="*/ 237651 h 237655"/>
                <a:gd name="connsiteX2" fmla="*/ 109218 w 119072"/>
                <a:gd name="connsiteY2" fmla="*/ 203100 h 237655"/>
                <a:gd name="connsiteX3" fmla="*/ 88809 w 119072"/>
                <a:gd name="connsiteY3" fmla="*/ 209079 h 237655"/>
                <a:gd name="connsiteX4" fmla="*/ 68689 w 119072"/>
                <a:gd name="connsiteY4" fmla="*/ 166529 h 237655"/>
                <a:gd name="connsiteX5" fmla="*/ 95942 w 119072"/>
                <a:gd name="connsiteY5" fmla="*/ 100560 h 237655"/>
                <a:gd name="connsiteX6" fmla="*/ 93552 w 119072"/>
                <a:gd name="connsiteY6" fmla="*/ 25108 h 237655"/>
                <a:gd name="connsiteX7" fmla="*/ 86419 w 119072"/>
                <a:gd name="connsiteY7" fmla="*/ 8616 h 237655"/>
                <a:gd name="connsiteX8" fmla="*/ 28407 w 119072"/>
                <a:gd name="connsiteY8" fmla="*/ 3132 h 237655"/>
                <a:gd name="connsiteX9" fmla="*/ 20161 w 119072"/>
                <a:gd name="connsiteY9" fmla="*/ 111527 h 237655"/>
                <a:gd name="connsiteX10" fmla="*/ 1153 w 119072"/>
                <a:gd name="connsiteY10" fmla="*/ 106003 h 237655"/>
                <a:gd name="connsiteX11" fmla="*/ 11874 w 119072"/>
                <a:gd name="connsiteY11" fmla="*/ 169126 h 237655"/>
                <a:gd name="connsiteX12" fmla="*/ 22512 w 119072"/>
                <a:gd name="connsiteY12" fmla="*/ 204791 h 237655"/>
                <a:gd name="connsiteX13" fmla="*/ 62753 w 119072"/>
                <a:gd name="connsiteY13" fmla="*/ 219881 h 237655"/>
                <a:gd name="connsiteX14" fmla="*/ 99489 w 119072"/>
                <a:gd name="connsiteY14" fmla="*/ 233776 h 237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19069" h="237653">
                  <a:moveTo>
                    <a:pt x="99489" y="233776"/>
                  </a:moveTo>
                  <a:cubicBezTo>
                    <a:pt x="106250" y="232910"/>
                    <a:pt x="113136" y="234271"/>
                    <a:pt x="119073" y="237651"/>
                  </a:cubicBezTo>
                  <a:cubicBezTo>
                    <a:pt x="114991" y="226395"/>
                    <a:pt x="111693" y="214851"/>
                    <a:pt x="109218" y="203100"/>
                  </a:cubicBezTo>
                  <a:cubicBezTo>
                    <a:pt x="101962" y="203100"/>
                    <a:pt x="94911" y="205162"/>
                    <a:pt x="88809" y="209079"/>
                  </a:cubicBezTo>
                  <a:cubicBezTo>
                    <a:pt x="68689" y="222808"/>
                    <a:pt x="82873" y="184340"/>
                    <a:pt x="68689" y="166529"/>
                  </a:cubicBezTo>
                  <a:cubicBezTo>
                    <a:pt x="54506" y="148717"/>
                    <a:pt x="79326" y="122618"/>
                    <a:pt x="95942" y="100560"/>
                  </a:cubicBezTo>
                  <a:cubicBezTo>
                    <a:pt x="112558" y="78502"/>
                    <a:pt x="91201" y="41601"/>
                    <a:pt x="93552" y="25108"/>
                  </a:cubicBezTo>
                  <a:cubicBezTo>
                    <a:pt x="95901" y="8616"/>
                    <a:pt x="94746" y="3174"/>
                    <a:pt x="86419" y="8616"/>
                  </a:cubicBezTo>
                  <a:cubicBezTo>
                    <a:pt x="78090" y="14058"/>
                    <a:pt x="43786" y="-7876"/>
                    <a:pt x="28407" y="3132"/>
                  </a:cubicBezTo>
                  <a:cubicBezTo>
                    <a:pt x="13028" y="14141"/>
                    <a:pt x="27211" y="104642"/>
                    <a:pt x="20161" y="111527"/>
                  </a:cubicBezTo>
                  <a:cubicBezTo>
                    <a:pt x="13111" y="118413"/>
                    <a:pt x="3669" y="96849"/>
                    <a:pt x="1153" y="106003"/>
                  </a:cubicBezTo>
                  <a:cubicBezTo>
                    <a:pt x="-2351" y="118372"/>
                    <a:pt x="2391" y="169126"/>
                    <a:pt x="11874" y="169126"/>
                  </a:cubicBezTo>
                  <a:cubicBezTo>
                    <a:pt x="21357" y="169126"/>
                    <a:pt x="28366" y="182856"/>
                    <a:pt x="22512" y="204791"/>
                  </a:cubicBezTo>
                  <a:cubicBezTo>
                    <a:pt x="16656" y="226725"/>
                    <a:pt x="40281" y="229529"/>
                    <a:pt x="62753" y="219881"/>
                  </a:cubicBezTo>
                  <a:cubicBezTo>
                    <a:pt x="85223" y="210233"/>
                    <a:pt x="76977" y="237899"/>
                    <a:pt x="99489" y="233776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6" name="Freeform: Shape 225">
              <a:extLst>
                <a:ext uri="{FF2B5EF4-FFF2-40B4-BE49-F238E27FC236}">
                  <a16:creationId xmlns:a16="http://schemas.microsoft.com/office/drawing/2014/main" id="{86D1E3D0-E589-DA1E-8C8C-FD83F191E060}"/>
                </a:ext>
              </a:extLst>
            </p:cNvPr>
            <p:cNvSpPr/>
            <p:nvPr>
              <p:custDataLst>
                <p:tags r:id="rId224"/>
              </p:custDataLst>
            </p:nvPr>
          </p:nvSpPr>
          <p:spPr>
            <a:xfrm>
              <a:off x="10866261" y="5275175"/>
              <a:ext cx="163451" cy="174628"/>
            </a:xfrm>
            <a:custGeom>
              <a:avLst/>
              <a:gdLst>
                <a:gd name="connsiteX0" fmla="*/ 148588 w 190859"/>
                <a:gd name="connsiteY0" fmla="*/ 18615 h 203909"/>
                <a:gd name="connsiteX1" fmla="*/ 126077 w 190859"/>
                <a:gd name="connsiteY1" fmla="*/ 43354 h 203909"/>
                <a:gd name="connsiteX2" fmla="*/ 102369 w 190859"/>
                <a:gd name="connsiteY2" fmla="*/ 63969 h 203909"/>
                <a:gd name="connsiteX3" fmla="*/ 66829 w 190859"/>
                <a:gd name="connsiteY3" fmla="*/ 54404 h 203909"/>
                <a:gd name="connsiteX4" fmla="*/ 20651 w 190859"/>
                <a:gd name="connsiteY4" fmla="*/ 85945 h 203909"/>
                <a:gd name="connsiteX5" fmla="*/ 5231 w 190859"/>
                <a:gd name="connsiteY5" fmla="*/ 133937 h 203909"/>
                <a:gd name="connsiteX6" fmla="*/ 40771 w 190859"/>
                <a:gd name="connsiteY6" fmla="*/ 112002 h 203909"/>
                <a:gd name="connsiteX7" fmla="*/ 70374 w 190859"/>
                <a:gd name="connsiteY7" fmla="*/ 99633 h 203909"/>
                <a:gd name="connsiteX8" fmla="*/ 103606 w 190859"/>
                <a:gd name="connsiteY8" fmla="*/ 179167 h 203909"/>
                <a:gd name="connsiteX9" fmla="*/ 144837 w 190859"/>
                <a:gd name="connsiteY9" fmla="*/ 203905 h 203909"/>
                <a:gd name="connsiteX10" fmla="*/ 143682 w 190859"/>
                <a:gd name="connsiteY10" fmla="*/ 144945 h 203909"/>
                <a:gd name="connsiteX11" fmla="*/ 186315 w 190859"/>
                <a:gd name="connsiteY11" fmla="*/ 124330 h 203909"/>
                <a:gd name="connsiteX12" fmla="*/ 176831 w 190859"/>
                <a:gd name="connsiteY12" fmla="*/ 21502 h 203909"/>
                <a:gd name="connsiteX13" fmla="*/ 148588 w 190859"/>
                <a:gd name="connsiteY13" fmla="*/ 18615 h 203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0859" h="203909">
                  <a:moveTo>
                    <a:pt x="148588" y="18615"/>
                  </a:moveTo>
                  <a:cubicBezTo>
                    <a:pt x="159226" y="39231"/>
                    <a:pt x="128468" y="22738"/>
                    <a:pt x="126077" y="43354"/>
                  </a:cubicBezTo>
                  <a:cubicBezTo>
                    <a:pt x="123686" y="63969"/>
                    <a:pt x="101338" y="47477"/>
                    <a:pt x="102369" y="63969"/>
                  </a:cubicBezTo>
                  <a:cubicBezTo>
                    <a:pt x="103400" y="80461"/>
                    <a:pt x="78703" y="63969"/>
                    <a:pt x="66829" y="54404"/>
                  </a:cubicBezTo>
                  <a:cubicBezTo>
                    <a:pt x="54954" y="44838"/>
                    <a:pt x="38420" y="80461"/>
                    <a:pt x="20651" y="85945"/>
                  </a:cubicBezTo>
                  <a:cubicBezTo>
                    <a:pt x="2880" y="91428"/>
                    <a:pt x="-6562" y="135133"/>
                    <a:pt x="5231" y="133937"/>
                  </a:cubicBezTo>
                  <a:cubicBezTo>
                    <a:pt x="19455" y="132618"/>
                    <a:pt x="26547" y="110601"/>
                    <a:pt x="40771" y="112002"/>
                  </a:cubicBezTo>
                  <a:cubicBezTo>
                    <a:pt x="54995" y="113404"/>
                    <a:pt x="50254" y="95510"/>
                    <a:pt x="70374" y="99633"/>
                  </a:cubicBezTo>
                  <a:cubicBezTo>
                    <a:pt x="90495" y="103756"/>
                    <a:pt x="76312" y="173848"/>
                    <a:pt x="103606" y="179167"/>
                  </a:cubicBezTo>
                  <a:cubicBezTo>
                    <a:pt x="130901" y="184485"/>
                    <a:pt x="132014" y="203905"/>
                    <a:pt x="144837" y="203905"/>
                  </a:cubicBezTo>
                  <a:cubicBezTo>
                    <a:pt x="157660" y="203905"/>
                    <a:pt x="142527" y="160036"/>
                    <a:pt x="143682" y="144945"/>
                  </a:cubicBezTo>
                  <a:cubicBezTo>
                    <a:pt x="144837" y="129855"/>
                    <a:pt x="172090" y="143585"/>
                    <a:pt x="186315" y="124330"/>
                  </a:cubicBezTo>
                  <a:cubicBezTo>
                    <a:pt x="200539" y="105075"/>
                    <a:pt x="176831" y="54238"/>
                    <a:pt x="176831" y="21502"/>
                  </a:cubicBezTo>
                  <a:cubicBezTo>
                    <a:pt x="176831" y="-11236"/>
                    <a:pt x="137910" y="-1959"/>
                    <a:pt x="148588" y="18615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7" name="Freeform: Shape 226">
              <a:extLst>
                <a:ext uri="{FF2B5EF4-FFF2-40B4-BE49-F238E27FC236}">
                  <a16:creationId xmlns:a16="http://schemas.microsoft.com/office/drawing/2014/main" id="{6185D306-FCBF-82C0-BEF0-6DBFD804D20E}"/>
                </a:ext>
              </a:extLst>
            </p:cNvPr>
            <p:cNvSpPr/>
            <p:nvPr>
              <p:custDataLst>
                <p:tags r:id="rId225"/>
              </p:custDataLst>
            </p:nvPr>
          </p:nvSpPr>
          <p:spPr>
            <a:xfrm>
              <a:off x="10862479" y="5189791"/>
              <a:ext cx="74746" cy="118050"/>
            </a:xfrm>
            <a:custGeom>
              <a:avLst/>
              <a:gdLst>
                <a:gd name="connsiteX0" fmla="*/ 13316 w 87278"/>
                <a:gd name="connsiteY0" fmla="*/ 63482 h 137845"/>
                <a:gd name="connsiteX1" fmla="*/ 34631 w 87278"/>
                <a:gd name="connsiteY1" fmla="*/ 49752 h 137845"/>
                <a:gd name="connsiteX2" fmla="*/ 38219 w 87278"/>
                <a:gd name="connsiteY2" fmla="*/ 86860 h 137845"/>
                <a:gd name="connsiteX3" fmla="*/ 44156 w 87278"/>
                <a:gd name="connsiteY3" fmla="*/ 137656 h 137845"/>
                <a:gd name="connsiteX4" fmla="*/ 86789 w 87278"/>
                <a:gd name="connsiteY4" fmla="*/ 63441 h 137845"/>
                <a:gd name="connsiteX5" fmla="*/ 71368 w 87278"/>
                <a:gd name="connsiteY5" fmla="*/ 55195 h 137845"/>
                <a:gd name="connsiteX6" fmla="*/ 10965 w 87278"/>
                <a:gd name="connsiteY6" fmla="*/ 276 h 137845"/>
                <a:gd name="connsiteX7" fmla="*/ 13316 w 87278"/>
                <a:gd name="connsiteY7" fmla="*/ 63482 h 137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278" h="137845">
                  <a:moveTo>
                    <a:pt x="13316" y="63482"/>
                  </a:moveTo>
                  <a:cubicBezTo>
                    <a:pt x="19294" y="62080"/>
                    <a:pt x="33518" y="63482"/>
                    <a:pt x="34631" y="49752"/>
                  </a:cubicBezTo>
                  <a:cubicBezTo>
                    <a:pt x="35745" y="36023"/>
                    <a:pt x="48897" y="74490"/>
                    <a:pt x="38219" y="86860"/>
                  </a:cubicBezTo>
                  <a:cubicBezTo>
                    <a:pt x="27540" y="99229"/>
                    <a:pt x="27540" y="133533"/>
                    <a:pt x="44156" y="137656"/>
                  </a:cubicBezTo>
                  <a:cubicBezTo>
                    <a:pt x="60772" y="141779"/>
                    <a:pt x="91530" y="75810"/>
                    <a:pt x="86789" y="63441"/>
                  </a:cubicBezTo>
                  <a:cubicBezTo>
                    <a:pt x="82046" y="51072"/>
                    <a:pt x="67822" y="71687"/>
                    <a:pt x="71368" y="55195"/>
                  </a:cubicBezTo>
                  <a:cubicBezTo>
                    <a:pt x="74914" y="38703"/>
                    <a:pt x="28736" y="-3847"/>
                    <a:pt x="10965" y="276"/>
                  </a:cubicBezTo>
                  <a:cubicBezTo>
                    <a:pt x="-6804" y="4399"/>
                    <a:pt x="-744" y="66698"/>
                    <a:pt x="13316" y="63482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8" name="Freeform: Shape 227">
              <a:extLst>
                <a:ext uri="{FF2B5EF4-FFF2-40B4-BE49-F238E27FC236}">
                  <a16:creationId xmlns:a16="http://schemas.microsoft.com/office/drawing/2014/main" id="{3E91B62B-D706-3793-0336-E7D7A3E15121}"/>
                </a:ext>
              </a:extLst>
            </p:cNvPr>
            <p:cNvSpPr/>
            <p:nvPr>
              <p:custDataLst>
                <p:tags r:id="rId226"/>
              </p:custDataLst>
            </p:nvPr>
          </p:nvSpPr>
          <p:spPr>
            <a:xfrm>
              <a:off x="11526017" y="5779384"/>
              <a:ext cx="425278" cy="320165"/>
            </a:xfrm>
            <a:custGeom>
              <a:avLst/>
              <a:gdLst>
                <a:gd name="connsiteX0" fmla="*/ 364890 w 496589"/>
                <a:gd name="connsiteY0" fmla="*/ 344930 h 373850"/>
                <a:gd name="connsiteX1" fmla="*/ 336441 w 496589"/>
                <a:gd name="connsiteY1" fmla="*/ 313347 h 373850"/>
                <a:gd name="connsiteX2" fmla="*/ 296201 w 496589"/>
                <a:gd name="connsiteY2" fmla="*/ 291413 h 373850"/>
                <a:gd name="connsiteX3" fmla="*/ 267751 w 496589"/>
                <a:gd name="connsiteY3" fmla="*/ 229567 h 373850"/>
                <a:gd name="connsiteX4" fmla="*/ 258269 w 496589"/>
                <a:gd name="connsiteY4" fmla="*/ 191140 h 373850"/>
                <a:gd name="connsiteX5" fmla="*/ 266515 w 496589"/>
                <a:gd name="connsiteY5" fmla="*/ 160960 h 373850"/>
                <a:gd name="connsiteX6" fmla="*/ 187105 w 496589"/>
                <a:gd name="connsiteY6" fmla="*/ 110205 h 373850"/>
                <a:gd name="connsiteX7" fmla="*/ 29605 w 496589"/>
                <a:gd name="connsiteY7" fmla="*/ 10015 h 373850"/>
                <a:gd name="connsiteX8" fmla="*/ 1 w 496589"/>
                <a:gd name="connsiteY8" fmla="*/ -4 h 373850"/>
                <a:gd name="connsiteX9" fmla="*/ 1 w 496589"/>
                <a:gd name="connsiteY9" fmla="*/ 292732 h 373850"/>
                <a:gd name="connsiteX10" fmla="*/ 42592 w 496589"/>
                <a:gd name="connsiteY10" fmla="*/ 309224 h 373850"/>
                <a:gd name="connsiteX11" fmla="*/ 91161 w 496589"/>
                <a:gd name="connsiteY11" fmla="*/ 277642 h 373850"/>
                <a:gd name="connsiteX12" fmla="*/ 114869 w 496589"/>
                <a:gd name="connsiteY12" fmla="*/ 243379 h 373850"/>
                <a:gd name="connsiteX13" fmla="*/ 198979 w 496589"/>
                <a:gd name="connsiteY13" fmla="*/ 265272 h 373850"/>
                <a:gd name="connsiteX14" fmla="*/ 286635 w 496589"/>
                <a:gd name="connsiteY14" fmla="*/ 355979 h 373850"/>
                <a:gd name="connsiteX15" fmla="*/ 370746 w 496589"/>
                <a:gd name="connsiteY15" fmla="*/ 373791 h 373850"/>
                <a:gd name="connsiteX16" fmla="*/ 364890 w 496589"/>
                <a:gd name="connsiteY16" fmla="*/ 344930 h 373850"/>
                <a:gd name="connsiteX17" fmla="*/ 432385 w 496589"/>
                <a:gd name="connsiteY17" fmla="*/ 100722 h 373850"/>
                <a:gd name="connsiteX18" fmla="*/ 383815 w 496589"/>
                <a:gd name="connsiteY18" fmla="*/ 133706 h 373850"/>
                <a:gd name="connsiteX19" fmla="*/ 298551 w 496589"/>
                <a:gd name="connsiteY19" fmla="*/ 137829 h 373850"/>
                <a:gd name="connsiteX20" fmla="*/ 363694 w 496589"/>
                <a:gd name="connsiteY20" fmla="*/ 172174 h 373850"/>
                <a:gd name="connsiteX21" fmla="*/ 446609 w 496589"/>
                <a:gd name="connsiteY21" fmla="*/ 124141 h 373850"/>
                <a:gd name="connsiteX22" fmla="*/ 458483 w 496589"/>
                <a:gd name="connsiteY22" fmla="*/ 82910 h 373850"/>
                <a:gd name="connsiteX23" fmla="*/ 432385 w 496589"/>
                <a:gd name="connsiteY23" fmla="*/ 100722 h 373850"/>
                <a:gd name="connsiteX24" fmla="*/ 472667 w 496589"/>
                <a:gd name="connsiteY24" fmla="*/ 48607 h 373850"/>
                <a:gd name="connsiteX25" fmla="*/ 460792 w 496589"/>
                <a:gd name="connsiteY25" fmla="*/ 51328 h 373850"/>
                <a:gd name="connsiteX26" fmla="*/ 485530 w 496589"/>
                <a:gd name="connsiteY26" fmla="*/ 95238 h 373850"/>
                <a:gd name="connsiteX27" fmla="*/ 472667 w 496589"/>
                <a:gd name="connsiteY27" fmla="*/ 48607 h 37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496589" h="373850">
                  <a:moveTo>
                    <a:pt x="364890" y="344930"/>
                  </a:moveTo>
                  <a:cubicBezTo>
                    <a:pt x="356644" y="340807"/>
                    <a:pt x="335287" y="324315"/>
                    <a:pt x="336441" y="313347"/>
                  </a:cubicBezTo>
                  <a:cubicBezTo>
                    <a:pt x="337596" y="302380"/>
                    <a:pt x="312775" y="303782"/>
                    <a:pt x="296201" y="291413"/>
                  </a:cubicBezTo>
                  <a:cubicBezTo>
                    <a:pt x="279626" y="279044"/>
                    <a:pt x="285521" y="239298"/>
                    <a:pt x="267751" y="229567"/>
                  </a:cubicBezTo>
                  <a:cubicBezTo>
                    <a:pt x="249981" y="219836"/>
                    <a:pt x="236952" y="189780"/>
                    <a:pt x="258269" y="191140"/>
                  </a:cubicBezTo>
                  <a:cubicBezTo>
                    <a:pt x="279585" y="192501"/>
                    <a:pt x="283007" y="178771"/>
                    <a:pt x="266515" y="160960"/>
                  </a:cubicBezTo>
                  <a:cubicBezTo>
                    <a:pt x="250023" y="143148"/>
                    <a:pt x="189496" y="136221"/>
                    <a:pt x="187105" y="110205"/>
                  </a:cubicBezTo>
                  <a:cubicBezTo>
                    <a:pt x="184713" y="84189"/>
                    <a:pt x="76978" y="22384"/>
                    <a:pt x="29605" y="10015"/>
                  </a:cubicBezTo>
                  <a:cubicBezTo>
                    <a:pt x="19544" y="7252"/>
                    <a:pt x="9690" y="3912"/>
                    <a:pt x="1" y="-4"/>
                  </a:cubicBezTo>
                  <a:lnTo>
                    <a:pt x="1" y="292732"/>
                  </a:lnTo>
                  <a:cubicBezTo>
                    <a:pt x="12082" y="302586"/>
                    <a:pt x="27007" y="308359"/>
                    <a:pt x="42592" y="309224"/>
                  </a:cubicBezTo>
                  <a:cubicBezTo>
                    <a:pt x="94707" y="311946"/>
                    <a:pt x="81720" y="277642"/>
                    <a:pt x="91161" y="277642"/>
                  </a:cubicBezTo>
                  <a:cubicBezTo>
                    <a:pt x="100603" y="277642"/>
                    <a:pt x="104231" y="258469"/>
                    <a:pt x="114869" y="243379"/>
                  </a:cubicBezTo>
                  <a:cubicBezTo>
                    <a:pt x="125506" y="228289"/>
                    <a:pt x="171726" y="240617"/>
                    <a:pt x="198979" y="265272"/>
                  </a:cubicBezTo>
                  <a:cubicBezTo>
                    <a:pt x="226233" y="289928"/>
                    <a:pt x="258186" y="362741"/>
                    <a:pt x="286635" y="355979"/>
                  </a:cubicBezTo>
                  <a:cubicBezTo>
                    <a:pt x="315084" y="349218"/>
                    <a:pt x="344688" y="375193"/>
                    <a:pt x="370746" y="373791"/>
                  </a:cubicBezTo>
                  <a:cubicBezTo>
                    <a:pt x="396802" y="372389"/>
                    <a:pt x="373177" y="349053"/>
                    <a:pt x="364890" y="344930"/>
                  </a:cubicBezTo>
                  <a:close/>
                  <a:moveTo>
                    <a:pt x="432385" y="100722"/>
                  </a:moveTo>
                  <a:cubicBezTo>
                    <a:pt x="432385" y="113091"/>
                    <a:pt x="413460" y="119935"/>
                    <a:pt x="383815" y="133706"/>
                  </a:cubicBezTo>
                  <a:cubicBezTo>
                    <a:pt x="354171" y="147477"/>
                    <a:pt x="300447" y="117997"/>
                    <a:pt x="298551" y="137829"/>
                  </a:cubicBezTo>
                  <a:cubicBezTo>
                    <a:pt x="297396" y="150199"/>
                    <a:pt x="331741" y="172174"/>
                    <a:pt x="363694" y="172174"/>
                  </a:cubicBezTo>
                  <a:cubicBezTo>
                    <a:pt x="395648" y="172174"/>
                    <a:pt x="446609" y="135067"/>
                    <a:pt x="446609" y="124141"/>
                  </a:cubicBezTo>
                  <a:cubicBezTo>
                    <a:pt x="446609" y="113214"/>
                    <a:pt x="466770" y="93960"/>
                    <a:pt x="458483" y="82910"/>
                  </a:cubicBezTo>
                  <a:cubicBezTo>
                    <a:pt x="450196" y="71861"/>
                    <a:pt x="432385" y="88394"/>
                    <a:pt x="432385" y="100722"/>
                  </a:cubicBezTo>
                  <a:close/>
                  <a:moveTo>
                    <a:pt x="472667" y="48607"/>
                  </a:moveTo>
                  <a:cubicBezTo>
                    <a:pt x="453742" y="34835"/>
                    <a:pt x="437126" y="25270"/>
                    <a:pt x="460792" y="51328"/>
                  </a:cubicBezTo>
                  <a:cubicBezTo>
                    <a:pt x="484458" y="77385"/>
                    <a:pt x="471760" y="99526"/>
                    <a:pt x="485530" y="95238"/>
                  </a:cubicBezTo>
                  <a:cubicBezTo>
                    <a:pt x="508414" y="88394"/>
                    <a:pt x="491632" y="62336"/>
                    <a:pt x="472667" y="4860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9" name="Freeform: Shape 228">
              <a:extLst>
                <a:ext uri="{FF2B5EF4-FFF2-40B4-BE49-F238E27FC236}">
                  <a16:creationId xmlns:a16="http://schemas.microsoft.com/office/drawing/2014/main" id="{D4895ACF-0BBE-EAE2-AE81-7115E2D51D9A}"/>
                </a:ext>
              </a:extLst>
            </p:cNvPr>
            <p:cNvSpPr/>
            <p:nvPr>
              <p:custDataLst>
                <p:tags r:id="rId227"/>
              </p:custDataLst>
            </p:nvPr>
          </p:nvSpPr>
          <p:spPr>
            <a:xfrm>
              <a:off x="9454964" y="5279388"/>
              <a:ext cx="71725" cy="148064"/>
            </a:xfrm>
            <a:custGeom>
              <a:avLst/>
              <a:gdLst>
                <a:gd name="connsiteX0" fmla="*/ 3832 w 83752"/>
                <a:gd name="connsiteY0" fmla="*/ 131864 h 172891"/>
                <a:gd name="connsiteX1" fmla="*/ 12614 w 83752"/>
                <a:gd name="connsiteY1" fmla="*/ 136358 h 172891"/>
                <a:gd name="connsiteX2" fmla="*/ 48731 w 83752"/>
                <a:gd name="connsiteY2" fmla="*/ 172888 h 172891"/>
                <a:gd name="connsiteX3" fmla="*/ 83736 w 83752"/>
                <a:gd name="connsiteY3" fmla="*/ 108362 h 172891"/>
                <a:gd name="connsiteX4" fmla="*/ 18592 w 83752"/>
                <a:gd name="connsiteY4" fmla="*/ 9 h 172891"/>
                <a:gd name="connsiteX5" fmla="*/ 4326 w 83752"/>
                <a:gd name="connsiteY5" fmla="*/ 43878 h 172891"/>
                <a:gd name="connsiteX6" fmla="*/ 1976 w 83752"/>
                <a:gd name="connsiteY6" fmla="*/ 105724 h 172891"/>
                <a:gd name="connsiteX7" fmla="*/ 3832 w 83752"/>
                <a:gd name="connsiteY7" fmla="*/ 131864 h 172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3752" h="172891">
                  <a:moveTo>
                    <a:pt x="3832" y="131864"/>
                  </a:moveTo>
                  <a:cubicBezTo>
                    <a:pt x="6965" y="132936"/>
                    <a:pt x="9934" y="134420"/>
                    <a:pt x="12614" y="136358"/>
                  </a:cubicBezTo>
                  <a:cubicBezTo>
                    <a:pt x="26467" y="146624"/>
                    <a:pt x="38630" y="158952"/>
                    <a:pt x="48731" y="172888"/>
                  </a:cubicBezTo>
                  <a:cubicBezTo>
                    <a:pt x="66461" y="161673"/>
                    <a:pt x="82953" y="133678"/>
                    <a:pt x="83736" y="108362"/>
                  </a:cubicBezTo>
                  <a:cubicBezTo>
                    <a:pt x="84891" y="69977"/>
                    <a:pt x="27539" y="-1105"/>
                    <a:pt x="18592" y="9"/>
                  </a:cubicBezTo>
                  <a:cubicBezTo>
                    <a:pt x="7914" y="1410"/>
                    <a:pt x="10346" y="26066"/>
                    <a:pt x="4326" y="43878"/>
                  </a:cubicBezTo>
                  <a:cubicBezTo>
                    <a:pt x="-1693" y="61689"/>
                    <a:pt x="-374" y="79542"/>
                    <a:pt x="1976" y="105724"/>
                  </a:cubicBezTo>
                  <a:cubicBezTo>
                    <a:pt x="2801" y="114382"/>
                    <a:pt x="3048" y="123288"/>
                    <a:pt x="3832" y="13186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30" name="Freeform: Shape 229">
              <a:extLst>
                <a:ext uri="{FF2B5EF4-FFF2-40B4-BE49-F238E27FC236}">
                  <a16:creationId xmlns:a16="http://schemas.microsoft.com/office/drawing/2014/main" id="{6B63805A-D584-3072-1673-A3957BD3BF78}"/>
                </a:ext>
              </a:extLst>
            </p:cNvPr>
            <p:cNvSpPr/>
            <p:nvPr>
              <p:custDataLst>
                <p:tags r:id="rId228"/>
              </p:custDataLst>
            </p:nvPr>
          </p:nvSpPr>
          <p:spPr>
            <a:xfrm>
              <a:off x="11364532" y="7165845"/>
              <a:ext cx="42097" cy="16976"/>
            </a:xfrm>
            <a:custGeom>
              <a:avLst/>
              <a:gdLst>
                <a:gd name="connsiteX0" fmla="*/ 882 w 49156"/>
                <a:gd name="connsiteY0" fmla="*/ 13780 h 19823"/>
                <a:gd name="connsiteX1" fmla="*/ 48834 w 49156"/>
                <a:gd name="connsiteY1" fmla="*/ 6565 h 19823"/>
                <a:gd name="connsiteX2" fmla="*/ 882 w 49156"/>
                <a:gd name="connsiteY2" fmla="*/ 13780 h 19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9156" h="19823">
                  <a:moveTo>
                    <a:pt x="882" y="13780"/>
                  </a:moveTo>
                  <a:cubicBezTo>
                    <a:pt x="10654" y="24046"/>
                    <a:pt x="43515" y="20954"/>
                    <a:pt x="48834" y="6565"/>
                  </a:cubicBezTo>
                  <a:cubicBezTo>
                    <a:pt x="54153" y="-7825"/>
                    <a:pt x="-8065" y="4586"/>
                    <a:pt x="882" y="1378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31" name="Freeform: Shape 230">
              <a:extLst>
                <a:ext uri="{FF2B5EF4-FFF2-40B4-BE49-F238E27FC236}">
                  <a16:creationId xmlns:a16="http://schemas.microsoft.com/office/drawing/2014/main" id="{F2BA700A-2DF3-7B84-FF43-16E5F42A0F86}"/>
                </a:ext>
              </a:extLst>
            </p:cNvPr>
            <p:cNvSpPr/>
            <p:nvPr>
              <p:custDataLst>
                <p:tags r:id="rId229"/>
              </p:custDataLst>
            </p:nvPr>
          </p:nvSpPr>
          <p:spPr>
            <a:xfrm>
              <a:off x="12631491" y="7128285"/>
              <a:ext cx="188416" cy="315774"/>
            </a:xfrm>
            <a:custGeom>
              <a:avLst/>
              <a:gdLst>
                <a:gd name="connsiteX0" fmla="*/ 90258 w 220009"/>
                <a:gd name="connsiteY0" fmla="*/ 351733 h 368723"/>
                <a:gd name="connsiteX1" fmla="*/ 194654 w 220009"/>
                <a:gd name="connsiteY1" fmla="*/ 169577 h 368723"/>
                <a:gd name="connsiteX2" fmla="*/ 220010 w 220009"/>
                <a:gd name="connsiteY2" fmla="*/ 154898 h 368723"/>
                <a:gd name="connsiteX3" fmla="*/ 184511 w 220009"/>
                <a:gd name="connsiteY3" fmla="*/ 168793 h 368723"/>
                <a:gd name="connsiteX4" fmla="*/ 145425 w 220009"/>
                <a:gd name="connsiteY4" fmla="*/ 164670 h 368723"/>
                <a:gd name="connsiteX5" fmla="*/ 121429 w 220009"/>
                <a:gd name="connsiteY5" fmla="*/ 136881 h 368723"/>
                <a:gd name="connsiteX6" fmla="*/ 103658 w 220009"/>
                <a:gd name="connsiteY6" fmla="*/ 99773 h 368723"/>
                <a:gd name="connsiteX7" fmla="*/ 102792 w 220009"/>
                <a:gd name="connsiteY7" fmla="*/ 125501 h 368723"/>
                <a:gd name="connsiteX8" fmla="*/ 86795 w 220009"/>
                <a:gd name="connsiteY8" fmla="*/ 116224 h 368723"/>
                <a:gd name="connsiteX9" fmla="*/ 71663 w 220009"/>
                <a:gd name="connsiteY9" fmla="*/ 84353 h 368723"/>
                <a:gd name="connsiteX10" fmla="*/ 56573 w 220009"/>
                <a:gd name="connsiteY10" fmla="*/ 42174 h 368723"/>
                <a:gd name="connsiteX11" fmla="*/ 6849 w 220009"/>
                <a:gd name="connsiteY11" fmla="*/ -4 h 368723"/>
                <a:gd name="connsiteX12" fmla="*/ 19218 w 220009"/>
                <a:gd name="connsiteY12" fmla="*/ 49472 h 368723"/>
                <a:gd name="connsiteX13" fmla="*/ 46761 w 220009"/>
                <a:gd name="connsiteY13" fmla="*/ 82457 h 368723"/>
                <a:gd name="connsiteX14" fmla="*/ 70756 w 220009"/>
                <a:gd name="connsiteY14" fmla="*/ 119564 h 368723"/>
                <a:gd name="connsiteX15" fmla="*/ 64530 w 220009"/>
                <a:gd name="connsiteY15" fmla="*/ 188501 h 368723"/>
                <a:gd name="connsiteX16" fmla="*/ 31546 w 220009"/>
                <a:gd name="connsiteY16" fmla="*/ 230721 h 368723"/>
                <a:gd name="connsiteX17" fmla="*/ 84858 w 220009"/>
                <a:gd name="connsiteY17" fmla="*/ 286259 h 368723"/>
                <a:gd name="connsiteX18" fmla="*/ 73313 w 220009"/>
                <a:gd name="connsiteY18" fmla="*/ 360473 h 368723"/>
                <a:gd name="connsiteX19" fmla="*/ 89805 w 220009"/>
                <a:gd name="connsiteY19" fmla="*/ 368720 h 368723"/>
                <a:gd name="connsiteX20" fmla="*/ 90258 w 220009"/>
                <a:gd name="connsiteY20" fmla="*/ 351733 h 368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20004" h="368723">
                  <a:moveTo>
                    <a:pt x="90258" y="351733"/>
                  </a:moveTo>
                  <a:cubicBezTo>
                    <a:pt x="100607" y="281641"/>
                    <a:pt x="151610" y="221651"/>
                    <a:pt x="194654" y="169577"/>
                  </a:cubicBezTo>
                  <a:cubicBezTo>
                    <a:pt x="200797" y="161454"/>
                    <a:pt x="209909" y="156177"/>
                    <a:pt x="220010" y="154898"/>
                  </a:cubicBezTo>
                  <a:cubicBezTo>
                    <a:pt x="210816" y="150775"/>
                    <a:pt x="190159" y="157867"/>
                    <a:pt x="184511" y="168793"/>
                  </a:cubicBezTo>
                  <a:cubicBezTo>
                    <a:pt x="176513" y="184213"/>
                    <a:pt x="160515" y="164670"/>
                    <a:pt x="145425" y="164670"/>
                  </a:cubicBezTo>
                  <a:cubicBezTo>
                    <a:pt x="130334" y="164670"/>
                    <a:pt x="121429" y="152301"/>
                    <a:pt x="121429" y="136881"/>
                  </a:cubicBezTo>
                  <a:cubicBezTo>
                    <a:pt x="121429" y="121461"/>
                    <a:pt x="117883" y="98825"/>
                    <a:pt x="103658" y="99773"/>
                  </a:cubicBezTo>
                  <a:cubicBezTo>
                    <a:pt x="89434" y="100722"/>
                    <a:pt x="108111" y="117296"/>
                    <a:pt x="102792" y="125501"/>
                  </a:cubicBezTo>
                  <a:cubicBezTo>
                    <a:pt x="97473" y="133706"/>
                    <a:pt x="93887" y="116224"/>
                    <a:pt x="86795" y="116224"/>
                  </a:cubicBezTo>
                  <a:cubicBezTo>
                    <a:pt x="79704" y="116224"/>
                    <a:pt x="71663" y="104927"/>
                    <a:pt x="71663" y="84353"/>
                  </a:cubicBezTo>
                  <a:cubicBezTo>
                    <a:pt x="71663" y="63779"/>
                    <a:pt x="56573" y="65841"/>
                    <a:pt x="56573" y="42174"/>
                  </a:cubicBezTo>
                  <a:cubicBezTo>
                    <a:pt x="56573" y="18508"/>
                    <a:pt x="24578" y="-4"/>
                    <a:pt x="6849" y="-4"/>
                  </a:cubicBezTo>
                  <a:cubicBezTo>
                    <a:pt x="-10880" y="-4"/>
                    <a:pt x="10395" y="37103"/>
                    <a:pt x="19218" y="49472"/>
                  </a:cubicBezTo>
                  <a:cubicBezTo>
                    <a:pt x="28042" y="61841"/>
                    <a:pt x="47668" y="73097"/>
                    <a:pt x="46761" y="82457"/>
                  </a:cubicBezTo>
                  <a:cubicBezTo>
                    <a:pt x="45853" y="91816"/>
                    <a:pt x="60119" y="115441"/>
                    <a:pt x="70756" y="119564"/>
                  </a:cubicBezTo>
                  <a:cubicBezTo>
                    <a:pt x="81394" y="123687"/>
                    <a:pt x="64530" y="159723"/>
                    <a:pt x="64530" y="188501"/>
                  </a:cubicBezTo>
                  <a:cubicBezTo>
                    <a:pt x="64530" y="217280"/>
                    <a:pt x="44987" y="212209"/>
                    <a:pt x="31546" y="230721"/>
                  </a:cubicBezTo>
                  <a:cubicBezTo>
                    <a:pt x="18105" y="249234"/>
                    <a:pt x="65314" y="267829"/>
                    <a:pt x="84858" y="286259"/>
                  </a:cubicBezTo>
                  <a:cubicBezTo>
                    <a:pt x="104401" y="304689"/>
                    <a:pt x="68118" y="350331"/>
                    <a:pt x="73313" y="360473"/>
                  </a:cubicBezTo>
                  <a:cubicBezTo>
                    <a:pt x="74962" y="363648"/>
                    <a:pt x="80735" y="367647"/>
                    <a:pt x="89805" y="368720"/>
                  </a:cubicBezTo>
                  <a:cubicBezTo>
                    <a:pt x="89186" y="363071"/>
                    <a:pt x="89351" y="357340"/>
                    <a:pt x="90258" y="351733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32" name="Freeform: Shape 231">
              <a:extLst>
                <a:ext uri="{FF2B5EF4-FFF2-40B4-BE49-F238E27FC236}">
                  <a16:creationId xmlns:a16="http://schemas.microsoft.com/office/drawing/2014/main" id="{88A7CB2A-F1C6-2F21-99A8-0865B8BDFBE9}"/>
                </a:ext>
              </a:extLst>
            </p:cNvPr>
            <p:cNvSpPr/>
            <p:nvPr>
              <p:custDataLst>
                <p:tags r:id="rId230"/>
              </p:custDataLst>
            </p:nvPr>
          </p:nvSpPr>
          <p:spPr>
            <a:xfrm>
              <a:off x="12408468" y="7405536"/>
              <a:ext cx="262507" cy="277536"/>
            </a:xfrm>
            <a:custGeom>
              <a:avLst/>
              <a:gdLst>
                <a:gd name="connsiteX0" fmla="*/ 305446 w 306524"/>
                <a:gd name="connsiteY0" fmla="*/ 48732 h 324073"/>
                <a:gd name="connsiteX1" fmla="*/ 300128 w 306524"/>
                <a:gd name="connsiteY1" fmla="*/ 10676 h 324073"/>
                <a:gd name="connsiteX2" fmla="*/ 268133 w 306524"/>
                <a:gd name="connsiteY2" fmla="*/ 21973 h 324073"/>
                <a:gd name="connsiteX3" fmla="*/ 229046 w 306524"/>
                <a:gd name="connsiteY3" fmla="*/ 3502 h 324073"/>
                <a:gd name="connsiteX4" fmla="*/ 208637 w 306524"/>
                <a:gd name="connsiteY4" fmla="*/ 43619 h 324073"/>
                <a:gd name="connsiteX5" fmla="*/ 175653 w 306524"/>
                <a:gd name="connsiteY5" fmla="*/ 108434 h 324073"/>
                <a:gd name="connsiteX6" fmla="*/ 65527 w 306524"/>
                <a:gd name="connsiteY6" fmla="*/ 192792 h 324073"/>
                <a:gd name="connsiteX7" fmla="*/ 14854 w 306524"/>
                <a:gd name="connsiteY7" fmla="*/ 248370 h 324073"/>
                <a:gd name="connsiteX8" fmla="*/ 4216 w 306524"/>
                <a:gd name="connsiteY8" fmla="*/ 298795 h 324073"/>
                <a:gd name="connsiteX9" fmla="*/ 40623 w 306524"/>
                <a:gd name="connsiteY9" fmla="*/ 317266 h 324073"/>
                <a:gd name="connsiteX10" fmla="*/ 51302 w 306524"/>
                <a:gd name="connsiteY10" fmla="*/ 324069 h 324073"/>
                <a:gd name="connsiteX11" fmla="*/ 100779 w 306524"/>
                <a:gd name="connsiteY11" fmla="*/ 293476 h 324073"/>
                <a:gd name="connsiteX12" fmla="*/ 142009 w 306524"/>
                <a:gd name="connsiteY12" fmla="*/ 259296 h 324073"/>
                <a:gd name="connsiteX13" fmla="*/ 161057 w 306524"/>
                <a:gd name="connsiteY13" fmla="*/ 250060 h 324073"/>
                <a:gd name="connsiteX14" fmla="*/ 181672 w 306524"/>
                <a:gd name="connsiteY14" fmla="*/ 217076 h 324073"/>
                <a:gd name="connsiteX15" fmla="*/ 233376 w 306524"/>
                <a:gd name="connsiteY15" fmla="*/ 134615 h 324073"/>
                <a:gd name="connsiteX16" fmla="*/ 270731 w 306524"/>
                <a:gd name="connsiteY16" fmla="*/ 121751 h 324073"/>
                <a:gd name="connsiteX17" fmla="*/ 273988 w 306524"/>
                <a:gd name="connsiteY17" fmla="*/ 109795 h 324073"/>
                <a:gd name="connsiteX18" fmla="*/ 305446 w 306524"/>
                <a:gd name="connsiteY18" fmla="*/ 48732 h 324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06524" h="324073">
                  <a:moveTo>
                    <a:pt x="305446" y="48732"/>
                  </a:moveTo>
                  <a:cubicBezTo>
                    <a:pt x="297448" y="31250"/>
                    <a:pt x="312538" y="20984"/>
                    <a:pt x="300128" y="10676"/>
                  </a:cubicBezTo>
                  <a:cubicBezTo>
                    <a:pt x="287717" y="369"/>
                    <a:pt x="281491" y="14799"/>
                    <a:pt x="268133" y="21973"/>
                  </a:cubicBezTo>
                  <a:cubicBezTo>
                    <a:pt x="254774" y="29148"/>
                    <a:pt x="245951" y="-11959"/>
                    <a:pt x="229046" y="3502"/>
                  </a:cubicBezTo>
                  <a:cubicBezTo>
                    <a:pt x="212142" y="18964"/>
                    <a:pt x="227274" y="25066"/>
                    <a:pt x="208637" y="43619"/>
                  </a:cubicBezTo>
                  <a:cubicBezTo>
                    <a:pt x="190001" y="62173"/>
                    <a:pt x="197959" y="68358"/>
                    <a:pt x="175653" y="108434"/>
                  </a:cubicBezTo>
                  <a:cubicBezTo>
                    <a:pt x="153348" y="148510"/>
                    <a:pt x="77030" y="171186"/>
                    <a:pt x="65527" y="192792"/>
                  </a:cubicBezTo>
                  <a:cubicBezTo>
                    <a:pt x="54023" y="214396"/>
                    <a:pt x="15761" y="231878"/>
                    <a:pt x="14854" y="248370"/>
                  </a:cubicBezTo>
                  <a:cubicBezTo>
                    <a:pt x="13947" y="264862"/>
                    <a:pt x="-9306" y="276572"/>
                    <a:pt x="4216" y="298795"/>
                  </a:cubicBezTo>
                  <a:cubicBezTo>
                    <a:pt x="14854" y="316277"/>
                    <a:pt x="28955" y="303907"/>
                    <a:pt x="40623" y="317266"/>
                  </a:cubicBezTo>
                  <a:cubicBezTo>
                    <a:pt x="43345" y="320647"/>
                    <a:pt x="47097" y="323038"/>
                    <a:pt x="51302" y="324069"/>
                  </a:cubicBezTo>
                  <a:cubicBezTo>
                    <a:pt x="66062" y="311329"/>
                    <a:pt x="82761" y="300980"/>
                    <a:pt x="100779" y="293476"/>
                  </a:cubicBezTo>
                  <a:cubicBezTo>
                    <a:pt x="104036" y="274469"/>
                    <a:pt x="117724" y="258183"/>
                    <a:pt x="142009" y="259296"/>
                  </a:cubicBezTo>
                  <a:cubicBezTo>
                    <a:pt x="151286" y="259708"/>
                    <a:pt x="152646" y="259914"/>
                    <a:pt x="161057" y="250060"/>
                  </a:cubicBezTo>
                  <a:cubicBezTo>
                    <a:pt x="169057" y="239794"/>
                    <a:pt x="175942" y="228744"/>
                    <a:pt x="181672" y="217076"/>
                  </a:cubicBezTo>
                  <a:cubicBezTo>
                    <a:pt x="197258" y="188215"/>
                    <a:pt x="211112" y="158694"/>
                    <a:pt x="233376" y="134615"/>
                  </a:cubicBezTo>
                  <a:cubicBezTo>
                    <a:pt x="242405" y="123607"/>
                    <a:pt x="256836" y="118617"/>
                    <a:pt x="270731" y="121751"/>
                  </a:cubicBezTo>
                  <a:cubicBezTo>
                    <a:pt x="272916" y="118123"/>
                    <a:pt x="274029" y="114000"/>
                    <a:pt x="273988" y="109795"/>
                  </a:cubicBezTo>
                  <a:cubicBezTo>
                    <a:pt x="274358" y="86829"/>
                    <a:pt x="313445" y="66255"/>
                    <a:pt x="305446" y="48732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233" name="Grupa 16">
              <a:extLst>
                <a:ext uri="{FF2B5EF4-FFF2-40B4-BE49-F238E27FC236}">
                  <a16:creationId xmlns:a16="http://schemas.microsoft.com/office/drawing/2014/main" id="{97CDDC3A-21E7-419C-FA3D-D5696742C948}"/>
                </a:ext>
              </a:extLst>
            </p:cNvPr>
            <p:cNvGrpSpPr/>
            <p:nvPr>
              <p:custDataLst>
                <p:tags r:id="rId231"/>
              </p:custDataLst>
            </p:nvPr>
          </p:nvGrpSpPr>
          <p:grpSpPr>
            <a:xfrm>
              <a:off x="11138116" y="3712969"/>
              <a:ext cx="582721" cy="668934"/>
              <a:chOff x="11137591" y="3225643"/>
              <a:chExt cx="582721" cy="668934"/>
            </a:xfrm>
            <a:solidFill>
              <a:schemeClr val="bg1">
                <a:lumMod val="85000"/>
              </a:schemeClr>
            </a:solidFill>
          </p:grpSpPr>
          <p:sp>
            <p:nvSpPr>
              <p:cNvPr id="234" name="Freeform: Shape 233">
                <a:extLst>
                  <a:ext uri="{FF2B5EF4-FFF2-40B4-BE49-F238E27FC236}">
                    <a16:creationId xmlns:a16="http://schemas.microsoft.com/office/drawing/2014/main" id="{4DEA983F-BE66-BBEF-BDF4-493BCEFE6951}"/>
                  </a:ext>
                </a:extLst>
              </p:cNvPr>
              <p:cNvSpPr/>
              <p:nvPr>
                <p:custDataLst>
                  <p:tags r:id="rId394"/>
                </p:custDataLst>
              </p:nvPr>
            </p:nvSpPr>
            <p:spPr>
              <a:xfrm>
                <a:off x="11137591" y="3776098"/>
                <a:ext cx="83954" cy="118478"/>
              </a:xfrm>
              <a:custGeom>
                <a:avLst/>
                <a:gdLst>
                  <a:gd name="connsiteX0" fmla="*/ 83438 w 98031"/>
                  <a:gd name="connsiteY0" fmla="*/ 29692 h 138345"/>
                  <a:gd name="connsiteX1" fmla="*/ 56184 w 98031"/>
                  <a:gd name="connsiteY1" fmla="*/ 6356 h 138345"/>
                  <a:gd name="connsiteX2" fmla="*/ 19489 w 98031"/>
                  <a:gd name="connsiteY2" fmla="*/ 15962 h 138345"/>
                  <a:gd name="connsiteX3" fmla="*/ 2997 w 98031"/>
                  <a:gd name="connsiteY3" fmla="*/ 48947 h 138345"/>
                  <a:gd name="connsiteX4" fmla="*/ 25509 w 98031"/>
                  <a:gd name="connsiteY4" fmla="*/ 35258 h 138345"/>
                  <a:gd name="connsiteX5" fmla="*/ 31446 w 98031"/>
                  <a:gd name="connsiteY5" fmla="*/ 81890 h 138345"/>
                  <a:gd name="connsiteX6" fmla="*/ 46825 w 98031"/>
                  <a:gd name="connsiteY6" fmla="*/ 138128 h 138345"/>
                  <a:gd name="connsiteX7" fmla="*/ 91849 w 98031"/>
                  <a:gd name="connsiteY7" fmla="*/ 59790 h 138345"/>
                  <a:gd name="connsiteX8" fmla="*/ 83438 w 98031"/>
                  <a:gd name="connsiteY8" fmla="*/ 29692 h 138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8031" h="138345">
                    <a:moveTo>
                      <a:pt x="83438" y="29692"/>
                    </a:moveTo>
                    <a:cubicBezTo>
                      <a:pt x="83438" y="15962"/>
                      <a:pt x="57380" y="18684"/>
                      <a:pt x="56184" y="6356"/>
                    </a:cubicBezTo>
                    <a:cubicBezTo>
                      <a:pt x="54988" y="-5972"/>
                      <a:pt x="37260" y="913"/>
                      <a:pt x="19489" y="15962"/>
                    </a:cubicBezTo>
                    <a:cubicBezTo>
                      <a:pt x="1719" y="31011"/>
                      <a:pt x="-4218" y="33815"/>
                      <a:pt x="2997" y="48947"/>
                    </a:cubicBezTo>
                    <a:cubicBezTo>
                      <a:pt x="10212" y="64078"/>
                      <a:pt x="20768" y="50349"/>
                      <a:pt x="25509" y="35258"/>
                    </a:cubicBezTo>
                    <a:cubicBezTo>
                      <a:pt x="30250" y="20168"/>
                      <a:pt x="42001" y="57193"/>
                      <a:pt x="31446" y="81890"/>
                    </a:cubicBezTo>
                    <a:cubicBezTo>
                      <a:pt x="20890" y="106587"/>
                      <a:pt x="32807" y="141385"/>
                      <a:pt x="46825" y="138128"/>
                    </a:cubicBezTo>
                    <a:cubicBezTo>
                      <a:pt x="58699" y="135407"/>
                      <a:pt x="74078" y="86013"/>
                      <a:pt x="91849" y="59790"/>
                    </a:cubicBezTo>
                    <a:cubicBezTo>
                      <a:pt x="109618" y="33568"/>
                      <a:pt x="83438" y="43545"/>
                      <a:pt x="83438" y="29692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</a:lstStyle>
              <a:p>
                <a:pPr marL="0" marR="0" lvl="0" indent="0" algn="l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grpSp>
            <p:nvGrpSpPr>
              <p:cNvPr id="235" name="Grupa 15">
                <a:extLst>
                  <a:ext uri="{FF2B5EF4-FFF2-40B4-BE49-F238E27FC236}">
                    <a16:creationId xmlns:a16="http://schemas.microsoft.com/office/drawing/2014/main" id="{A830716C-D80C-F422-E8C8-4678AB3959B9}"/>
                  </a:ext>
                </a:extLst>
              </p:cNvPr>
              <p:cNvGrpSpPr/>
              <p:nvPr>
                <p:custDataLst>
                  <p:tags r:id="rId395"/>
                </p:custDataLst>
              </p:nvPr>
            </p:nvGrpSpPr>
            <p:grpSpPr>
              <a:xfrm>
                <a:off x="11181554" y="3225643"/>
                <a:ext cx="538758" cy="595715"/>
                <a:chOff x="11181555" y="3225643"/>
                <a:chExt cx="538758" cy="595715"/>
              </a:xfrm>
              <a:grpFill/>
            </p:grpSpPr>
            <p:sp>
              <p:nvSpPr>
                <p:cNvPr id="236" name="Freeform: Shape 235">
                  <a:extLst>
                    <a:ext uri="{FF2B5EF4-FFF2-40B4-BE49-F238E27FC236}">
                      <a16:creationId xmlns:a16="http://schemas.microsoft.com/office/drawing/2014/main" id="{4AB37555-AE26-9983-2A87-1070D333B509}"/>
                    </a:ext>
                  </a:extLst>
                </p:cNvPr>
                <p:cNvSpPr/>
                <p:nvPr>
                  <p:custDataLst>
                    <p:tags r:id="rId396"/>
                  </p:custDataLst>
                </p:nvPr>
              </p:nvSpPr>
              <p:spPr>
                <a:xfrm>
                  <a:off x="11233474" y="3746654"/>
                  <a:ext cx="80051" cy="74704"/>
                </a:xfrm>
                <a:custGeom>
                  <a:avLst/>
                  <a:gdLst>
                    <a:gd name="connsiteX0" fmla="*/ 53193 w 93474"/>
                    <a:gd name="connsiteY0" fmla="*/ 10722 h 87231"/>
                    <a:gd name="connsiteX1" fmla="*/ 15302 w 93474"/>
                    <a:gd name="connsiteY1" fmla="*/ 23091 h 87231"/>
                    <a:gd name="connsiteX2" fmla="*/ 9407 w 93474"/>
                    <a:gd name="connsiteY2" fmla="*/ 84936 h 87231"/>
                    <a:gd name="connsiteX3" fmla="*/ 31877 w 93474"/>
                    <a:gd name="connsiteY3" fmla="*/ 72567 h 87231"/>
                    <a:gd name="connsiteX4" fmla="*/ 60491 w 93474"/>
                    <a:gd name="connsiteY4" fmla="*/ 55213 h 87231"/>
                    <a:gd name="connsiteX5" fmla="*/ 66222 w 93474"/>
                    <a:gd name="connsiteY5" fmla="*/ 57436 h 87231"/>
                    <a:gd name="connsiteX6" fmla="*/ 93475 w 93474"/>
                    <a:gd name="connsiteY6" fmla="*/ 16205 h 87231"/>
                    <a:gd name="connsiteX7" fmla="*/ 53193 w 93474"/>
                    <a:gd name="connsiteY7" fmla="*/ 10722 h 872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3474" h="87231">
                      <a:moveTo>
                        <a:pt x="53193" y="10722"/>
                      </a:moveTo>
                      <a:cubicBezTo>
                        <a:pt x="48452" y="25812"/>
                        <a:pt x="34227" y="18968"/>
                        <a:pt x="15302" y="23091"/>
                      </a:cubicBezTo>
                      <a:cubicBezTo>
                        <a:pt x="-3622" y="27214"/>
                        <a:pt x="-4282" y="79535"/>
                        <a:pt x="9407" y="84936"/>
                      </a:cubicBezTo>
                      <a:cubicBezTo>
                        <a:pt x="20044" y="89059"/>
                        <a:pt x="28332" y="89059"/>
                        <a:pt x="31877" y="72567"/>
                      </a:cubicBezTo>
                      <a:cubicBezTo>
                        <a:pt x="34969" y="59872"/>
                        <a:pt x="47792" y="52100"/>
                        <a:pt x="60491" y="55213"/>
                      </a:cubicBezTo>
                      <a:cubicBezTo>
                        <a:pt x="62511" y="55700"/>
                        <a:pt x="64408" y="56450"/>
                        <a:pt x="66222" y="57436"/>
                      </a:cubicBezTo>
                      <a:cubicBezTo>
                        <a:pt x="78096" y="64321"/>
                        <a:pt x="93475" y="36821"/>
                        <a:pt x="93475" y="16205"/>
                      </a:cubicBezTo>
                      <a:cubicBezTo>
                        <a:pt x="93475" y="-4410"/>
                        <a:pt x="57770" y="-4369"/>
                        <a:pt x="53193" y="10722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237" name="Freeform: Shape 236">
                  <a:extLst>
                    <a:ext uri="{FF2B5EF4-FFF2-40B4-BE49-F238E27FC236}">
                      <a16:creationId xmlns:a16="http://schemas.microsoft.com/office/drawing/2014/main" id="{6D8D2AFF-C621-6357-7AAC-73DB4B82DFA8}"/>
                    </a:ext>
                  </a:extLst>
                </p:cNvPr>
                <p:cNvSpPr/>
                <p:nvPr>
                  <p:custDataLst>
                    <p:tags r:id="rId397"/>
                  </p:custDataLst>
                </p:nvPr>
              </p:nvSpPr>
              <p:spPr>
                <a:xfrm>
                  <a:off x="11492206" y="3225643"/>
                  <a:ext cx="228107" cy="194563"/>
                </a:xfrm>
                <a:custGeom>
                  <a:avLst/>
                  <a:gdLst>
                    <a:gd name="connsiteX0" fmla="*/ 229806 w 266356"/>
                    <a:gd name="connsiteY0" fmla="*/ 74605 h 227187"/>
                    <a:gd name="connsiteX1" fmla="*/ 189565 w 266356"/>
                    <a:gd name="connsiteY1" fmla="*/ 85614 h 227187"/>
                    <a:gd name="connsiteX2" fmla="*/ 101868 w 266356"/>
                    <a:gd name="connsiteY2" fmla="*/ 11399 h 227187"/>
                    <a:gd name="connsiteX3" fmla="*/ 75852 w 266356"/>
                    <a:gd name="connsiteY3" fmla="*/ 25129 h 227187"/>
                    <a:gd name="connsiteX4" fmla="*/ 73420 w 266356"/>
                    <a:gd name="connsiteY4" fmla="*/ 73162 h 227187"/>
                    <a:gd name="connsiteX5" fmla="*/ 61627 w 266356"/>
                    <a:gd name="connsiteY5" fmla="*/ 114393 h 227187"/>
                    <a:gd name="connsiteX6" fmla="*/ 28395 w 266356"/>
                    <a:gd name="connsiteY6" fmla="*/ 130885 h 227187"/>
                    <a:gd name="connsiteX7" fmla="*/ 13016 w 266356"/>
                    <a:gd name="connsiteY7" fmla="*/ 158344 h 227187"/>
                    <a:gd name="connsiteX8" fmla="*/ 5925 w 266356"/>
                    <a:gd name="connsiteY8" fmla="*/ 185763 h 227187"/>
                    <a:gd name="connsiteX9" fmla="*/ 5925 w 266356"/>
                    <a:gd name="connsiteY9" fmla="*/ 221427 h 227187"/>
                    <a:gd name="connsiteX10" fmla="*/ 26087 w 266356"/>
                    <a:gd name="connsiteY10" fmla="*/ 211820 h 227187"/>
                    <a:gd name="connsiteX11" fmla="*/ 47403 w 266356"/>
                    <a:gd name="connsiteY11" fmla="*/ 206337 h 227187"/>
                    <a:gd name="connsiteX12" fmla="*/ 23695 w 266356"/>
                    <a:gd name="connsiteY12" fmla="*/ 172033 h 227187"/>
                    <a:gd name="connsiteX13" fmla="*/ 56680 w 266356"/>
                    <a:gd name="connsiteY13" fmla="*/ 167910 h 227187"/>
                    <a:gd name="connsiteX14" fmla="*/ 117082 w 266356"/>
                    <a:gd name="connsiteY14" fmla="*/ 184402 h 227187"/>
                    <a:gd name="connsiteX15" fmla="*/ 143181 w 266356"/>
                    <a:gd name="connsiteY15" fmla="*/ 173476 h 227187"/>
                    <a:gd name="connsiteX16" fmla="*/ 201193 w 266356"/>
                    <a:gd name="connsiteY16" fmla="*/ 141935 h 227187"/>
                    <a:gd name="connsiteX17" fmla="*/ 222509 w 266356"/>
                    <a:gd name="connsiteY17" fmla="*/ 119959 h 227187"/>
                    <a:gd name="connsiteX18" fmla="*/ 266337 w 266356"/>
                    <a:gd name="connsiteY18" fmla="*/ 62236 h 227187"/>
                    <a:gd name="connsiteX19" fmla="*/ 229806 w 266356"/>
                    <a:gd name="connsiteY19" fmla="*/ 74605 h 2271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266356" h="227184">
                      <a:moveTo>
                        <a:pt x="229806" y="74605"/>
                      </a:moveTo>
                      <a:cubicBezTo>
                        <a:pt x="221560" y="62236"/>
                        <a:pt x="207295" y="81491"/>
                        <a:pt x="189565" y="85614"/>
                      </a:cubicBezTo>
                      <a:cubicBezTo>
                        <a:pt x="171836" y="89737"/>
                        <a:pt x="116092" y="36137"/>
                        <a:pt x="101868" y="11399"/>
                      </a:cubicBezTo>
                      <a:cubicBezTo>
                        <a:pt x="87644" y="-13339"/>
                        <a:pt x="63978" y="7276"/>
                        <a:pt x="75852" y="25129"/>
                      </a:cubicBezTo>
                      <a:cubicBezTo>
                        <a:pt x="87726" y="42982"/>
                        <a:pt x="73420" y="48424"/>
                        <a:pt x="73420" y="73162"/>
                      </a:cubicBezTo>
                      <a:cubicBezTo>
                        <a:pt x="73420" y="97901"/>
                        <a:pt x="59236" y="97901"/>
                        <a:pt x="61627" y="114393"/>
                      </a:cubicBezTo>
                      <a:cubicBezTo>
                        <a:pt x="64019" y="130885"/>
                        <a:pt x="42621" y="128122"/>
                        <a:pt x="28395" y="130885"/>
                      </a:cubicBezTo>
                      <a:cubicBezTo>
                        <a:pt x="14171" y="133647"/>
                        <a:pt x="29632" y="150139"/>
                        <a:pt x="13016" y="158344"/>
                      </a:cubicBezTo>
                      <a:cubicBezTo>
                        <a:pt x="-3600" y="166549"/>
                        <a:pt x="-2363" y="180279"/>
                        <a:pt x="5925" y="185763"/>
                      </a:cubicBezTo>
                      <a:cubicBezTo>
                        <a:pt x="14212" y="191246"/>
                        <a:pt x="8275" y="209058"/>
                        <a:pt x="5925" y="221427"/>
                      </a:cubicBezTo>
                      <a:cubicBezTo>
                        <a:pt x="3574" y="233796"/>
                        <a:pt x="16563" y="224189"/>
                        <a:pt x="26087" y="211820"/>
                      </a:cubicBezTo>
                      <a:cubicBezTo>
                        <a:pt x="35611" y="199451"/>
                        <a:pt x="45424" y="217757"/>
                        <a:pt x="47403" y="206337"/>
                      </a:cubicBezTo>
                      <a:cubicBezTo>
                        <a:pt x="49753" y="192648"/>
                        <a:pt x="22665" y="185721"/>
                        <a:pt x="23695" y="172033"/>
                      </a:cubicBezTo>
                      <a:cubicBezTo>
                        <a:pt x="24726" y="158344"/>
                        <a:pt x="42621" y="176156"/>
                        <a:pt x="56680" y="167910"/>
                      </a:cubicBezTo>
                      <a:cubicBezTo>
                        <a:pt x="70739" y="159664"/>
                        <a:pt x="99312" y="166590"/>
                        <a:pt x="117082" y="184402"/>
                      </a:cubicBezTo>
                      <a:cubicBezTo>
                        <a:pt x="134853" y="202214"/>
                        <a:pt x="139635" y="195452"/>
                        <a:pt x="143181" y="173476"/>
                      </a:cubicBezTo>
                      <a:cubicBezTo>
                        <a:pt x="146727" y="151500"/>
                        <a:pt x="173939" y="141935"/>
                        <a:pt x="201193" y="141935"/>
                      </a:cubicBezTo>
                      <a:cubicBezTo>
                        <a:pt x="228445" y="141935"/>
                        <a:pt x="230796" y="126803"/>
                        <a:pt x="222509" y="119959"/>
                      </a:cubicBezTo>
                      <a:cubicBezTo>
                        <a:pt x="214221" y="113115"/>
                        <a:pt x="267532" y="73327"/>
                        <a:pt x="266337" y="62236"/>
                      </a:cubicBezTo>
                      <a:cubicBezTo>
                        <a:pt x="265141" y="51145"/>
                        <a:pt x="238053" y="86974"/>
                        <a:pt x="229806" y="74605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238" name="Freeform: Shape 237">
                  <a:extLst>
                    <a:ext uri="{FF2B5EF4-FFF2-40B4-BE49-F238E27FC236}">
                      <a16:creationId xmlns:a16="http://schemas.microsoft.com/office/drawing/2014/main" id="{AC5ACF54-9E0D-F729-949E-2123BFD3B9B7}"/>
                    </a:ext>
                  </a:extLst>
                </p:cNvPr>
                <p:cNvSpPr/>
                <p:nvPr>
                  <p:custDataLst>
                    <p:tags r:id="rId398"/>
                  </p:custDataLst>
                </p:nvPr>
              </p:nvSpPr>
              <p:spPr>
                <a:xfrm>
                  <a:off x="11181555" y="3428809"/>
                  <a:ext cx="383964" cy="353062"/>
                </a:xfrm>
                <a:custGeom>
                  <a:avLst/>
                  <a:gdLst>
                    <a:gd name="connsiteX0" fmla="*/ 291811 w 448347"/>
                    <a:gd name="connsiteY0" fmla="*/ 357948 h 412264"/>
                    <a:gd name="connsiteX1" fmla="*/ 296263 w 448347"/>
                    <a:gd name="connsiteY1" fmla="*/ 351681 h 412264"/>
                    <a:gd name="connsiteX2" fmla="*/ 311972 w 448347"/>
                    <a:gd name="connsiteY2" fmla="*/ 347063 h 412264"/>
                    <a:gd name="connsiteX3" fmla="*/ 363016 w 448347"/>
                    <a:gd name="connsiteY3" fmla="*/ 298205 h 412264"/>
                    <a:gd name="connsiteX4" fmla="*/ 394639 w 448347"/>
                    <a:gd name="connsiteY4" fmla="*/ 267076 h 412264"/>
                    <a:gd name="connsiteX5" fmla="*/ 398103 w 448347"/>
                    <a:gd name="connsiteY5" fmla="*/ 254294 h 412264"/>
                    <a:gd name="connsiteX6" fmla="*/ 407585 w 448347"/>
                    <a:gd name="connsiteY6" fmla="*/ 182966 h 412264"/>
                    <a:gd name="connsiteX7" fmla="*/ 444281 w 448347"/>
                    <a:gd name="connsiteY7" fmla="*/ 132170 h 412264"/>
                    <a:gd name="connsiteX8" fmla="*/ 425356 w 448347"/>
                    <a:gd name="connsiteY8" fmla="*/ 8726 h 412264"/>
                    <a:gd name="connsiteX9" fmla="*/ 374437 w 448347"/>
                    <a:gd name="connsiteY9" fmla="*/ 25218 h 412264"/>
                    <a:gd name="connsiteX10" fmla="*/ 367344 w 448347"/>
                    <a:gd name="connsiteY10" fmla="*/ 87063 h 412264"/>
                    <a:gd name="connsiteX11" fmla="*/ 347142 w 448347"/>
                    <a:gd name="connsiteY11" fmla="*/ 148909 h 412264"/>
                    <a:gd name="connsiteX12" fmla="*/ 322403 w 448347"/>
                    <a:gd name="connsiteY12" fmla="*/ 194263 h 412264"/>
                    <a:gd name="connsiteX13" fmla="*/ 285709 w 448347"/>
                    <a:gd name="connsiteY13" fmla="*/ 227247 h 412264"/>
                    <a:gd name="connsiteX14" fmla="*/ 259651 w 448347"/>
                    <a:gd name="connsiteY14" fmla="*/ 212198 h 412264"/>
                    <a:gd name="connsiteX15" fmla="*/ 230006 w 448347"/>
                    <a:gd name="connsiteY15" fmla="*/ 249305 h 412264"/>
                    <a:gd name="connsiteX16" fmla="*/ 205268 w 448347"/>
                    <a:gd name="connsiteY16" fmla="*/ 295937 h 412264"/>
                    <a:gd name="connsiteX17" fmla="*/ 180530 w 448347"/>
                    <a:gd name="connsiteY17" fmla="*/ 305502 h 412264"/>
                    <a:gd name="connsiteX18" fmla="*/ 132001 w 448347"/>
                    <a:gd name="connsiteY18" fmla="*/ 312388 h 412264"/>
                    <a:gd name="connsiteX19" fmla="*/ 72753 w 448347"/>
                    <a:gd name="connsiteY19" fmla="*/ 316511 h 412264"/>
                    <a:gd name="connsiteX20" fmla="*/ 11155 w 448347"/>
                    <a:gd name="connsiteY20" fmla="*/ 370111 h 412264"/>
                    <a:gd name="connsiteX21" fmla="*/ 11155 w 448347"/>
                    <a:gd name="connsiteY21" fmla="*/ 397529 h 412264"/>
                    <a:gd name="connsiteX22" fmla="*/ 54983 w 448347"/>
                    <a:gd name="connsiteY22" fmla="*/ 385160 h 412264"/>
                    <a:gd name="connsiteX23" fmla="*/ 155668 w 448347"/>
                    <a:gd name="connsiteY23" fmla="*/ 356298 h 412264"/>
                    <a:gd name="connsiteX24" fmla="*/ 172160 w 448347"/>
                    <a:gd name="connsiteY24" fmla="*/ 397529 h 412264"/>
                    <a:gd name="connsiteX25" fmla="*/ 219534 w 448347"/>
                    <a:gd name="connsiteY25" fmla="*/ 394808 h 412264"/>
                    <a:gd name="connsiteX26" fmla="*/ 233758 w 448347"/>
                    <a:gd name="connsiteY26" fmla="*/ 363225 h 412264"/>
                    <a:gd name="connsiteX27" fmla="*/ 245633 w 448347"/>
                    <a:gd name="connsiteY27" fmla="*/ 356381 h 412264"/>
                    <a:gd name="connsiteX28" fmla="*/ 270165 w 448347"/>
                    <a:gd name="connsiteY28" fmla="*/ 368750 h 412264"/>
                    <a:gd name="connsiteX29" fmla="*/ 291811 w 448347"/>
                    <a:gd name="connsiteY29" fmla="*/ 357948 h 4122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448347" h="412263">
                      <a:moveTo>
                        <a:pt x="291811" y="357948"/>
                      </a:moveTo>
                      <a:cubicBezTo>
                        <a:pt x="293542" y="356043"/>
                        <a:pt x="295027" y="353940"/>
                        <a:pt x="296263" y="351681"/>
                      </a:cubicBezTo>
                      <a:cubicBezTo>
                        <a:pt x="303025" y="339311"/>
                        <a:pt x="307107" y="342321"/>
                        <a:pt x="311972" y="347063"/>
                      </a:cubicBezTo>
                      <a:cubicBezTo>
                        <a:pt x="325166" y="327194"/>
                        <a:pt x="342606" y="310504"/>
                        <a:pt x="363016" y="298205"/>
                      </a:cubicBezTo>
                      <a:cubicBezTo>
                        <a:pt x="370808" y="285353"/>
                        <a:pt x="381652" y="274654"/>
                        <a:pt x="394639" y="267076"/>
                      </a:cubicBezTo>
                      <a:cubicBezTo>
                        <a:pt x="394846" y="262615"/>
                        <a:pt x="396041" y="258256"/>
                        <a:pt x="398103" y="254294"/>
                      </a:cubicBezTo>
                      <a:cubicBezTo>
                        <a:pt x="407585" y="237802"/>
                        <a:pt x="417068" y="203540"/>
                        <a:pt x="407585" y="182966"/>
                      </a:cubicBezTo>
                      <a:cubicBezTo>
                        <a:pt x="398103" y="162392"/>
                        <a:pt x="428902" y="148662"/>
                        <a:pt x="444281" y="132170"/>
                      </a:cubicBezTo>
                      <a:cubicBezTo>
                        <a:pt x="459660" y="115677"/>
                        <a:pt x="426552" y="33216"/>
                        <a:pt x="425356" y="8726"/>
                      </a:cubicBezTo>
                      <a:cubicBezTo>
                        <a:pt x="424160" y="-15765"/>
                        <a:pt x="386269" y="18332"/>
                        <a:pt x="374437" y="25218"/>
                      </a:cubicBezTo>
                      <a:cubicBezTo>
                        <a:pt x="362603" y="32103"/>
                        <a:pt x="354274" y="74694"/>
                        <a:pt x="367344" y="87063"/>
                      </a:cubicBezTo>
                      <a:cubicBezTo>
                        <a:pt x="380415" y="99433"/>
                        <a:pt x="346028" y="122769"/>
                        <a:pt x="347142" y="148909"/>
                      </a:cubicBezTo>
                      <a:cubicBezTo>
                        <a:pt x="348255" y="175049"/>
                        <a:pt x="325826" y="174967"/>
                        <a:pt x="322403" y="194263"/>
                      </a:cubicBezTo>
                      <a:cubicBezTo>
                        <a:pt x="318981" y="213558"/>
                        <a:pt x="305911" y="209394"/>
                        <a:pt x="285709" y="227247"/>
                      </a:cubicBezTo>
                      <a:cubicBezTo>
                        <a:pt x="265505" y="245100"/>
                        <a:pt x="254910" y="224526"/>
                        <a:pt x="259651" y="212198"/>
                      </a:cubicBezTo>
                      <a:cubicBezTo>
                        <a:pt x="264392" y="199870"/>
                        <a:pt x="228852" y="219042"/>
                        <a:pt x="230006" y="249305"/>
                      </a:cubicBezTo>
                      <a:cubicBezTo>
                        <a:pt x="231161" y="279569"/>
                        <a:pt x="197022" y="282290"/>
                        <a:pt x="205268" y="295937"/>
                      </a:cubicBezTo>
                      <a:cubicBezTo>
                        <a:pt x="213514" y="309584"/>
                        <a:pt x="179251" y="317872"/>
                        <a:pt x="180530" y="305502"/>
                      </a:cubicBezTo>
                      <a:cubicBezTo>
                        <a:pt x="181807" y="293133"/>
                        <a:pt x="159172" y="300101"/>
                        <a:pt x="132001" y="312388"/>
                      </a:cubicBezTo>
                      <a:cubicBezTo>
                        <a:pt x="104830" y="324675"/>
                        <a:pt x="88132" y="298700"/>
                        <a:pt x="72753" y="316511"/>
                      </a:cubicBezTo>
                      <a:cubicBezTo>
                        <a:pt x="57374" y="334323"/>
                        <a:pt x="31276" y="365988"/>
                        <a:pt x="11155" y="370111"/>
                      </a:cubicBezTo>
                      <a:cubicBezTo>
                        <a:pt x="-8965" y="374234"/>
                        <a:pt x="2620" y="402477"/>
                        <a:pt x="11155" y="397529"/>
                      </a:cubicBezTo>
                      <a:cubicBezTo>
                        <a:pt x="25379" y="389283"/>
                        <a:pt x="47891" y="397529"/>
                        <a:pt x="54983" y="385160"/>
                      </a:cubicBezTo>
                      <a:cubicBezTo>
                        <a:pt x="62075" y="372791"/>
                        <a:pt x="120126" y="357742"/>
                        <a:pt x="155668" y="356298"/>
                      </a:cubicBezTo>
                      <a:cubicBezTo>
                        <a:pt x="191208" y="354855"/>
                        <a:pt x="169851" y="375471"/>
                        <a:pt x="172160" y="397529"/>
                      </a:cubicBezTo>
                      <a:cubicBezTo>
                        <a:pt x="174469" y="419587"/>
                        <a:pt x="204155" y="415382"/>
                        <a:pt x="219534" y="394808"/>
                      </a:cubicBezTo>
                      <a:cubicBezTo>
                        <a:pt x="234912" y="374234"/>
                        <a:pt x="246786" y="375553"/>
                        <a:pt x="233758" y="363225"/>
                      </a:cubicBezTo>
                      <a:cubicBezTo>
                        <a:pt x="220729" y="350897"/>
                        <a:pt x="236150" y="339930"/>
                        <a:pt x="245633" y="356381"/>
                      </a:cubicBezTo>
                      <a:cubicBezTo>
                        <a:pt x="250909" y="364710"/>
                        <a:pt x="260351" y="369459"/>
                        <a:pt x="270165" y="368750"/>
                      </a:cubicBezTo>
                      <a:cubicBezTo>
                        <a:pt x="276019" y="362899"/>
                        <a:pt x="283606" y="359106"/>
                        <a:pt x="291811" y="357948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</p:grpSp>
        <p:sp>
          <p:nvSpPr>
            <p:cNvPr id="239" name="Freeform: Shape 238">
              <a:extLst>
                <a:ext uri="{FF2B5EF4-FFF2-40B4-BE49-F238E27FC236}">
                  <a16:creationId xmlns:a16="http://schemas.microsoft.com/office/drawing/2014/main" id="{EA0D6C30-3DDE-AB21-CF34-F4C72E7CBC5E}"/>
                </a:ext>
              </a:extLst>
            </p:cNvPr>
            <p:cNvSpPr/>
            <p:nvPr>
              <p:custDataLst>
                <p:tags r:id="rId232"/>
              </p:custDataLst>
            </p:nvPr>
          </p:nvSpPr>
          <p:spPr>
            <a:xfrm>
              <a:off x="9042854" y="3929180"/>
              <a:ext cx="261547" cy="201205"/>
            </a:xfrm>
            <a:custGeom>
              <a:avLst/>
              <a:gdLst>
                <a:gd name="connsiteX0" fmla="*/ 248671 w 305403"/>
                <a:gd name="connsiteY0" fmla="*/ 190784 h 234943"/>
                <a:gd name="connsiteX1" fmla="*/ 264091 w 305403"/>
                <a:gd name="connsiteY1" fmla="*/ 203813 h 234943"/>
                <a:gd name="connsiteX2" fmla="*/ 292087 w 305403"/>
                <a:gd name="connsiteY2" fmla="*/ 213996 h 234943"/>
                <a:gd name="connsiteX3" fmla="*/ 305404 w 305403"/>
                <a:gd name="connsiteY3" fmla="*/ 211152 h 234943"/>
                <a:gd name="connsiteX4" fmla="*/ 297488 w 305403"/>
                <a:gd name="connsiteY4" fmla="*/ 148852 h 234943"/>
                <a:gd name="connsiteX5" fmla="*/ 257948 w 305403"/>
                <a:gd name="connsiteY5" fmla="*/ 119496 h 234943"/>
                <a:gd name="connsiteX6" fmla="*/ 251640 w 305403"/>
                <a:gd name="connsiteY6" fmla="*/ 79255 h 234943"/>
                <a:gd name="connsiteX7" fmla="*/ 199442 w 305403"/>
                <a:gd name="connsiteY7" fmla="*/ 82925 h 234943"/>
                <a:gd name="connsiteX8" fmla="*/ 166458 w 305403"/>
                <a:gd name="connsiteY8" fmla="*/ 75545 h 234943"/>
                <a:gd name="connsiteX9" fmla="*/ 130051 w 305403"/>
                <a:gd name="connsiteY9" fmla="*/ 73731 h 234943"/>
                <a:gd name="connsiteX10" fmla="*/ 73111 w 305403"/>
                <a:gd name="connsiteY10" fmla="*/ 68247 h 234943"/>
                <a:gd name="connsiteX11" fmla="*/ 101561 w 305403"/>
                <a:gd name="connsiteY11" fmla="*/ 40788 h 234943"/>
                <a:gd name="connsiteX12" fmla="*/ 113930 w 305403"/>
                <a:gd name="connsiteY12" fmla="*/ 41158 h 234943"/>
                <a:gd name="connsiteX13" fmla="*/ 128072 w 305403"/>
                <a:gd name="connsiteY13" fmla="*/ 3103 h 234943"/>
                <a:gd name="connsiteX14" fmla="*/ 100818 w 305403"/>
                <a:gd name="connsiteY14" fmla="*/ 9947 h 234943"/>
                <a:gd name="connsiteX15" fmla="*/ 70019 w 305403"/>
                <a:gd name="connsiteY15" fmla="*/ 18193 h 234943"/>
                <a:gd name="connsiteX16" fmla="*/ 51095 w 305403"/>
                <a:gd name="connsiteY16" fmla="*/ 42931 h 234943"/>
                <a:gd name="connsiteX17" fmla="*/ 38024 w 305403"/>
                <a:gd name="connsiteY17" fmla="*/ 69030 h 234943"/>
                <a:gd name="connsiteX18" fmla="*/ 134 w 305403"/>
                <a:gd name="connsiteY18" fmla="*/ 85522 h 234943"/>
                <a:gd name="connsiteX19" fmla="*/ 24872 w 305403"/>
                <a:gd name="connsiteY19" fmla="*/ 121187 h 234943"/>
                <a:gd name="connsiteX20" fmla="*/ 29614 w 305403"/>
                <a:gd name="connsiteY20" fmla="*/ 162417 h 234943"/>
                <a:gd name="connsiteX21" fmla="*/ 13122 w 305403"/>
                <a:gd name="connsiteY21" fmla="*/ 210822 h 234943"/>
                <a:gd name="connsiteX22" fmla="*/ 31881 w 305403"/>
                <a:gd name="connsiteY22" fmla="*/ 213131 h 234943"/>
                <a:gd name="connsiteX23" fmla="*/ 73111 w 305403"/>
                <a:gd name="connsiteY23" fmla="*/ 200308 h 234943"/>
                <a:gd name="connsiteX24" fmla="*/ 111085 w 305403"/>
                <a:gd name="connsiteY24" fmla="*/ 178332 h 234943"/>
                <a:gd name="connsiteX25" fmla="*/ 147450 w 305403"/>
                <a:gd name="connsiteY25" fmla="*/ 138009 h 234943"/>
                <a:gd name="connsiteX26" fmla="*/ 163283 w 305403"/>
                <a:gd name="connsiteY26" fmla="*/ 176477 h 234943"/>
                <a:gd name="connsiteX27" fmla="*/ 164849 w 305403"/>
                <a:gd name="connsiteY27" fmla="*/ 231478 h 234943"/>
                <a:gd name="connsiteX28" fmla="*/ 183774 w 305403"/>
                <a:gd name="connsiteY28" fmla="*/ 232550 h 234943"/>
                <a:gd name="connsiteX29" fmla="*/ 205131 w 305403"/>
                <a:gd name="connsiteY29" fmla="*/ 224304 h 234943"/>
                <a:gd name="connsiteX30" fmla="*/ 248671 w 305403"/>
                <a:gd name="connsiteY30" fmla="*/ 190784 h 234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05403" h="234943">
                  <a:moveTo>
                    <a:pt x="248671" y="190784"/>
                  </a:moveTo>
                  <a:cubicBezTo>
                    <a:pt x="257576" y="196968"/>
                    <a:pt x="255804" y="205173"/>
                    <a:pt x="264091" y="203813"/>
                  </a:cubicBezTo>
                  <a:cubicBezTo>
                    <a:pt x="274440" y="203149"/>
                    <a:pt x="284583" y="206839"/>
                    <a:pt x="292087" y="213996"/>
                  </a:cubicBezTo>
                  <a:cubicBezTo>
                    <a:pt x="296458" y="212756"/>
                    <a:pt x="300910" y="211803"/>
                    <a:pt x="305404" y="211152"/>
                  </a:cubicBezTo>
                  <a:cubicBezTo>
                    <a:pt x="305404" y="211152"/>
                    <a:pt x="299096" y="163489"/>
                    <a:pt x="297488" y="148852"/>
                  </a:cubicBezTo>
                  <a:cubicBezTo>
                    <a:pt x="295880" y="134216"/>
                    <a:pt x="257948" y="119496"/>
                    <a:pt x="257948" y="119496"/>
                  </a:cubicBezTo>
                  <a:lnTo>
                    <a:pt x="251640" y="79255"/>
                  </a:lnTo>
                  <a:cubicBezTo>
                    <a:pt x="251640" y="79255"/>
                    <a:pt x="207317" y="86553"/>
                    <a:pt x="199442" y="82925"/>
                  </a:cubicBezTo>
                  <a:cubicBezTo>
                    <a:pt x="191566" y="79297"/>
                    <a:pt x="174126" y="88409"/>
                    <a:pt x="166458" y="75545"/>
                  </a:cubicBezTo>
                  <a:cubicBezTo>
                    <a:pt x="158788" y="62681"/>
                    <a:pt x="144275" y="84739"/>
                    <a:pt x="130051" y="73731"/>
                  </a:cubicBezTo>
                  <a:cubicBezTo>
                    <a:pt x="115827" y="62722"/>
                    <a:pt x="74679" y="77400"/>
                    <a:pt x="73111" y="68247"/>
                  </a:cubicBezTo>
                  <a:cubicBezTo>
                    <a:pt x="71545" y="59094"/>
                    <a:pt x="90511" y="38932"/>
                    <a:pt x="101561" y="40788"/>
                  </a:cubicBezTo>
                  <a:cubicBezTo>
                    <a:pt x="105684" y="41245"/>
                    <a:pt x="109807" y="41369"/>
                    <a:pt x="113930" y="41158"/>
                  </a:cubicBezTo>
                  <a:cubicBezTo>
                    <a:pt x="119125" y="31469"/>
                    <a:pt x="130875" y="8504"/>
                    <a:pt x="128072" y="3103"/>
                  </a:cubicBezTo>
                  <a:cubicBezTo>
                    <a:pt x="124526" y="-3742"/>
                    <a:pt x="110301" y="1701"/>
                    <a:pt x="100818" y="9947"/>
                  </a:cubicBezTo>
                  <a:cubicBezTo>
                    <a:pt x="91336" y="18193"/>
                    <a:pt x="73565" y="5824"/>
                    <a:pt x="70019" y="18193"/>
                  </a:cubicBezTo>
                  <a:cubicBezTo>
                    <a:pt x="66474" y="30562"/>
                    <a:pt x="61773" y="42931"/>
                    <a:pt x="51095" y="42931"/>
                  </a:cubicBezTo>
                  <a:cubicBezTo>
                    <a:pt x="40416" y="42931"/>
                    <a:pt x="48703" y="63547"/>
                    <a:pt x="38024" y="69030"/>
                  </a:cubicBezTo>
                  <a:cubicBezTo>
                    <a:pt x="27346" y="74514"/>
                    <a:pt x="2484" y="73153"/>
                    <a:pt x="134" y="85522"/>
                  </a:cubicBezTo>
                  <a:cubicBezTo>
                    <a:pt x="-2217" y="97892"/>
                    <a:pt x="27346" y="106138"/>
                    <a:pt x="24872" y="121187"/>
                  </a:cubicBezTo>
                  <a:cubicBezTo>
                    <a:pt x="22399" y="136236"/>
                    <a:pt x="40251" y="152769"/>
                    <a:pt x="29614" y="162417"/>
                  </a:cubicBezTo>
                  <a:cubicBezTo>
                    <a:pt x="20460" y="170663"/>
                    <a:pt x="12255" y="183981"/>
                    <a:pt x="13122" y="210822"/>
                  </a:cubicBezTo>
                  <a:cubicBezTo>
                    <a:pt x="20831" y="216553"/>
                    <a:pt x="28253" y="221624"/>
                    <a:pt x="31881" y="213131"/>
                  </a:cubicBezTo>
                  <a:cubicBezTo>
                    <a:pt x="38231" y="198453"/>
                    <a:pt x="73111" y="213131"/>
                    <a:pt x="73111" y="200308"/>
                  </a:cubicBezTo>
                  <a:cubicBezTo>
                    <a:pt x="73111" y="187485"/>
                    <a:pt x="111085" y="191155"/>
                    <a:pt x="111085" y="178332"/>
                  </a:cubicBezTo>
                  <a:cubicBezTo>
                    <a:pt x="111085" y="165510"/>
                    <a:pt x="133226" y="136195"/>
                    <a:pt x="147450" y="138009"/>
                  </a:cubicBezTo>
                  <a:cubicBezTo>
                    <a:pt x="161674" y="139823"/>
                    <a:pt x="145884" y="167324"/>
                    <a:pt x="163283" y="176477"/>
                  </a:cubicBezTo>
                  <a:cubicBezTo>
                    <a:pt x="180682" y="185630"/>
                    <a:pt x="155367" y="218656"/>
                    <a:pt x="164849" y="231478"/>
                  </a:cubicBezTo>
                  <a:cubicBezTo>
                    <a:pt x="168395" y="236220"/>
                    <a:pt x="175322" y="235601"/>
                    <a:pt x="183774" y="232550"/>
                  </a:cubicBezTo>
                  <a:cubicBezTo>
                    <a:pt x="190248" y="230406"/>
                    <a:pt x="197587" y="227067"/>
                    <a:pt x="205131" y="224304"/>
                  </a:cubicBezTo>
                  <a:cubicBezTo>
                    <a:pt x="220469" y="208101"/>
                    <a:pt x="241456" y="185877"/>
                    <a:pt x="248671" y="19078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40" name="Freeform: Shape 239">
              <a:extLst>
                <a:ext uri="{FF2B5EF4-FFF2-40B4-BE49-F238E27FC236}">
                  <a16:creationId xmlns:a16="http://schemas.microsoft.com/office/drawing/2014/main" id="{A88A4008-3DD1-9C8F-CBC8-BAA4601FE9BC}"/>
                </a:ext>
              </a:extLst>
            </p:cNvPr>
            <p:cNvSpPr/>
            <p:nvPr>
              <p:custDataLst>
                <p:tags r:id="rId233"/>
              </p:custDataLst>
            </p:nvPr>
          </p:nvSpPr>
          <p:spPr>
            <a:xfrm>
              <a:off x="8798514" y="4047233"/>
              <a:ext cx="488302" cy="403495"/>
            </a:xfrm>
            <a:custGeom>
              <a:avLst/>
              <a:gdLst>
                <a:gd name="connsiteX0" fmla="*/ 549402 w 570181"/>
                <a:gd name="connsiteY0" fmla="*/ 65963 h 471153"/>
                <a:gd name="connsiteX1" fmla="*/ 533982 w 570181"/>
                <a:gd name="connsiteY1" fmla="*/ 52934 h 471153"/>
                <a:gd name="connsiteX2" fmla="*/ 490236 w 570181"/>
                <a:gd name="connsiteY2" fmla="*/ 86165 h 471153"/>
                <a:gd name="connsiteX3" fmla="*/ 469621 w 570181"/>
                <a:gd name="connsiteY3" fmla="*/ 94411 h 471153"/>
                <a:gd name="connsiteX4" fmla="*/ 450160 w 570181"/>
                <a:gd name="connsiteY4" fmla="*/ 93546 h 471153"/>
                <a:gd name="connsiteX5" fmla="*/ 448594 w 570181"/>
                <a:gd name="connsiteY5" fmla="*/ 38544 h 471153"/>
                <a:gd name="connsiteX6" fmla="*/ 432761 w 570181"/>
                <a:gd name="connsiteY6" fmla="*/ 76 h 471153"/>
                <a:gd name="connsiteX7" fmla="*/ 396395 w 570181"/>
                <a:gd name="connsiteY7" fmla="*/ 40400 h 471153"/>
                <a:gd name="connsiteX8" fmla="*/ 358422 w 570181"/>
                <a:gd name="connsiteY8" fmla="*/ 62376 h 471153"/>
                <a:gd name="connsiteX9" fmla="*/ 317192 w 570181"/>
                <a:gd name="connsiteY9" fmla="*/ 75198 h 471153"/>
                <a:gd name="connsiteX10" fmla="*/ 282435 w 570181"/>
                <a:gd name="connsiteY10" fmla="*/ 64190 h 471153"/>
                <a:gd name="connsiteX11" fmla="*/ 249203 w 570181"/>
                <a:gd name="connsiteY11" fmla="*/ 51367 h 471153"/>
                <a:gd name="connsiteX12" fmla="*/ 215972 w 570181"/>
                <a:gd name="connsiteY12" fmla="*/ 44028 h 471153"/>
                <a:gd name="connsiteX13" fmla="*/ 184389 w 570181"/>
                <a:gd name="connsiteY13" fmla="*/ 66045 h 471153"/>
                <a:gd name="connsiteX14" fmla="*/ 160640 w 570181"/>
                <a:gd name="connsiteY14" fmla="*/ 111852 h 471153"/>
                <a:gd name="connsiteX15" fmla="*/ 103700 w 570181"/>
                <a:gd name="connsiteY15" fmla="*/ 150279 h 471153"/>
                <a:gd name="connsiteX16" fmla="*/ 68902 w 570181"/>
                <a:gd name="connsiteY16" fmla="*/ 164957 h 471153"/>
                <a:gd name="connsiteX17" fmla="*/ 40412 w 570181"/>
                <a:gd name="connsiteY17" fmla="*/ 155804 h 471153"/>
                <a:gd name="connsiteX18" fmla="*/ 23013 w 570181"/>
                <a:gd name="connsiteY18" fmla="*/ 177821 h 471153"/>
                <a:gd name="connsiteX19" fmla="*/ 7222 w 570181"/>
                <a:gd name="connsiteY19" fmla="*/ 214392 h 471153"/>
                <a:gd name="connsiteX20" fmla="*/ 2480 w 570181"/>
                <a:gd name="connsiteY20" fmla="*/ 254716 h 471153"/>
                <a:gd name="connsiteX21" fmla="*/ 2480 w 570181"/>
                <a:gd name="connsiteY21" fmla="*/ 304192 h 471153"/>
                <a:gd name="connsiteX22" fmla="*/ 8789 w 570181"/>
                <a:gd name="connsiteY22" fmla="*/ 357297 h 471153"/>
                <a:gd name="connsiteX23" fmla="*/ 48328 w 570181"/>
                <a:gd name="connsiteY23" fmla="*/ 381087 h 471153"/>
                <a:gd name="connsiteX24" fmla="*/ 7098 w 570181"/>
                <a:gd name="connsiteY24" fmla="*/ 447056 h 471153"/>
                <a:gd name="connsiteX25" fmla="*/ 15344 w 570181"/>
                <a:gd name="connsiteY25" fmla="*/ 462476 h 471153"/>
                <a:gd name="connsiteX26" fmla="*/ 76942 w 570181"/>
                <a:gd name="connsiteY26" fmla="*/ 470310 h 471153"/>
                <a:gd name="connsiteX27" fmla="*/ 238030 w 570181"/>
                <a:gd name="connsiteY27" fmla="*/ 447014 h 471153"/>
                <a:gd name="connsiteX28" fmla="*/ 234484 w 570181"/>
                <a:gd name="connsiteY28" fmla="*/ 400383 h 471153"/>
                <a:gd name="connsiteX29" fmla="*/ 266438 w 570181"/>
                <a:gd name="connsiteY29" fmla="*/ 378407 h 471153"/>
                <a:gd name="connsiteX30" fmla="*/ 293691 w 570181"/>
                <a:gd name="connsiteY30" fmla="*/ 370161 h 471153"/>
                <a:gd name="connsiteX31" fmla="*/ 336365 w 570181"/>
                <a:gd name="connsiteY31" fmla="*/ 353669 h 471153"/>
                <a:gd name="connsiteX32" fmla="*/ 355289 w 570181"/>
                <a:gd name="connsiteY32" fmla="*/ 333053 h 471153"/>
                <a:gd name="connsiteX33" fmla="*/ 368318 w 570181"/>
                <a:gd name="connsiteY33" fmla="*/ 283577 h 471153"/>
                <a:gd name="connsiteX34" fmla="*/ 395571 w 570181"/>
                <a:gd name="connsiteY34" fmla="*/ 264364 h 471153"/>
                <a:gd name="connsiteX35" fmla="*/ 382543 w 570181"/>
                <a:gd name="connsiteY35" fmla="*/ 234183 h 471153"/>
                <a:gd name="connsiteX36" fmla="*/ 427566 w 570181"/>
                <a:gd name="connsiteY36" fmla="*/ 235544 h 471153"/>
                <a:gd name="connsiteX37" fmla="*/ 431071 w 570181"/>
                <a:gd name="connsiteY37" fmla="*/ 198436 h 471153"/>
                <a:gd name="connsiteX38" fmla="*/ 450078 w 570181"/>
                <a:gd name="connsiteY38" fmla="*/ 165452 h 471153"/>
                <a:gd name="connsiteX39" fmla="*/ 442945 w 570181"/>
                <a:gd name="connsiteY39" fmla="*/ 137992 h 471153"/>
                <a:gd name="connsiteX40" fmla="*/ 448883 w 570181"/>
                <a:gd name="connsiteY40" fmla="*/ 114656 h 471153"/>
                <a:gd name="connsiteX41" fmla="*/ 454861 w 570181"/>
                <a:gd name="connsiteY41" fmla="*/ 111728 h 471153"/>
                <a:gd name="connsiteX42" fmla="*/ 475476 w 570181"/>
                <a:gd name="connsiteY42" fmla="*/ 103482 h 471153"/>
                <a:gd name="connsiteX43" fmla="*/ 529529 w 570181"/>
                <a:gd name="connsiteY43" fmla="*/ 84846 h 471153"/>
                <a:gd name="connsiteX44" fmla="*/ 570182 w 570181"/>
                <a:gd name="connsiteY44" fmla="*/ 70622 h 471153"/>
                <a:gd name="connsiteX45" fmla="*/ 549402 w 570181"/>
                <a:gd name="connsiteY45" fmla="*/ 65963 h 471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570181" h="471153">
                  <a:moveTo>
                    <a:pt x="549402" y="65963"/>
                  </a:moveTo>
                  <a:cubicBezTo>
                    <a:pt x="541156" y="67323"/>
                    <a:pt x="542887" y="59118"/>
                    <a:pt x="533982" y="52934"/>
                  </a:cubicBezTo>
                  <a:cubicBezTo>
                    <a:pt x="526973" y="48027"/>
                    <a:pt x="505821" y="70250"/>
                    <a:pt x="490236" y="86165"/>
                  </a:cubicBezTo>
                  <a:cubicBezTo>
                    <a:pt x="482939" y="88969"/>
                    <a:pt x="475724" y="92144"/>
                    <a:pt x="469621" y="94411"/>
                  </a:cubicBezTo>
                  <a:cubicBezTo>
                    <a:pt x="460922" y="97421"/>
                    <a:pt x="453789" y="98535"/>
                    <a:pt x="450160" y="93546"/>
                  </a:cubicBezTo>
                  <a:cubicBezTo>
                    <a:pt x="440678" y="80723"/>
                    <a:pt x="465993" y="47739"/>
                    <a:pt x="448594" y="38544"/>
                  </a:cubicBezTo>
                  <a:cubicBezTo>
                    <a:pt x="431195" y="29350"/>
                    <a:pt x="446985" y="1891"/>
                    <a:pt x="432761" y="76"/>
                  </a:cubicBezTo>
                  <a:cubicBezTo>
                    <a:pt x="418537" y="-1738"/>
                    <a:pt x="396395" y="27536"/>
                    <a:pt x="396395" y="40400"/>
                  </a:cubicBezTo>
                  <a:cubicBezTo>
                    <a:pt x="396395" y="53264"/>
                    <a:pt x="358422" y="49553"/>
                    <a:pt x="358422" y="62376"/>
                  </a:cubicBezTo>
                  <a:cubicBezTo>
                    <a:pt x="358422" y="75198"/>
                    <a:pt x="323624" y="60520"/>
                    <a:pt x="317192" y="75198"/>
                  </a:cubicBezTo>
                  <a:cubicBezTo>
                    <a:pt x="310761" y="89876"/>
                    <a:pt x="293484" y="64190"/>
                    <a:pt x="282435" y="64190"/>
                  </a:cubicBezTo>
                  <a:cubicBezTo>
                    <a:pt x="271385" y="64190"/>
                    <a:pt x="263427" y="45883"/>
                    <a:pt x="249203" y="51367"/>
                  </a:cubicBezTo>
                  <a:cubicBezTo>
                    <a:pt x="234979" y="56851"/>
                    <a:pt x="227063" y="45883"/>
                    <a:pt x="215972" y="44028"/>
                  </a:cubicBezTo>
                  <a:cubicBezTo>
                    <a:pt x="204880" y="42173"/>
                    <a:pt x="197005" y="71529"/>
                    <a:pt x="184389" y="66045"/>
                  </a:cubicBezTo>
                  <a:cubicBezTo>
                    <a:pt x="171772" y="60561"/>
                    <a:pt x="165382" y="93546"/>
                    <a:pt x="160640" y="111852"/>
                  </a:cubicBezTo>
                  <a:cubicBezTo>
                    <a:pt x="155899" y="130158"/>
                    <a:pt x="102093" y="130158"/>
                    <a:pt x="103700" y="150279"/>
                  </a:cubicBezTo>
                  <a:cubicBezTo>
                    <a:pt x="105309" y="170399"/>
                    <a:pt x="72077" y="177821"/>
                    <a:pt x="68902" y="164957"/>
                  </a:cubicBezTo>
                  <a:cubicBezTo>
                    <a:pt x="65727" y="152093"/>
                    <a:pt x="45153" y="159473"/>
                    <a:pt x="40412" y="155804"/>
                  </a:cubicBezTo>
                  <a:cubicBezTo>
                    <a:pt x="35670" y="152134"/>
                    <a:pt x="21446" y="159473"/>
                    <a:pt x="23013" y="177821"/>
                  </a:cubicBezTo>
                  <a:cubicBezTo>
                    <a:pt x="24579" y="196168"/>
                    <a:pt x="8789" y="207053"/>
                    <a:pt x="7222" y="214392"/>
                  </a:cubicBezTo>
                  <a:cubicBezTo>
                    <a:pt x="5655" y="221731"/>
                    <a:pt x="-3869" y="243748"/>
                    <a:pt x="2480" y="254716"/>
                  </a:cubicBezTo>
                  <a:cubicBezTo>
                    <a:pt x="8829" y="265683"/>
                    <a:pt x="-5478" y="284031"/>
                    <a:pt x="2480" y="304192"/>
                  </a:cubicBezTo>
                  <a:cubicBezTo>
                    <a:pt x="10438" y="324354"/>
                    <a:pt x="5655" y="349958"/>
                    <a:pt x="8789" y="357297"/>
                  </a:cubicBezTo>
                  <a:cubicBezTo>
                    <a:pt x="11921" y="364636"/>
                    <a:pt x="41773" y="360967"/>
                    <a:pt x="48328" y="381087"/>
                  </a:cubicBezTo>
                  <a:cubicBezTo>
                    <a:pt x="54884" y="401207"/>
                    <a:pt x="8789" y="436089"/>
                    <a:pt x="7098" y="447056"/>
                  </a:cubicBezTo>
                  <a:cubicBezTo>
                    <a:pt x="6397" y="451632"/>
                    <a:pt x="10231" y="456869"/>
                    <a:pt x="15344" y="462476"/>
                  </a:cubicBezTo>
                  <a:cubicBezTo>
                    <a:pt x="36042" y="463544"/>
                    <a:pt x="56616" y="466162"/>
                    <a:pt x="76942" y="470310"/>
                  </a:cubicBezTo>
                  <a:cubicBezTo>
                    <a:pt x="103000" y="475835"/>
                    <a:pt x="235679" y="452498"/>
                    <a:pt x="238030" y="447014"/>
                  </a:cubicBezTo>
                  <a:cubicBezTo>
                    <a:pt x="240380" y="441531"/>
                    <a:pt x="233288" y="407186"/>
                    <a:pt x="234484" y="400383"/>
                  </a:cubicBezTo>
                  <a:cubicBezTo>
                    <a:pt x="235679" y="393580"/>
                    <a:pt x="252254" y="377046"/>
                    <a:pt x="266438" y="378407"/>
                  </a:cubicBezTo>
                  <a:cubicBezTo>
                    <a:pt x="280621" y="379768"/>
                    <a:pt x="293691" y="382530"/>
                    <a:pt x="293691" y="370161"/>
                  </a:cubicBezTo>
                  <a:cubicBezTo>
                    <a:pt x="293691" y="357792"/>
                    <a:pt x="332777" y="342743"/>
                    <a:pt x="336365" y="353669"/>
                  </a:cubicBezTo>
                  <a:cubicBezTo>
                    <a:pt x="339951" y="364595"/>
                    <a:pt x="354094" y="360596"/>
                    <a:pt x="355289" y="333053"/>
                  </a:cubicBezTo>
                  <a:cubicBezTo>
                    <a:pt x="356485" y="305511"/>
                    <a:pt x="354094" y="285020"/>
                    <a:pt x="368318" y="283577"/>
                  </a:cubicBezTo>
                  <a:cubicBezTo>
                    <a:pt x="382543" y="282134"/>
                    <a:pt x="396767" y="272610"/>
                    <a:pt x="395571" y="264364"/>
                  </a:cubicBezTo>
                  <a:cubicBezTo>
                    <a:pt x="394375" y="256117"/>
                    <a:pt x="377801" y="239625"/>
                    <a:pt x="382543" y="234183"/>
                  </a:cubicBezTo>
                  <a:cubicBezTo>
                    <a:pt x="387284" y="228740"/>
                    <a:pt x="422825" y="247913"/>
                    <a:pt x="427566" y="235544"/>
                  </a:cubicBezTo>
                  <a:cubicBezTo>
                    <a:pt x="432308" y="223174"/>
                    <a:pt x="425175" y="209486"/>
                    <a:pt x="431071" y="198436"/>
                  </a:cubicBezTo>
                  <a:cubicBezTo>
                    <a:pt x="436967" y="187386"/>
                    <a:pt x="451232" y="176501"/>
                    <a:pt x="450078" y="165452"/>
                  </a:cubicBezTo>
                  <a:cubicBezTo>
                    <a:pt x="448924" y="154402"/>
                    <a:pt x="451232" y="147599"/>
                    <a:pt x="442945" y="137992"/>
                  </a:cubicBezTo>
                  <a:cubicBezTo>
                    <a:pt x="434657" y="128386"/>
                    <a:pt x="438204" y="116016"/>
                    <a:pt x="448883" y="114656"/>
                  </a:cubicBezTo>
                  <a:cubicBezTo>
                    <a:pt x="451108" y="114198"/>
                    <a:pt x="453129" y="113192"/>
                    <a:pt x="454861" y="111728"/>
                  </a:cubicBezTo>
                  <a:cubicBezTo>
                    <a:pt x="462283" y="110673"/>
                    <a:pt x="469374" y="107845"/>
                    <a:pt x="475476" y="103482"/>
                  </a:cubicBezTo>
                  <a:cubicBezTo>
                    <a:pt x="490277" y="90783"/>
                    <a:pt x="518644" y="80269"/>
                    <a:pt x="529529" y="84846"/>
                  </a:cubicBezTo>
                  <a:cubicBezTo>
                    <a:pt x="538435" y="88598"/>
                    <a:pt x="558143" y="85465"/>
                    <a:pt x="570182" y="70622"/>
                  </a:cubicBezTo>
                  <a:cubicBezTo>
                    <a:pt x="563874" y="67072"/>
                    <a:pt x="556617" y="65451"/>
                    <a:pt x="549402" y="6596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41" name="Freeform: Shape 240">
              <a:extLst>
                <a:ext uri="{FF2B5EF4-FFF2-40B4-BE49-F238E27FC236}">
                  <a16:creationId xmlns:a16="http://schemas.microsoft.com/office/drawing/2014/main" id="{19921CA1-3C7C-D87D-EA39-885BAABFE3CE}"/>
                </a:ext>
              </a:extLst>
            </p:cNvPr>
            <p:cNvSpPr/>
            <p:nvPr>
              <p:custDataLst>
                <p:tags r:id="rId234"/>
              </p:custDataLst>
            </p:nvPr>
          </p:nvSpPr>
          <p:spPr>
            <a:xfrm>
              <a:off x="9953833" y="5441636"/>
              <a:ext cx="387853" cy="462239"/>
            </a:xfrm>
            <a:custGeom>
              <a:avLst/>
              <a:gdLst>
                <a:gd name="connsiteX0" fmla="*/ 55561 w 452888"/>
                <a:gd name="connsiteY0" fmla="*/ 94549 h 539748"/>
                <a:gd name="connsiteX1" fmla="*/ 110028 w 452888"/>
                <a:gd name="connsiteY1" fmla="*/ 160518 h 539748"/>
                <a:gd name="connsiteX2" fmla="*/ 153855 w 452888"/>
                <a:gd name="connsiteY2" fmla="*/ 253781 h 539748"/>
                <a:gd name="connsiteX3" fmla="*/ 209516 w 452888"/>
                <a:gd name="connsiteY3" fmla="*/ 339169 h 539748"/>
                <a:gd name="connsiteX4" fmla="*/ 252684 w 452888"/>
                <a:gd name="connsiteY4" fmla="*/ 414827 h 539748"/>
                <a:gd name="connsiteX5" fmla="*/ 273506 w 452888"/>
                <a:gd name="connsiteY5" fmla="*/ 440349 h 539748"/>
                <a:gd name="connsiteX6" fmla="*/ 345742 w 452888"/>
                <a:gd name="connsiteY6" fmla="*/ 513038 h 539748"/>
                <a:gd name="connsiteX7" fmla="*/ 365903 w 452888"/>
                <a:gd name="connsiteY7" fmla="*/ 536374 h 539748"/>
                <a:gd name="connsiteX8" fmla="*/ 408536 w 452888"/>
                <a:gd name="connsiteY8" fmla="*/ 537776 h 539748"/>
                <a:gd name="connsiteX9" fmla="*/ 422760 w 452888"/>
                <a:gd name="connsiteY9" fmla="*/ 469169 h 539748"/>
                <a:gd name="connsiteX10" fmla="*/ 428697 w 452888"/>
                <a:gd name="connsiteY10" fmla="*/ 421135 h 539748"/>
                <a:gd name="connsiteX11" fmla="*/ 445189 w 452888"/>
                <a:gd name="connsiteY11" fmla="*/ 410168 h 539748"/>
                <a:gd name="connsiteX12" fmla="*/ 446426 w 452888"/>
                <a:gd name="connsiteY12" fmla="*/ 381307 h 539748"/>
                <a:gd name="connsiteX13" fmla="*/ 413194 w 452888"/>
                <a:gd name="connsiteY13" fmla="*/ 344199 h 539748"/>
                <a:gd name="connsiteX14" fmla="*/ 408494 w 452888"/>
                <a:gd name="connsiteY14" fmla="*/ 364814 h 539748"/>
                <a:gd name="connsiteX15" fmla="*/ 424574 w 452888"/>
                <a:gd name="connsiteY15" fmla="*/ 382709 h 539748"/>
                <a:gd name="connsiteX16" fmla="*/ 423873 w 452888"/>
                <a:gd name="connsiteY16" fmla="*/ 386791 h 539748"/>
                <a:gd name="connsiteX17" fmla="*/ 399135 w 452888"/>
                <a:gd name="connsiteY17" fmla="*/ 378544 h 539748"/>
                <a:gd name="connsiteX18" fmla="*/ 374397 w 452888"/>
                <a:gd name="connsiteY18" fmla="*/ 353806 h 539748"/>
                <a:gd name="connsiteX19" fmla="*/ 338857 w 452888"/>
                <a:gd name="connsiteY19" fmla="*/ 312576 h 539748"/>
                <a:gd name="connsiteX20" fmla="*/ 330611 w 452888"/>
                <a:gd name="connsiteY20" fmla="*/ 279591 h 539748"/>
                <a:gd name="connsiteX21" fmla="*/ 310448 w 452888"/>
                <a:gd name="connsiteY21" fmla="*/ 237082 h 539748"/>
                <a:gd name="connsiteX22" fmla="*/ 289132 w 452888"/>
                <a:gd name="connsiteY22" fmla="*/ 216467 h 539748"/>
                <a:gd name="connsiteX23" fmla="*/ 269011 w 452888"/>
                <a:gd name="connsiteY23" fmla="*/ 193172 h 539748"/>
                <a:gd name="connsiteX24" fmla="*/ 244273 w 452888"/>
                <a:gd name="connsiteY24" fmla="*/ 179484 h 539748"/>
                <a:gd name="connsiteX25" fmla="*/ 213474 w 452888"/>
                <a:gd name="connsiteY25" fmla="*/ 164352 h 539748"/>
                <a:gd name="connsiteX26" fmla="*/ 179129 w 452888"/>
                <a:gd name="connsiteY26" fmla="*/ 124564 h 539748"/>
                <a:gd name="connsiteX27" fmla="*/ 111594 w 452888"/>
                <a:gd name="connsiteY27" fmla="*/ 54473 h 539748"/>
                <a:gd name="connsiteX28" fmla="*/ 53582 w 452888"/>
                <a:gd name="connsiteY28" fmla="*/ 22932 h 539748"/>
                <a:gd name="connsiteX29" fmla="*/ 1426 w 452888"/>
                <a:gd name="connsiteY29" fmla="*/ 5079 h 539748"/>
                <a:gd name="connsiteX30" fmla="*/ 55561 w 452888"/>
                <a:gd name="connsiteY30" fmla="*/ 94549 h 539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452887" h="539748">
                  <a:moveTo>
                    <a:pt x="55561" y="94549"/>
                  </a:moveTo>
                  <a:cubicBezTo>
                    <a:pt x="75682" y="108279"/>
                    <a:pt x="86320" y="157590"/>
                    <a:pt x="110028" y="160518"/>
                  </a:cubicBezTo>
                  <a:cubicBezTo>
                    <a:pt x="133735" y="163445"/>
                    <a:pt x="136084" y="249699"/>
                    <a:pt x="153855" y="253781"/>
                  </a:cubicBezTo>
                  <a:cubicBezTo>
                    <a:pt x="168451" y="257162"/>
                    <a:pt x="196611" y="303258"/>
                    <a:pt x="209516" y="339169"/>
                  </a:cubicBezTo>
                  <a:cubicBezTo>
                    <a:pt x="228565" y="361434"/>
                    <a:pt x="243201" y="387120"/>
                    <a:pt x="252684" y="414827"/>
                  </a:cubicBezTo>
                  <a:cubicBezTo>
                    <a:pt x="260972" y="422125"/>
                    <a:pt x="267981" y="430783"/>
                    <a:pt x="273506" y="440349"/>
                  </a:cubicBezTo>
                  <a:cubicBezTo>
                    <a:pt x="286534" y="466448"/>
                    <a:pt x="338650" y="502195"/>
                    <a:pt x="345742" y="513038"/>
                  </a:cubicBezTo>
                  <a:cubicBezTo>
                    <a:pt x="352833" y="523882"/>
                    <a:pt x="359966" y="548743"/>
                    <a:pt x="365903" y="536374"/>
                  </a:cubicBezTo>
                  <a:cubicBezTo>
                    <a:pt x="371841" y="524005"/>
                    <a:pt x="396702" y="536374"/>
                    <a:pt x="408536" y="537776"/>
                  </a:cubicBezTo>
                  <a:cubicBezTo>
                    <a:pt x="420368" y="539178"/>
                    <a:pt x="423915" y="488300"/>
                    <a:pt x="422760" y="469169"/>
                  </a:cubicBezTo>
                  <a:cubicBezTo>
                    <a:pt x="421605" y="450038"/>
                    <a:pt x="428697" y="430742"/>
                    <a:pt x="428697" y="421135"/>
                  </a:cubicBezTo>
                  <a:cubicBezTo>
                    <a:pt x="428697" y="411529"/>
                    <a:pt x="434594" y="407447"/>
                    <a:pt x="445189" y="410168"/>
                  </a:cubicBezTo>
                  <a:cubicBezTo>
                    <a:pt x="455786" y="412889"/>
                    <a:pt x="454714" y="384069"/>
                    <a:pt x="446426" y="381307"/>
                  </a:cubicBezTo>
                  <a:cubicBezTo>
                    <a:pt x="438139" y="378544"/>
                    <a:pt x="433398" y="344199"/>
                    <a:pt x="413194" y="344199"/>
                  </a:cubicBezTo>
                  <a:cubicBezTo>
                    <a:pt x="392992" y="344199"/>
                    <a:pt x="396702" y="363371"/>
                    <a:pt x="408494" y="364814"/>
                  </a:cubicBezTo>
                  <a:cubicBezTo>
                    <a:pt x="417895" y="365309"/>
                    <a:pt x="425110" y="373349"/>
                    <a:pt x="424574" y="382709"/>
                  </a:cubicBezTo>
                  <a:cubicBezTo>
                    <a:pt x="424533" y="384110"/>
                    <a:pt x="424286" y="385471"/>
                    <a:pt x="423873" y="386791"/>
                  </a:cubicBezTo>
                  <a:cubicBezTo>
                    <a:pt x="420327" y="396397"/>
                    <a:pt x="415627" y="377184"/>
                    <a:pt x="399135" y="378544"/>
                  </a:cubicBezTo>
                  <a:cubicBezTo>
                    <a:pt x="382643" y="379905"/>
                    <a:pt x="393198" y="355167"/>
                    <a:pt x="374397" y="353806"/>
                  </a:cubicBezTo>
                  <a:cubicBezTo>
                    <a:pt x="355595" y="352445"/>
                    <a:pt x="359018" y="312576"/>
                    <a:pt x="338857" y="312576"/>
                  </a:cubicBezTo>
                  <a:cubicBezTo>
                    <a:pt x="318694" y="312576"/>
                    <a:pt x="317540" y="293362"/>
                    <a:pt x="330611" y="279591"/>
                  </a:cubicBezTo>
                  <a:cubicBezTo>
                    <a:pt x="343680" y="265820"/>
                    <a:pt x="310448" y="253533"/>
                    <a:pt x="310448" y="237082"/>
                  </a:cubicBezTo>
                  <a:cubicBezTo>
                    <a:pt x="310448" y="220632"/>
                    <a:pt x="289132" y="230238"/>
                    <a:pt x="289132" y="216467"/>
                  </a:cubicBezTo>
                  <a:cubicBezTo>
                    <a:pt x="289132" y="202696"/>
                    <a:pt x="279690" y="209664"/>
                    <a:pt x="269011" y="193172"/>
                  </a:cubicBezTo>
                  <a:cubicBezTo>
                    <a:pt x="258333" y="176680"/>
                    <a:pt x="253591" y="191770"/>
                    <a:pt x="244273" y="179484"/>
                  </a:cubicBezTo>
                  <a:cubicBezTo>
                    <a:pt x="234955" y="167197"/>
                    <a:pt x="221761" y="160270"/>
                    <a:pt x="213474" y="164352"/>
                  </a:cubicBezTo>
                  <a:cubicBezTo>
                    <a:pt x="205187" y="168434"/>
                    <a:pt x="186221" y="146541"/>
                    <a:pt x="179129" y="124564"/>
                  </a:cubicBezTo>
                  <a:cubicBezTo>
                    <a:pt x="173481" y="107124"/>
                    <a:pt x="118727" y="77933"/>
                    <a:pt x="111594" y="54473"/>
                  </a:cubicBezTo>
                  <a:cubicBezTo>
                    <a:pt x="104461" y="31013"/>
                    <a:pt x="85536" y="21488"/>
                    <a:pt x="53582" y="22932"/>
                  </a:cubicBezTo>
                  <a:cubicBezTo>
                    <a:pt x="21629" y="24375"/>
                    <a:pt x="8930" y="-13351"/>
                    <a:pt x="1426" y="5079"/>
                  </a:cubicBezTo>
                  <a:cubicBezTo>
                    <a:pt x="-8429" y="28704"/>
                    <a:pt x="35317" y="80819"/>
                    <a:pt x="55561" y="94549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42" name="Freeform: Shape 241">
              <a:extLst>
                <a:ext uri="{FF2B5EF4-FFF2-40B4-BE49-F238E27FC236}">
                  <a16:creationId xmlns:a16="http://schemas.microsoft.com/office/drawing/2014/main" id="{20B04394-B55D-FC14-78E1-86638DCB3F32}"/>
                </a:ext>
              </a:extLst>
            </p:cNvPr>
            <p:cNvSpPr/>
            <p:nvPr>
              <p:custDataLst>
                <p:tags r:id="rId235"/>
              </p:custDataLst>
            </p:nvPr>
          </p:nvSpPr>
          <p:spPr>
            <a:xfrm>
              <a:off x="10410613" y="5493963"/>
              <a:ext cx="350201" cy="336289"/>
            </a:xfrm>
            <a:custGeom>
              <a:avLst/>
              <a:gdLst>
                <a:gd name="connsiteX0" fmla="*/ 322924 w 408923"/>
                <a:gd name="connsiteY0" fmla="*/ 272132 h 392678"/>
                <a:gd name="connsiteX1" fmla="*/ 346590 w 408923"/>
                <a:gd name="connsiteY1" fmla="*/ 200762 h 392678"/>
                <a:gd name="connsiteX2" fmla="*/ 406992 w 408923"/>
                <a:gd name="connsiteY2" fmla="*/ 161015 h 392678"/>
                <a:gd name="connsiteX3" fmla="*/ 379780 w 408923"/>
                <a:gd name="connsiteY3" fmla="*/ 123908 h 392678"/>
                <a:gd name="connsiteX4" fmla="*/ 366710 w 408923"/>
                <a:gd name="connsiteY4" fmla="*/ 86801 h 392678"/>
                <a:gd name="connsiteX5" fmla="*/ 353723 w 408923"/>
                <a:gd name="connsiteY5" fmla="*/ 45570 h 392678"/>
                <a:gd name="connsiteX6" fmla="*/ 356072 w 408923"/>
                <a:gd name="connsiteY6" fmla="*/ 11267 h 392678"/>
                <a:gd name="connsiteX7" fmla="*/ 362010 w 408923"/>
                <a:gd name="connsiteY7" fmla="*/ 7762 h 392678"/>
                <a:gd name="connsiteX8" fmla="*/ 343044 w 408923"/>
                <a:gd name="connsiteY8" fmla="*/ 299 h 392678"/>
                <a:gd name="connsiteX9" fmla="*/ 281445 w 408923"/>
                <a:gd name="connsiteY9" fmla="*/ 30480 h 392678"/>
                <a:gd name="connsiteX10" fmla="*/ 257738 w 408923"/>
                <a:gd name="connsiteY10" fmla="*/ 71710 h 392678"/>
                <a:gd name="connsiteX11" fmla="*/ 245904 w 408923"/>
                <a:gd name="connsiteY11" fmla="*/ 115621 h 392678"/>
                <a:gd name="connsiteX12" fmla="*/ 210364 w 408923"/>
                <a:gd name="connsiteY12" fmla="*/ 143080 h 392678"/>
                <a:gd name="connsiteX13" fmla="*/ 172473 w 408923"/>
                <a:gd name="connsiteY13" fmla="*/ 134834 h 392678"/>
                <a:gd name="connsiteX14" fmla="*/ 132191 w 408923"/>
                <a:gd name="connsiteY14" fmla="*/ 154048 h 392678"/>
                <a:gd name="connsiteX15" fmla="*/ 80076 w 408923"/>
                <a:gd name="connsiteY15" fmla="*/ 159531 h 392678"/>
                <a:gd name="connsiteX16" fmla="*/ 47091 w 408923"/>
                <a:gd name="connsiteY16" fmla="*/ 140359 h 392678"/>
                <a:gd name="connsiteX17" fmla="*/ 35135 w 408923"/>
                <a:gd name="connsiteY17" fmla="*/ 110673 h 392678"/>
                <a:gd name="connsiteX18" fmla="*/ 30516 w 408923"/>
                <a:gd name="connsiteY18" fmla="*/ 110137 h 392678"/>
                <a:gd name="connsiteX19" fmla="*/ 4458 w 408923"/>
                <a:gd name="connsiteY19" fmla="*/ 174663 h 392678"/>
                <a:gd name="connsiteX20" fmla="*/ 25775 w 408923"/>
                <a:gd name="connsiteY20" fmla="*/ 239147 h 392678"/>
                <a:gd name="connsiteX21" fmla="*/ 60161 w 408923"/>
                <a:gd name="connsiteY21" fmla="*/ 285738 h 392678"/>
                <a:gd name="connsiteX22" fmla="*/ 98052 w 408923"/>
                <a:gd name="connsiteY22" fmla="*/ 347583 h 392678"/>
                <a:gd name="connsiteX23" fmla="*/ 130047 w 408923"/>
                <a:gd name="connsiteY23" fmla="*/ 365395 h 392678"/>
                <a:gd name="connsiteX24" fmla="*/ 183358 w 408923"/>
                <a:gd name="connsiteY24" fmla="*/ 358551 h 392678"/>
                <a:gd name="connsiteX25" fmla="*/ 234278 w 408923"/>
                <a:gd name="connsiteY25" fmla="*/ 385969 h 392678"/>
                <a:gd name="connsiteX26" fmla="*/ 292330 w 408923"/>
                <a:gd name="connsiteY26" fmla="*/ 375043 h 392678"/>
                <a:gd name="connsiteX27" fmla="*/ 322924 w 408923"/>
                <a:gd name="connsiteY27" fmla="*/ 272132 h 392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408922" h="392678">
                  <a:moveTo>
                    <a:pt x="322924" y="272132"/>
                  </a:moveTo>
                  <a:cubicBezTo>
                    <a:pt x="344239" y="257041"/>
                    <a:pt x="348980" y="228221"/>
                    <a:pt x="346590" y="200762"/>
                  </a:cubicBezTo>
                  <a:cubicBezTo>
                    <a:pt x="344198" y="173302"/>
                    <a:pt x="398705" y="171900"/>
                    <a:pt x="406992" y="161015"/>
                  </a:cubicBezTo>
                  <a:cubicBezTo>
                    <a:pt x="415279" y="150130"/>
                    <a:pt x="395158" y="132154"/>
                    <a:pt x="379780" y="123908"/>
                  </a:cubicBezTo>
                  <a:cubicBezTo>
                    <a:pt x="364401" y="115662"/>
                    <a:pt x="377389" y="97892"/>
                    <a:pt x="366710" y="86801"/>
                  </a:cubicBezTo>
                  <a:cubicBezTo>
                    <a:pt x="356031" y="75710"/>
                    <a:pt x="338302" y="47013"/>
                    <a:pt x="353723" y="45570"/>
                  </a:cubicBezTo>
                  <a:cubicBezTo>
                    <a:pt x="369143" y="44127"/>
                    <a:pt x="343044" y="19513"/>
                    <a:pt x="356072" y="11267"/>
                  </a:cubicBezTo>
                  <a:cubicBezTo>
                    <a:pt x="357804" y="10194"/>
                    <a:pt x="359825" y="8999"/>
                    <a:pt x="362010" y="7762"/>
                  </a:cubicBezTo>
                  <a:cubicBezTo>
                    <a:pt x="356320" y="3927"/>
                    <a:pt x="349846" y="1371"/>
                    <a:pt x="343044" y="299"/>
                  </a:cubicBezTo>
                  <a:cubicBezTo>
                    <a:pt x="324077" y="299"/>
                    <a:pt x="279095" y="-5184"/>
                    <a:pt x="281445" y="30480"/>
                  </a:cubicBezTo>
                  <a:cubicBezTo>
                    <a:pt x="283795" y="66144"/>
                    <a:pt x="255388" y="52414"/>
                    <a:pt x="257738" y="71710"/>
                  </a:cubicBezTo>
                  <a:cubicBezTo>
                    <a:pt x="260087" y="91006"/>
                    <a:pt x="243555" y="90924"/>
                    <a:pt x="245904" y="115621"/>
                  </a:cubicBezTo>
                  <a:cubicBezTo>
                    <a:pt x="248255" y="140318"/>
                    <a:pt x="234072" y="129309"/>
                    <a:pt x="210364" y="143080"/>
                  </a:cubicBezTo>
                  <a:cubicBezTo>
                    <a:pt x="186657" y="156851"/>
                    <a:pt x="196140" y="134834"/>
                    <a:pt x="172473" y="134834"/>
                  </a:cubicBezTo>
                  <a:cubicBezTo>
                    <a:pt x="148806" y="134834"/>
                    <a:pt x="146416" y="148605"/>
                    <a:pt x="132191" y="154048"/>
                  </a:cubicBezTo>
                  <a:cubicBezTo>
                    <a:pt x="117966" y="159490"/>
                    <a:pt x="89559" y="151326"/>
                    <a:pt x="80076" y="159531"/>
                  </a:cubicBezTo>
                  <a:cubicBezTo>
                    <a:pt x="70592" y="167736"/>
                    <a:pt x="56409" y="140359"/>
                    <a:pt x="47091" y="140359"/>
                  </a:cubicBezTo>
                  <a:cubicBezTo>
                    <a:pt x="42267" y="140359"/>
                    <a:pt x="38103" y="125351"/>
                    <a:pt x="35135" y="110673"/>
                  </a:cubicBezTo>
                  <a:cubicBezTo>
                    <a:pt x="33650" y="110261"/>
                    <a:pt x="32084" y="110096"/>
                    <a:pt x="30516" y="110137"/>
                  </a:cubicBezTo>
                  <a:cubicBezTo>
                    <a:pt x="15179" y="111539"/>
                    <a:pt x="-10343" y="158665"/>
                    <a:pt x="4458" y="174663"/>
                  </a:cubicBezTo>
                  <a:cubicBezTo>
                    <a:pt x="22229" y="193876"/>
                    <a:pt x="17488" y="224139"/>
                    <a:pt x="25775" y="239147"/>
                  </a:cubicBezTo>
                  <a:cubicBezTo>
                    <a:pt x="34063" y="254155"/>
                    <a:pt x="60161" y="256917"/>
                    <a:pt x="60161" y="285738"/>
                  </a:cubicBezTo>
                  <a:cubicBezTo>
                    <a:pt x="60161" y="314558"/>
                    <a:pt x="82632" y="359952"/>
                    <a:pt x="98052" y="347583"/>
                  </a:cubicBezTo>
                  <a:cubicBezTo>
                    <a:pt x="113473" y="335214"/>
                    <a:pt x="125305" y="353067"/>
                    <a:pt x="130047" y="365395"/>
                  </a:cubicBezTo>
                  <a:cubicBezTo>
                    <a:pt x="134788" y="377723"/>
                    <a:pt x="171483" y="355788"/>
                    <a:pt x="183358" y="358551"/>
                  </a:cubicBezTo>
                  <a:cubicBezTo>
                    <a:pt x="195232" y="361313"/>
                    <a:pt x="231886" y="369518"/>
                    <a:pt x="234278" y="385969"/>
                  </a:cubicBezTo>
                  <a:cubicBezTo>
                    <a:pt x="236669" y="402420"/>
                    <a:pt x="269818" y="384608"/>
                    <a:pt x="292330" y="375043"/>
                  </a:cubicBezTo>
                  <a:cubicBezTo>
                    <a:pt x="314842" y="365477"/>
                    <a:pt x="301813" y="287387"/>
                    <a:pt x="322924" y="272132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43" name="Freeform: Shape 242">
              <a:extLst>
                <a:ext uri="{FF2B5EF4-FFF2-40B4-BE49-F238E27FC236}">
                  <a16:creationId xmlns:a16="http://schemas.microsoft.com/office/drawing/2014/main" id="{F9D651EF-2D6C-AFFC-F318-7F1C77AABA7F}"/>
                </a:ext>
              </a:extLst>
            </p:cNvPr>
            <p:cNvSpPr/>
            <p:nvPr>
              <p:custDataLst>
                <p:tags r:id="rId236"/>
              </p:custDataLst>
            </p:nvPr>
          </p:nvSpPr>
          <p:spPr>
            <a:xfrm>
              <a:off x="10751877" y="5604075"/>
              <a:ext cx="224394" cy="297578"/>
            </a:xfrm>
            <a:custGeom>
              <a:avLst/>
              <a:gdLst>
                <a:gd name="connsiteX0" fmla="*/ 32216 w 262020"/>
                <a:gd name="connsiteY0" fmla="*/ 243704 h 347476"/>
                <a:gd name="connsiteX1" fmla="*/ 44090 w 262020"/>
                <a:gd name="connsiteY1" fmla="*/ 293181 h 347476"/>
                <a:gd name="connsiteX2" fmla="*/ 48832 w 262020"/>
                <a:gd name="connsiteY2" fmla="*/ 346780 h 347476"/>
                <a:gd name="connsiteX3" fmla="*/ 68952 w 262020"/>
                <a:gd name="connsiteY3" fmla="*/ 301427 h 347476"/>
                <a:gd name="connsiteX4" fmla="*/ 64211 w 262020"/>
                <a:gd name="connsiteY4" fmla="*/ 216368 h 347476"/>
                <a:gd name="connsiteX5" fmla="*/ 90269 w 262020"/>
                <a:gd name="connsiteY5" fmla="*/ 235582 h 347476"/>
                <a:gd name="connsiteX6" fmla="*/ 110389 w 262020"/>
                <a:gd name="connsiteY6" fmla="*/ 282214 h 347476"/>
                <a:gd name="connsiteX7" fmla="*/ 147125 w 262020"/>
                <a:gd name="connsiteY7" fmla="*/ 287738 h 347476"/>
                <a:gd name="connsiteX8" fmla="*/ 149475 w 262020"/>
                <a:gd name="connsiteY8" fmla="*/ 252033 h 347476"/>
                <a:gd name="connsiteX9" fmla="*/ 141229 w 262020"/>
                <a:gd name="connsiteY9" fmla="*/ 198433 h 347476"/>
                <a:gd name="connsiteX10" fmla="*/ 128201 w 262020"/>
                <a:gd name="connsiteY10" fmla="*/ 160048 h 347476"/>
                <a:gd name="connsiteX11" fmla="*/ 188603 w 262020"/>
                <a:gd name="connsiteY11" fmla="*/ 109251 h 347476"/>
                <a:gd name="connsiteX12" fmla="*/ 106843 w 262020"/>
                <a:gd name="connsiteY12" fmla="*/ 136670 h 347476"/>
                <a:gd name="connsiteX13" fmla="*/ 57119 w 262020"/>
                <a:gd name="connsiteY13" fmla="*/ 91316 h 347476"/>
                <a:gd name="connsiteX14" fmla="*/ 189799 w 262020"/>
                <a:gd name="connsiteY14" fmla="*/ 57054 h 347476"/>
                <a:gd name="connsiteX15" fmla="*/ 259890 w 262020"/>
                <a:gd name="connsiteY15" fmla="*/ 9020 h 347476"/>
                <a:gd name="connsiteX16" fmla="*/ 217216 w 262020"/>
                <a:gd name="connsiteY16" fmla="*/ 28234 h 347476"/>
                <a:gd name="connsiteX17" fmla="*/ 116573 w 262020"/>
                <a:gd name="connsiteY17" fmla="*/ 15864 h 347476"/>
                <a:gd name="connsiteX18" fmla="*/ 67962 w 262020"/>
                <a:gd name="connsiteY18" fmla="*/ 39201 h 347476"/>
                <a:gd name="connsiteX19" fmla="*/ 39555 w 262020"/>
                <a:gd name="connsiteY19" fmla="*/ 107767 h 347476"/>
                <a:gd name="connsiteX20" fmla="*/ 7601 w 262020"/>
                <a:gd name="connsiteY20" fmla="*/ 196990 h 347476"/>
                <a:gd name="connsiteX21" fmla="*/ 32216 w 262020"/>
                <a:gd name="connsiteY21" fmla="*/ 243704 h 347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62020" h="347476">
                  <a:moveTo>
                    <a:pt x="32216" y="243704"/>
                  </a:moveTo>
                  <a:cubicBezTo>
                    <a:pt x="49986" y="245065"/>
                    <a:pt x="47595" y="275245"/>
                    <a:pt x="44090" y="293181"/>
                  </a:cubicBezTo>
                  <a:cubicBezTo>
                    <a:pt x="40586" y="311116"/>
                    <a:pt x="33329" y="353377"/>
                    <a:pt x="48832" y="346780"/>
                  </a:cubicBezTo>
                  <a:cubicBezTo>
                    <a:pt x="67756" y="338534"/>
                    <a:pt x="79590" y="311116"/>
                    <a:pt x="68952" y="301427"/>
                  </a:cubicBezTo>
                  <a:cubicBezTo>
                    <a:pt x="58315" y="291738"/>
                    <a:pt x="59470" y="231335"/>
                    <a:pt x="64211" y="216368"/>
                  </a:cubicBezTo>
                  <a:cubicBezTo>
                    <a:pt x="68952" y="201401"/>
                    <a:pt x="100947" y="212245"/>
                    <a:pt x="90269" y="235582"/>
                  </a:cubicBezTo>
                  <a:cubicBezTo>
                    <a:pt x="79590" y="258918"/>
                    <a:pt x="110389" y="256197"/>
                    <a:pt x="110389" y="282214"/>
                  </a:cubicBezTo>
                  <a:cubicBezTo>
                    <a:pt x="110389" y="308230"/>
                    <a:pt x="128159" y="294583"/>
                    <a:pt x="147125" y="287738"/>
                  </a:cubicBezTo>
                  <a:cubicBezTo>
                    <a:pt x="166091" y="280894"/>
                    <a:pt x="162546" y="268525"/>
                    <a:pt x="149475" y="252033"/>
                  </a:cubicBezTo>
                  <a:cubicBezTo>
                    <a:pt x="136405" y="235540"/>
                    <a:pt x="158958" y="212286"/>
                    <a:pt x="141229" y="198433"/>
                  </a:cubicBezTo>
                  <a:cubicBezTo>
                    <a:pt x="123500" y="184580"/>
                    <a:pt x="111626" y="164129"/>
                    <a:pt x="128201" y="160048"/>
                  </a:cubicBezTo>
                  <a:cubicBezTo>
                    <a:pt x="144775" y="155966"/>
                    <a:pt x="194540" y="122940"/>
                    <a:pt x="188603" y="109251"/>
                  </a:cubicBezTo>
                  <a:cubicBezTo>
                    <a:pt x="182666" y="95563"/>
                    <a:pt x="112822" y="112014"/>
                    <a:pt x="106843" y="136670"/>
                  </a:cubicBezTo>
                  <a:cubicBezTo>
                    <a:pt x="100864" y="161326"/>
                    <a:pt x="51224" y="133948"/>
                    <a:pt x="57119" y="91316"/>
                  </a:cubicBezTo>
                  <a:cubicBezTo>
                    <a:pt x="63015" y="48684"/>
                    <a:pt x="161350" y="41840"/>
                    <a:pt x="189799" y="57054"/>
                  </a:cubicBezTo>
                  <a:cubicBezTo>
                    <a:pt x="218247" y="72268"/>
                    <a:pt x="249006" y="32315"/>
                    <a:pt x="259890" y="9020"/>
                  </a:cubicBezTo>
                  <a:cubicBezTo>
                    <a:pt x="270776" y="-14275"/>
                    <a:pt x="237420" y="13144"/>
                    <a:pt x="217216" y="28234"/>
                  </a:cubicBezTo>
                  <a:cubicBezTo>
                    <a:pt x="197014" y="43324"/>
                    <a:pt x="143827" y="26832"/>
                    <a:pt x="116573" y="15864"/>
                  </a:cubicBezTo>
                  <a:cubicBezTo>
                    <a:pt x="89320" y="4897"/>
                    <a:pt x="90515" y="35078"/>
                    <a:pt x="67962" y="39201"/>
                  </a:cubicBezTo>
                  <a:cubicBezTo>
                    <a:pt x="45409" y="43324"/>
                    <a:pt x="50233" y="101047"/>
                    <a:pt x="39555" y="107767"/>
                  </a:cubicBezTo>
                  <a:cubicBezTo>
                    <a:pt x="28876" y="114488"/>
                    <a:pt x="28876" y="157244"/>
                    <a:pt x="7601" y="196990"/>
                  </a:cubicBezTo>
                  <a:cubicBezTo>
                    <a:pt x="-13674" y="236736"/>
                    <a:pt x="14652" y="242344"/>
                    <a:pt x="32216" y="243704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44" name="Freeform: Shape 243">
              <a:extLst>
                <a:ext uri="{FF2B5EF4-FFF2-40B4-BE49-F238E27FC236}">
                  <a16:creationId xmlns:a16="http://schemas.microsoft.com/office/drawing/2014/main" id="{DC2B9B86-8FE3-931D-C419-8D530938C54F}"/>
                </a:ext>
              </a:extLst>
            </p:cNvPr>
            <p:cNvSpPr/>
            <p:nvPr>
              <p:custDataLst>
                <p:tags r:id="rId237"/>
              </p:custDataLst>
            </p:nvPr>
          </p:nvSpPr>
          <p:spPr>
            <a:xfrm>
              <a:off x="10014127" y="5609330"/>
              <a:ext cx="23304" cy="24155"/>
            </a:xfrm>
            <a:custGeom>
              <a:avLst/>
              <a:gdLst>
                <a:gd name="connsiteX0" fmla="*/ 15833 w 27212"/>
                <a:gd name="connsiteY0" fmla="*/ 14306 h 28205"/>
                <a:gd name="connsiteX1" fmla="*/ 27213 w 27212"/>
                <a:gd name="connsiteY1" fmla="*/ 28201 h 28205"/>
                <a:gd name="connsiteX2" fmla="*/ 1 w 27212"/>
                <a:gd name="connsiteY2" fmla="*/ 1483 h 28205"/>
                <a:gd name="connsiteX3" fmla="*/ 15833 w 27212"/>
                <a:gd name="connsiteY3" fmla="*/ 14306 h 28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212" h="28204">
                  <a:moveTo>
                    <a:pt x="15833" y="14306"/>
                  </a:moveTo>
                  <a:cubicBezTo>
                    <a:pt x="19502" y="19006"/>
                    <a:pt x="23295" y="23665"/>
                    <a:pt x="27213" y="28201"/>
                  </a:cubicBezTo>
                  <a:cubicBezTo>
                    <a:pt x="24863" y="12533"/>
                    <a:pt x="4041" y="-5319"/>
                    <a:pt x="1" y="1483"/>
                  </a:cubicBezTo>
                  <a:cubicBezTo>
                    <a:pt x="6268" y="4328"/>
                    <a:pt x="11752" y="8740"/>
                    <a:pt x="15833" y="1430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45" name="Freeform: Shape 244">
              <a:extLst>
                <a:ext uri="{FF2B5EF4-FFF2-40B4-BE49-F238E27FC236}">
                  <a16:creationId xmlns:a16="http://schemas.microsoft.com/office/drawing/2014/main" id="{067CD06D-E5D7-66E1-7660-478BB1114042}"/>
                </a:ext>
              </a:extLst>
            </p:cNvPr>
            <p:cNvSpPr/>
            <p:nvPr>
              <p:custDataLst>
                <p:tags r:id="rId238"/>
              </p:custDataLst>
            </p:nvPr>
          </p:nvSpPr>
          <p:spPr>
            <a:xfrm>
              <a:off x="10302529" y="5904747"/>
              <a:ext cx="286000" cy="81658"/>
            </a:xfrm>
            <a:custGeom>
              <a:avLst/>
              <a:gdLst>
                <a:gd name="connsiteX0" fmla="*/ 30974 w 333957"/>
                <a:gd name="connsiteY0" fmla="*/ 47643 h 95351"/>
                <a:gd name="connsiteX1" fmla="*/ 52291 w 333957"/>
                <a:gd name="connsiteY1" fmla="*/ 73660 h 95351"/>
                <a:gd name="connsiteX2" fmla="*/ 123372 w 333957"/>
                <a:gd name="connsiteY2" fmla="*/ 80545 h 95351"/>
                <a:gd name="connsiteX3" fmla="*/ 190124 w 333957"/>
                <a:gd name="connsiteY3" fmla="*/ 95347 h 95351"/>
                <a:gd name="connsiteX4" fmla="*/ 287757 w 333957"/>
                <a:gd name="connsiteY4" fmla="*/ 83802 h 95351"/>
                <a:gd name="connsiteX5" fmla="*/ 329483 w 333957"/>
                <a:gd name="connsiteY5" fmla="*/ 53086 h 95351"/>
                <a:gd name="connsiteX6" fmla="*/ 282109 w 333957"/>
                <a:gd name="connsiteY6" fmla="*/ 51766 h 95351"/>
                <a:gd name="connsiteX7" fmla="*/ 199194 w 333957"/>
                <a:gd name="connsiteY7" fmla="*/ 40758 h 95351"/>
                <a:gd name="connsiteX8" fmla="*/ 113889 w 333957"/>
                <a:gd name="connsiteY8" fmla="*/ 18823 h 95351"/>
                <a:gd name="connsiteX9" fmla="*/ 20296 w 333957"/>
                <a:gd name="connsiteY9" fmla="*/ 13340 h 95351"/>
                <a:gd name="connsiteX10" fmla="*/ 1371 w 333957"/>
                <a:gd name="connsiteY10" fmla="*/ 40758 h 95351"/>
                <a:gd name="connsiteX11" fmla="*/ 30974 w 333957"/>
                <a:gd name="connsiteY11" fmla="*/ 47643 h 95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33957" h="95351">
                  <a:moveTo>
                    <a:pt x="30974" y="47643"/>
                  </a:moveTo>
                  <a:cubicBezTo>
                    <a:pt x="41653" y="47643"/>
                    <a:pt x="36911" y="70980"/>
                    <a:pt x="52291" y="73660"/>
                  </a:cubicBezTo>
                  <a:cubicBezTo>
                    <a:pt x="67670" y="76340"/>
                    <a:pt x="118630" y="92915"/>
                    <a:pt x="123372" y="80545"/>
                  </a:cubicBezTo>
                  <a:cubicBezTo>
                    <a:pt x="127495" y="69619"/>
                    <a:pt x="165138" y="78071"/>
                    <a:pt x="190124" y="95347"/>
                  </a:cubicBezTo>
                  <a:cubicBezTo>
                    <a:pt x="222572" y="90440"/>
                    <a:pt x="255103" y="85823"/>
                    <a:pt x="287757" y="83802"/>
                  </a:cubicBezTo>
                  <a:cubicBezTo>
                    <a:pt x="269410" y="73165"/>
                    <a:pt x="314475" y="63806"/>
                    <a:pt x="329483" y="53086"/>
                  </a:cubicBezTo>
                  <a:cubicBezTo>
                    <a:pt x="344490" y="42366"/>
                    <a:pt x="320000" y="37995"/>
                    <a:pt x="282109" y="51766"/>
                  </a:cubicBezTo>
                  <a:cubicBezTo>
                    <a:pt x="244218" y="65537"/>
                    <a:pt x="200349" y="21586"/>
                    <a:pt x="199194" y="40758"/>
                  </a:cubicBezTo>
                  <a:cubicBezTo>
                    <a:pt x="198040" y="59930"/>
                    <a:pt x="130463" y="32512"/>
                    <a:pt x="113889" y="18823"/>
                  </a:cubicBezTo>
                  <a:cubicBezTo>
                    <a:pt x="97314" y="5135"/>
                    <a:pt x="33366" y="-12759"/>
                    <a:pt x="20296" y="13340"/>
                  </a:cubicBezTo>
                  <a:cubicBezTo>
                    <a:pt x="7225" y="39438"/>
                    <a:pt x="-3989" y="16020"/>
                    <a:pt x="1371" y="40758"/>
                  </a:cubicBezTo>
                  <a:cubicBezTo>
                    <a:pt x="4957" y="57209"/>
                    <a:pt x="20296" y="47643"/>
                    <a:pt x="30974" y="47643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46" name="Freeform: Shape 245">
              <a:extLst>
                <a:ext uri="{FF2B5EF4-FFF2-40B4-BE49-F238E27FC236}">
                  <a16:creationId xmlns:a16="http://schemas.microsoft.com/office/drawing/2014/main" id="{B1650294-BFB9-D587-7C42-8E8E9D3DFD59}"/>
                </a:ext>
              </a:extLst>
            </p:cNvPr>
            <p:cNvSpPr/>
            <p:nvPr>
              <p:custDataLst>
                <p:tags r:id="rId239"/>
              </p:custDataLst>
            </p:nvPr>
          </p:nvSpPr>
          <p:spPr>
            <a:xfrm>
              <a:off x="11177775" y="5684183"/>
              <a:ext cx="348208" cy="346288"/>
            </a:xfrm>
            <a:custGeom>
              <a:avLst/>
              <a:gdLst>
                <a:gd name="connsiteX0" fmla="*/ 344505 w 406596"/>
                <a:gd name="connsiteY0" fmla="*/ 96976 h 404353"/>
                <a:gd name="connsiteX1" fmla="*/ 304676 w 406596"/>
                <a:gd name="connsiteY1" fmla="*/ 66961 h 404353"/>
                <a:gd name="connsiteX2" fmla="*/ 269300 w 406596"/>
                <a:gd name="connsiteY2" fmla="*/ 55458 h 404353"/>
                <a:gd name="connsiteX3" fmla="*/ 233759 w 406596"/>
                <a:gd name="connsiteY3" fmla="*/ 92565 h 404353"/>
                <a:gd name="connsiteX4" fmla="*/ 168615 w 406596"/>
                <a:gd name="connsiteY4" fmla="*/ 140599 h 404353"/>
                <a:gd name="connsiteX5" fmla="*/ 125942 w 406596"/>
                <a:gd name="connsiteY5" fmla="*/ 25153 h 404353"/>
                <a:gd name="connsiteX6" fmla="*/ 34781 w 406596"/>
                <a:gd name="connsiteY6" fmla="*/ 11423 h 404353"/>
                <a:gd name="connsiteX7" fmla="*/ 395 w 406596"/>
                <a:gd name="connsiteY7" fmla="*/ 41645 h 404353"/>
                <a:gd name="connsiteX8" fmla="*/ 21711 w 406596"/>
                <a:gd name="connsiteY8" fmla="*/ 54015 h 404353"/>
                <a:gd name="connsiteX9" fmla="*/ 44223 w 406596"/>
                <a:gd name="connsiteY9" fmla="*/ 85556 h 404353"/>
                <a:gd name="connsiteX10" fmla="*/ 108213 w 406596"/>
                <a:gd name="connsiteY10" fmla="*/ 89679 h 404353"/>
                <a:gd name="connsiteX11" fmla="*/ 104667 w 406596"/>
                <a:gd name="connsiteY11" fmla="*/ 103409 h 404353"/>
                <a:gd name="connsiteX12" fmla="*/ 70281 w 406596"/>
                <a:gd name="connsiteY12" fmla="*/ 110253 h 404353"/>
                <a:gd name="connsiteX13" fmla="*/ 46615 w 406596"/>
                <a:gd name="connsiteY13" fmla="*/ 117097 h 404353"/>
                <a:gd name="connsiteX14" fmla="*/ 71353 w 406596"/>
                <a:gd name="connsiteY14" fmla="*/ 158327 h 404353"/>
                <a:gd name="connsiteX15" fmla="*/ 98606 w 406596"/>
                <a:gd name="connsiteY15" fmla="*/ 158327 h 404353"/>
                <a:gd name="connsiteX16" fmla="*/ 140084 w 406596"/>
                <a:gd name="connsiteY16" fmla="*/ 172057 h 404353"/>
                <a:gd name="connsiteX17" fmla="*/ 175583 w 406596"/>
                <a:gd name="connsiteY17" fmla="*/ 194033 h 404353"/>
                <a:gd name="connsiteX18" fmla="*/ 288101 w 406596"/>
                <a:gd name="connsiteY18" fmla="*/ 239387 h 404353"/>
                <a:gd name="connsiteX19" fmla="*/ 310613 w 406596"/>
                <a:gd name="connsiteY19" fmla="*/ 292986 h 404353"/>
                <a:gd name="connsiteX20" fmla="*/ 309418 w 406596"/>
                <a:gd name="connsiteY20" fmla="*/ 334217 h 404353"/>
                <a:gd name="connsiteX21" fmla="*/ 271526 w 406596"/>
                <a:gd name="connsiteY21" fmla="*/ 371324 h 404353"/>
                <a:gd name="connsiteX22" fmla="*/ 363924 w 406596"/>
                <a:gd name="connsiteY22" fmla="*/ 365799 h 404353"/>
                <a:gd name="connsiteX23" fmla="*/ 406597 w 406596"/>
                <a:gd name="connsiteY23" fmla="*/ 404350 h 404353"/>
                <a:gd name="connsiteX24" fmla="*/ 406597 w 406596"/>
                <a:gd name="connsiteY24" fmla="*/ 111613 h 404353"/>
                <a:gd name="connsiteX25" fmla="*/ 379221 w 406596"/>
                <a:gd name="connsiteY25" fmla="*/ 100275 h 404353"/>
                <a:gd name="connsiteX26" fmla="*/ 344505 w 406596"/>
                <a:gd name="connsiteY26" fmla="*/ 96976 h 404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06596" h="404353">
                  <a:moveTo>
                    <a:pt x="344505" y="96976"/>
                  </a:moveTo>
                  <a:cubicBezTo>
                    <a:pt x="325991" y="97059"/>
                    <a:pt x="309706" y="84772"/>
                    <a:pt x="304676" y="66961"/>
                  </a:cubicBezTo>
                  <a:cubicBezTo>
                    <a:pt x="287772" y="59828"/>
                    <a:pt x="274660" y="55087"/>
                    <a:pt x="269300" y="55458"/>
                  </a:cubicBezTo>
                  <a:cubicBezTo>
                    <a:pt x="251530" y="56859"/>
                    <a:pt x="249138" y="92565"/>
                    <a:pt x="233759" y="92565"/>
                  </a:cubicBezTo>
                  <a:cubicBezTo>
                    <a:pt x="218381" y="92565"/>
                    <a:pt x="197065" y="129672"/>
                    <a:pt x="168615" y="140599"/>
                  </a:cubicBezTo>
                  <a:cubicBezTo>
                    <a:pt x="140166" y="151525"/>
                    <a:pt x="138971" y="45769"/>
                    <a:pt x="125942" y="25153"/>
                  </a:cubicBezTo>
                  <a:cubicBezTo>
                    <a:pt x="112913" y="4538"/>
                    <a:pt x="41873" y="-11954"/>
                    <a:pt x="34781" y="11423"/>
                  </a:cubicBezTo>
                  <a:cubicBezTo>
                    <a:pt x="27690" y="34801"/>
                    <a:pt x="2951" y="22432"/>
                    <a:pt x="395" y="41645"/>
                  </a:cubicBezTo>
                  <a:cubicBezTo>
                    <a:pt x="-1955" y="59457"/>
                    <a:pt x="6333" y="54015"/>
                    <a:pt x="21711" y="54015"/>
                  </a:cubicBezTo>
                  <a:cubicBezTo>
                    <a:pt x="37090" y="54015"/>
                    <a:pt x="37132" y="67703"/>
                    <a:pt x="44223" y="85556"/>
                  </a:cubicBezTo>
                  <a:cubicBezTo>
                    <a:pt x="51315" y="103409"/>
                    <a:pt x="93989" y="91039"/>
                    <a:pt x="108213" y="89679"/>
                  </a:cubicBezTo>
                  <a:cubicBezTo>
                    <a:pt x="122437" y="88318"/>
                    <a:pt x="124705" y="111613"/>
                    <a:pt x="104667" y="103409"/>
                  </a:cubicBezTo>
                  <a:cubicBezTo>
                    <a:pt x="84629" y="95204"/>
                    <a:pt x="84505" y="114376"/>
                    <a:pt x="70281" y="110253"/>
                  </a:cubicBezTo>
                  <a:cubicBezTo>
                    <a:pt x="56056" y="106130"/>
                    <a:pt x="37297" y="107490"/>
                    <a:pt x="46615" y="117097"/>
                  </a:cubicBezTo>
                  <a:cubicBezTo>
                    <a:pt x="55932" y="126704"/>
                    <a:pt x="71353" y="136310"/>
                    <a:pt x="71353" y="158327"/>
                  </a:cubicBezTo>
                  <a:cubicBezTo>
                    <a:pt x="71353" y="180345"/>
                    <a:pt x="98606" y="176180"/>
                    <a:pt x="98606" y="158327"/>
                  </a:cubicBezTo>
                  <a:cubicBezTo>
                    <a:pt x="98606" y="140475"/>
                    <a:pt x="112830" y="163811"/>
                    <a:pt x="140084" y="172057"/>
                  </a:cubicBezTo>
                  <a:cubicBezTo>
                    <a:pt x="167337" y="180304"/>
                    <a:pt x="148330" y="192673"/>
                    <a:pt x="175583" y="194033"/>
                  </a:cubicBezTo>
                  <a:cubicBezTo>
                    <a:pt x="202837" y="195394"/>
                    <a:pt x="264435" y="218771"/>
                    <a:pt x="288101" y="239387"/>
                  </a:cubicBezTo>
                  <a:cubicBezTo>
                    <a:pt x="311767" y="260002"/>
                    <a:pt x="295234" y="273649"/>
                    <a:pt x="310613" y="292986"/>
                  </a:cubicBezTo>
                  <a:cubicBezTo>
                    <a:pt x="325991" y="312324"/>
                    <a:pt x="330734" y="334217"/>
                    <a:pt x="309418" y="334217"/>
                  </a:cubicBezTo>
                  <a:cubicBezTo>
                    <a:pt x="288101" y="334217"/>
                    <a:pt x="265631" y="358955"/>
                    <a:pt x="271526" y="371324"/>
                  </a:cubicBezTo>
                  <a:cubicBezTo>
                    <a:pt x="277423" y="383693"/>
                    <a:pt x="347350" y="365799"/>
                    <a:pt x="363924" y="365799"/>
                  </a:cubicBezTo>
                  <a:cubicBezTo>
                    <a:pt x="374809" y="365799"/>
                    <a:pt x="385735" y="388146"/>
                    <a:pt x="406597" y="404350"/>
                  </a:cubicBezTo>
                  <a:lnTo>
                    <a:pt x="406597" y="111613"/>
                  </a:lnTo>
                  <a:cubicBezTo>
                    <a:pt x="397939" y="108233"/>
                    <a:pt x="388663" y="104357"/>
                    <a:pt x="379221" y="100275"/>
                  </a:cubicBezTo>
                  <a:cubicBezTo>
                    <a:pt x="367717" y="98461"/>
                    <a:pt x="356131" y="97348"/>
                    <a:pt x="344505" y="96976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47" name="Freeform: Shape 246">
              <a:extLst>
                <a:ext uri="{FF2B5EF4-FFF2-40B4-BE49-F238E27FC236}">
                  <a16:creationId xmlns:a16="http://schemas.microsoft.com/office/drawing/2014/main" id="{504E30B7-A30D-4237-B585-504E7A279F24}"/>
                </a:ext>
              </a:extLst>
            </p:cNvPr>
            <p:cNvSpPr/>
            <p:nvPr>
              <p:custDataLst>
                <p:tags r:id="rId240"/>
              </p:custDataLst>
            </p:nvPr>
          </p:nvSpPr>
          <p:spPr>
            <a:xfrm>
              <a:off x="11077262" y="5781731"/>
              <a:ext cx="95478" cy="44050"/>
            </a:xfrm>
            <a:custGeom>
              <a:avLst/>
              <a:gdLst>
                <a:gd name="connsiteX0" fmla="*/ 78675 w 111488"/>
                <a:gd name="connsiteY0" fmla="*/ 4718 h 51436"/>
                <a:gd name="connsiteX1" fmla="*/ 337 w 111488"/>
                <a:gd name="connsiteY1" fmla="*/ 21210 h 51436"/>
                <a:gd name="connsiteX2" fmla="*/ 54843 w 111488"/>
                <a:gd name="connsiteY2" fmla="*/ 30817 h 51436"/>
                <a:gd name="connsiteX3" fmla="*/ 105763 w 111488"/>
                <a:gd name="connsiteY3" fmla="*/ 51432 h 51436"/>
                <a:gd name="connsiteX4" fmla="*/ 78675 w 111488"/>
                <a:gd name="connsiteY4" fmla="*/ 4718 h 5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1488" h="51436">
                  <a:moveTo>
                    <a:pt x="78675" y="4718"/>
                  </a:moveTo>
                  <a:cubicBezTo>
                    <a:pt x="47876" y="-6290"/>
                    <a:pt x="-4693" y="3069"/>
                    <a:pt x="337" y="21210"/>
                  </a:cubicBezTo>
                  <a:cubicBezTo>
                    <a:pt x="5079" y="37702"/>
                    <a:pt x="29941" y="30817"/>
                    <a:pt x="54843" y="30817"/>
                  </a:cubicBezTo>
                  <a:cubicBezTo>
                    <a:pt x="79747" y="30817"/>
                    <a:pt x="92735" y="51432"/>
                    <a:pt x="105763" y="51432"/>
                  </a:cubicBezTo>
                  <a:cubicBezTo>
                    <a:pt x="118792" y="51432"/>
                    <a:pt x="109515" y="15644"/>
                    <a:pt x="78675" y="4718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49" name="Vietnam">
              <a:extLst>
                <a:ext uri="{FF2B5EF4-FFF2-40B4-BE49-F238E27FC236}">
                  <a16:creationId xmlns:a16="http://schemas.microsoft.com/office/drawing/2014/main" id="{85617B28-C0F8-798E-2991-366A817612B8}"/>
                </a:ext>
              </a:extLst>
            </p:cNvPr>
            <p:cNvSpPr/>
            <p:nvPr>
              <p:custDataLst>
                <p:tags r:id="rId241"/>
              </p:custDataLst>
            </p:nvPr>
          </p:nvSpPr>
          <p:spPr>
            <a:xfrm>
              <a:off x="10186190" y="4716153"/>
              <a:ext cx="239117" cy="588455"/>
            </a:xfrm>
            <a:custGeom>
              <a:avLst/>
              <a:gdLst>
                <a:gd name="connsiteX0" fmla="*/ 271956 w 279212"/>
                <a:gd name="connsiteY0" fmla="*/ 518244 h 687128"/>
                <a:gd name="connsiteX1" fmla="*/ 276080 w 279212"/>
                <a:gd name="connsiteY1" fmla="*/ 434093 h 687128"/>
                <a:gd name="connsiteX2" fmla="*/ 277976 w 279212"/>
                <a:gd name="connsiteY2" fmla="*/ 420405 h 687128"/>
                <a:gd name="connsiteX3" fmla="*/ 240127 w 279212"/>
                <a:gd name="connsiteY3" fmla="*/ 348334 h 687128"/>
                <a:gd name="connsiteX4" fmla="*/ 175601 w 279212"/>
                <a:gd name="connsiteY4" fmla="*/ 285251 h 687128"/>
                <a:gd name="connsiteX5" fmla="*/ 157831 w 279212"/>
                <a:gd name="connsiteY5" fmla="*/ 249546 h 687128"/>
                <a:gd name="connsiteX6" fmla="*/ 147771 w 279212"/>
                <a:gd name="connsiteY6" fmla="*/ 186463 h 687128"/>
                <a:gd name="connsiteX7" fmla="*/ 176219 w 279212"/>
                <a:gd name="connsiteY7" fmla="*/ 145975 h 687128"/>
                <a:gd name="connsiteX8" fmla="*/ 191557 w 279212"/>
                <a:gd name="connsiteY8" fmla="*/ 118556 h 687128"/>
                <a:gd name="connsiteX9" fmla="*/ 222975 w 279212"/>
                <a:gd name="connsiteY9" fmla="*/ 94519 h 687128"/>
                <a:gd name="connsiteX10" fmla="*/ 226355 w 279212"/>
                <a:gd name="connsiteY10" fmla="*/ 91138 h 687128"/>
                <a:gd name="connsiteX11" fmla="*/ 218109 w 279212"/>
                <a:gd name="connsiteY11" fmla="*/ 83552 h 687128"/>
                <a:gd name="connsiteX12" fmla="*/ 178570 w 279212"/>
                <a:gd name="connsiteY12" fmla="*/ 48753 h 687128"/>
                <a:gd name="connsiteX13" fmla="*/ 167479 w 279212"/>
                <a:gd name="connsiteY13" fmla="*/ 21294 h 687128"/>
                <a:gd name="connsiteX14" fmla="*/ 134288 w 279212"/>
                <a:gd name="connsiteY14" fmla="*/ 1091 h 687128"/>
                <a:gd name="connsiteX15" fmla="*/ 102664 w 279212"/>
                <a:gd name="connsiteY15" fmla="*/ 24922 h 687128"/>
                <a:gd name="connsiteX16" fmla="*/ 75783 w 279212"/>
                <a:gd name="connsiteY16" fmla="*/ 30406 h 687128"/>
                <a:gd name="connsiteX17" fmla="*/ 40983 w 279212"/>
                <a:gd name="connsiteY17" fmla="*/ 30406 h 687128"/>
                <a:gd name="connsiteX18" fmla="*/ 10926 w 279212"/>
                <a:gd name="connsiteY18" fmla="*/ 34075 h 687128"/>
                <a:gd name="connsiteX19" fmla="*/ 1 w 279212"/>
                <a:gd name="connsiteY19" fmla="*/ 43929 h 687128"/>
                <a:gd name="connsiteX20" fmla="*/ 14431 w 279212"/>
                <a:gd name="connsiteY20" fmla="*/ 68379 h 687128"/>
                <a:gd name="connsiteX21" fmla="*/ 34757 w 279212"/>
                <a:gd name="connsiteY21" fmla="*/ 103672 h 687128"/>
                <a:gd name="connsiteX22" fmla="*/ 67742 w 279212"/>
                <a:gd name="connsiteY22" fmla="*/ 124288 h 687128"/>
                <a:gd name="connsiteX23" fmla="*/ 95614 w 279212"/>
                <a:gd name="connsiteY23" fmla="*/ 133111 h 687128"/>
                <a:gd name="connsiteX24" fmla="*/ 108313 w 279212"/>
                <a:gd name="connsiteY24" fmla="*/ 168363 h 687128"/>
                <a:gd name="connsiteX25" fmla="*/ 77884 w 279212"/>
                <a:gd name="connsiteY25" fmla="*/ 188978 h 687128"/>
                <a:gd name="connsiteX26" fmla="*/ 121012 w 279212"/>
                <a:gd name="connsiteY26" fmla="*/ 233054 h 687128"/>
                <a:gd name="connsiteX27" fmla="*/ 141297 w 279212"/>
                <a:gd name="connsiteY27" fmla="*/ 274284 h 687128"/>
                <a:gd name="connsiteX28" fmla="*/ 174282 w 279212"/>
                <a:gd name="connsiteY28" fmla="*/ 324255 h 687128"/>
                <a:gd name="connsiteX29" fmla="*/ 207266 w 279212"/>
                <a:gd name="connsiteY29" fmla="*/ 359507 h 687128"/>
                <a:gd name="connsiteX30" fmla="*/ 214853 w 279212"/>
                <a:gd name="connsiteY30" fmla="*/ 406510 h 687128"/>
                <a:gd name="connsiteX31" fmla="*/ 227510 w 279212"/>
                <a:gd name="connsiteY31" fmla="*/ 482951 h 687128"/>
                <a:gd name="connsiteX32" fmla="*/ 199638 w 279212"/>
                <a:gd name="connsiteY32" fmla="*/ 535850 h 687128"/>
                <a:gd name="connsiteX33" fmla="*/ 164098 w 279212"/>
                <a:gd name="connsiteY33" fmla="*/ 562279 h 687128"/>
                <a:gd name="connsiteX34" fmla="*/ 164098 w 279212"/>
                <a:gd name="connsiteY34" fmla="*/ 603509 h 687128"/>
                <a:gd name="connsiteX35" fmla="*/ 118414 w 279212"/>
                <a:gd name="connsiteY35" fmla="*/ 603509 h 687128"/>
                <a:gd name="connsiteX36" fmla="*/ 93676 w 279212"/>
                <a:gd name="connsiteY36" fmla="*/ 625938 h 687128"/>
                <a:gd name="connsiteX37" fmla="*/ 111405 w 279212"/>
                <a:gd name="connsiteY37" fmla="*/ 641482 h 687128"/>
                <a:gd name="connsiteX38" fmla="*/ 100191 w 279212"/>
                <a:gd name="connsiteY38" fmla="*/ 681930 h 687128"/>
                <a:gd name="connsiteX39" fmla="*/ 100726 w 279212"/>
                <a:gd name="connsiteY39" fmla="*/ 687125 h 687128"/>
                <a:gd name="connsiteX40" fmla="*/ 113426 w 279212"/>
                <a:gd name="connsiteY40" fmla="*/ 680527 h 687128"/>
                <a:gd name="connsiteX41" fmla="*/ 138988 w 279212"/>
                <a:gd name="connsiteY41" fmla="*/ 671704 h 687128"/>
                <a:gd name="connsiteX42" fmla="*/ 148389 w 279212"/>
                <a:gd name="connsiteY42" fmla="*/ 672694 h 687128"/>
                <a:gd name="connsiteX43" fmla="*/ 160510 w 279212"/>
                <a:gd name="connsiteY43" fmla="*/ 648863 h 687128"/>
                <a:gd name="connsiteX44" fmla="*/ 173499 w 279212"/>
                <a:gd name="connsiteY44" fmla="*/ 639915 h 687128"/>
                <a:gd name="connsiteX45" fmla="*/ 176591 w 279212"/>
                <a:gd name="connsiteY45" fmla="*/ 625691 h 687128"/>
                <a:gd name="connsiteX46" fmla="*/ 201329 w 279212"/>
                <a:gd name="connsiteY46" fmla="*/ 620908 h 687128"/>
                <a:gd name="connsiteX47" fmla="*/ 235344 w 279212"/>
                <a:gd name="connsiteY47" fmla="*/ 605736 h 687128"/>
                <a:gd name="connsiteX48" fmla="*/ 234973 w 279212"/>
                <a:gd name="connsiteY48" fmla="*/ 602602 h 687128"/>
                <a:gd name="connsiteX49" fmla="*/ 247796 w 279212"/>
                <a:gd name="connsiteY49" fmla="*/ 570731 h 687128"/>
                <a:gd name="connsiteX50" fmla="*/ 278678 w 279212"/>
                <a:gd name="connsiteY50" fmla="*/ 557537 h 687128"/>
                <a:gd name="connsiteX51" fmla="*/ 279213 w 279212"/>
                <a:gd name="connsiteY51" fmla="*/ 557537 h 687128"/>
                <a:gd name="connsiteX52" fmla="*/ 271956 w 279212"/>
                <a:gd name="connsiteY52" fmla="*/ 518244 h 68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279212" h="687128">
                  <a:moveTo>
                    <a:pt x="271956" y="518244"/>
                  </a:moveTo>
                  <a:cubicBezTo>
                    <a:pt x="276904" y="490703"/>
                    <a:pt x="276080" y="462047"/>
                    <a:pt x="276080" y="434093"/>
                  </a:cubicBezTo>
                  <a:cubicBezTo>
                    <a:pt x="276080" y="429476"/>
                    <a:pt x="276699" y="424858"/>
                    <a:pt x="277976" y="420405"/>
                  </a:cubicBezTo>
                  <a:cubicBezTo>
                    <a:pt x="276740" y="406386"/>
                    <a:pt x="250063" y="347674"/>
                    <a:pt x="240127" y="348334"/>
                  </a:cubicBezTo>
                  <a:cubicBezTo>
                    <a:pt x="230190" y="348994"/>
                    <a:pt x="183889" y="294116"/>
                    <a:pt x="175601" y="285251"/>
                  </a:cubicBezTo>
                  <a:cubicBezTo>
                    <a:pt x="167314" y="276387"/>
                    <a:pt x="169663" y="261255"/>
                    <a:pt x="157831" y="249546"/>
                  </a:cubicBezTo>
                  <a:cubicBezTo>
                    <a:pt x="145997" y="237836"/>
                    <a:pt x="144802" y="207697"/>
                    <a:pt x="147771" y="186463"/>
                  </a:cubicBezTo>
                  <a:cubicBezTo>
                    <a:pt x="150739" y="165229"/>
                    <a:pt x="176632" y="160405"/>
                    <a:pt x="176219" y="145975"/>
                  </a:cubicBezTo>
                  <a:cubicBezTo>
                    <a:pt x="175807" y="131544"/>
                    <a:pt x="178529" y="119216"/>
                    <a:pt x="191557" y="118556"/>
                  </a:cubicBezTo>
                  <a:cubicBezTo>
                    <a:pt x="204587" y="117897"/>
                    <a:pt x="217037" y="105486"/>
                    <a:pt x="222975" y="94519"/>
                  </a:cubicBezTo>
                  <a:cubicBezTo>
                    <a:pt x="223758" y="93076"/>
                    <a:pt x="224913" y="91922"/>
                    <a:pt x="226355" y="91138"/>
                  </a:cubicBezTo>
                  <a:cubicBezTo>
                    <a:pt x="223058" y="86727"/>
                    <a:pt x="220171" y="83923"/>
                    <a:pt x="218109" y="83552"/>
                  </a:cubicBezTo>
                  <a:cubicBezTo>
                    <a:pt x="207060" y="81696"/>
                    <a:pt x="178570" y="57907"/>
                    <a:pt x="178570" y="48753"/>
                  </a:cubicBezTo>
                  <a:cubicBezTo>
                    <a:pt x="178570" y="39600"/>
                    <a:pt x="192835" y="24922"/>
                    <a:pt x="167479" y="21294"/>
                  </a:cubicBezTo>
                  <a:cubicBezTo>
                    <a:pt x="142122" y="17666"/>
                    <a:pt x="139030" y="6616"/>
                    <a:pt x="134288" y="1091"/>
                  </a:cubicBezTo>
                  <a:cubicBezTo>
                    <a:pt x="129546" y="-4434"/>
                    <a:pt x="108972" y="12099"/>
                    <a:pt x="102664" y="24922"/>
                  </a:cubicBezTo>
                  <a:cubicBezTo>
                    <a:pt x="96357" y="37745"/>
                    <a:pt x="90007" y="21294"/>
                    <a:pt x="75783" y="30406"/>
                  </a:cubicBezTo>
                  <a:cubicBezTo>
                    <a:pt x="61557" y="39517"/>
                    <a:pt x="47333" y="17583"/>
                    <a:pt x="40983" y="30406"/>
                  </a:cubicBezTo>
                  <a:cubicBezTo>
                    <a:pt x="34634" y="43228"/>
                    <a:pt x="18843" y="23108"/>
                    <a:pt x="10926" y="34075"/>
                  </a:cubicBezTo>
                  <a:cubicBezTo>
                    <a:pt x="8040" y="38075"/>
                    <a:pt x="4289" y="41455"/>
                    <a:pt x="1" y="43929"/>
                  </a:cubicBezTo>
                  <a:cubicBezTo>
                    <a:pt x="6927" y="52876"/>
                    <a:pt x="14431" y="61617"/>
                    <a:pt x="14431" y="68379"/>
                  </a:cubicBezTo>
                  <a:cubicBezTo>
                    <a:pt x="14431" y="80171"/>
                    <a:pt x="34757" y="88994"/>
                    <a:pt x="34757" y="103672"/>
                  </a:cubicBezTo>
                  <a:cubicBezTo>
                    <a:pt x="34757" y="118350"/>
                    <a:pt x="60156" y="130142"/>
                    <a:pt x="67742" y="124288"/>
                  </a:cubicBezTo>
                  <a:cubicBezTo>
                    <a:pt x="75329" y="118433"/>
                    <a:pt x="93099" y="112496"/>
                    <a:pt x="95614" y="133111"/>
                  </a:cubicBezTo>
                  <a:cubicBezTo>
                    <a:pt x="98129" y="153726"/>
                    <a:pt x="108313" y="153726"/>
                    <a:pt x="108313" y="168363"/>
                  </a:cubicBezTo>
                  <a:cubicBezTo>
                    <a:pt x="108313" y="183000"/>
                    <a:pt x="82957" y="174259"/>
                    <a:pt x="77884" y="188978"/>
                  </a:cubicBezTo>
                  <a:cubicBezTo>
                    <a:pt x="72813" y="203697"/>
                    <a:pt x="121012" y="221302"/>
                    <a:pt x="121012" y="233054"/>
                  </a:cubicBezTo>
                  <a:cubicBezTo>
                    <a:pt x="121012" y="244804"/>
                    <a:pt x="136226" y="259523"/>
                    <a:pt x="141297" y="274284"/>
                  </a:cubicBezTo>
                  <a:cubicBezTo>
                    <a:pt x="146369" y="289044"/>
                    <a:pt x="169252" y="306609"/>
                    <a:pt x="174282" y="324255"/>
                  </a:cubicBezTo>
                  <a:cubicBezTo>
                    <a:pt x="179312" y="341902"/>
                    <a:pt x="199679" y="350684"/>
                    <a:pt x="207266" y="359507"/>
                  </a:cubicBezTo>
                  <a:cubicBezTo>
                    <a:pt x="214853" y="368330"/>
                    <a:pt x="217367" y="388904"/>
                    <a:pt x="214853" y="406510"/>
                  </a:cubicBezTo>
                  <a:cubicBezTo>
                    <a:pt x="212337" y="424115"/>
                    <a:pt x="212296" y="456481"/>
                    <a:pt x="227510" y="482951"/>
                  </a:cubicBezTo>
                  <a:cubicBezTo>
                    <a:pt x="242725" y="509421"/>
                    <a:pt x="209782" y="521131"/>
                    <a:pt x="199638" y="535850"/>
                  </a:cubicBezTo>
                  <a:cubicBezTo>
                    <a:pt x="189496" y="550569"/>
                    <a:pt x="194526" y="571102"/>
                    <a:pt x="164098" y="562279"/>
                  </a:cubicBezTo>
                  <a:cubicBezTo>
                    <a:pt x="133669" y="553455"/>
                    <a:pt x="169210" y="591676"/>
                    <a:pt x="164098" y="603509"/>
                  </a:cubicBezTo>
                  <a:cubicBezTo>
                    <a:pt x="158985" y="615342"/>
                    <a:pt x="118414" y="591759"/>
                    <a:pt x="118414" y="603509"/>
                  </a:cubicBezTo>
                  <a:cubicBezTo>
                    <a:pt x="118414" y="610559"/>
                    <a:pt x="104725" y="619754"/>
                    <a:pt x="93676" y="625938"/>
                  </a:cubicBezTo>
                  <a:cubicBezTo>
                    <a:pt x="98047" y="632536"/>
                    <a:pt x="104190" y="636246"/>
                    <a:pt x="111405" y="641482"/>
                  </a:cubicBezTo>
                  <a:cubicBezTo>
                    <a:pt x="120888" y="648327"/>
                    <a:pt x="99572" y="659995"/>
                    <a:pt x="100191" y="681930"/>
                  </a:cubicBezTo>
                  <a:cubicBezTo>
                    <a:pt x="100273" y="683661"/>
                    <a:pt x="100438" y="685393"/>
                    <a:pt x="100726" y="687125"/>
                  </a:cubicBezTo>
                  <a:cubicBezTo>
                    <a:pt x="104561" y="684238"/>
                    <a:pt x="108849" y="682012"/>
                    <a:pt x="113426" y="680527"/>
                  </a:cubicBezTo>
                  <a:cubicBezTo>
                    <a:pt x="120888" y="675085"/>
                    <a:pt x="129794" y="672034"/>
                    <a:pt x="138988" y="671704"/>
                  </a:cubicBezTo>
                  <a:cubicBezTo>
                    <a:pt x="142163" y="671581"/>
                    <a:pt x="145338" y="671910"/>
                    <a:pt x="148389" y="672694"/>
                  </a:cubicBezTo>
                  <a:cubicBezTo>
                    <a:pt x="150120" y="663788"/>
                    <a:pt x="154326" y="655501"/>
                    <a:pt x="160510" y="648863"/>
                  </a:cubicBezTo>
                  <a:cubicBezTo>
                    <a:pt x="164222" y="645069"/>
                    <a:pt x="168633" y="642060"/>
                    <a:pt x="173499" y="639915"/>
                  </a:cubicBezTo>
                  <a:cubicBezTo>
                    <a:pt x="173910" y="635051"/>
                    <a:pt x="174982" y="630268"/>
                    <a:pt x="176591" y="625691"/>
                  </a:cubicBezTo>
                  <a:cubicBezTo>
                    <a:pt x="180714" y="616785"/>
                    <a:pt x="187228" y="620166"/>
                    <a:pt x="201329" y="620908"/>
                  </a:cubicBezTo>
                  <a:cubicBezTo>
                    <a:pt x="210689" y="621362"/>
                    <a:pt x="222562" y="614641"/>
                    <a:pt x="235344" y="605736"/>
                  </a:cubicBezTo>
                  <a:cubicBezTo>
                    <a:pt x="235344" y="604664"/>
                    <a:pt x="235014" y="603633"/>
                    <a:pt x="234973" y="602602"/>
                  </a:cubicBezTo>
                  <a:cubicBezTo>
                    <a:pt x="235014" y="590728"/>
                    <a:pt x="239632" y="579348"/>
                    <a:pt x="247796" y="570731"/>
                  </a:cubicBezTo>
                  <a:cubicBezTo>
                    <a:pt x="255960" y="562444"/>
                    <a:pt x="267050" y="557702"/>
                    <a:pt x="278678" y="557537"/>
                  </a:cubicBezTo>
                  <a:lnTo>
                    <a:pt x="279213" y="557537"/>
                  </a:lnTo>
                  <a:cubicBezTo>
                    <a:pt x="271709" y="545910"/>
                    <a:pt x="269112" y="531768"/>
                    <a:pt x="271956" y="518244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50" name="Singapore">
              <a:extLst>
                <a:ext uri="{FF2B5EF4-FFF2-40B4-BE49-F238E27FC236}">
                  <a16:creationId xmlns:a16="http://schemas.microsoft.com/office/drawing/2014/main" id="{1B0194CA-9391-1A1B-1D07-090FA5BCFF6D}"/>
                </a:ext>
              </a:extLst>
            </p:cNvPr>
            <p:cNvSpPr/>
            <p:nvPr>
              <p:custDataLst>
                <p:tags r:id="rId242"/>
              </p:custDataLst>
            </p:nvPr>
          </p:nvSpPr>
          <p:spPr>
            <a:xfrm>
              <a:off x="10238038" y="5598078"/>
              <a:ext cx="18000" cy="18000"/>
            </a:xfrm>
            <a:custGeom>
              <a:avLst/>
              <a:gdLst>
                <a:gd name="connsiteX0" fmla="*/ 53423 w 53474"/>
                <a:gd name="connsiteY0" fmla="*/ 4742 h 22100"/>
                <a:gd name="connsiteX1" fmla="*/ 1885 w 53474"/>
                <a:gd name="connsiteY1" fmla="*/ 19132 h 22100"/>
                <a:gd name="connsiteX2" fmla="*/ 53423 w 53474"/>
                <a:gd name="connsiteY2" fmla="*/ 4742 h 2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3474" h="22100">
                  <a:moveTo>
                    <a:pt x="53423" y="4742"/>
                  </a:moveTo>
                  <a:cubicBezTo>
                    <a:pt x="51610" y="-7627"/>
                    <a:pt x="-11597" y="6680"/>
                    <a:pt x="1885" y="19132"/>
                  </a:cubicBezTo>
                  <a:cubicBezTo>
                    <a:pt x="10750" y="27378"/>
                    <a:pt x="55197" y="17070"/>
                    <a:pt x="53423" y="4742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51" name="Malaysia">
              <a:extLst>
                <a:ext uri="{FF2B5EF4-FFF2-40B4-BE49-F238E27FC236}">
                  <a16:creationId xmlns:a16="http://schemas.microsoft.com/office/drawing/2014/main" id="{BD7BF5E9-A4D2-8651-838D-234E10D02711}"/>
                </a:ext>
              </a:extLst>
            </p:cNvPr>
            <p:cNvSpPr/>
            <p:nvPr>
              <p:custDataLst>
                <p:tags r:id="rId243"/>
              </p:custDataLst>
            </p:nvPr>
          </p:nvSpPr>
          <p:spPr>
            <a:xfrm>
              <a:off x="10111158" y="5398076"/>
              <a:ext cx="662608" cy="234085"/>
            </a:xfrm>
            <a:custGeom>
              <a:avLst/>
              <a:gdLst>
                <a:gd name="connsiteX0" fmla="*/ 140225 w 773713"/>
                <a:gd name="connsiteY0" fmla="*/ 99402 h 273337"/>
                <a:gd name="connsiteX1" fmla="*/ 109426 w 773713"/>
                <a:gd name="connsiteY1" fmla="*/ 50750 h 273337"/>
                <a:gd name="connsiteX2" fmla="*/ 89883 w 773713"/>
                <a:gd name="connsiteY2" fmla="*/ 28115 h 273337"/>
                <a:gd name="connsiteX3" fmla="*/ 86832 w 773713"/>
                <a:gd name="connsiteY3" fmla="*/ 21477 h 273337"/>
                <a:gd name="connsiteX4" fmla="*/ 74463 w 773713"/>
                <a:gd name="connsiteY4" fmla="*/ 40195 h 273337"/>
                <a:gd name="connsiteX5" fmla="*/ 42921 w 773713"/>
                <a:gd name="connsiteY5" fmla="*/ 35619 h 273337"/>
                <a:gd name="connsiteX6" fmla="*/ 23254 w 773713"/>
                <a:gd name="connsiteY6" fmla="*/ 8283 h 273337"/>
                <a:gd name="connsiteX7" fmla="*/ 1 w 773713"/>
                <a:gd name="connsiteY7" fmla="*/ 6469 h 273337"/>
                <a:gd name="connsiteX8" fmla="*/ 11091 w 773713"/>
                <a:gd name="connsiteY8" fmla="*/ 77468 h 273337"/>
                <a:gd name="connsiteX9" fmla="*/ 51993 w 773713"/>
                <a:gd name="connsiteY9" fmla="*/ 166649 h 273337"/>
                <a:gd name="connsiteX10" fmla="*/ 90501 w 773713"/>
                <a:gd name="connsiteY10" fmla="*/ 209199 h 273337"/>
                <a:gd name="connsiteX11" fmla="*/ 167479 w 773713"/>
                <a:gd name="connsiteY11" fmla="*/ 254553 h 273337"/>
                <a:gd name="connsiteX12" fmla="*/ 140843 w 773713"/>
                <a:gd name="connsiteY12" fmla="*/ 188584 h 273337"/>
                <a:gd name="connsiteX13" fmla="*/ 140225 w 773713"/>
                <a:gd name="connsiteY13" fmla="*/ 99402 h 273337"/>
                <a:gd name="connsiteX14" fmla="*/ 746107 w 773713"/>
                <a:gd name="connsiteY14" fmla="*/ 46627 h 273337"/>
                <a:gd name="connsiteX15" fmla="*/ 710567 w 773713"/>
                <a:gd name="connsiteY15" fmla="*/ 35619 h 273337"/>
                <a:gd name="connsiteX16" fmla="*/ 673830 w 773713"/>
                <a:gd name="connsiteY16" fmla="*/ -4 h 273337"/>
                <a:gd name="connsiteX17" fmla="*/ 641876 w 773713"/>
                <a:gd name="connsiteY17" fmla="*/ 46627 h 273337"/>
                <a:gd name="connsiteX18" fmla="*/ 620560 w 773713"/>
                <a:gd name="connsiteY18" fmla="*/ 78169 h 273337"/>
                <a:gd name="connsiteX19" fmla="*/ 611819 w 773713"/>
                <a:gd name="connsiteY19" fmla="*/ 90950 h 273337"/>
                <a:gd name="connsiteX20" fmla="*/ 612232 w 773713"/>
                <a:gd name="connsiteY20" fmla="*/ 117956 h 273337"/>
                <a:gd name="connsiteX21" fmla="*/ 586215 w 773713"/>
                <a:gd name="connsiteY21" fmla="*/ 128924 h 273337"/>
                <a:gd name="connsiteX22" fmla="*/ 564486 w 773713"/>
                <a:gd name="connsiteY22" fmla="*/ 96186 h 273337"/>
                <a:gd name="connsiteX23" fmla="*/ 563662 w 773713"/>
                <a:gd name="connsiteY23" fmla="*/ 96186 h 273337"/>
                <a:gd name="connsiteX24" fmla="*/ 528163 w 773713"/>
                <a:gd name="connsiteY24" fmla="*/ 160630 h 273337"/>
                <a:gd name="connsiteX25" fmla="*/ 470110 w 773713"/>
                <a:gd name="connsiteY25" fmla="*/ 181245 h 273337"/>
                <a:gd name="connsiteX26" fmla="*/ 444052 w 773713"/>
                <a:gd name="connsiteY26" fmla="*/ 240287 h 273337"/>
                <a:gd name="connsiteX27" fmla="*/ 384681 w 773713"/>
                <a:gd name="connsiteY27" fmla="*/ 222929 h 273337"/>
                <a:gd name="connsiteX28" fmla="*/ 396637 w 773713"/>
                <a:gd name="connsiteY28" fmla="*/ 252615 h 273337"/>
                <a:gd name="connsiteX29" fmla="*/ 429622 w 773713"/>
                <a:gd name="connsiteY29" fmla="*/ 271787 h 273337"/>
                <a:gd name="connsiteX30" fmla="*/ 481738 w 773713"/>
                <a:gd name="connsiteY30" fmla="*/ 266303 h 273337"/>
                <a:gd name="connsiteX31" fmla="*/ 522020 w 773713"/>
                <a:gd name="connsiteY31" fmla="*/ 247090 h 273337"/>
                <a:gd name="connsiteX32" fmla="*/ 559910 w 773713"/>
                <a:gd name="connsiteY32" fmla="*/ 255336 h 273337"/>
                <a:gd name="connsiteX33" fmla="*/ 595451 w 773713"/>
                <a:gd name="connsiteY33" fmla="*/ 227877 h 273337"/>
                <a:gd name="connsiteX34" fmla="*/ 607284 w 773713"/>
                <a:gd name="connsiteY34" fmla="*/ 183966 h 273337"/>
                <a:gd name="connsiteX35" fmla="*/ 630992 w 773713"/>
                <a:gd name="connsiteY35" fmla="*/ 142736 h 273337"/>
                <a:gd name="connsiteX36" fmla="*/ 692590 w 773713"/>
                <a:gd name="connsiteY36" fmla="*/ 112555 h 273337"/>
                <a:gd name="connsiteX37" fmla="*/ 711556 w 773713"/>
                <a:gd name="connsiteY37" fmla="*/ 120018 h 273337"/>
                <a:gd name="connsiteX38" fmla="*/ 736294 w 773713"/>
                <a:gd name="connsiteY38" fmla="*/ 91981 h 273337"/>
                <a:gd name="connsiteX39" fmla="*/ 773030 w 773713"/>
                <a:gd name="connsiteY39" fmla="*/ 74128 h 273337"/>
                <a:gd name="connsiteX40" fmla="*/ 746024 w 773713"/>
                <a:gd name="connsiteY40" fmla="*/ 46627 h 273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773713" h="273337">
                  <a:moveTo>
                    <a:pt x="140225" y="99402"/>
                  </a:moveTo>
                  <a:cubicBezTo>
                    <a:pt x="140843" y="68562"/>
                    <a:pt x="115487" y="71984"/>
                    <a:pt x="109426" y="50750"/>
                  </a:cubicBezTo>
                  <a:cubicBezTo>
                    <a:pt x="103366" y="29517"/>
                    <a:pt x="93428" y="41804"/>
                    <a:pt x="89883" y="28115"/>
                  </a:cubicBezTo>
                  <a:cubicBezTo>
                    <a:pt x="89183" y="25765"/>
                    <a:pt x="88152" y="23538"/>
                    <a:pt x="86832" y="21477"/>
                  </a:cubicBezTo>
                  <a:cubicBezTo>
                    <a:pt x="73391" y="26466"/>
                    <a:pt x="78256" y="39330"/>
                    <a:pt x="74463" y="40195"/>
                  </a:cubicBezTo>
                  <a:cubicBezTo>
                    <a:pt x="69557" y="41350"/>
                    <a:pt x="42921" y="44772"/>
                    <a:pt x="42921" y="35619"/>
                  </a:cubicBezTo>
                  <a:cubicBezTo>
                    <a:pt x="42921" y="26466"/>
                    <a:pt x="38798" y="11664"/>
                    <a:pt x="23254" y="8283"/>
                  </a:cubicBezTo>
                  <a:cubicBezTo>
                    <a:pt x="15627" y="6593"/>
                    <a:pt x="7793" y="6015"/>
                    <a:pt x="1" y="6469"/>
                  </a:cubicBezTo>
                  <a:cubicBezTo>
                    <a:pt x="9484" y="30877"/>
                    <a:pt x="10680" y="56729"/>
                    <a:pt x="11091" y="77468"/>
                  </a:cubicBezTo>
                  <a:cubicBezTo>
                    <a:pt x="11710" y="104927"/>
                    <a:pt x="46632" y="148838"/>
                    <a:pt x="51993" y="166649"/>
                  </a:cubicBezTo>
                  <a:cubicBezTo>
                    <a:pt x="57352" y="184461"/>
                    <a:pt x="67371" y="189986"/>
                    <a:pt x="90501" y="209199"/>
                  </a:cubicBezTo>
                  <a:cubicBezTo>
                    <a:pt x="113632" y="228413"/>
                    <a:pt x="158573" y="259253"/>
                    <a:pt x="167479" y="254553"/>
                  </a:cubicBezTo>
                  <a:cubicBezTo>
                    <a:pt x="176385" y="249852"/>
                    <a:pt x="153873" y="204458"/>
                    <a:pt x="140843" y="188584"/>
                  </a:cubicBezTo>
                  <a:cubicBezTo>
                    <a:pt x="127815" y="172710"/>
                    <a:pt x="139566" y="130284"/>
                    <a:pt x="140225" y="99402"/>
                  </a:cubicBezTo>
                  <a:close/>
                  <a:moveTo>
                    <a:pt x="746107" y="46627"/>
                  </a:moveTo>
                  <a:cubicBezTo>
                    <a:pt x="735470" y="49349"/>
                    <a:pt x="710567" y="47988"/>
                    <a:pt x="710567" y="35619"/>
                  </a:cubicBezTo>
                  <a:cubicBezTo>
                    <a:pt x="710567" y="23250"/>
                    <a:pt x="688055" y="-4"/>
                    <a:pt x="673830" y="-4"/>
                  </a:cubicBezTo>
                  <a:cubicBezTo>
                    <a:pt x="659605" y="-4"/>
                    <a:pt x="643031" y="32980"/>
                    <a:pt x="641876" y="46627"/>
                  </a:cubicBezTo>
                  <a:cubicBezTo>
                    <a:pt x="640721" y="60275"/>
                    <a:pt x="618169" y="58996"/>
                    <a:pt x="620560" y="78169"/>
                  </a:cubicBezTo>
                  <a:cubicBezTo>
                    <a:pt x="621467" y="85714"/>
                    <a:pt x="617262" y="88971"/>
                    <a:pt x="611819" y="90950"/>
                  </a:cubicBezTo>
                  <a:cubicBezTo>
                    <a:pt x="615489" y="107442"/>
                    <a:pt x="617509" y="119482"/>
                    <a:pt x="612232" y="117956"/>
                  </a:cubicBezTo>
                  <a:cubicBezTo>
                    <a:pt x="602790" y="115193"/>
                    <a:pt x="600399" y="128924"/>
                    <a:pt x="586215" y="128924"/>
                  </a:cubicBezTo>
                  <a:cubicBezTo>
                    <a:pt x="581309" y="128924"/>
                    <a:pt x="573145" y="114740"/>
                    <a:pt x="564486" y="96186"/>
                  </a:cubicBezTo>
                  <a:cubicBezTo>
                    <a:pt x="564199" y="96145"/>
                    <a:pt x="563951" y="96145"/>
                    <a:pt x="563662" y="96186"/>
                  </a:cubicBezTo>
                  <a:cubicBezTo>
                    <a:pt x="554220" y="96186"/>
                    <a:pt x="532904" y="134572"/>
                    <a:pt x="528163" y="160630"/>
                  </a:cubicBezTo>
                  <a:cubicBezTo>
                    <a:pt x="523421" y="186687"/>
                    <a:pt x="502105" y="178483"/>
                    <a:pt x="470110" y="181245"/>
                  </a:cubicBezTo>
                  <a:cubicBezTo>
                    <a:pt x="438115" y="184007"/>
                    <a:pt x="451144" y="222475"/>
                    <a:pt x="444052" y="240287"/>
                  </a:cubicBezTo>
                  <a:cubicBezTo>
                    <a:pt x="437539" y="256779"/>
                    <a:pt x="402410" y="227093"/>
                    <a:pt x="384681" y="222929"/>
                  </a:cubicBezTo>
                  <a:cubicBezTo>
                    <a:pt x="387649" y="237607"/>
                    <a:pt x="391814" y="252615"/>
                    <a:pt x="396637" y="252615"/>
                  </a:cubicBezTo>
                  <a:cubicBezTo>
                    <a:pt x="406162" y="252615"/>
                    <a:pt x="420386" y="280033"/>
                    <a:pt x="429622" y="271787"/>
                  </a:cubicBezTo>
                  <a:cubicBezTo>
                    <a:pt x="438857" y="263541"/>
                    <a:pt x="467512" y="271787"/>
                    <a:pt x="481738" y="266303"/>
                  </a:cubicBezTo>
                  <a:cubicBezTo>
                    <a:pt x="495962" y="260820"/>
                    <a:pt x="498230" y="247090"/>
                    <a:pt x="522020" y="247090"/>
                  </a:cubicBezTo>
                  <a:cubicBezTo>
                    <a:pt x="545810" y="247090"/>
                    <a:pt x="536244" y="269066"/>
                    <a:pt x="559910" y="255336"/>
                  </a:cubicBezTo>
                  <a:cubicBezTo>
                    <a:pt x="583577" y="241606"/>
                    <a:pt x="597842" y="252574"/>
                    <a:pt x="595451" y="227877"/>
                  </a:cubicBezTo>
                  <a:cubicBezTo>
                    <a:pt x="593060" y="203180"/>
                    <a:pt x="609676" y="203138"/>
                    <a:pt x="607284" y="183966"/>
                  </a:cubicBezTo>
                  <a:cubicBezTo>
                    <a:pt x="604892" y="164794"/>
                    <a:pt x="633383" y="178483"/>
                    <a:pt x="630992" y="142736"/>
                  </a:cubicBezTo>
                  <a:cubicBezTo>
                    <a:pt x="628600" y="106989"/>
                    <a:pt x="673624" y="112555"/>
                    <a:pt x="692590" y="112555"/>
                  </a:cubicBezTo>
                  <a:cubicBezTo>
                    <a:pt x="699393" y="113627"/>
                    <a:pt x="705866" y="116183"/>
                    <a:pt x="711556" y="120018"/>
                  </a:cubicBezTo>
                  <a:cubicBezTo>
                    <a:pt x="725574" y="112019"/>
                    <a:pt x="745695" y="101464"/>
                    <a:pt x="736294" y="91981"/>
                  </a:cubicBezTo>
                  <a:cubicBezTo>
                    <a:pt x="725657" y="81014"/>
                    <a:pt x="768289" y="90579"/>
                    <a:pt x="773030" y="74128"/>
                  </a:cubicBezTo>
                  <a:cubicBezTo>
                    <a:pt x="777772" y="57677"/>
                    <a:pt x="756662" y="43865"/>
                    <a:pt x="746024" y="46627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52" name="Freeform 557">
              <a:extLst>
                <a:ext uri="{FF2B5EF4-FFF2-40B4-BE49-F238E27FC236}">
                  <a16:creationId xmlns:a16="http://schemas.microsoft.com/office/drawing/2014/main" id="{8A6C6468-6FB6-8EEE-7353-BF5A4149254C}"/>
                </a:ext>
              </a:extLst>
            </p:cNvPr>
            <p:cNvSpPr/>
            <p:nvPr>
              <p:custDataLst>
                <p:tags r:id="rId244"/>
              </p:custDataLst>
            </p:nvPr>
          </p:nvSpPr>
          <p:spPr>
            <a:xfrm>
              <a:off x="9066453" y="4132833"/>
              <a:ext cx="953149" cy="1208322"/>
            </a:xfrm>
            <a:custGeom>
              <a:avLst/>
              <a:gdLst>
                <a:gd name="connsiteX0" fmla="*/ 185761 w 794291"/>
                <a:gd name="connsiteY0" fmla="*/ 382 h 1006935"/>
                <a:gd name="connsiteX1" fmla="*/ 198164 w 794291"/>
                <a:gd name="connsiteY1" fmla="*/ 1470 h 1006935"/>
                <a:gd name="connsiteX2" fmla="*/ 200733 w 794291"/>
                <a:gd name="connsiteY2" fmla="*/ 1792 h 1006935"/>
                <a:gd name="connsiteX3" fmla="*/ 214542 w 794291"/>
                <a:gd name="connsiteY3" fmla="*/ 8240 h 1006935"/>
                <a:gd name="connsiteX4" fmla="*/ 221285 w 794291"/>
                <a:gd name="connsiteY4" fmla="*/ 14364 h 1006935"/>
                <a:gd name="connsiteX5" fmla="*/ 241837 w 794291"/>
                <a:gd name="connsiteY5" fmla="*/ 29838 h 1006935"/>
                <a:gd name="connsiteX6" fmla="*/ 244406 w 794291"/>
                <a:gd name="connsiteY6" fmla="*/ 33384 h 1006935"/>
                <a:gd name="connsiteX7" fmla="*/ 253398 w 794291"/>
                <a:gd name="connsiteY7" fmla="*/ 42410 h 1006935"/>
                <a:gd name="connsiteX8" fmla="*/ 259629 w 794291"/>
                <a:gd name="connsiteY8" fmla="*/ 46283 h 1006935"/>
                <a:gd name="connsiteX9" fmla="*/ 261526 w 794291"/>
                <a:gd name="connsiteY9" fmla="*/ 41096 h 1006935"/>
                <a:gd name="connsiteX10" fmla="*/ 272796 w 794291"/>
                <a:gd name="connsiteY10" fmla="*/ 39801 h 1006935"/>
                <a:gd name="connsiteX11" fmla="*/ 277611 w 794291"/>
                <a:gd name="connsiteY11" fmla="*/ 44215 h 1006935"/>
                <a:gd name="connsiteX12" fmla="*/ 278795 w 794291"/>
                <a:gd name="connsiteY12" fmla="*/ 46269 h 1006935"/>
                <a:gd name="connsiteX13" fmla="*/ 299961 w 794291"/>
                <a:gd name="connsiteY13" fmla="*/ 39187 h 1006935"/>
                <a:gd name="connsiteX14" fmla="*/ 303814 w 794291"/>
                <a:gd name="connsiteY14" fmla="*/ 38542 h 1006935"/>
                <a:gd name="connsiteX15" fmla="*/ 312163 w 794291"/>
                <a:gd name="connsiteY15" fmla="*/ 38864 h 1006935"/>
                <a:gd name="connsiteX16" fmla="*/ 324687 w 794291"/>
                <a:gd name="connsiteY16" fmla="*/ 44344 h 1006935"/>
                <a:gd name="connsiteX17" fmla="*/ 330467 w 794291"/>
                <a:gd name="connsiteY17" fmla="*/ 58206 h 1006935"/>
                <a:gd name="connsiteX18" fmla="*/ 325972 w 794291"/>
                <a:gd name="connsiteY18" fmla="*/ 70134 h 1006935"/>
                <a:gd name="connsiteX19" fmla="*/ 314732 w 794291"/>
                <a:gd name="connsiteY19" fmla="*/ 83350 h 1006935"/>
                <a:gd name="connsiteX20" fmla="*/ 310879 w 794291"/>
                <a:gd name="connsiteY20" fmla="*/ 89475 h 1006935"/>
                <a:gd name="connsiteX21" fmla="*/ 304456 w 794291"/>
                <a:gd name="connsiteY21" fmla="*/ 96245 h 1006935"/>
                <a:gd name="connsiteX22" fmla="*/ 304062 w 794291"/>
                <a:gd name="connsiteY22" fmla="*/ 96324 h 1006935"/>
                <a:gd name="connsiteX23" fmla="*/ 302162 w 794291"/>
                <a:gd name="connsiteY23" fmla="*/ 109096 h 1006935"/>
                <a:gd name="connsiteX24" fmla="*/ 317963 w 794291"/>
                <a:gd name="connsiteY24" fmla="*/ 137844 h 1006935"/>
                <a:gd name="connsiteX25" fmla="*/ 301044 w 794291"/>
                <a:gd name="connsiteY25" fmla="*/ 149614 h 1006935"/>
                <a:gd name="connsiteX26" fmla="*/ 294276 w 794291"/>
                <a:gd name="connsiteY26" fmla="*/ 163973 h 1006935"/>
                <a:gd name="connsiteX27" fmla="*/ 304428 w 794291"/>
                <a:gd name="connsiteY27" fmla="*/ 190161 h 1006935"/>
                <a:gd name="connsiteX28" fmla="*/ 327968 w 794291"/>
                <a:gd name="connsiteY28" fmla="*/ 209729 h 1006935"/>
                <a:gd name="connsiteX29" fmla="*/ 344917 w 794291"/>
                <a:gd name="connsiteY29" fmla="*/ 226737 h 1006935"/>
                <a:gd name="connsiteX30" fmla="*/ 357334 w 794291"/>
                <a:gd name="connsiteY30" fmla="*/ 241126 h 1006935"/>
                <a:gd name="connsiteX31" fmla="*/ 343798 w 794291"/>
                <a:gd name="connsiteY31" fmla="*/ 262046 h 1006935"/>
                <a:gd name="connsiteX32" fmla="*/ 339266 w 794291"/>
                <a:gd name="connsiteY32" fmla="*/ 286881 h 1006935"/>
                <a:gd name="connsiteX33" fmla="*/ 353979 w 794291"/>
                <a:gd name="connsiteY33" fmla="*/ 299945 h 1006935"/>
                <a:gd name="connsiteX34" fmla="*/ 376548 w 794291"/>
                <a:gd name="connsiteY34" fmla="*/ 313010 h 1006935"/>
                <a:gd name="connsiteX35" fmla="*/ 397998 w 794291"/>
                <a:gd name="connsiteY35" fmla="*/ 326104 h 1006935"/>
                <a:gd name="connsiteX36" fmla="*/ 421715 w 794291"/>
                <a:gd name="connsiteY36" fmla="*/ 341788 h 1006935"/>
                <a:gd name="connsiteX37" fmla="*/ 448786 w 794291"/>
                <a:gd name="connsiteY37" fmla="*/ 336579 h 1006935"/>
                <a:gd name="connsiteX38" fmla="*/ 464587 w 794291"/>
                <a:gd name="connsiteY38" fmla="*/ 354852 h 1006935"/>
                <a:gd name="connsiteX39" fmla="*/ 501838 w 794291"/>
                <a:gd name="connsiteY39" fmla="*/ 371859 h 1006935"/>
                <a:gd name="connsiteX40" fmla="*/ 551508 w 794291"/>
                <a:gd name="connsiteY40" fmla="*/ 366622 h 1006935"/>
                <a:gd name="connsiteX41" fmla="*/ 552655 w 794291"/>
                <a:gd name="connsiteY41" fmla="*/ 332636 h 1006935"/>
                <a:gd name="connsiteX42" fmla="*/ 563925 w 794291"/>
                <a:gd name="connsiteY42" fmla="*/ 316953 h 1006935"/>
                <a:gd name="connsiteX43" fmla="*/ 572958 w 794291"/>
                <a:gd name="connsiteY43" fmla="*/ 333931 h 1006935"/>
                <a:gd name="connsiteX44" fmla="*/ 581991 w 794291"/>
                <a:gd name="connsiteY44" fmla="*/ 356147 h 1006935"/>
                <a:gd name="connsiteX45" fmla="*/ 601147 w 794291"/>
                <a:gd name="connsiteY45" fmla="*/ 361414 h 1006935"/>
                <a:gd name="connsiteX46" fmla="*/ 628276 w 794291"/>
                <a:gd name="connsiteY46" fmla="*/ 364003 h 1006935"/>
                <a:gd name="connsiteX47" fmla="*/ 656495 w 794291"/>
                <a:gd name="connsiteY47" fmla="*/ 360060 h 1006935"/>
                <a:gd name="connsiteX48" fmla="*/ 653082 w 794291"/>
                <a:gd name="connsiteY48" fmla="*/ 331342 h 1006935"/>
                <a:gd name="connsiteX49" fmla="*/ 667794 w 794291"/>
                <a:gd name="connsiteY49" fmla="*/ 324780 h 1006935"/>
                <a:gd name="connsiteX50" fmla="*/ 681358 w 794291"/>
                <a:gd name="connsiteY50" fmla="*/ 310391 h 1006935"/>
                <a:gd name="connsiteX51" fmla="*/ 692629 w 794291"/>
                <a:gd name="connsiteY51" fmla="*/ 297327 h 1006935"/>
                <a:gd name="connsiteX52" fmla="*/ 717463 w 794291"/>
                <a:gd name="connsiteY52" fmla="*/ 279024 h 1006935"/>
                <a:gd name="connsiteX53" fmla="*/ 751331 w 794291"/>
                <a:gd name="connsiteY53" fmla="*/ 277730 h 1006935"/>
                <a:gd name="connsiteX54" fmla="*/ 766043 w 794291"/>
                <a:gd name="connsiteY54" fmla="*/ 275111 h 1006935"/>
                <a:gd name="connsiteX55" fmla="*/ 777343 w 794291"/>
                <a:gd name="connsiteY55" fmla="*/ 297327 h 1006935"/>
                <a:gd name="connsiteX56" fmla="*/ 794291 w 794291"/>
                <a:gd name="connsiteY56" fmla="*/ 307802 h 1006935"/>
                <a:gd name="connsiteX57" fmla="*/ 787494 w 794291"/>
                <a:gd name="connsiteY57" fmla="*/ 323486 h 1006935"/>
                <a:gd name="connsiteX58" fmla="*/ 789642 w 794291"/>
                <a:gd name="connsiteY58" fmla="*/ 345966 h 1006935"/>
                <a:gd name="connsiteX59" fmla="*/ 777225 w 794291"/>
                <a:gd name="connsiteY59" fmla="*/ 345966 h 1006935"/>
                <a:gd name="connsiteX60" fmla="*/ 753538 w 794291"/>
                <a:gd name="connsiteY60" fmla="*/ 357736 h 1006935"/>
                <a:gd name="connsiteX61" fmla="*/ 734352 w 794291"/>
                <a:gd name="connsiteY61" fmla="*/ 383895 h 1006935"/>
                <a:gd name="connsiteX62" fmla="*/ 726438 w 794291"/>
                <a:gd name="connsiteY62" fmla="*/ 424412 h 1006935"/>
                <a:gd name="connsiteX63" fmla="*/ 716286 w 794291"/>
                <a:gd name="connsiteY63" fmla="*/ 464960 h 1006935"/>
                <a:gd name="connsiteX64" fmla="*/ 693717 w 794291"/>
                <a:gd name="connsiteY64" fmla="*/ 463635 h 1006935"/>
                <a:gd name="connsiteX65" fmla="*/ 688068 w 794291"/>
                <a:gd name="connsiteY65" fmla="*/ 496297 h 1006935"/>
                <a:gd name="connsiteX66" fmla="*/ 680152 w 794291"/>
                <a:gd name="connsiteY66" fmla="*/ 531607 h 1006935"/>
                <a:gd name="connsiteX67" fmla="*/ 675974 w 794291"/>
                <a:gd name="connsiteY67" fmla="*/ 534755 h 1006935"/>
                <a:gd name="connsiteX68" fmla="*/ 664410 w 794291"/>
                <a:gd name="connsiteY68" fmla="*/ 470816 h 1006935"/>
                <a:gd name="connsiteX69" fmla="*/ 643812 w 794291"/>
                <a:gd name="connsiteY69" fmla="*/ 496591 h 1006935"/>
                <a:gd name="connsiteX70" fmla="*/ 645490 w 794291"/>
                <a:gd name="connsiteY70" fmla="*/ 460899 h 1006935"/>
                <a:gd name="connsiteX71" fmla="*/ 667764 w 794291"/>
                <a:gd name="connsiteY71" fmla="*/ 427178 h 1006935"/>
                <a:gd name="connsiteX72" fmla="*/ 647167 w 794291"/>
                <a:gd name="connsiteY72" fmla="*/ 419263 h 1006935"/>
                <a:gd name="connsiteX73" fmla="*/ 614594 w 794291"/>
                <a:gd name="connsiteY73" fmla="*/ 421234 h 1006935"/>
                <a:gd name="connsiteX74" fmla="*/ 600883 w 794291"/>
                <a:gd name="connsiteY74" fmla="*/ 405345 h 1006935"/>
                <a:gd name="connsiteX75" fmla="*/ 582050 w 794291"/>
                <a:gd name="connsiteY75" fmla="*/ 387484 h 1006935"/>
                <a:gd name="connsiteX76" fmla="*/ 558069 w 794291"/>
                <a:gd name="connsiteY76" fmla="*/ 387484 h 1006935"/>
                <a:gd name="connsiteX77" fmla="*/ 576930 w 794291"/>
                <a:gd name="connsiteY77" fmla="*/ 415291 h 1006935"/>
                <a:gd name="connsiteX78" fmla="*/ 561512 w 794291"/>
                <a:gd name="connsiteY78" fmla="*/ 429150 h 1006935"/>
                <a:gd name="connsiteX79" fmla="*/ 568368 w 794291"/>
                <a:gd name="connsiteY79" fmla="*/ 478731 h 1006935"/>
                <a:gd name="connsiteX80" fmla="*/ 578431 w 794291"/>
                <a:gd name="connsiteY80" fmla="*/ 539316 h 1006935"/>
                <a:gd name="connsiteX81" fmla="*/ 571340 w 794291"/>
                <a:gd name="connsiteY81" fmla="*/ 540140 h 1006935"/>
                <a:gd name="connsiteX82" fmla="*/ 520199 w 794291"/>
                <a:gd name="connsiteY82" fmla="*/ 560178 h 1006935"/>
                <a:gd name="connsiteX83" fmla="*/ 519111 w 794291"/>
                <a:gd name="connsiteY83" fmla="*/ 577392 h 1006935"/>
                <a:gd name="connsiteX84" fmla="*/ 491364 w 794291"/>
                <a:gd name="connsiteY84" fmla="*/ 577392 h 1006935"/>
                <a:gd name="connsiteX85" fmla="*/ 460350 w 794291"/>
                <a:gd name="connsiteY85" fmla="*/ 606463 h 1006935"/>
                <a:gd name="connsiteX86" fmla="*/ 434808 w 794291"/>
                <a:gd name="connsiteY86" fmla="*/ 622265 h 1006935"/>
                <a:gd name="connsiteX87" fmla="*/ 402088 w 794291"/>
                <a:gd name="connsiteY87" fmla="*/ 683380 h 1006935"/>
                <a:gd name="connsiteX88" fmla="*/ 398499 w 794291"/>
                <a:gd name="connsiteY88" fmla="*/ 702388 h 1006935"/>
                <a:gd name="connsiteX89" fmla="*/ 378166 w 794291"/>
                <a:gd name="connsiteY89" fmla="*/ 722986 h 1006935"/>
                <a:gd name="connsiteX90" fmla="*/ 349859 w 794291"/>
                <a:gd name="connsiteY90" fmla="*/ 745525 h 1006935"/>
                <a:gd name="connsiteX91" fmla="*/ 339296 w 794291"/>
                <a:gd name="connsiteY91" fmla="*/ 772920 h 1006935"/>
                <a:gd name="connsiteX92" fmla="*/ 337178 w 794291"/>
                <a:gd name="connsiteY92" fmla="*/ 814556 h 1006935"/>
                <a:gd name="connsiteX93" fmla="*/ 332941 w 794291"/>
                <a:gd name="connsiteY93" fmla="*/ 868374 h 1006935"/>
                <a:gd name="connsiteX94" fmla="*/ 324495 w 794291"/>
                <a:gd name="connsiteY94" fmla="*/ 910480 h 1006935"/>
                <a:gd name="connsiteX95" fmla="*/ 316875 w 794291"/>
                <a:gd name="connsiteY95" fmla="*/ 934020 h 1006935"/>
                <a:gd name="connsiteX96" fmla="*/ 305899 w 794291"/>
                <a:gd name="connsiteY96" fmla="*/ 956530 h 1006935"/>
                <a:gd name="connsiteX97" fmla="*/ 279269 w 794291"/>
                <a:gd name="connsiteY97" fmla="*/ 987367 h 1006935"/>
                <a:gd name="connsiteX98" fmla="*/ 264557 w 794291"/>
                <a:gd name="connsiteY98" fmla="*/ 1006935 h 1006935"/>
                <a:gd name="connsiteX99" fmla="*/ 214006 w 794291"/>
                <a:gd name="connsiteY99" fmla="*/ 910127 h 1006935"/>
                <a:gd name="connsiteX100" fmla="*/ 197822 w 794291"/>
                <a:gd name="connsiteY100" fmla="*/ 879702 h 1006935"/>
                <a:gd name="connsiteX101" fmla="*/ 169957 w 794291"/>
                <a:gd name="connsiteY101" fmla="*/ 794017 h 1006935"/>
                <a:gd name="connsiteX102" fmla="*/ 161806 w 794291"/>
                <a:gd name="connsiteY102" fmla="*/ 773920 h 1006935"/>
                <a:gd name="connsiteX103" fmla="*/ 161011 w 794291"/>
                <a:gd name="connsiteY103" fmla="*/ 731665 h 1006935"/>
                <a:gd name="connsiteX104" fmla="*/ 142974 w 794291"/>
                <a:gd name="connsiteY104" fmla="*/ 703271 h 1006935"/>
                <a:gd name="connsiteX105" fmla="*/ 130204 w 794291"/>
                <a:gd name="connsiteY105" fmla="*/ 645687 h 1006935"/>
                <a:gd name="connsiteX106" fmla="*/ 124731 w 794291"/>
                <a:gd name="connsiteY106" fmla="*/ 589779 h 1006935"/>
                <a:gd name="connsiteX107" fmla="*/ 124731 w 794291"/>
                <a:gd name="connsiteY107" fmla="*/ 559414 h 1006935"/>
                <a:gd name="connsiteX108" fmla="*/ 117522 w 794291"/>
                <a:gd name="connsiteY108" fmla="*/ 525163 h 1006935"/>
                <a:gd name="connsiteX109" fmla="*/ 108695 w 794291"/>
                <a:gd name="connsiteY109" fmla="*/ 542288 h 1006935"/>
                <a:gd name="connsiteX110" fmla="*/ 78711 w 794291"/>
                <a:gd name="connsiteY110" fmla="*/ 576539 h 1006935"/>
                <a:gd name="connsiteX111" fmla="*/ 17860 w 794291"/>
                <a:gd name="connsiteY111" fmla="*/ 519278 h 1006935"/>
                <a:gd name="connsiteX112" fmla="*/ 57583 w 794291"/>
                <a:gd name="connsiteY112" fmla="*/ 503594 h 1006935"/>
                <a:gd name="connsiteX113" fmla="*/ 26305 w 794291"/>
                <a:gd name="connsiteY113" fmla="*/ 501652 h 1006935"/>
                <a:gd name="connsiteX114" fmla="*/ 0 w 794291"/>
                <a:gd name="connsiteY114" fmla="*/ 473581 h 1006935"/>
                <a:gd name="connsiteX115" fmla="*/ 1823 w 794291"/>
                <a:gd name="connsiteY115" fmla="*/ 471168 h 1006935"/>
                <a:gd name="connsiteX116" fmla="*/ 27806 w 794291"/>
                <a:gd name="connsiteY116" fmla="*/ 450247 h 1006935"/>
                <a:gd name="connsiteX117" fmla="*/ 54877 w 794291"/>
                <a:gd name="connsiteY117" fmla="*/ 448952 h 1006935"/>
                <a:gd name="connsiteX118" fmla="*/ 76298 w 794291"/>
                <a:gd name="connsiteY118" fmla="*/ 442449 h 1006935"/>
                <a:gd name="connsiteX119" fmla="*/ 66176 w 794291"/>
                <a:gd name="connsiteY119" fmla="*/ 412348 h 1006935"/>
                <a:gd name="connsiteX120" fmla="*/ 53758 w 794291"/>
                <a:gd name="connsiteY120" fmla="*/ 378392 h 1006935"/>
                <a:gd name="connsiteX121" fmla="*/ 35692 w 794291"/>
                <a:gd name="connsiteY121" fmla="*/ 354852 h 1006935"/>
                <a:gd name="connsiteX122" fmla="*/ 57142 w 794291"/>
                <a:gd name="connsiteY122" fmla="*/ 323486 h 1006935"/>
                <a:gd name="connsiteX123" fmla="*/ 78564 w 794291"/>
                <a:gd name="connsiteY123" fmla="*/ 326104 h 1006935"/>
                <a:gd name="connsiteX124" fmla="*/ 97778 w 794291"/>
                <a:gd name="connsiteY124" fmla="*/ 324780 h 1006935"/>
                <a:gd name="connsiteX125" fmla="*/ 113578 w 794291"/>
                <a:gd name="connsiteY125" fmla="*/ 299975 h 1006935"/>
                <a:gd name="connsiteX126" fmla="*/ 137295 w 794291"/>
                <a:gd name="connsiteY126" fmla="*/ 282967 h 1006935"/>
                <a:gd name="connsiteX127" fmla="*/ 148565 w 794291"/>
                <a:gd name="connsiteY127" fmla="*/ 247658 h 1006935"/>
                <a:gd name="connsiteX128" fmla="*/ 165514 w 794291"/>
                <a:gd name="connsiteY128" fmla="*/ 231974 h 1006935"/>
                <a:gd name="connsiteX129" fmla="*/ 179049 w 794291"/>
                <a:gd name="connsiteY129" fmla="*/ 213672 h 1006935"/>
                <a:gd name="connsiteX130" fmla="*/ 184698 w 794291"/>
                <a:gd name="connsiteY130" fmla="*/ 188838 h 1006935"/>
                <a:gd name="connsiteX131" fmla="*/ 199410 w 794291"/>
                <a:gd name="connsiteY131" fmla="*/ 163973 h 1006935"/>
                <a:gd name="connsiteX132" fmla="*/ 199837 w 794291"/>
                <a:gd name="connsiteY132" fmla="*/ 154841 h 1006935"/>
                <a:gd name="connsiteX133" fmla="*/ 199734 w 794291"/>
                <a:gd name="connsiteY133" fmla="*/ 154802 h 1006935"/>
                <a:gd name="connsiteX134" fmla="*/ 191703 w 794291"/>
                <a:gd name="connsiteY134" fmla="*/ 154802 h 1006935"/>
                <a:gd name="connsiteX135" fmla="*/ 193026 w 794291"/>
                <a:gd name="connsiteY135" fmla="*/ 153948 h 1006935"/>
                <a:gd name="connsiteX136" fmla="*/ 193990 w 794291"/>
                <a:gd name="connsiteY136" fmla="*/ 153948 h 1006935"/>
                <a:gd name="connsiteX137" fmla="*/ 195214 w 794291"/>
                <a:gd name="connsiteY137" fmla="*/ 153110 h 1006935"/>
                <a:gd name="connsiteX138" fmla="*/ 185876 w 794291"/>
                <a:gd name="connsiteY138" fmla="*/ 149614 h 1006935"/>
                <a:gd name="connsiteX139" fmla="*/ 173609 w 794291"/>
                <a:gd name="connsiteY139" fmla="*/ 134898 h 1006935"/>
                <a:gd name="connsiteX140" fmla="*/ 171614 w 794291"/>
                <a:gd name="connsiteY140" fmla="*/ 128279 h 1006935"/>
                <a:gd name="connsiteX141" fmla="*/ 162520 w 794291"/>
                <a:gd name="connsiteY141" fmla="*/ 123646 h 1006935"/>
                <a:gd name="connsiteX142" fmla="*/ 157703 w 794291"/>
                <a:gd name="connsiteY142" fmla="*/ 105916 h 1006935"/>
                <a:gd name="connsiteX143" fmla="*/ 157703 w 794291"/>
                <a:gd name="connsiteY143" fmla="*/ 89475 h 1006935"/>
                <a:gd name="connsiteX144" fmla="*/ 156418 w 794291"/>
                <a:gd name="connsiteY144" fmla="*/ 83995 h 1006935"/>
                <a:gd name="connsiteX145" fmla="*/ 159308 w 794291"/>
                <a:gd name="connsiteY145" fmla="*/ 75936 h 1006935"/>
                <a:gd name="connsiteX146" fmla="*/ 160593 w 794291"/>
                <a:gd name="connsiteY146" fmla="*/ 74969 h 1006935"/>
                <a:gd name="connsiteX147" fmla="*/ 169584 w 794291"/>
                <a:gd name="connsiteY147" fmla="*/ 64009 h 1006935"/>
                <a:gd name="connsiteX148" fmla="*/ 170548 w 794291"/>
                <a:gd name="connsiteY148" fmla="*/ 60140 h 1006935"/>
                <a:gd name="connsiteX149" fmla="*/ 160272 w 794291"/>
                <a:gd name="connsiteY149" fmla="*/ 47246 h 1006935"/>
                <a:gd name="connsiteX150" fmla="*/ 150638 w 794291"/>
                <a:gd name="connsiteY150" fmla="*/ 39187 h 1006935"/>
                <a:gd name="connsiteX151" fmla="*/ 141968 w 794291"/>
                <a:gd name="connsiteY151" fmla="*/ 34351 h 1006935"/>
                <a:gd name="connsiteX152" fmla="*/ 134903 w 794291"/>
                <a:gd name="connsiteY152" fmla="*/ 28549 h 1006935"/>
                <a:gd name="connsiteX153" fmla="*/ 138757 w 794291"/>
                <a:gd name="connsiteY153" fmla="*/ 19522 h 1006935"/>
                <a:gd name="connsiteX154" fmla="*/ 148711 w 794291"/>
                <a:gd name="connsiteY154" fmla="*/ 9851 h 1006935"/>
                <a:gd name="connsiteX155" fmla="*/ 154492 w 794291"/>
                <a:gd name="connsiteY155" fmla="*/ 6305 h 1006935"/>
                <a:gd name="connsiteX156" fmla="*/ 162520 w 794291"/>
                <a:gd name="connsiteY156" fmla="*/ 6628 h 1006935"/>
                <a:gd name="connsiteX157" fmla="*/ 174080 w 794291"/>
                <a:gd name="connsiteY157" fmla="*/ 4371 h 1006935"/>
                <a:gd name="connsiteX158" fmla="*/ 185761 w 794291"/>
                <a:gd name="connsiteY158" fmla="*/ 382 h 1006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</a:cxnLst>
              <a:rect l="l" t="t" r="r" b="b"/>
              <a:pathLst>
                <a:path w="794291" h="1006935">
                  <a:moveTo>
                    <a:pt x="185761" y="382"/>
                  </a:moveTo>
                  <a:cubicBezTo>
                    <a:pt x="189735" y="-303"/>
                    <a:pt x="193829" y="-142"/>
                    <a:pt x="198164" y="1470"/>
                  </a:cubicBezTo>
                  <a:cubicBezTo>
                    <a:pt x="198807" y="1792"/>
                    <a:pt x="200091" y="2115"/>
                    <a:pt x="200733" y="1792"/>
                  </a:cubicBezTo>
                  <a:cubicBezTo>
                    <a:pt x="207477" y="-787"/>
                    <a:pt x="211009" y="3404"/>
                    <a:pt x="214542" y="8240"/>
                  </a:cubicBezTo>
                  <a:cubicBezTo>
                    <a:pt x="216469" y="10818"/>
                    <a:pt x="219037" y="12430"/>
                    <a:pt x="221285" y="14364"/>
                  </a:cubicBezTo>
                  <a:cubicBezTo>
                    <a:pt x="228029" y="19522"/>
                    <a:pt x="235094" y="24680"/>
                    <a:pt x="241837" y="29838"/>
                  </a:cubicBezTo>
                  <a:cubicBezTo>
                    <a:pt x="242801" y="30805"/>
                    <a:pt x="244406" y="32095"/>
                    <a:pt x="244406" y="33384"/>
                  </a:cubicBezTo>
                  <a:cubicBezTo>
                    <a:pt x="244727" y="39187"/>
                    <a:pt x="248902" y="40798"/>
                    <a:pt x="253398" y="42410"/>
                  </a:cubicBezTo>
                  <a:lnTo>
                    <a:pt x="259629" y="46283"/>
                  </a:lnTo>
                  <a:lnTo>
                    <a:pt x="261526" y="41096"/>
                  </a:lnTo>
                  <a:lnTo>
                    <a:pt x="272796" y="39801"/>
                  </a:lnTo>
                  <a:cubicBezTo>
                    <a:pt x="272796" y="39801"/>
                    <a:pt x="275062" y="41434"/>
                    <a:pt x="277611" y="44215"/>
                  </a:cubicBezTo>
                  <a:lnTo>
                    <a:pt x="278795" y="46269"/>
                  </a:lnTo>
                  <a:lnTo>
                    <a:pt x="299961" y="39187"/>
                  </a:lnTo>
                  <a:cubicBezTo>
                    <a:pt x="301245" y="39187"/>
                    <a:pt x="302530" y="38542"/>
                    <a:pt x="303814" y="38542"/>
                  </a:cubicBezTo>
                  <a:cubicBezTo>
                    <a:pt x="306704" y="38542"/>
                    <a:pt x="309594" y="37897"/>
                    <a:pt x="312163" y="38864"/>
                  </a:cubicBezTo>
                  <a:cubicBezTo>
                    <a:pt x="316659" y="40154"/>
                    <a:pt x="320513" y="42733"/>
                    <a:pt x="324687" y="44344"/>
                  </a:cubicBezTo>
                  <a:cubicBezTo>
                    <a:pt x="331752" y="47568"/>
                    <a:pt x="333358" y="51114"/>
                    <a:pt x="330467" y="58206"/>
                  </a:cubicBezTo>
                  <a:cubicBezTo>
                    <a:pt x="328862" y="62074"/>
                    <a:pt x="327256" y="65943"/>
                    <a:pt x="325972" y="70134"/>
                  </a:cubicBezTo>
                  <a:cubicBezTo>
                    <a:pt x="324366" y="76581"/>
                    <a:pt x="318907" y="79482"/>
                    <a:pt x="314732" y="83350"/>
                  </a:cubicBezTo>
                  <a:cubicBezTo>
                    <a:pt x="312163" y="85285"/>
                    <a:pt x="310879" y="86574"/>
                    <a:pt x="310879" y="89475"/>
                  </a:cubicBezTo>
                  <a:cubicBezTo>
                    <a:pt x="311200" y="93666"/>
                    <a:pt x="309273" y="96245"/>
                    <a:pt x="304456" y="96245"/>
                  </a:cubicBezTo>
                  <a:lnTo>
                    <a:pt x="304062" y="96324"/>
                  </a:lnTo>
                  <a:lnTo>
                    <a:pt x="302162" y="109096"/>
                  </a:lnTo>
                  <a:cubicBezTo>
                    <a:pt x="302162" y="115658"/>
                    <a:pt x="312313" y="126074"/>
                    <a:pt x="317963" y="137844"/>
                  </a:cubicBezTo>
                  <a:cubicBezTo>
                    <a:pt x="323613" y="149614"/>
                    <a:pt x="308959" y="157441"/>
                    <a:pt x="301044" y="149614"/>
                  </a:cubicBezTo>
                  <a:cubicBezTo>
                    <a:pt x="293129" y="141787"/>
                    <a:pt x="289774" y="157412"/>
                    <a:pt x="294276" y="163973"/>
                  </a:cubicBezTo>
                  <a:cubicBezTo>
                    <a:pt x="298778" y="170536"/>
                    <a:pt x="296689" y="188867"/>
                    <a:pt x="304428" y="190161"/>
                  </a:cubicBezTo>
                  <a:cubicBezTo>
                    <a:pt x="312166" y="191456"/>
                    <a:pt x="318934" y="209729"/>
                    <a:pt x="327968" y="209729"/>
                  </a:cubicBezTo>
                  <a:cubicBezTo>
                    <a:pt x="337001" y="209729"/>
                    <a:pt x="344917" y="226737"/>
                    <a:pt x="344917" y="226737"/>
                  </a:cubicBezTo>
                  <a:cubicBezTo>
                    <a:pt x="344917" y="226737"/>
                    <a:pt x="357334" y="235887"/>
                    <a:pt x="357334" y="241126"/>
                  </a:cubicBezTo>
                  <a:cubicBezTo>
                    <a:pt x="357334" y="246363"/>
                    <a:pt x="343798" y="254219"/>
                    <a:pt x="343798" y="262046"/>
                  </a:cubicBezTo>
                  <a:cubicBezTo>
                    <a:pt x="343798" y="269874"/>
                    <a:pt x="339266" y="280349"/>
                    <a:pt x="339266" y="286881"/>
                  </a:cubicBezTo>
                  <a:cubicBezTo>
                    <a:pt x="339266" y="293413"/>
                    <a:pt x="350595" y="294708"/>
                    <a:pt x="353979" y="299945"/>
                  </a:cubicBezTo>
                  <a:cubicBezTo>
                    <a:pt x="357363" y="305183"/>
                    <a:pt x="375429" y="307772"/>
                    <a:pt x="376548" y="313010"/>
                  </a:cubicBezTo>
                  <a:cubicBezTo>
                    <a:pt x="377666" y="318247"/>
                    <a:pt x="390112" y="324780"/>
                    <a:pt x="397998" y="326104"/>
                  </a:cubicBezTo>
                  <a:cubicBezTo>
                    <a:pt x="405884" y="327429"/>
                    <a:pt x="417212" y="337874"/>
                    <a:pt x="421715" y="341788"/>
                  </a:cubicBezTo>
                  <a:cubicBezTo>
                    <a:pt x="426217" y="345701"/>
                    <a:pt x="443136" y="336579"/>
                    <a:pt x="448786" y="336579"/>
                  </a:cubicBezTo>
                  <a:cubicBezTo>
                    <a:pt x="454436" y="336579"/>
                    <a:pt x="463439" y="348291"/>
                    <a:pt x="464587" y="354852"/>
                  </a:cubicBezTo>
                  <a:cubicBezTo>
                    <a:pt x="465734" y="361414"/>
                    <a:pt x="495071" y="365327"/>
                    <a:pt x="501838" y="371859"/>
                  </a:cubicBezTo>
                  <a:cubicBezTo>
                    <a:pt x="508606" y="378392"/>
                    <a:pt x="544710" y="374479"/>
                    <a:pt x="551508" y="366622"/>
                  </a:cubicBezTo>
                  <a:cubicBezTo>
                    <a:pt x="558305" y="358766"/>
                    <a:pt x="552655" y="344406"/>
                    <a:pt x="552655" y="332636"/>
                  </a:cubicBezTo>
                  <a:cubicBezTo>
                    <a:pt x="552655" y="320866"/>
                    <a:pt x="559423" y="324809"/>
                    <a:pt x="563925" y="316953"/>
                  </a:cubicBezTo>
                  <a:cubicBezTo>
                    <a:pt x="568427" y="309097"/>
                    <a:pt x="575224" y="323486"/>
                    <a:pt x="572958" y="333931"/>
                  </a:cubicBezTo>
                  <a:cubicBezTo>
                    <a:pt x="570692" y="344377"/>
                    <a:pt x="577548" y="357441"/>
                    <a:pt x="581991" y="356147"/>
                  </a:cubicBezTo>
                  <a:cubicBezTo>
                    <a:pt x="586434" y="354852"/>
                    <a:pt x="592085" y="364062"/>
                    <a:pt x="601147" y="361414"/>
                  </a:cubicBezTo>
                  <a:cubicBezTo>
                    <a:pt x="610210" y="358766"/>
                    <a:pt x="615889" y="367946"/>
                    <a:pt x="628276" y="364003"/>
                  </a:cubicBezTo>
                  <a:cubicBezTo>
                    <a:pt x="640664" y="360060"/>
                    <a:pt x="651992" y="369182"/>
                    <a:pt x="656495" y="360060"/>
                  </a:cubicBezTo>
                  <a:cubicBezTo>
                    <a:pt x="660997" y="350939"/>
                    <a:pt x="653082" y="331342"/>
                    <a:pt x="653082" y="331342"/>
                  </a:cubicBezTo>
                  <a:cubicBezTo>
                    <a:pt x="653082" y="331342"/>
                    <a:pt x="664410" y="324780"/>
                    <a:pt x="667794" y="324780"/>
                  </a:cubicBezTo>
                  <a:cubicBezTo>
                    <a:pt x="671178" y="324780"/>
                    <a:pt x="675739" y="316923"/>
                    <a:pt x="681358" y="310391"/>
                  </a:cubicBezTo>
                  <a:cubicBezTo>
                    <a:pt x="686979" y="303859"/>
                    <a:pt x="685861" y="296032"/>
                    <a:pt x="692629" y="297327"/>
                  </a:cubicBezTo>
                  <a:cubicBezTo>
                    <a:pt x="699396" y="298622"/>
                    <a:pt x="702780" y="288176"/>
                    <a:pt x="717463" y="279024"/>
                  </a:cubicBezTo>
                  <a:cubicBezTo>
                    <a:pt x="732146" y="269874"/>
                    <a:pt x="744504" y="284262"/>
                    <a:pt x="751331" y="277730"/>
                  </a:cubicBezTo>
                  <a:cubicBezTo>
                    <a:pt x="758157" y="271197"/>
                    <a:pt x="766043" y="268549"/>
                    <a:pt x="766043" y="275111"/>
                  </a:cubicBezTo>
                  <a:cubicBezTo>
                    <a:pt x="766043" y="281673"/>
                    <a:pt x="775106" y="289470"/>
                    <a:pt x="777343" y="297327"/>
                  </a:cubicBezTo>
                  <a:cubicBezTo>
                    <a:pt x="779579" y="305183"/>
                    <a:pt x="794291" y="307802"/>
                    <a:pt x="794291" y="307802"/>
                  </a:cubicBezTo>
                  <a:cubicBezTo>
                    <a:pt x="794291" y="307802"/>
                    <a:pt x="792026" y="320866"/>
                    <a:pt x="787494" y="323486"/>
                  </a:cubicBezTo>
                  <a:cubicBezTo>
                    <a:pt x="782992" y="326104"/>
                    <a:pt x="782874" y="334196"/>
                    <a:pt x="789642" y="345966"/>
                  </a:cubicBezTo>
                  <a:cubicBezTo>
                    <a:pt x="796410" y="357736"/>
                    <a:pt x="779490" y="352498"/>
                    <a:pt x="777225" y="345966"/>
                  </a:cubicBezTo>
                  <a:cubicBezTo>
                    <a:pt x="774959" y="339433"/>
                    <a:pt x="761453" y="349879"/>
                    <a:pt x="753538" y="357736"/>
                  </a:cubicBezTo>
                  <a:cubicBezTo>
                    <a:pt x="745623" y="365592"/>
                    <a:pt x="734352" y="369535"/>
                    <a:pt x="734352" y="383895"/>
                  </a:cubicBezTo>
                  <a:cubicBezTo>
                    <a:pt x="734352" y="398254"/>
                    <a:pt x="724172" y="412672"/>
                    <a:pt x="726438" y="424412"/>
                  </a:cubicBezTo>
                  <a:cubicBezTo>
                    <a:pt x="728704" y="436153"/>
                    <a:pt x="715315" y="458457"/>
                    <a:pt x="716286" y="464960"/>
                  </a:cubicBezTo>
                  <a:cubicBezTo>
                    <a:pt x="717256" y="471462"/>
                    <a:pt x="697101" y="463635"/>
                    <a:pt x="693717" y="463635"/>
                  </a:cubicBezTo>
                  <a:cubicBezTo>
                    <a:pt x="690333" y="463635"/>
                    <a:pt x="692599" y="488441"/>
                    <a:pt x="688068" y="496297"/>
                  </a:cubicBezTo>
                  <a:cubicBezTo>
                    <a:pt x="683536" y="504154"/>
                    <a:pt x="686920" y="531607"/>
                    <a:pt x="680152" y="531607"/>
                  </a:cubicBezTo>
                  <a:cubicBezTo>
                    <a:pt x="678681" y="531607"/>
                    <a:pt x="677298" y="532902"/>
                    <a:pt x="675974" y="534755"/>
                  </a:cubicBezTo>
                  <a:cubicBezTo>
                    <a:pt x="670912" y="502300"/>
                    <a:pt x="668118" y="470816"/>
                    <a:pt x="664410" y="470816"/>
                  </a:cubicBezTo>
                  <a:cubicBezTo>
                    <a:pt x="659202" y="470816"/>
                    <a:pt x="652405" y="498563"/>
                    <a:pt x="643812" y="496591"/>
                  </a:cubicBezTo>
                  <a:cubicBezTo>
                    <a:pt x="635221" y="494620"/>
                    <a:pt x="635221" y="460899"/>
                    <a:pt x="645490" y="460899"/>
                  </a:cubicBezTo>
                  <a:cubicBezTo>
                    <a:pt x="655759" y="460899"/>
                    <a:pt x="667764" y="435094"/>
                    <a:pt x="667764" y="427178"/>
                  </a:cubicBezTo>
                  <a:cubicBezTo>
                    <a:pt x="667764" y="419263"/>
                    <a:pt x="657466" y="419263"/>
                    <a:pt x="647167" y="419263"/>
                  </a:cubicBezTo>
                  <a:cubicBezTo>
                    <a:pt x="636868" y="419263"/>
                    <a:pt x="614594" y="421234"/>
                    <a:pt x="614594" y="421234"/>
                  </a:cubicBezTo>
                  <a:cubicBezTo>
                    <a:pt x="614594" y="421234"/>
                    <a:pt x="600883" y="415261"/>
                    <a:pt x="600883" y="405345"/>
                  </a:cubicBezTo>
                  <a:cubicBezTo>
                    <a:pt x="600883" y="395429"/>
                    <a:pt x="595733" y="387484"/>
                    <a:pt x="582050" y="387484"/>
                  </a:cubicBezTo>
                  <a:cubicBezTo>
                    <a:pt x="568368" y="387484"/>
                    <a:pt x="568338" y="371595"/>
                    <a:pt x="558069" y="387484"/>
                  </a:cubicBezTo>
                  <a:cubicBezTo>
                    <a:pt x="547800" y="403373"/>
                    <a:pt x="580373" y="403403"/>
                    <a:pt x="576930" y="415291"/>
                  </a:cubicBezTo>
                  <a:cubicBezTo>
                    <a:pt x="573488" y="427178"/>
                    <a:pt x="563248" y="419233"/>
                    <a:pt x="561512" y="429150"/>
                  </a:cubicBezTo>
                  <a:cubicBezTo>
                    <a:pt x="559776" y="439066"/>
                    <a:pt x="563248" y="464871"/>
                    <a:pt x="568368" y="478731"/>
                  </a:cubicBezTo>
                  <a:cubicBezTo>
                    <a:pt x="574547" y="498357"/>
                    <a:pt x="577931" y="518748"/>
                    <a:pt x="578431" y="539316"/>
                  </a:cubicBezTo>
                  <a:cubicBezTo>
                    <a:pt x="576106" y="539876"/>
                    <a:pt x="573723" y="540140"/>
                    <a:pt x="571340" y="540140"/>
                  </a:cubicBezTo>
                  <a:cubicBezTo>
                    <a:pt x="557804" y="540140"/>
                    <a:pt x="522317" y="546025"/>
                    <a:pt x="520199" y="560178"/>
                  </a:cubicBezTo>
                  <a:cubicBezTo>
                    <a:pt x="519111" y="567152"/>
                    <a:pt x="519640" y="572360"/>
                    <a:pt x="519111" y="577392"/>
                  </a:cubicBezTo>
                  <a:cubicBezTo>
                    <a:pt x="509900" y="578510"/>
                    <a:pt x="500573" y="578510"/>
                    <a:pt x="491364" y="577392"/>
                  </a:cubicBezTo>
                  <a:cubicBezTo>
                    <a:pt x="475680" y="575479"/>
                    <a:pt x="462056" y="591369"/>
                    <a:pt x="460350" y="606463"/>
                  </a:cubicBezTo>
                  <a:cubicBezTo>
                    <a:pt x="449904" y="607670"/>
                    <a:pt x="440547" y="613467"/>
                    <a:pt x="434808" y="622265"/>
                  </a:cubicBezTo>
                  <a:cubicBezTo>
                    <a:pt x="421392" y="641243"/>
                    <a:pt x="411593" y="662135"/>
                    <a:pt x="402088" y="683380"/>
                  </a:cubicBezTo>
                  <a:cubicBezTo>
                    <a:pt x="399382" y="689324"/>
                    <a:pt x="398145" y="695856"/>
                    <a:pt x="398499" y="702388"/>
                  </a:cubicBezTo>
                  <a:cubicBezTo>
                    <a:pt x="390230" y="709244"/>
                    <a:pt x="382227" y="716688"/>
                    <a:pt x="378166" y="722986"/>
                  </a:cubicBezTo>
                  <a:cubicBezTo>
                    <a:pt x="369721" y="736197"/>
                    <a:pt x="357892" y="744613"/>
                    <a:pt x="349859" y="745525"/>
                  </a:cubicBezTo>
                  <a:cubicBezTo>
                    <a:pt x="341826" y="746437"/>
                    <a:pt x="343533" y="760708"/>
                    <a:pt x="339296" y="772920"/>
                  </a:cubicBezTo>
                  <a:cubicBezTo>
                    <a:pt x="335059" y="785131"/>
                    <a:pt x="332587" y="802344"/>
                    <a:pt x="337178" y="814556"/>
                  </a:cubicBezTo>
                  <a:cubicBezTo>
                    <a:pt x="341768" y="826767"/>
                    <a:pt x="340562" y="857075"/>
                    <a:pt x="332941" y="868374"/>
                  </a:cubicBezTo>
                  <a:cubicBezTo>
                    <a:pt x="325319" y="879673"/>
                    <a:pt x="324495" y="897710"/>
                    <a:pt x="324495" y="910480"/>
                  </a:cubicBezTo>
                  <a:cubicBezTo>
                    <a:pt x="324495" y="923251"/>
                    <a:pt x="324495" y="932549"/>
                    <a:pt x="316875" y="934020"/>
                  </a:cubicBezTo>
                  <a:cubicBezTo>
                    <a:pt x="309253" y="935491"/>
                    <a:pt x="307164" y="944790"/>
                    <a:pt x="305899" y="956530"/>
                  </a:cubicBezTo>
                  <a:cubicBezTo>
                    <a:pt x="304634" y="968271"/>
                    <a:pt x="283065" y="973655"/>
                    <a:pt x="279269" y="987367"/>
                  </a:cubicBezTo>
                  <a:cubicBezTo>
                    <a:pt x="276827" y="995429"/>
                    <a:pt x="271619" y="1002344"/>
                    <a:pt x="264557" y="1006935"/>
                  </a:cubicBezTo>
                  <a:cubicBezTo>
                    <a:pt x="244401" y="977069"/>
                    <a:pt x="232572" y="941436"/>
                    <a:pt x="214006" y="910127"/>
                  </a:cubicBezTo>
                  <a:cubicBezTo>
                    <a:pt x="209357" y="899623"/>
                    <a:pt x="203942" y="889441"/>
                    <a:pt x="197822" y="879702"/>
                  </a:cubicBezTo>
                  <a:cubicBezTo>
                    <a:pt x="190201" y="867932"/>
                    <a:pt x="181374" y="818969"/>
                    <a:pt x="169957" y="794017"/>
                  </a:cubicBezTo>
                  <a:cubicBezTo>
                    <a:pt x="167250" y="788073"/>
                    <a:pt x="164483" y="781218"/>
                    <a:pt x="161806" y="773920"/>
                  </a:cubicBezTo>
                  <a:cubicBezTo>
                    <a:pt x="161011" y="759825"/>
                    <a:pt x="161011" y="745672"/>
                    <a:pt x="161011" y="731665"/>
                  </a:cubicBezTo>
                  <a:cubicBezTo>
                    <a:pt x="161541" y="719366"/>
                    <a:pt x="154332" y="708037"/>
                    <a:pt x="142974" y="703271"/>
                  </a:cubicBezTo>
                  <a:cubicBezTo>
                    <a:pt x="139738" y="681497"/>
                    <a:pt x="131440" y="660399"/>
                    <a:pt x="130204" y="645687"/>
                  </a:cubicBezTo>
                  <a:cubicBezTo>
                    <a:pt x="128939" y="630386"/>
                    <a:pt x="120523" y="603521"/>
                    <a:pt x="124731" y="589779"/>
                  </a:cubicBezTo>
                  <a:cubicBezTo>
                    <a:pt x="128939" y="576038"/>
                    <a:pt x="131086" y="565299"/>
                    <a:pt x="124731" y="559414"/>
                  </a:cubicBezTo>
                  <a:cubicBezTo>
                    <a:pt x="118376" y="553529"/>
                    <a:pt x="122935" y="528105"/>
                    <a:pt x="117522" y="525163"/>
                  </a:cubicBezTo>
                  <a:cubicBezTo>
                    <a:pt x="112108" y="522220"/>
                    <a:pt x="102751" y="538375"/>
                    <a:pt x="108695" y="542288"/>
                  </a:cubicBezTo>
                  <a:cubicBezTo>
                    <a:pt x="114638" y="546202"/>
                    <a:pt x="99425" y="572007"/>
                    <a:pt x="78711" y="576539"/>
                  </a:cubicBezTo>
                  <a:cubicBezTo>
                    <a:pt x="57996" y="581070"/>
                    <a:pt x="17036" y="523692"/>
                    <a:pt x="17860" y="519278"/>
                  </a:cubicBezTo>
                  <a:cubicBezTo>
                    <a:pt x="18684" y="514864"/>
                    <a:pt x="57583" y="517777"/>
                    <a:pt x="57583" y="503594"/>
                  </a:cubicBezTo>
                  <a:cubicBezTo>
                    <a:pt x="57583" y="489412"/>
                    <a:pt x="42783" y="509009"/>
                    <a:pt x="26305" y="501652"/>
                  </a:cubicBezTo>
                  <a:cubicBezTo>
                    <a:pt x="12122" y="495326"/>
                    <a:pt x="8533" y="481409"/>
                    <a:pt x="0" y="473581"/>
                  </a:cubicBezTo>
                  <a:cubicBezTo>
                    <a:pt x="764" y="472551"/>
                    <a:pt x="1412" y="471757"/>
                    <a:pt x="1823" y="471168"/>
                  </a:cubicBezTo>
                  <a:cubicBezTo>
                    <a:pt x="8591" y="462017"/>
                    <a:pt x="9768" y="446304"/>
                    <a:pt x="27806" y="450247"/>
                  </a:cubicBezTo>
                  <a:cubicBezTo>
                    <a:pt x="45843" y="454190"/>
                    <a:pt x="44695" y="446334"/>
                    <a:pt x="54877" y="448952"/>
                  </a:cubicBezTo>
                  <a:cubicBezTo>
                    <a:pt x="65057" y="451572"/>
                    <a:pt x="71708" y="450335"/>
                    <a:pt x="76298" y="442449"/>
                  </a:cubicBezTo>
                  <a:cubicBezTo>
                    <a:pt x="80888" y="434564"/>
                    <a:pt x="71825" y="418881"/>
                    <a:pt x="66176" y="412348"/>
                  </a:cubicBezTo>
                  <a:cubicBezTo>
                    <a:pt x="60526" y="405816"/>
                    <a:pt x="52640" y="391457"/>
                    <a:pt x="53758" y="378392"/>
                  </a:cubicBezTo>
                  <a:cubicBezTo>
                    <a:pt x="54877" y="365327"/>
                    <a:pt x="35692" y="365298"/>
                    <a:pt x="35692" y="354852"/>
                  </a:cubicBezTo>
                  <a:cubicBezTo>
                    <a:pt x="35692" y="344406"/>
                    <a:pt x="53758" y="327399"/>
                    <a:pt x="57142" y="323486"/>
                  </a:cubicBezTo>
                  <a:cubicBezTo>
                    <a:pt x="60526" y="319572"/>
                    <a:pt x="75150" y="333961"/>
                    <a:pt x="78564" y="326104"/>
                  </a:cubicBezTo>
                  <a:cubicBezTo>
                    <a:pt x="81977" y="318247"/>
                    <a:pt x="92128" y="323456"/>
                    <a:pt x="97778" y="324780"/>
                  </a:cubicBezTo>
                  <a:cubicBezTo>
                    <a:pt x="103427" y="326104"/>
                    <a:pt x="112461" y="311745"/>
                    <a:pt x="113578" y="299975"/>
                  </a:cubicBezTo>
                  <a:cubicBezTo>
                    <a:pt x="114697" y="288205"/>
                    <a:pt x="133911" y="286910"/>
                    <a:pt x="137295" y="282967"/>
                  </a:cubicBezTo>
                  <a:cubicBezTo>
                    <a:pt x="140679" y="279024"/>
                    <a:pt x="146329" y="252866"/>
                    <a:pt x="148565" y="247658"/>
                  </a:cubicBezTo>
                  <a:cubicBezTo>
                    <a:pt x="150802" y="242450"/>
                    <a:pt x="165514" y="246363"/>
                    <a:pt x="165514" y="231974"/>
                  </a:cubicBezTo>
                  <a:cubicBezTo>
                    <a:pt x="165514" y="217585"/>
                    <a:pt x="172281" y="214967"/>
                    <a:pt x="179049" y="213672"/>
                  </a:cubicBezTo>
                  <a:cubicBezTo>
                    <a:pt x="185816" y="212377"/>
                    <a:pt x="183521" y="199313"/>
                    <a:pt x="184698" y="188838"/>
                  </a:cubicBezTo>
                  <a:cubicBezTo>
                    <a:pt x="185876" y="178362"/>
                    <a:pt x="190377" y="166563"/>
                    <a:pt x="199410" y="163973"/>
                  </a:cubicBezTo>
                  <a:cubicBezTo>
                    <a:pt x="203927" y="162679"/>
                    <a:pt x="203081" y="158434"/>
                    <a:pt x="199837" y="154841"/>
                  </a:cubicBezTo>
                  <a:lnTo>
                    <a:pt x="199734" y="154802"/>
                  </a:lnTo>
                  <a:lnTo>
                    <a:pt x="191703" y="154802"/>
                  </a:lnTo>
                  <a:lnTo>
                    <a:pt x="193026" y="153948"/>
                  </a:lnTo>
                  <a:cubicBezTo>
                    <a:pt x="193348" y="153948"/>
                    <a:pt x="193669" y="153948"/>
                    <a:pt x="193990" y="153948"/>
                  </a:cubicBezTo>
                  <a:lnTo>
                    <a:pt x="195214" y="153110"/>
                  </a:lnTo>
                  <a:lnTo>
                    <a:pt x="185876" y="149614"/>
                  </a:lnTo>
                  <a:cubicBezTo>
                    <a:pt x="180800" y="150924"/>
                    <a:pt x="176570" y="143075"/>
                    <a:pt x="173609" y="134898"/>
                  </a:cubicBezTo>
                  <a:lnTo>
                    <a:pt x="171614" y="128279"/>
                  </a:lnTo>
                  <a:lnTo>
                    <a:pt x="162520" y="123646"/>
                  </a:lnTo>
                  <a:cubicBezTo>
                    <a:pt x="156418" y="119455"/>
                    <a:pt x="157382" y="112363"/>
                    <a:pt x="157703" y="105916"/>
                  </a:cubicBezTo>
                  <a:cubicBezTo>
                    <a:pt x="157703" y="100436"/>
                    <a:pt x="157703" y="94956"/>
                    <a:pt x="157703" y="89475"/>
                  </a:cubicBezTo>
                  <a:cubicBezTo>
                    <a:pt x="157703" y="87541"/>
                    <a:pt x="157061" y="85607"/>
                    <a:pt x="156418" y="83995"/>
                  </a:cubicBezTo>
                  <a:cubicBezTo>
                    <a:pt x="155134" y="80449"/>
                    <a:pt x="156097" y="77870"/>
                    <a:pt x="159308" y="75936"/>
                  </a:cubicBezTo>
                  <a:cubicBezTo>
                    <a:pt x="159630" y="75614"/>
                    <a:pt x="160593" y="75291"/>
                    <a:pt x="160593" y="74969"/>
                  </a:cubicBezTo>
                  <a:cubicBezTo>
                    <a:pt x="160914" y="68844"/>
                    <a:pt x="167337" y="68199"/>
                    <a:pt x="169584" y="64009"/>
                  </a:cubicBezTo>
                  <a:cubicBezTo>
                    <a:pt x="170548" y="63042"/>
                    <a:pt x="171190" y="60785"/>
                    <a:pt x="170548" y="60140"/>
                  </a:cubicBezTo>
                  <a:cubicBezTo>
                    <a:pt x="167337" y="55627"/>
                    <a:pt x="164125" y="51436"/>
                    <a:pt x="160272" y="47246"/>
                  </a:cubicBezTo>
                  <a:cubicBezTo>
                    <a:pt x="157382" y="44344"/>
                    <a:pt x="153528" y="42088"/>
                    <a:pt x="150638" y="39187"/>
                  </a:cubicBezTo>
                  <a:cubicBezTo>
                    <a:pt x="148069" y="36285"/>
                    <a:pt x="145821" y="34029"/>
                    <a:pt x="141968" y="34351"/>
                  </a:cubicBezTo>
                  <a:cubicBezTo>
                    <a:pt x="137793" y="34673"/>
                    <a:pt x="135545" y="32739"/>
                    <a:pt x="134903" y="28549"/>
                  </a:cubicBezTo>
                  <a:cubicBezTo>
                    <a:pt x="134261" y="24680"/>
                    <a:pt x="134582" y="21134"/>
                    <a:pt x="138757" y="19522"/>
                  </a:cubicBezTo>
                  <a:cubicBezTo>
                    <a:pt x="143252" y="17588"/>
                    <a:pt x="146463" y="14687"/>
                    <a:pt x="148711" y="9851"/>
                  </a:cubicBezTo>
                  <a:cubicBezTo>
                    <a:pt x="149354" y="8240"/>
                    <a:pt x="152244" y="6950"/>
                    <a:pt x="154492" y="6305"/>
                  </a:cubicBezTo>
                  <a:cubicBezTo>
                    <a:pt x="157061" y="5983"/>
                    <a:pt x="159951" y="6950"/>
                    <a:pt x="162520" y="6628"/>
                  </a:cubicBezTo>
                  <a:cubicBezTo>
                    <a:pt x="166373" y="6305"/>
                    <a:pt x="170548" y="5983"/>
                    <a:pt x="174080" y="4371"/>
                  </a:cubicBezTo>
                  <a:cubicBezTo>
                    <a:pt x="177934" y="2598"/>
                    <a:pt x="181787" y="1067"/>
                    <a:pt x="185761" y="382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253" name="Australia">
              <a:extLst>
                <a:ext uri="{FF2B5EF4-FFF2-40B4-BE49-F238E27FC236}">
                  <a16:creationId xmlns:a16="http://schemas.microsoft.com/office/drawing/2014/main" id="{D8308DC2-6417-4146-0D63-0394148CA107}"/>
                </a:ext>
              </a:extLst>
            </p:cNvPr>
            <p:cNvGrpSpPr/>
            <p:nvPr>
              <p:custDataLst>
                <p:tags r:id="rId245"/>
              </p:custDataLst>
            </p:nvPr>
          </p:nvGrpSpPr>
          <p:grpSpPr>
            <a:xfrm>
              <a:off x="10558283" y="6115322"/>
              <a:ext cx="1394595" cy="1414993"/>
              <a:chOff x="10557756" y="5627998"/>
              <a:chExt cx="1394595" cy="1414993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254" name="Australia group">
                <a:extLst>
                  <a:ext uri="{FF2B5EF4-FFF2-40B4-BE49-F238E27FC236}">
                    <a16:creationId xmlns:a16="http://schemas.microsoft.com/office/drawing/2014/main" id="{D0BD0820-1FD9-B368-7478-3ACD58FEA083}"/>
                  </a:ext>
                </a:extLst>
              </p:cNvPr>
              <p:cNvSpPr/>
              <p:nvPr>
                <p:custDataLst>
                  <p:tags r:id="rId392"/>
                </p:custDataLst>
              </p:nvPr>
            </p:nvSpPr>
            <p:spPr>
              <a:xfrm>
                <a:off x="10557756" y="5627998"/>
                <a:ext cx="1394594" cy="1212650"/>
              </a:xfrm>
              <a:custGeom>
                <a:avLst/>
                <a:gdLst>
                  <a:gd name="connsiteX0" fmla="*/ 1622794 w 1628442"/>
                  <a:gd name="connsiteY0" fmla="*/ 793925 h 1415988"/>
                  <a:gd name="connsiteX1" fmla="*/ 1618218 w 1628442"/>
                  <a:gd name="connsiteY1" fmla="*/ 747500 h 1415988"/>
                  <a:gd name="connsiteX2" fmla="*/ 1600117 w 1628442"/>
                  <a:gd name="connsiteY2" fmla="*/ 706723 h 1415988"/>
                  <a:gd name="connsiteX3" fmla="*/ 1584615 w 1628442"/>
                  <a:gd name="connsiteY3" fmla="*/ 671471 h 1415988"/>
                  <a:gd name="connsiteX4" fmla="*/ 1553527 w 1628442"/>
                  <a:gd name="connsiteY4" fmla="*/ 636508 h 1415988"/>
                  <a:gd name="connsiteX5" fmla="*/ 1533984 w 1628442"/>
                  <a:gd name="connsiteY5" fmla="*/ 614903 h 1415988"/>
                  <a:gd name="connsiteX6" fmla="*/ 1519759 w 1628442"/>
                  <a:gd name="connsiteY6" fmla="*/ 566540 h 1415988"/>
                  <a:gd name="connsiteX7" fmla="*/ 1503762 w 1628442"/>
                  <a:gd name="connsiteY7" fmla="*/ 551119 h 1415988"/>
                  <a:gd name="connsiteX8" fmla="*/ 1480673 w 1628442"/>
                  <a:gd name="connsiteY8" fmla="*/ 553140 h 1415988"/>
                  <a:gd name="connsiteX9" fmla="*/ 1470902 w 1628442"/>
                  <a:gd name="connsiteY9" fmla="*/ 521268 h 1415988"/>
                  <a:gd name="connsiteX10" fmla="*/ 1455811 w 1628442"/>
                  <a:gd name="connsiteY10" fmla="*/ 487294 h 1415988"/>
                  <a:gd name="connsiteX11" fmla="*/ 1442452 w 1628442"/>
                  <a:gd name="connsiteY11" fmla="*/ 453362 h 1415988"/>
                  <a:gd name="connsiteX12" fmla="*/ 1350096 w 1628442"/>
                  <a:gd name="connsiteY12" fmla="*/ 390609 h 1415988"/>
                  <a:gd name="connsiteX13" fmla="*/ 1340283 w 1628442"/>
                  <a:gd name="connsiteY13" fmla="*/ 358738 h 1415988"/>
                  <a:gd name="connsiteX14" fmla="*/ 1330512 w 1628442"/>
                  <a:gd name="connsiteY14" fmla="*/ 302129 h 1415988"/>
                  <a:gd name="connsiteX15" fmla="*/ 1306557 w 1628442"/>
                  <a:gd name="connsiteY15" fmla="*/ 253765 h 1415988"/>
                  <a:gd name="connsiteX16" fmla="*/ 1301238 w 1628442"/>
                  <a:gd name="connsiteY16" fmla="*/ 197156 h 1415988"/>
                  <a:gd name="connsiteX17" fmla="*/ 1274562 w 1628442"/>
                  <a:gd name="connsiteY17" fmla="*/ 160048 h 1415988"/>
                  <a:gd name="connsiteX18" fmla="*/ 1243474 w 1628442"/>
                  <a:gd name="connsiteY18" fmla="*/ 161079 h 1415988"/>
                  <a:gd name="connsiteX19" fmla="*/ 1231105 w 1628442"/>
                  <a:gd name="connsiteY19" fmla="*/ 114777 h 1415988"/>
                  <a:gd name="connsiteX20" fmla="*/ 1231105 w 1628442"/>
                  <a:gd name="connsiteY20" fmla="*/ 98904 h 1415988"/>
                  <a:gd name="connsiteX21" fmla="*/ 1187483 w 1628442"/>
                  <a:gd name="connsiteY21" fmla="*/ 78577 h 1415988"/>
                  <a:gd name="connsiteX22" fmla="*/ 1160807 w 1628442"/>
                  <a:gd name="connsiteY22" fmla="*/ 50705 h 1415988"/>
                  <a:gd name="connsiteX23" fmla="*/ 1157468 w 1628442"/>
                  <a:gd name="connsiteY23" fmla="*/ 55117 h 1415988"/>
                  <a:gd name="connsiteX24" fmla="*/ 1152108 w 1628442"/>
                  <a:gd name="connsiteY24" fmla="*/ 106531 h 1415988"/>
                  <a:gd name="connsiteX25" fmla="*/ 1148561 w 1628442"/>
                  <a:gd name="connsiteY25" fmla="*/ 188992 h 1415988"/>
                  <a:gd name="connsiteX26" fmla="*/ 1136192 w 1628442"/>
                  <a:gd name="connsiteY26" fmla="*/ 259950 h 1415988"/>
                  <a:gd name="connsiteX27" fmla="*/ 1102425 w 1628442"/>
                  <a:gd name="connsiteY27" fmla="*/ 314498 h 1415988"/>
                  <a:gd name="connsiteX28" fmla="*/ 1053566 w 1628442"/>
                  <a:gd name="connsiteY28" fmla="*/ 290832 h 1415988"/>
                  <a:gd name="connsiteX29" fmla="*/ 1018026 w 1628442"/>
                  <a:gd name="connsiteY29" fmla="*/ 271288 h 1415988"/>
                  <a:gd name="connsiteX30" fmla="*/ 978940 w 1628442"/>
                  <a:gd name="connsiteY30" fmla="*/ 235253 h 1415988"/>
                  <a:gd name="connsiteX31" fmla="*/ 938080 w 1628442"/>
                  <a:gd name="connsiteY31" fmla="*/ 218760 h 1415988"/>
                  <a:gd name="connsiteX32" fmla="*/ 911404 w 1628442"/>
                  <a:gd name="connsiteY32" fmla="*/ 183797 h 1415988"/>
                  <a:gd name="connsiteX33" fmla="*/ 914991 w 1628442"/>
                  <a:gd name="connsiteY33" fmla="*/ 161162 h 1415988"/>
                  <a:gd name="connsiteX34" fmla="*/ 918536 w 1628442"/>
                  <a:gd name="connsiteY34" fmla="*/ 122034 h 1415988"/>
                  <a:gd name="connsiteX35" fmla="*/ 944306 w 1628442"/>
                  <a:gd name="connsiteY35" fmla="*/ 100429 h 1415988"/>
                  <a:gd name="connsiteX36" fmla="*/ 957623 w 1628442"/>
                  <a:gd name="connsiteY36" fmla="*/ 69589 h 1415988"/>
                  <a:gd name="connsiteX37" fmla="*/ 948717 w 1628442"/>
                  <a:gd name="connsiteY37" fmla="*/ 46953 h 1415988"/>
                  <a:gd name="connsiteX38" fmla="*/ 933627 w 1628442"/>
                  <a:gd name="connsiteY38" fmla="*/ 65466 h 1415988"/>
                  <a:gd name="connsiteX39" fmla="*/ 918536 w 1628442"/>
                  <a:gd name="connsiteY39" fmla="*/ 40728 h 1415988"/>
                  <a:gd name="connsiteX40" fmla="*/ 888356 w 1628442"/>
                  <a:gd name="connsiteY40" fmla="*/ 55158 h 1415988"/>
                  <a:gd name="connsiteX41" fmla="*/ 810019 w 1628442"/>
                  <a:gd name="connsiteY41" fmla="*/ 27369 h 1415988"/>
                  <a:gd name="connsiteX42" fmla="*/ 772911 w 1628442"/>
                  <a:gd name="connsiteY42" fmla="*/ 610 h 1415988"/>
                  <a:gd name="connsiteX43" fmla="*/ 788001 w 1628442"/>
                  <a:gd name="connsiteY43" fmla="*/ 31492 h 1415988"/>
                  <a:gd name="connsiteX44" fmla="*/ 726732 w 1628442"/>
                  <a:gd name="connsiteY44" fmla="*/ 53097 h 1415988"/>
                  <a:gd name="connsiteX45" fmla="*/ 715189 w 1628442"/>
                  <a:gd name="connsiteY45" fmla="*/ 66455 h 1415988"/>
                  <a:gd name="connsiteX46" fmla="*/ 686739 w 1628442"/>
                  <a:gd name="connsiteY46" fmla="*/ 108634 h 1415988"/>
                  <a:gd name="connsiteX47" fmla="*/ 670742 w 1628442"/>
                  <a:gd name="connsiteY47" fmla="*/ 142567 h 1415988"/>
                  <a:gd name="connsiteX48" fmla="*/ 672515 w 1628442"/>
                  <a:gd name="connsiteY48" fmla="*/ 181694 h 1415988"/>
                  <a:gd name="connsiteX49" fmla="*/ 652106 w 1628442"/>
                  <a:gd name="connsiteY49" fmla="*/ 186848 h 1415988"/>
                  <a:gd name="connsiteX50" fmla="*/ 626337 w 1628442"/>
                  <a:gd name="connsiteY50" fmla="*/ 188910 h 1415988"/>
                  <a:gd name="connsiteX51" fmla="*/ 613019 w 1628442"/>
                  <a:gd name="connsiteY51" fmla="*/ 178602 h 1415988"/>
                  <a:gd name="connsiteX52" fmla="*/ 590796 w 1628442"/>
                  <a:gd name="connsiteY52" fmla="*/ 156997 h 1415988"/>
                  <a:gd name="connsiteX53" fmla="*/ 557028 w 1628442"/>
                  <a:gd name="connsiteY53" fmla="*/ 128136 h 1415988"/>
                  <a:gd name="connsiteX54" fmla="*/ 533940 w 1628442"/>
                  <a:gd name="connsiteY54" fmla="*/ 143597 h 1415988"/>
                  <a:gd name="connsiteX55" fmla="*/ 521570 w 1628442"/>
                  <a:gd name="connsiteY55" fmla="*/ 165202 h 1415988"/>
                  <a:gd name="connsiteX56" fmla="*/ 490483 w 1628442"/>
                  <a:gd name="connsiteY56" fmla="*/ 166233 h 1415988"/>
                  <a:gd name="connsiteX57" fmla="*/ 483391 w 1628442"/>
                  <a:gd name="connsiteY57" fmla="*/ 186848 h 1415988"/>
                  <a:gd name="connsiteX58" fmla="*/ 464713 w 1628442"/>
                  <a:gd name="connsiteY58" fmla="*/ 202268 h 1415988"/>
                  <a:gd name="connsiteX59" fmla="*/ 456755 w 1628442"/>
                  <a:gd name="connsiteY59" fmla="*/ 247622 h 1415988"/>
                  <a:gd name="connsiteX60" fmla="*/ 427441 w 1628442"/>
                  <a:gd name="connsiteY60" fmla="*/ 244530 h 1415988"/>
                  <a:gd name="connsiteX61" fmla="*/ 433626 w 1628442"/>
                  <a:gd name="connsiteY61" fmla="*/ 279534 h 1415988"/>
                  <a:gd name="connsiteX62" fmla="*/ 421256 w 1628442"/>
                  <a:gd name="connsiteY62" fmla="*/ 303201 h 1415988"/>
                  <a:gd name="connsiteX63" fmla="*/ 405258 w 1628442"/>
                  <a:gd name="connsiteY63" fmla="*/ 268196 h 1415988"/>
                  <a:gd name="connsiteX64" fmla="*/ 374130 w 1628442"/>
                  <a:gd name="connsiteY64" fmla="*/ 286709 h 1415988"/>
                  <a:gd name="connsiteX65" fmla="*/ 372398 w 1628442"/>
                  <a:gd name="connsiteY65" fmla="*/ 341257 h 1415988"/>
                  <a:gd name="connsiteX66" fmla="*/ 314675 w 1628442"/>
                  <a:gd name="connsiteY66" fmla="*/ 407225 h 1415988"/>
                  <a:gd name="connsiteX67" fmla="*/ 254232 w 1628442"/>
                  <a:gd name="connsiteY67" fmla="*/ 425243 h 1415988"/>
                  <a:gd name="connsiteX68" fmla="*/ 248789 w 1628442"/>
                  <a:gd name="connsiteY68" fmla="*/ 430768 h 1415988"/>
                  <a:gd name="connsiteX69" fmla="*/ 106379 w 1628442"/>
                  <a:gd name="connsiteY69" fmla="*/ 510178 h 1415988"/>
                  <a:gd name="connsiteX70" fmla="*/ 28701 w 1628442"/>
                  <a:gd name="connsiteY70" fmla="*/ 592268 h 1415988"/>
                  <a:gd name="connsiteX71" fmla="*/ 25073 w 1628442"/>
                  <a:gd name="connsiteY71" fmla="*/ 600514 h 1415988"/>
                  <a:gd name="connsiteX72" fmla="*/ 17981 w 1628442"/>
                  <a:gd name="connsiteY72" fmla="*/ 674729 h 1415988"/>
                  <a:gd name="connsiteX73" fmla="*/ 41070 w 1628442"/>
                  <a:gd name="connsiteY73" fmla="*/ 736574 h 1415988"/>
                  <a:gd name="connsiteX74" fmla="*/ 17074 w 1628442"/>
                  <a:gd name="connsiteY74" fmla="*/ 712949 h 1415988"/>
                  <a:gd name="connsiteX75" fmla="*/ 28619 w 1628442"/>
                  <a:gd name="connsiteY75" fmla="*/ 745933 h 1415988"/>
                  <a:gd name="connsiteX76" fmla="*/ 210 w 1628442"/>
                  <a:gd name="connsiteY76" fmla="*/ 721195 h 1415988"/>
                  <a:gd name="connsiteX77" fmla="*/ 41070 w 1628442"/>
                  <a:gd name="connsiteY77" fmla="*/ 826127 h 1415988"/>
                  <a:gd name="connsiteX78" fmla="*/ 74838 w 1628442"/>
                  <a:gd name="connsiteY78" fmla="*/ 913618 h 1415988"/>
                  <a:gd name="connsiteX79" fmla="*/ 110378 w 1628442"/>
                  <a:gd name="connsiteY79" fmla="*/ 1019580 h 1415988"/>
                  <a:gd name="connsiteX80" fmla="*/ 101473 w 1628442"/>
                  <a:gd name="connsiteY80" fmla="*/ 1081426 h 1415988"/>
                  <a:gd name="connsiteX81" fmla="*/ 78383 w 1628442"/>
                  <a:gd name="connsiteY81" fmla="*/ 1119482 h 1415988"/>
                  <a:gd name="connsiteX82" fmla="*/ 89021 w 1628442"/>
                  <a:gd name="connsiteY82" fmla="*/ 1150363 h 1415988"/>
                  <a:gd name="connsiteX83" fmla="*/ 118336 w 1628442"/>
                  <a:gd name="connsiteY83" fmla="*/ 1180214 h 1415988"/>
                  <a:gd name="connsiteX84" fmla="*/ 133550 w 1628442"/>
                  <a:gd name="connsiteY84" fmla="*/ 1187017 h 1415988"/>
                  <a:gd name="connsiteX85" fmla="*/ 265240 w 1628442"/>
                  <a:gd name="connsiteY85" fmla="*/ 1138695 h 1415988"/>
                  <a:gd name="connsiteX86" fmla="*/ 282763 w 1628442"/>
                  <a:gd name="connsiteY86" fmla="*/ 1130448 h 1415988"/>
                  <a:gd name="connsiteX87" fmla="*/ 323746 w 1628442"/>
                  <a:gd name="connsiteY87" fmla="*/ 1105999 h 1415988"/>
                  <a:gd name="connsiteX88" fmla="*/ 514932 w 1628442"/>
                  <a:gd name="connsiteY88" fmla="*/ 1040690 h 1415988"/>
                  <a:gd name="connsiteX89" fmla="*/ 528909 w 1628442"/>
                  <a:gd name="connsiteY89" fmla="*/ 1046627 h 1415988"/>
                  <a:gd name="connsiteX90" fmla="*/ 555421 w 1628442"/>
                  <a:gd name="connsiteY90" fmla="*/ 1047328 h 1415988"/>
                  <a:gd name="connsiteX91" fmla="*/ 644271 w 1628442"/>
                  <a:gd name="connsiteY91" fmla="*/ 1017519 h 1415988"/>
                  <a:gd name="connsiteX92" fmla="*/ 728671 w 1628442"/>
                  <a:gd name="connsiteY92" fmla="*/ 1005150 h 1415988"/>
                  <a:gd name="connsiteX93" fmla="*/ 777528 w 1628442"/>
                  <a:gd name="connsiteY93" fmla="*/ 1032898 h 1415988"/>
                  <a:gd name="connsiteX94" fmla="*/ 824614 w 1628442"/>
                  <a:gd name="connsiteY94" fmla="*/ 1040113 h 1415988"/>
                  <a:gd name="connsiteX95" fmla="*/ 847703 w 1628442"/>
                  <a:gd name="connsiteY95" fmla="*/ 1053472 h 1415988"/>
                  <a:gd name="connsiteX96" fmla="*/ 850383 w 1628442"/>
                  <a:gd name="connsiteY96" fmla="*/ 1082333 h 1415988"/>
                  <a:gd name="connsiteX97" fmla="*/ 885924 w 1628442"/>
                  <a:gd name="connsiteY97" fmla="*/ 1121419 h 1415988"/>
                  <a:gd name="connsiteX98" fmla="*/ 895696 w 1628442"/>
                  <a:gd name="connsiteY98" fmla="*/ 1172875 h 1415988"/>
                  <a:gd name="connsiteX99" fmla="*/ 928680 w 1628442"/>
                  <a:gd name="connsiteY99" fmla="*/ 1159516 h 1415988"/>
                  <a:gd name="connsiteX100" fmla="*/ 968632 w 1628442"/>
                  <a:gd name="connsiteY100" fmla="*/ 1124512 h 1415988"/>
                  <a:gd name="connsiteX101" fmla="*/ 1002400 w 1628442"/>
                  <a:gd name="connsiteY101" fmla="*/ 1083281 h 1415988"/>
                  <a:gd name="connsiteX102" fmla="*/ 985536 w 1628442"/>
                  <a:gd name="connsiteY102" fmla="*/ 1149250 h 1415988"/>
                  <a:gd name="connsiteX103" fmla="*/ 960798 w 1628442"/>
                  <a:gd name="connsiteY103" fmla="*/ 1185203 h 1415988"/>
                  <a:gd name="connsiteX104" fmla="*/ 997905 w 1628442"/>
                  <a:gd name="connsiteY104" fmla="*/ 1181080 h 1415988"/>
                  <a:gd name="connsiteX105" fmla="*/ 1020170 w 1628442"/>
                  <a:gd name="connsiteY105" fmla="*/ 1167680 h 1415988"/>
                  <a:gd name="connsiteX106" fmla="*/ 1014810 w 1628442"/>
                  <a:gd name="connsiteY106" fmla="*/ 1219135 h 1415988"/>
                  <a:gd name="connsiteX107" fmla="*/ 1044125 w 1628442"/>
                  <a:gd name="connsiteY107" fmla="*/ 1217074 h 1415988"/>
                  <a:gd name="connsiteX108" fmla="*/ 1077893 w 1628442"/>
                  <a:gd name="connsiteY108" fmla="*/ 1280898 h 1415988"/>
                  <a:gd name="connsiteX109" fmla="*/ 1077480 w 1628442"/>
                  <a:gd name="connsiteY109" fmla="*/ 1283125 h 1415988"/>
                  <a:gd name="connsiteX110" fmla="*/ 1216798 w 1628442"/>
                  <a:gd name="connsiteY110" fmla="*/ 1379811 h 1415988"/>
                  <a:gd name="connsiteX111" fmla="*/ 1223601 w 1628442"/>
                  <a:gd name="connsiteY111" fmla="*/ 1396014 h 1415988"/>
                  <a:gd name="connsiteX112" fmla="*/ 1271552 w 1628442"/>
                  <a:gd name="connsiteY112" fmla="*/ 1360102 h 1415988"/>
                  <a:gd name="connsiteX113" fmla="*/ 1288416 w 1628442"/>
                  <a:gd name="connsiteY113" fmla="*/ 1367318 h 1415988"/>
                  <a:gd name="connsiteX114" fmla="*/ 1295549 w 1628442"/>
                  <a:gd name="connsiteY114" fmla="*/ 1381707 h 1415988"/>
                  <a:gd name="connsiteX115" fmla="*/ 1306185 w 1628442"/>
                  <a:gd name="connsiteY115" fmla="*/ 1372472 h 1415988"/>
                  <a:gd name="connsiteX116" fmla="*/ 1332861 w 1628442"/>
                  <a:gd name="connsiteY116" fmla="*/ 1400220 h 1415988"/>
                  <a:gd name="connsiteX117" fmla="*/ 1346180 w 1628442"/>
                  <a:gd name="connsiteY117" fmla="*/ 1411558 h 1415988"/>
                  <a:gd name="connsiteX118" fmla="*/ 1363949 w 1628442"/>
                  <a:gd name="connsiteY118" fmla="*/ 1385830 h 1415988"/>
                  <a:gd name="connsiteX119" fmla="*/ 1402129 w 1628442"/>
                  <a:gd name="connsiteY119" fmla="*/ 1353918 h 1415988"/>
                  <a:gd name="connsiteX120" fmla="*/ 1485662 w 1628442"/>
                  <a:gd name="connsiteY120" fmla="*/ 1336436 h 1415988"/>
                  <a:gd name="connsiteX121" fmla="*/ 1498979 w 1628442"/>
                  <a:gd name="connsiteY121" fmla="*/ 1242801 h 1415988"/>
                  <a:gd name="connsiteX122" fmla="*/ 1529160 w 1628442"/>
                  <a:gd name="connsiteY122" fmla="*/ 1171803 h 1415988"/>
                  <a:gd name="connsiteX123" fmla="*/ 1571834 w 1628442"/>
                  <a:gd name="connsiteY123" fmla="*/ 1072025 h 1415988"/>
                  <a:gd name="connsiteX124" fmla="*/ 1595788 w 1628442"/>
                  <a:gd name="connsiteY124" fmla="*/ 1040113 h 1415988"/>
                  <a:gd name="connsiteX125" fmla="*/ 1595788 w 1628442"/>
                  <a:gd name="connsiteY125" fmla="*/ 1039865 h 1415988"/>
                  <a:gd name="connsiteX126" fmla="*/ 1612610 w 1628442"/>
                  <a:gd name="connsiteY126" fmla="*/ 895559 h 1415988"/>
                  <a:gd name="connsiteX127" fmla="*/ 1628443 w 1628442"/>
                  <a:gd name="connsiteY127" fmla="*/ 796606 h 1415988"/>
                  <a:gd name="connsiteX128" fmla="*/ 1622794 w 1628442"/>
                  <a:gd name="connsiteY128" fmla="*/ 793925 h 1415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</a:cxnLst>
                <a:rect l="l" t="t" r="r" b="b"/>
                <a:pathLst>
                  <a:path w="1628442" h="1415988">
                    <a:moveTo>
                      <a:pt x="1622794" y="793925"/>
                    </a:moveTo>
                    <a:cubicBezTo>
                      <a:pt x="1618671" y="797430"/>
                      <a:pt x="1617229" y="772115"/>
                      <a:pt x="1618218" y="747500"/>
                    </a:cubicBezTo>
                    <a:cubicBezTo>
                      <a:pt x="1611373" y="734265"/>
                      <a:pt x="1605313" y="720659"/>
                      <a:pt x="1600117" y="706723"/>
                    </a:cubicBezTo>
                    <a:cubicBezTo>
                      <a:pt x="1592696" y="698477"/>
                      <a:pt x="1586429" y="678439"/>
                      <a:pt x="1584615" y="671471"/>
                    </a:cubicBezTo>
                    <a:cubicBezTo>
                      <a:pt x="1581935" y="661205"/>
                      <a:pt x="1568618" y="632385"/>
                      <a:pt x="1553527" y="636508"/>
                    </a:cubicBezTo>
                    <a:cubicBezTo>
                      <a:pt x="1538437" y="640631"/>
                      <a:pt x="1548168" y="611770"/>
                      <a:pt x="1533984" y="614903"/>
                    </a:cubicBezTo>
                    <a:cubicBezTo>
                      <a:pt x="1519801" y="618037"/>
                      <a:pt x="1517121" y="591196"/>
                      <a:pt x="1519759" y="566540"/>
                    </a:cubicBezTo>
                    <a:cubicBezTo>
                      <a:pt x="1522399" y="541884"/>
                      <a:pt x="1509988" y="561386"/>
                      <a:pt x="1503762" y="551119"/>
                    </a:cubicBezTo>
                    <a:cubicBezTo>
                      <a:pt x="1497537" y="540853"/>
                      <a:pt x="1490445" y="549058"/>
                      <a:pt x="1480673" y="553140"/>
                    </a:cubicBezTo>
                    <a:cubicBezTo>
                      <a:pt x="1470902" y="557222"/>
                      <a:pt x="1468304" y="531576"/>
                      <a:pt x="1470902" y="521268"/>
                    </a:cubicBezTo>
                    <a:cubicBezTo>
                      <a:pt x="1473499" y="510961"/>
                      <a:pt x="1469128" y="498592"/>
                      <a:pt x="1455811" y="487294"/>
                    </a:cubicBezTo>
                    <a:cubicBezTo>
                      <a:pt x="1442494" y="475997"/>
                      <a:pt x="1441587" y="466679"/>
                      <a:pt x="1442452" y="453362"/>
                    </a:cubicBezTo>
                    <a:cubicBezTo>
                      <a:pt x="1443318" y="440045"/>
                      <a:pt x="1366959" y="394691"/>
                      <a:pt x="1350096" y="390609"/>
                    </a:cubicBezTo>
                    <a:cubicBezTo>
                      <a:pt x="1333233" y="386527"/>
                      <a:pt x="1347416" y="365871"/>
                      <a:pt x="1340283" y="358738"/>
                    </a:cubicBezTo>
                    <a:cubicBezTo>
                      <a:pt x="1333150" y="351605"/>
                      <a:pt x="1330512" y="324764"/>
                      <a:pt x="1330512" y="302129"/>
                    </a:cubicBezTo>
                    <a:cubicBezTo>
                      <a:pt x="1330512" y="279493"/>
                      <a:pt x="1305774" y="272278"/>
                      <a:pt x="1306557" y="253765"/>
                    </a:cubicBezTo>
                    <a:cubicBezTo>
                      <a:pt x="1307340" y="235253"/>
                      <a:pt x="1299465" y="217730"/>
                      <a:pt x="1301238" y="197156"/>
                    </a:cubicBezTo>
                    <a:cubicBezTo>
                      <a:pt x="1303011" y="176582"/>
                      <a:pt x="1275428" y="171428"/>
                      <a:pt x="1274562" y="160048"/>
                    </a:cubicBezTo>
                    <a:cubicBezTo>
                      <a:pt x="1273696" y="148669"/>
                      <a:pt x="1258565" y="159018"/>
                      <a:pt x="1243474" y="161079"/>
                    </a:cubicBezTo>
                    <a:cubicBezTo>
                      <a:pt x="1228384" y="163141"/>
                      <a:pt x="1229250" y="138444"/>
                      <a:pt x="1231105" y="114777"/>
                    </a:cubicBezTo>
                    <a:cubicBezTo>
                      <a:pt x="1231476" y="109500"/>
                      <a:pt x="1231476" y="104181"/>
                      <a:pt x="1231105" y="98904"/>
                    </a:cubicBezTo>
                    <a:cubicBezTo>
                      <a:pt x="1216963" y="91317"/>
                      <a:pt x="1202367" y="84556"/>
                      <a:pt x="1187483" y="78577"/>
                    </a:cubicBezTo>
                    <a:cubicBezTo>
                      <a:pt x="1174826" y="73795"/>
                      <a:pt x="1165054" y="63528"/>
                      <a:pt x="1160807" y="50705"/>
                    </a:cubicBezTo>
                    <a:cubicBezTo>
                      <a:pt x="1159859" y="52313"/>
                      <a:pt x="1158745" y="53757"/>
                      <a:pt x="1157468" y="55117"/>
                    </a:cubicBezTo>
                    <a:cubicBezTo>
                      <a:pt x="1149468" y="63363"/>
                      <a:pt x="1162827" y="95234"/>
                      <a:pt x="1152108" y="106531"/>
                    </a:cubicBezTo>
                    <a:cubicBezTo>
                      <a:pt x="1141387" y="117828"/>
                      <a:pt x="1151242" y="163099"/>
                      <a:pt x="1148561" y="188992"/>
                    </a:cubicBezTo>
                    <a:cubicBezTo>
                      <a:pt x="1145882" y="214885"/>
                      <a:pt x="1146789" y="242592"/>
                      <a:pt x="1136192" y="259950"/>
                    </a:cubicBezTo>
                    <a:cubicBezTo>
                      <a:pt x="1125597" y="277308"/>
                      <a:pt x="1123823" y="305303"/>
                      <a:pt x="1102425" y="314498"/>
                    </a:cubicBezTo>
                    <a:cubicBezTo>
                      <a:pt x="1081026" y="323692"/>
                      <a:pt x="1052659" y="304232"/>
                      <a:pt x="1053566" y="290832"/>
                    </a:cubicBezTo>
                    <a:cubicBezTo>
                      <a:pt x="1054474" y="277432"/>
                      <a:pt x="1030478" y="269227"/>
                      <a:pt x="1018026" y="271288"/>
                    </a:cubicBezTo>
                    <a:cubicBezTo>
                      <a:pt x="1005574" y="273350"/>
                      <a:pt x="998483" y="252776"/>
                      <a:pt x="978940" y="235253"/>
                    </a:cubicBezTo>
                    <a:cubicBezTo>
                      <a:pt x="959396" y="217730"/>
                      <a:pt x="944306" y="239376"/>
                      <a:pt x="938080" y="218760"/>
                    </a:cubicBezTo>
                    <a:cubicBezTo>
                      <a:pt x="931854" y="198145"/>
                      <a:pt x="925711" y="195136"/>
                      <a:pt x="911404" y="183797"/>
                    </a:cubicBezTo>
                    <a:cubicBezTo>
                      <a:pt x="897097" y="172459"/>
                      <a:pt x="901633" y="172459"/>
                      <a:pt x="914991" y="161162"/>
                    </a:cubicBezTo>
                    <a:cubicBezTo>
                      <a:pt x="928350" y="149865"/>
                      <a:pt x="925629" y="135434"/>
                      <a:pt x="918536" y="122034"/>
                    </a:cubicBezTo>
                    <a:cubicBezTo>
                      <a:pt x="911445" y="108634"/>
                      <a:pt x="926536" y="111768"/>
                      <a:pt x="944306" y="100429"/>
                    </a:cubicBezTo>
                    <a:cubicBezTo>
                      <a:pt x="962076" y="89091"/>
                      <a:pt x="944306" y="75691"/>
                      <a:pt x="957623" y="69589"/>
                    </a:cubicBezTo>
                    <a:cubicBezTo>
                      <a:pt x="970941" y="63487"/>
                      <a:pt x="962942" y="50046"/>
                      <a:pt x="948717" y="46953"/>
                    </a:cubicBezTo>
                    <a:cubicBezTo>
                      <a:pt x="934493" y="43861"/>
                      <a:pt x="938946" y="63446"/>
                      <a:pt x="933627" y="65466"/>
                    </a:cubicBezTo>
                    <a:cubicBezTo>
                      <a:pt x="928309" y="67486"/>
                      <a:pt x="922990" y="39738"/>
                      <a:pt x="918536" y="40728"/>
                    </a:cubicBezTo>
                    <a:cubicBezTo>
                      <a:pt x="914084" y="41717"/>
                      <a:pt x="897221" y="68517"/>
                      <a:pt x="888356" y="55158"/>
                    </a:cubicBezTo>
                    <a:cubicBezTo>
                      <a:pt x="879491" y="41800"/>
                      <a:pt x="829686" y="30420"/>
                      <a:pt x="810019" y="27369"/>
                    </a:cubicBezTo>
                    <a:cubicBezTo>
                      <a:pt x="790352" y="24318"/>
                      <a:pt x="784250" y="-4543"/>
                      <a:pt x="772911" y="610"/>
                    </a:cubicBezTo>
                    <a:cubicBezTo>
                      <a:pt x="761573" y="5764"/>
                      <a:pt x="774684" y="15000"/>
                      <a:pt x="788001" y="31492"/>
                    </a:cubicBezTo>
                    <a:cubicBezTo>
                      <a:pt x="801319" y="47984"/>
                      <a:pt x="743596" y="59240"/>
                      <a:pt x="726732" y="53097"/>
                    </a:cubicBezTo>
                    <a:cubicBezTo>
                      <a:pt x="709870" y="46953"/>
                      <a:pt x="729372" y="67486"/>
                      <a:pt x="715189" y="66455"/>
                    </a:cubicBezTo>
                    <a:cubicBezTo>
                      <a:pt x="701005" y="65425"/>
                      <a:pt x="698284" y="94203"/>
                      <a:pt x="686739" y="108634"/>
                    </a:cubicBezTo>
                    <a:cubicBezTo>
                      <a:pt x="675194" y="123065"/>
                      <a:pt x="683194" y="133372"/>
                      <a:pt x="670742" y="142567"/>
                    </a:cubicBezTo>
                    <a:cubicBezTo>
                      <a:pt x="658290" y="151761"/>
                      <a:pt x="657425" y="162151"/>
                      <a:pt x="672515" y="181694"/>
                    </a:cubicBezTo>
                    <a:cubicBezTo>
                      <a:pt x="687605" y="201238"/>
                      <a:pt x="665423" y="202310"/>
                      <a:pt x="652106" y="186848"/>
                    </a:cubicBezTo>
                    <a:cubicBezTo>
                      <a:pt x="638788" y="171387"/>
                      <a:pt x="625471" y="171387"/>
                      <a:pt x="626337" y="188910"/>
                    </a:cubicBezTo>
                    <a:cubicBezTo>
                      <a:pt x="627202" y="206433"/>
                      <a:pt x="610339" y="198187"/>
                      <a:pt x="613019" y="178602"/>
                    </a:cubicBezTo>
                    <a:cubicBezTo>
                      <a:pt x="615699" y="159018"/>
                      <a:pt x="594342" y="168336"/>
                      <a:pt x="590796" y="156997"/>
                    </a:cubicBezTo>
                    <a:cubicBezTo>
                      <a:pt x="587250" y="145659"/>
                      <a:pt x="568614" y="127147"/>
                      <a:pt x="557028" y="128136"/>
                    </a:cubicBezTo>
                    <a:cubicBezTo>
                      <a:pt x="545442" y="129125"/>
                      <a:pt x="545525" y="143597"/>
                      <a:pt x="533940" y="143597"/>
                    </a:cubicBezTo>
                    <a:cubicBezTo>
                      <a:pt x="522354" y="143597"/>
                      <a:pt x="519756" y="150771"/>
                      <a:pt x="521570" y="165202"/>
                    </a:cubicBezTo>
                    <a:cubicBezTo>
                      <a:pt x="523384" y="179633"/>
                      <a:pt x="503841" y="164171"/>
                      <a:pt x="490483" y="166233"/>
                    </a:cubicBezTo>
                    <a:cubicBezTo>
                      <a:pt x="477124" y="168294"/>
                      <a:pt x="490483" y="185776"/>
                      <a:pt x="483391" y="186848"/>
                    </a:cubicBezTo>
                    <a:cubicBezTo>
                      <a:pt x="476298" y="187920"/>
                      <a:pt x="476298" y="202268"/>
                      <a:pt x="464713" y="202268"/>
                    </a:cubicBezTo>
                    <a:cubicBezTo>
                      <a:pt x="453127" y="202268"/>
                      <a:pt x="454941" y="232078"/>
                      <a:pt x="456755" y="247622"/>
                    </a:cubicBezTo>
                    <a:cubicBezTo>
                      <a:pt x="458570" y="263166"/>
                      <a:pt x="438944" y="240406"/>
                      <a:pt x="427441" y="244530"/>
                    </a:cubicBezTo>
                    <a:cubicBezTo>
                      <a:pt x="415938" y="248653"/>
                      <a:pt x="430121" y="262011"/>
                      <a:pt x="433626" y="279534"/>
                    </a:cubicBezTo>
                    <a:cubicBezTo>
                      <a:pt x="437130" y="297057"/>
                      <a:pt x="427441" y="296026"/>
                      <a:pt x="421256" y="303201"/>
                    </a:cubicBezTo>
                    <a:cubicBezTo>
                      <a:pt x="415072" y="310375"/>
                      <a:pt x="405258" y="283616"/>
                      <a:pt x="405258" y="268196"/>
                    </a:cubicBezTo>
                    <a:cubicBezTo>
                      <a:pt x="405258" y="252776"/>
                      <a:pt x="390127" y="267165"/>
                      <a:pt x="374130" y="286709"/>
                    </a:cubicBezTo>
                    <a:cubicBezTo>
                      <a:pt x="358132" y="306252"/>
                      <a:pt x="379489" y="336185"/>
                      <a:pt x="372398" y="341257"/>
                    </a:cubicBezTo>
                    <a:cubicBezTo>
                      <a:pt x="365306" y="346328"/>
                      <a:pt x="333270" y="381374"/>
                      <a:pt x="314675" y="407225"/>
                    </a:cubicBezTo>
                    <a:cubicBezTo>
                      <a:pt x="299833" y="427840"/>
                      <a:pt x="271466" y="422109"/>
                      <a:pt x="254232" y="425243"/>
                    </a:cubicBezTo>
                    <a:cubicBezTo>
                      <a:pt x="252582" y="427222"/>
                      <a:pt x="250727" y="429077"/>
                      <a:pt x="248789" y="430768"/>
                    </a:cubicBezTo>
                    <a:cubicBezTo>
                      <a:pt x="206941" y="466803"/>
                      <a:pt x="159567" y="497314"/>
                      <a:pt x="106379" y="510178"/>
                    </a:cubicBezTo>
                    <a:cubicBezTo>
                      <a:pt x="82548" y="539410"/>
                      <a:pt x="56573" y="566870"/>
                      <a:pt x="28701" y="592268"/>
                    </a:cubicBezTo>
                    <a:cubicBezTo>
                      <a:pt x="27876" y="595154"/>
                      <a:pt x="26640" y="597957"/>
                      <a:pt x="25073" y="600514"/>
                    </a:cubicBezTo>
                    <a:cubicBezTo>
                      <a:pt x="11714" y="623149"/>
                      <a:pt x="-696" y="645867"/>
                      <a:pt x="17981" y="674729"/>
                    </a:cubicBezTo>
                    <a:cubicBezTo>
                      <a:pt x="36659" y="703590"/>
                      <a:pt x="47255" y="722061"/>
                      <a:pt x="41070" y="736574"/>
                    </a:cubicBezTo>
                    <a:cubicBezTo>
                      <a:pt x="34886" y="751087"/>
                      <a:pt x="21527" y="707713"/>
                      <a:pt x="17074" y="712949"/>
                    </a:cubicBezTo>
                    <a:cubicBezTo>
                      <a:pt x="12621" y="718185"/>
                      <a:pt x="33938" y="736574"/>
                      <a:pt x="28619" y="745933"/>
                    </a:cubicBezTo>
                    <a:cubicBezTo>
                      <a:pt x="23300" y="755293"/>
                      <a:pt x="4168" y="710928"/>
                      <a:pt x="210" y="721195"/>
                    </a:cubicBezTo>
                    <a:cubicBezTo>
                      <a:pt x="-3376" y="730472"/>
                      <a:pt x="40164" y="800440"/>
                      <a:pt x="41070" y="826127"/>
                    </a:cubicBezTo>
                    <a:cubicBezTo>
                      <a:pt x="41977" y="851813"/>
                      <a:pt x="76611" y="876551"/>
                      <a:pt x="74838" y="913618"/>
                    </a:cubicBezTo>
                    <a:cubicBezTo>
                      <a:pt x="73065" y="950684"/>
                      <a:pt x="105019" y="1010344"/>
                      <a:pt x="110378" y="1019580"/>
                    </a:cubicBezTo>
                    <a:cubicBezTo>
                      <a:pt x="115738" y="1028816"/>
                      <a:pt x="98009" y="1053513"/>
                      <a:pt x="101473" y="1081426"/>
                    </a:cubicBezTo>
                    <a:cubicBezTo>
                      <a:pt x="104936" y="1109338"/>
                      <a:pt x="93474" y="1119482"/>
                      <a:pt x="78383" y="1119482"/>
                    </a:cubicBezTo>
                    <a:cubicBezTo>
                      <a:pt x="63293" y="1119482"/>
                      <a:pt x="72158" y="1148343"/>
                      <a:pt x="89021" y="1150363"/>
                    </a:cubicBezTo>
                    <a:cubicBezTo>
                      <a:pt x="105885" y="1152383"/>
                      <a:pt x="99700" y="1165825"/>
                      <a:pt x="118336" y="1180214"/>
                    </a:cubicBezTo>
                    <a:cubicBezTo>
                      <a:pt x="122912" y="1183471"/>
                      <a:pt x="128066" y="1185780"/>
                      <a:pt x="133550" y="1187017"/>
                    </a:cubicBezTo>
                    <a:cubicBezTo>
                      <a:pt x="177007" y="1169041"/>
                      <a:pt x="222319" y="1157455"/>
                      <a:pt x="265240" y="1138695"/>
                    </a:cubicBezTo>
                    <a:cubicBezTo>
                      <a:pt x="268291" y="1134572"/>
                      <a:pt x="274434" y="1132057"/>
                      <a:pt x="282763" y="1130448"/>
                    </a:cubicBezTo>
                    <a:cubicBezTo>
                      <a:pt x="297070" y="1123398"/>
                      <a:pt x="310759" y="1115235"/>
                      <a:pt x="323746" y="1105999"/>
                    </a:cubicBezTo>
                    <a:cubicBezTo>
                      <a:pt x="384273" y="1062583"/>
                      <a:pt x="438697" y="1028898"/>
                      <a:pt x="514932" y="1040690"/>
                    </a:cubicBezTo>
                    <a:cubicBezTo>
                      <a:pt x="520003" y="1041473"/>
                      <a:pt x="524827" y="1043535"/>
                      <a:pt x="528909" y="1046627"/>
                    </a:cubicBezTo>
                    <a:cubicBezTo>
                      <a:pt x="536001" y="1046380"/>
                      <a:pt x="544576" y="1046627"/>
                      <a:pt x="555421" y="1047328"/>
                    </a:cubicBezTo>
                    <a:cubicBezTo>
                      <a:pt x="590095" y="1049431"/>
                      <a:pt x="622049" y="1027826"/>
                      <a:pt x="644271" y="1017519"/>
                    </a:cubicBezTo>
                    <a:cubicBezTo>
                      <a:pt x="666495" y="1007211"/>
                      <a:pt x="707354" y="1011375"/>
                      <a:pt x="728671" y="1005150"/>
                    </a:cubicBezTo>
                    <a:cubicBezTo>
                      <a:pt x="749987" y="998924"/>
                      <a:pt x="753409" y="1035990"/>
                      <a:pt x="777528" y="1032898"/>
                    </a:cubicBezTo>
                    <a:cubicBezTo>
                      <a:pt x="801649" y="1029805"/>
                      <a:pt x="812163" y="1041144"/>
                      <a:pt x="824614" y="1040113"/>
                    </a:cubicBezTo>
                    <a:cubicBezTo>
                      <a:pt x="837065" y="1039082"/>
                      <a:pt x="835292" y="1050379"/>
                      <a:pt x="847703" y="1053472"/>
                    </a:cubicBezTo>
                    <a:cubicBezTo>
                      <a:pt x="860113" y="1056564"/>
                      <a:pt x="858382" y="1068933"/>
                      <a:pt x="850383" y="1082333"/>
                    </a:cubicBezTo>
                    <a:cubicBezTo>
                      <a:pt x="842384" y="1095733"/>
                      <a:pt x="869019" y="1094702"/>
                      <a:pt x="885924" y="1121419"/>
                    </a:cubicBezTo>
                    <a:cubicBezTo>
                      <a:pt x="902828" y="1148136"/>
                      <a:pt x="886789" y="1152301"/>
                      <a:pt x="895696" y="1172875"/>
                    </a:cubicBezTo>
                    <a:cubicBezTo>
                      <a:pt x="904601" y="1193449"/>
                      <a:pt x="910786" y="1188295"/>
                      <a:pt x="928680" y="1159516"/>
                    </a:cubicBezTo>
                    <a:cubicBezTo>
                      <a:pt x="946573" y="1130737"/>
                      <a:pt x="965993" y="1149250"/>
                      <a:pt x="968632" y="1124512"/>
                    </a:cubicBezTo>
                    <a:cubicBezTo>
                      <a:pt x="971270" y="1099773"/>
                      <a:pt x="989989" y="1070912"/>
                      <a:pt x="1002400" y="1083281"/>
                    </a:cubicBezTo>
                    <a:cubicBezTo>
                      <a:pt x="1014810" y="1095650"/>
                      <a:pt x="993535" y="1101752"/>
                      <a:pt x="985536" y="1149250"/>
                    </a:cubicBezTo>
                    <a:cubicBezTo>
                      <a:pt x="977538" y="1196747"/>
                      <a:pt x="963313" y="1171844"/>
                      <a:pt x="960798" y="1185203"/>
                    </a:cubicBezTo>
                    <a:cubicBezTo>
                      <a:pt x="958283" y="1198561"/>
                      <a:pt x="997905" y="1205818"/>
                      <a:pt x="997905" y="1181080"/>
                    </a:cubicBezTo>
                    <a:cubicBezTo>
                      <a:pt x="997905" y="1156341"/>
                      <a:pt x="1005038" y="1145044"/>
                      <a:pt x="1020170" y="1167680"/>
                    </a:cubicBezTo>
                    <a:cubicBezTo>
                      <a:pt x="1035301" y="1190315"/>
                      <a:pt x="1011264" y="1208910"/>
                      <a:pt x="1014810" y="1219135"/>
                    </a:cubicBezTo>
                    <a:cubicBezTo>
                      <a:pt x="1018356" y="1229360"/>
                      <a:pt x="1035425" y="1216043"/>
                      <a:pt x="1044125" y="1217074"/>
                    </a:cubicBezTo>
                    <a:cubicBezTo>
                      <a:pt x="1059957" y="1218929"/>
                      <a:pt x="1081438" y="1259252"/>
                      <a:pt x="1077893" y="1280898"/>
                    </a:cubicBezTo>
                    <a:cubicBezTo>
                      <a:pt x="1077893" y="1281641"/>
                      <a:pt x="1077645" y="1282383"/>
                      <a:pt x="1077480" y="1283125"/>
                    </a:cubicBezTo>
                    <a:cubicBezTo>
                      <a:pt x="1134750" y="1295948"/>
                      <a:pt x="1184762" y="1330623"/>
                      <a:pt x="1216798" y="1379811"/>
                    </a:cubicBezTo>
                    <a:cubicBezTo>
                      <a:pt x="1220097" y="1384717"/>
                      <a:pt x="1222406" y="1390242"/>
                      <a:pt x="1223601" y="1396014"/>
                    </a:cubicBezTo>
                    <a:cubicBezTo>
                      <a:pt x="1237413" y="1403518"/>
                      <a:pt x="1265739" y="1383191"/>
                      <a:pt x="1271552" y="1360102"/>
                    </a:cubicBezTo>
                    <a:cubicBezTo>
                      <a:pt x="1277778" y="1335364"/>
                      <a:pt x="1300866" y="1359072"/>
                      <a:pt x="1288416" y="1367318"/>
                    </a:cubicBezTo>
                    <a:cubicBezTo>
                      <a:pt x="1275964" y="1375564"/>
                      <a:pt x="1294642" y="1395107"/>
                      <a:pt x="1295549" y="1381707"/>
                    </a:cubicBezTo>
                    <a:cubicBezTo>
                      <a:pt x="1296456" y="1368307"/>
                      <a:pt x="1301774" y="1356969"/>
                      <a:pt x="1306185" y="1372472"/>
                    </a:cubicBezTo>
                    <a:cubicBezTo>
                      <a:pt x="1310597" y="1387974"/>
                      <a:pt x="1326801" y="1387892"/>
                      <a:pt x="1332861" y="1400220"/>
                    </a:cubicBezTo>
                    <a:cubicBezTo>
                      <a:pt x="1338923" y="1412547"/>
                      <a:pt x="1346180" y="1421866"/>
                      <a:pt x="1346180" y="1411558"/>
                    </a:cubicBezTo>
                    <a:cubicBezTo>
                      <a:pt x="1346180" y="1401250"/>
                      <a:pt x="1349725" y="1391973"/>
                      <a:pt x="1363949" y="1385830"/>
                    </a:cubicBezTo>
                    <a:cubicBezTo>
                      <a:pt x="1378174" y="1379687"/>
                      <a:pt x="1387039" y="1368307"/>
                      <a:pt x="1402129" y="1353918"/>
                    </a:cubicBezTo>
                    <a:cubicBezTo>
                      <a:pt x="1417220" y="1339528"/>
                      <a:pt x="1479436" y="1336436"/>
                      <a:pt x="1485662" y="1336436"/>
                    </a:cubicBezTo>
                    <a:cubicBezTo>
                      <a:pt x="1491888" y="1336436"/>
                      <a:pt x="1495434" y="1274590"/>
                      <a:pt x="1498979" y="1242801"/>
                    </a:cubicBezTo>
                    <a:cubicBezTo>
                      <a:pt x="1502525" y="1211013"/>
                      <a:pt x="1525614" y="1205694"/>
                      <a:pt x="1529160" y="1171803"/>
                    </a:cubicBezTo>
                    <a:cubicBezTo>
                      <a:pt x="1532706" y="1137911"/>
                      <a:pt x="1563834" y="1075076"/>
                      <a:pt x="1571834" y="1072025"/>
                    </a:cubicBezTo>
                    <a:cubicBezTo>
                      <a:pt x="1585522" y="1067160"/>
                      <a:pt x="1594922" y="1054585"/>
                      <a:pt x="1595788" y="1040113"/>
                    </a:cubicBezTo>
                    <a:cubicBezTo>
                      <a:pt x="1595788" y="1040113"/>
                      <a:pt x="1595788" y="1040113"/>
                      <a:pt x="1595788" y="1039865"/>
                    </a:cubicBezTo>
                    <a:cubicBezTo>
                      <a:pt x="1595376" y="991708"/>
                      <a:pt x="1603045" y="944169"/>
                      <a:pt x="1612610" y="895559"/>
                    </a:cubicBezTo>
                    <a:cubicBezTo>
                      <a:pt x="1619001" y="863110"/>
                      <a:pt x="1625845" y="829590"/>
                      <a:pt x="1628443" y="796606"/>
                    </a:cubicBezTo>
                    <a:cubicBezTo>
                      <a:pt x="1626052" y="793720"/>
                      <a:pt x="1624362" y="792648"/>
                      <a:pt x="1622794" y="793925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</a:lstStyle>
              <a:p>
                <a:pPr marL="0" marR="0" lvl="0" indent="0" algn="l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55" name="Australia group">
                <a:extLst>
                  <a:ext uri="{FF2B5EF4-FFF2-40B4-BE49-F238E27FC236}">
                    <a16:creationId xmlns:a16="http://schemas.microsoft.com/office/drawing/2014/main" id="{E12AB167-A095-BAC4-842B-C624FCE982B9}"/>
                  </a:ext>
                </a:extLst>
              </p:cNvPr>
              <p:cNvSpPr/>
              <p:nvPr>
                <p:custDataLst>
                  <p:tags r:id="rId393"/>
                </p:custDataLst>
              </p:nvPr>
            </p:nvSpPr>
            <p:spPr>
              <a:xfrm>
                <a:off x="11666023" y="6916630"/>
                <a:ext cx="107845" cy="126362"/>
              </a:xfrm>
              <a:custGeom>
                <a:avLst/>
                <a:gdLst>
                  <a:gd name="connsiteX0" fmla="*/ 117260 w 125928"/>
                  <a:gd name="connsiteY0" fmla="*/ 5344 h 147551"/>
                  <a:gd name="connsiteX1" fmla="*/ 49766 w 125928"/>
                  <a:gd name="connsiteY1" fmla="*/ 21836 h 147551"/>
                  <a:gd name="connsiteX2" fmla="*/ 1 w 125928"/>
                  <a:gd name="connsiteY2" fmla="*/ 5838 h 147551"/>
                  <a:gd name="connsiteX3" fmla="*/ 70092 w 125928"/>
                  <a:gd name="connsiteY3" fmla="*/ 147547 h 147551"/>
                  <a:gd name="connsiteX4" fmla="*/ 75494 w 125928"/>
                  <a:gd name="connsiteY4" fmla="*/ 145321 h 147551"/>
                  <a:gd name="connsiteX5" fmla="*/ 84399 w 125928"/>
                  <a:gd name="connsiteY5" fmla="*/ 121655 h 147551"/>
                  <a:gd name="connsiteX6" fmla="*/ 107489 w 125928"/>
                  <a:gd name="connsiteY6" fmla="*/ 126808 h 147551"/>
                  <a:gd name="connsiteX7" fmla="*/ 119075 w 125928"/>
                  <a:gd name="connsiteY7" fmla="*/ 76384 h 147551"/>
                  <a:gd name="connsiteX8" fmla="*/ 117260 w 125928"/>
                  <a:gd name="connsiteY8" fmla="*/ 5344 h 1475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5928" h="147551">
                    <a:moveTo>
                      <a:pt x="117260" y="5344"/>
                    </a:moveTo>
                    <a:cubicBezTo>
                      <a:pt x="112849" y="-12179"/>
                      <a:pt x="73761" y="18702"/>
                      <a:pt x="49766" y="21836"/>
                    </a:cubicBezTo>
                    <a:cubicBezTo>
                      <a:pt x="34634" y="23815"/>
                      <a:pt x="14761" y="13260"/>
                      <a:pt x="1" y="5838"/>
                    </a:cubicBezTo>
                    <a:cubicBezTo>
                      <a:pt x="30264" y="49336"/>
                      <a:pt x="53889" y="97081"/>
                      <a:pt x="70092" y="147547"/>
                    </a:cubicBezTo>
                    <a:cubicBezTo>
                      <a:pt x="71371" y="145898"/>
                      <a:pt x="73432" y="145032"/>
                      <a:pt x="75494" y="145321"/>
                    </a:cubicBezTo>
                    <a:cubicBezTo>
                      <a:pt x="87080" y="146352"/>
                      <a:pt x="82627" y="131962"/>
                      <a:pt x="84399" y="121655"/>
                    </a:cubicBezTo>
                    <a:cubicBezTo>
                      <a:pt x="86172" y="111347"/>
                      <a:pt x="97716" y="132952"/>
                      <a:pt x="107489" y="126808"/>
                    </a:cubicBezTo>
                    <a:cubicBezTo>
                      <a:pt x="117260" y="120665"/>
                      <a:pt x="104849" y="76384"/>
                      <a:pt x="119075" y="76384"/>
                    </a:cubicBezTo>
                    <a:cubicBezTo>
                      <a:pt x="133299" y="76384"/>
                      <a:pt x="121672" y="22825"/>
                      <a:pt x="117260" y="5344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</a:lstStyle>
              <a:p>
                <a:pPr marL="0" marR="0" lvl="0" indent="0" algn="l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256" name="pole tekstowe 299">
              <a:extLst>
                <a:ext uri="{FF2B5EF4-FFF2-40B4-BE49-F238E27FC236}">
                  <a16:creationId xmlns:a16="http://schemas.microsoft.com/office/drawing/2014/main" id="{681A8D49-DEB7-5489-FE9D-1E6C64F9CF3F}"/>
                </a:ext>
              </a:extLst>
            </p:cNvPr>
            <p:cNvSpPr txBox="1"/>
            <p:nvPr>
              <p:custDataLst>
                <p:tags r:id="rId246"/>
              </p:custDataLst>
            </p:nvPr>
          </p:nvSpPr>
          <p:spPr>
            <a:xfrm>
              <a:off x="9691234" y="4074309"/>
              <a:ext cx="424796" cy="107722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700" kern="1200" spc="3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700" b="0" i="0" spc="300" normalizeH="0" noProof="0">
                  <a:solidFill>
                    <a:srgbClr val="FFFFFF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kumimoji="0" lang="en-US" sz="700" b="0" i="0" u="none" strike="noStrike" kern="1200" cap="none" spc="30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China</a:t>
              </a:r>
            </a:p>
          </p:txBody>
        </p:sp>
        <p:sp>
          <p:nvSpPr>
            <p:cNvPr id="257" name="pole tekstowe 310">
              <a:extLst>
                <a:ext uri="{FF2B5EF4-FFF2-40B4-BE49-F238E27FC236}">
                  <a16:creationId xmlns:a16="http://schemas.microsoft.com/office/drawing/2014/main" id="{463DAAF5-CB5C-7504-DBDF-0CAE399541AC}"/>
                </a:ext>
              </a:extLst>
            </p:cNvPr>
            <p:cNvSpPr txBox="1"/>
            <p:nvPr>
              <p:custDataLst>
                <p:tags r:id="rId247"/>
              </p:custDataLst>
            </p:nvPr>
          </p:nvSpPr>
          <p:spPr>
            <a:xfrm>
              <a:off x="10997777" y="3939623"/>
              <a:ext cx="472443" cy="98511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kumimoji="0" lang="en-US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South Korea </a:t>
              </a:r>
            </a:p>
          </p:txBody>
        </p:sp>
        <p:grpSp>
          <p:nvGrpSpPr>
            <p:cNvPr id="258" name="Group 257">
              <a:extLst>
                <a:ext uri="{FF2B5EF4-FFF2-40B4-BE49-F238E27FC236}">
                  <a16:creationId xmlns:a16="http://schemas.microsoft.com/office/drawing/2014/main" id="{B93360E0-9BBC-5EE0-9C42-BC7CFB8DDC0C}"/>
                </a:ext>
              </a:extLst>
            </p:cNvPr>
            <p:cNvGrpSpPr/>
            <p:nvPr>
              <p:custDataLst>
                <p:tags r:id="rId248"/>
              </p:custDataLst>
            </p:nvPr>
          </p:nvGrpSpPr>
          <p:grpSpPr>
            <a:xfrm>
              <a:off x="11223592" y="6421843"/>
              <a:ext cx="474810" cy="442976"/>
              <a:chOff x="540085" y="1845052"/>
              <a:chExt cx="587107" cy="547744"/>
            </a:xfrm>
          </p:grpSpPr>
          <p:sp>
            <p:nvSpPr>
              <p:cNvPr id="259" name="Oval 258">
                <a:extLst>
                  <a:ext uri="{FF2B5EF4-FFF2-40B4-BE49-F238E27FC236}">
                    <a16:creationId xmlns:a16="http://schemas.microsoft.com/office/drawing/2014/main" id="{63E0ACDB-320A-6EE7-6647-1E4A8C604EFD}"/>
                  </a:ext>
                </a:extLst>
              </p:cNvPr>
              <p:cNvSpPr/>
              <p:nvPr>
                <p:custDataLst>
                  <p:tags r:id="rId390"/>
                </p:custDataLst>
              </p:nvPr>
            </p:nvSpPr>
            <p:spPr>
              <a:xfrm>
                <a:off x="561109" y="1845052"/>
                <a:ext cx="547744" cy="547744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1pPr>
                <a:lvl2pPr marL="5486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2pPr>
                <a:lvl3pPr marL="10972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3pPr>
                <a:lvl4pPr marL="16459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4pPr>
                <a:lvl5pPr marL="219456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5pPr>
                <a:lvl6pPr marL="274320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6pPr>
                <a:lvl7pPr marL="32918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7pPr>
                <a:lvl8pPr marL="38404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8pPr>
                <a:lvl9pPr marL="43891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9pPr>
              </a:lstStyle>
              <a:p>
                <a:pPr marL="0" marR="0" lvl="0" indent="0" algn="ctr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cap="none" spc="0" normalizeH="0" baseline="0" noProof="0">
                    <a:solidFill>
                      <a:srgbClr val="FFFFFF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  <a:sym typeface="Wingdings" charset="2"/>
                </a:endParaRPr>
              </a:p>
            </p:txBody>
          </p:sp>
          <p:sp>
            <p:nvSpPr>
              <p:cNvPr id="260" name="TextBox 259">
                <a:extLst>
                  <a:ext uri="{FF2B5EF4-FFF2-40B4-BE49-F238E27FC236}">
                    <a16:creationId xmlns:a16="http://schemas.microsoft.com/office/drawing/2014/main" id="{F4B5615E-201F-FB65-2219-8B089245EDA1}"/>
                  </a:ext>
                </a:extLst>
              </p:cNvPr>
              <p:cNvSpPr txBox="1"/>
              <p:nvPr>
                <p:custDataLst>
                  <p:tags r:id="rId391"/>
                </p:custDataLst>
              </p:nvPr>
            </p:nvSpPr>
            <p:spPr>
              <a:xfrm>
                <a:off x="540085" y="1976380"/>
                <a:ext cx="587107" cy="3196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</a:lstStyle>
              <a:p>
                <a:pPr marL="0" marR="0" lvl="0" indent="0" algn="ctr" defTabSz="1462923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40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r>
                  <a:rPr kumimoji="0" lang="en-US" sz="1200" b="0" i="0" normalizeH="0" noProof="0" dirty="0">
                    <a:solidFill>
                      <a:srgbClr val="FFFFFF"/>
                    </a:solidFill>
                    <a:uLnTx/>
                    <a:uFillTx/>
                    <a:latin typeface="Arial" pitchFamily="34" charset="0"/>
                    <a:cs typeface="Arial" pitchFamily="34" charset="0"/>
                  </a:rPr>
                  <a:t>4.5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rPr>
                  <a:t>k</a:t>
                </a:r>
              </a:p>
            </p:txBody>
          </p:sp>
        </p:grpSp>
        <p:sp>
          <p:nvSpPr>
            <p:cNvPr id="261" name="pole tekstowe 305">
              <a:extLst>
                <a:ext uri="{FF2B5EF4-FFF2-40B4-BE49-F238E27FC236}">
                  <a16:creationId xmlns:a16="http://schemas.microsoft.com/office/drawing/2014/main" id="{00366893-672D-6D3E-CA31-57AD387A6727}"/>
                </a:ext>
              </a:extLst>
            </p:cNvPr>
            <p:cNvSpPr txBox="1"/>
            <p:nvPr>
              <p:custDataLst>
                <p:tags r:id="rId249"/>
              </p:custDataLst>
            </p:nvPr>
          </p:nvSpPr>
          <p:spPr>
            <a:xfrm>
              <a:off x="10760768" y="6754253"/>
              <a:ext cx="694102" cy="107722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700" kern="1200" spc="3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700" b="0" i="0" spc="300" normalizeH="0" noProof="0">
                  <a:solidFill>
                    <a:srgbClr val="FFFFFF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kumimoji="0" lang="en-US" sz="700" b="0" i="0" u="none" strike="noStrike" kern="1200" cap="none" spc="30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Australia</a:t>
              </a:r>
            </a:p>
          </p:txBody>
        </p:sp>
        <p:grpSp>
          <p:nvGrpSpPr>
            <p:cNvPr id="262" name="Group 261">
              <a:extLst>
                <a:ext uri="{FF2B5EF4-FFF2-40B4-BE49-F238E27FC236}">
                  <a16:creationId xmlns:a16="http://schemas.microsoft.com/office/drawing/2014/main" id="{65EC95BE-6673-BF8B-A2E7-7A97BD0553D2}"/>
                </a:ext>
              </a:extLst>
            </p:cNvPr>
            <p:cNvGrpSpPr/>
            <p:nvPr>
              <p:custDataLst>
                <p:tags r:id="rId250"/>
              </p:custDataLst>
            </p:nvPr>
          </p:nvGrpSpPr>
          <p:grpSpPr>
            <a:xfrm>
              <a:off x="10098176" y="3993033"/>
              <a:ext cx="439544" cy="381710"/>
              <a:chOff x="518269" y="1845051"/>
              <a:chExt cx="630734" cy="547744"/>
            </a:xfrm>
          </p:grpSpPr>
          <p:sp>
            <p:nvSpPr>
              <p:cNvPr id="263" name="Oval 262">
                <a:extLst>
                  <a:ext uri="{FF2B5EF4-FFF2-40B4-BE49-F238E27FC236}">
                    <a16:creationId xmlns:a16="http://schemas.microsoft.com/office/drawing/2014/main" id="{296BFDFB-202B-75E5-3883-EB14EEF08202}"/>
                  </a:ext>
                </a:extLst>
              </p:cNvPr>
              <p:cNvSpPr/>
              <p:nvPr>
                <p:custDataLst>
                  <p:tags r:id="rId388"/>
                </p:custDataLst>
              </p:nvPr>
            </p:nvSpPr>
            <p:spPr>
              <a:xfrm>
                <a:off x="561106" y="1845051"/>
                <a:ext cx="547744" cy="547744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1pPr>
                <a:lvl2pPr marL="5486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2pPr>
                <a:lvl3pPr marL="10972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3pPr>
                <a:lvl4pPr marL="16459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4pPr>
                <a:lvl5pPr marL="219456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5pPr>
                <a:lvl6pPr marL="274320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6pPr>
                <a:lvl7pPr marL="32918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7pPr>
                <a:lvl8pPr marL="38404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8pPr>
                <a:lvl9pPr marL="43891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9pPr>
              </a:lstStyle>
              <a:p>
                <a:pPr marL="0" marR="0" lvl="0" indent="0" algn="ctr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cap="none" spc="0" normalizeH="0" baseline="0" noProof="0">
                    <a:solidFill>
                      <a:srgbClr val="FFFFFF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  <a:sym typeface="Wingdings" charset="2"/>
                </a:endParaRPr>
              </a:p>
            </p:txBody>
          </p:sp>
          <p:sp>
            <p:nvSpPr>
              <p:cNvPr id="264" name="TextBox 263">
                <a:extLst>
                  <a:ext uri="{FF2B5EF4-FFF2-40B4-BE49-F238E27FC236}">
                    <a16:creationId xmlns:a16="http://schemas.microsoft.com/office/drawing/2014/main" id="{D08CAD04-C023-7A31-9F2F-84DFE230D1F8}"/>
                  </a:ext>
                </a:extLst>
              </p:cNvPr>
              <p:cNvSpPr txBox="1"/>
              <p:nvPr>
                <p:custDataLst>
                  <p:tags r:id="rId389"/>
                </p:custDataLst>
              </p:nvPr>
            </p:nvSpPr>
            <p:spPr>
              <a:xfrm>
                <a:off x="518269" y="1954509"/>
                <a:ext cx="630734" cy="34117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</a:lstStyle>
              <a:p>
                <a:pPr marL="0" marR="0" lvl="0" indent="0" algn="ctr" defTabSz="1462923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40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r>
                  <a:rPr kumimoji="0" lang="en-US" sz="105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rPr>
                  <a:t>2.</a:t>
                </a:r>
                <a:r>
                  <a:rPr kumimoji="0" lang="ru-RU" sz="105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rPr>
                  <a:t>4</a:t>
                </a:r>
                <a:r>
                  <a:rPr kumimoji="0" lang="en-US" sz="105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rPr>
                  <a:t>k</a:t>
                </a:r>
              </a:p>
            </p:txBody>
          </p:sp>
        </p:grpSp>
        <p:grpSp>
          <p:nvGrpSpPr>
            <p:cNvPr id="265" name="Group 264">
              <a:extLst>
                <a:ext uri="{FF2B5EF4-FFF2-40B4-BE49-F238E27FC236}">
                  <a16:creationId xmlns:a16="http://schemas.microsoft.com/office/drawing/2014/main" id="{3A338A50-80FA-EE3E-AEA7-9AC58A307471}"/>
                </a:ext>
              </a:extLst>
            </p:cNvPr>
            <p:cNvGrpSpPr/>
            <p:nvPr>
              <p:custDataLst>
                <p:tags r:id="rId251"/>
              </p:custDataLst>
            </p:nvPr>
          </p:nvGrpSpPr>
          <p:grpSpPr>
            <a:xfrm>
              <a:off x="10807161" y="4765326"/>
              <a:ext cx="500794" cy="500793"/>
              <a:chOff x="561108" y="1845052"/>
              <a:chExt cx="547742" cy="547742"/>
            </a:xfrm>
          </p:grpSpPr>
          <p:sp>
            <p:nvSpPr>
              <p:cNvPr id="266" name="Oval 265">
                <a:extLst>
                  <a:ext uri="{FF2B5EF4-FFF2-40B4-BE49-F238E27FC236}">
                    <a16:creationId xmlns:a16="http://schemas.microsoft.com/office/drawing/2014/main" id="{56CB72F3-1763-EDB9-E33A-DC00FB8A8DDC}"/>
                  </a:ext>
                </a:extLst>
              </p:cNvPr>
              <p:cNvSpPr/>
              <p:nvPr>
                <p:custDataLst>
                  <p:tags r:id="rId386"/>
                </p:custDataLst>
              </p:nvPr>
            </p:nvSpPr>
            <p:spPr>
              <a:xfrm>
                <a:off x="561108" y="1845052"/>
                <a:ext cx="547742" cy="547742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1pPr>
                <a:lvl2pPr marL="5486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2pPr>
                <a:lvl3pPr marL="10972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3pPr>
                <a:lvl4pPr marL="16459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4pPr>
                <a:lvl5pPr marL="219456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5pPr>
                <a:lvl6pPr marL="274320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6pPr>
                <a:lvl7pPr marL="32918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7pPr>
                <a:lvl8pPr marL="38404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8pPr>
                <a:lvl9pPr marL="43891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9pPr>
              </a:lstStyle>
              <a:p>
                <a:pPr marL="0" marR="0" lvl="0" indent="0" algn="ctr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cap="none" spc="0" normalizeH="0" baseline="0" noProof="0">
                    <a:solidFill>
                      <a:srgbClr val="FFFFFF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  <a:sym typeface="Wingdings" charset="2"/>
                </a:endParaRPr>
              </a:p>
            </p:txBody>
          </p:sp>
          <p:sp>
            <p:nvSpPr>
              <p:cNvPr id="267" name="TextBox 266">
                <a:extLst>
                  <a:ext uri="{FF2B5EF4-FFF2-40B4-BE49-F238E27FC236}">
                    <a16:creationId xmlns:a16="http://schemas.microsoft.com/office/drawing/2014/main" id="{B20E6409-B23B-4586-B7E5-B11DC9CB8E7E}"/>
                  </a:ext>
                </a:extLst>
              </p:cNvPr>
              <p:cNvSpPr txBox="1"/>
              <p:nvPr>
                <p:custDataLst>
                  <p:tags r:id="rId387"/>
                </p:custDataLst>
              </p:nvPr>
            </p:nvSpPr>
            <p:spPr>
              <a:xfrm>
                <a:off x="573975" y="1976378"/>
                <a:ext cx="519322" cy="28276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</a:lstStyle>
              <a:p>
                <a:pPr marL="0" marR="0" lvl="0" indent="0" algn="ctr" defTabSz="1462923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40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rPr>
                  <a:t>7.8k</a:t>
                </a:r>
              </a:p>
            </p:txBody>
          </p:sp>
        </p:grpSp>
        <p:sp>
          <p:nvSpPr>
            <p:cNvPr id="268" name="pole tekstowe 295">
              <a:extLst>
                <a:ext uri="{FF2B5EF4-FFF2-40B4-BE49-F238E27FC236}">
                  <a16:creationId xmlns:a16="http://schemas.microsoft.com/office/drawing/2014/main" id="{D95D16E9-A096-531B-E3F5-CCA3F3FEFC12}"/>
                </a:ext>
              </a:extLst>
            </p:cNvPr>
            <p:cNvSpPr txBox="1"/>
            <p:nvPr>
              <p:custDataLst>
                <p:tags r:id="rId252"/>
              </p:custDataLst>
            </p:nvPr>
          </p:nvSpPr>
          <p:spPr>
            <a:xfrm>
              <a:off x="10984871" y="5102927"/>
              <a:ext cx="429605" cy="107722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700" kern="1200" spc="3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700" b="0" i="0" spc="300" normalizeH="0" noProof="0">
                  <a:solidFill>
                    <a:srgbClr val="FFFFFF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Philippines</a:t>
              </a:r>
            </a:p>
          </p:txBody>
        </p:sp>
        <p:grpSp>
          <p:nvGrpSpPr>
            <p:cNvPr id="269" name="Group 268">
              <a:extLst>
                <a:ext uri="{FF2B5EF4-FFF2-40B4-BE49-F238E27FC236}">
                  <a16:creationId xmlns:a16="http://schemas.microsoft.com/office/drawing/2014/main" id="{65D9AE43-DEA6-370C-851A-0EF55D93553A}"/>
                </a:ext>
              </a:extLst>
            </p:cNvPr>
            <p:cNvGrpSpPr/>
            <p:nvPr>
              <p:custDataLst>
                <p:tags r:id="rId253"/>
              </p:custDataLst>
            </p:nvPr>
          </p:nvGrpSpPr>
          <p:grpSpPr>
            <a:xfrm>
              <a:off x="10227060" y="4853410"/>
              <a:ext cx="380233" cy="317839"/>
              <a:chOff x="506000" y="1845053"/>
              <a:chExt cx="655270" cy="547744"/>
            </a:xfrm>
          </p:grpSpPr>
          <p:sp>
            <p:nvSpPr>
              <p:cNvPr id="270" name="Oval 269">
                <a:extLst>
                  <a:ext uri="{FF2B5EF4-FFF2-40B4-BE49-F238E27FC236}">
                    <a16:creationId xmlns:a16="http://schemas.microsoft.com/office/drawing/2014/main" id="{DA70C296-6C2A-8583-62F8-86ABB94265E3}"/>
                  </a:ext>
                </a:extLst>
              </p:cNvPr>
              <p:cNvSpPr/>
              <p:nvPr>
                <p:custDataLst>
                  <p:tags r:id="rId384"/>
                </p:custDataLst>
              </p:nvPr>
            </p:nvSpPr>
            <p:spPr>
              <a:xfrm>
                <a:off x="561107" y="1845053"/>
                <a:ext cx="547744" cy="547744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1pPr>
                <a:lvl2pPr marL="5486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2pPr>
                <a:lvl3pPr marL="10972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3pPr>
                <a:lvl4pPr marL="16459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4pPr>
                <a:lvl5pPr marL="219456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5pPr>
                <a:lvl6pPr marL="274320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6pPr>
                <a:lvl7pPr marL="32918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7pPr>
                <a:lvl8pPr marL="38404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8pPr>
                <a:lvl9pPr marL="43891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9pPr>
              </a:lstStyle>
              <a:p>
                <a:pPr marL="0" marR="0" lvl="0" indent="0" algn="ctr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cap="none" spc="0" normalizeH="0" baseline="0" noProof="0">
                    <a:solidFill>
                      <a:srgbClr val="FFFFFF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  <a:sym typeface="Wingdings" charset="2"/>
                </a:endParaRPr>
              </a:p>
            </p:txBody>
          </p:sp>
          <p:sp>
            <p:nvSpPr>
              <p:cNvPr id="271" name="TextBox 270">
                <a:extLst>
                  <a:ext uri="{FF2B5EF4-FFF2-40B4-BE49-F238E27FC236}">
                    <a16:creationId xmlns:a16="http://schemas.microsoft.com/office/drawing/2014/main" id="{296720D7-38BE-1D17-D47C-68D70F691031}"/>
                  </a:ext>
                </a:extLst>
              </p:cNvPr>
              <p:cNvSpPr txBox="1"/>
              <p:nvPr>
                <p:custDataLst>
                  <p:tags r:id="rId385"/>
                </p:custDataLst>
              </p:nvPr>
            </p:nvSpPr>
            <p:spPr>
              <a:xfrm>
                <a:off x="506000" y="1943481"/>
                <a:ext cx="655270" cy="35006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</a:lstStyle>
              <a:p>
                <a:pPr marL="0" marR="0" lvl="0" indent="0" algn="ctr" defTabSz="1462923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40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rPr>
                  <a:t>1.2k</a:t>
                </a:r>
              </a:p>
            </p:txBody>
          </p:sp>
        </p:grpSp>
        <p:sp>
          <p:nvSpPr>
            <p:cNvPr id="272" name="pole tekstowe 289">
              <a:extLst>
                <a:ext uri="{FF2B5EF4-FFF2-40B4-BE49-F238E27FC236}">
                  <a16:creationId xmlns:a16="http://schemas.microsoft.com/office/drawing/2014/main" id="{D9342391-137B-A09A-A3FE-3D718F029927}"/>
                </a:ext>
              </a:extLst>
            </p:cNvPr>
            <p:cNvSpPr txBox="1"/>
            <p:nvPr>
              <p:custDataLst>
                <p:tags r:id="rId254"/>
              </p:custDataLst>
            </p:nvPr>
          </p:nvSpPr>
          <p:spPr>
            <a:xfrm>
              <a:off x="10207606" y="5067000"/>
              <a:ext cx="302717" cy="98511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700" kern="1200" spc="3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700" b="0" i="0" spc="300" normalizeH="0" noProof="0">
                  <a:solidFill>
                    <a:srgbClr val="FFFFFF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kumimoji="0" lang="en-US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Vietnam</a:t>
              </a:r>
            </a:p>
          </p:txBody>
        </p:sp>
        <p:grpSp>
          <p:nvGrpSpPr>
            <p:cNvPr id="273" name="Group 272">
              <a:extLst>
                <a:ext uri="{FF2B5EF4-FFF2-40B4-BE49-F238E27FC236}">
                  <a16:creationId xmlns:a16="http://schemas.microsoft.com/office/drawing/2014/main" id="{D8368F1F-323D-A68B-1182-2D33C4D145AE}"/>
                </a:ext>
              </a:extLst>
            </p:cNvPr>
            <p:cNvGrpSpPr/>
            <p:nvPr>
              <p:custDataLst>
                <p:tags r:id="rId255"/>
              </p:custDataLst>
            </p:nvPr>
          </p:nvGrpSpPr>
          <p:grpSpPr>
            <a:xfrm>
              <a:off x="11289967" y="4029772"/>
              <a:ext cx="314001" cy="314001"/>
              <a:chOff x="561106" y="1845052"/>
              <a:chExt cx="547744" cy="547744"/>
            </a:xfrm>
          </p:grpSpPr>
          <p:sp>
            <p:nvSpPr>
              <p:cNvPr id="274" name="Oval 273">
                <a:extLst>
                  <a:ext uri="{FF2B5EF4-FFF2-40B4-BE49-F238E27FC236}">
                    <a16:creationId xmlns:a16="http://schemas.microsoft.com/office/drawing/2014/main" id="{D36A0E16-5AD2-E46E-B4D2-4331E83161DF}"/>
                  </a:ext>
                </a:extLst>
              </p:cNvPr>
              <p:cNvSpPr/>
              <p:nvPr>
                <p:custDataLst>
                  <p:tags r:id="rId382"/>
                </p:custDataLst>
              </p:nvPr>
            </p:nvSpPr>
            <p:spPr>
              <a:xfrm>
                <a:off x="561106" y="1845052"/>
                <a:ext cx="547744" cy="547744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1pPr>
                <a:lvl2pPr marL="5486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2pPr>
                <a:lvl3pPr marL="10972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3pPr>
                <a:lvl4pPr marL="16459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4pPr>
                <a:lvl5pPr marL="219456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5pPr>
                <a:lvl6pPr marL="274320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6pPr>
                <a:lvl7pPr marL="32918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7pPr>
                <a:lvl8pPr marL="38404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8pPr>
                <a:lvl9pPr marL="43891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9pPr>
              </a:lstStyle>
              <a:p>
                <a:pPr marL="0" marR="0" lvl="0" indent="0" algn="ctr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cap="none" spc="0" normalizeH="0" baseline="0" noProof="0">
                    <a:solidFill>
                      <a:srgbClr val="FFFFFF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  <a:sym typeface="Wingdings" charset="2"/>
                </a:endParaRPr>
              </a:p>
            </p:txBody>
          </p:sp>
          <p:sp>
            <p:nvSpPr>
              <p:cNvPr id="275" name="TextBox 274">
                <a:extLst>
                  <a:ext uri="{FF2B5EF4-FFF2-40B4-BE49-F238E27FC236}">
                    <a16:creationId xmlns:a16="http://schemas.microsoft.com/office/drawing/2014/main" id="{BC34526D-B686-F8FB-A6C5-9B4C0CAC6DBF}"/>
                  </a:ext>
                </a:extLst>
              </p:cNvPr>
              <p:cNvSpPr txBox="1"/>
              <p:nvPr>
                <p:custDataLst>
                  <p:tags r:id="rId383"/>
                </p:custDataLst>
              </p:nvPr>
            </p:nvSpPr>
            <p:spPr>
              <a:xfrm>
                <a:off x="640703" y="1943477"/>
                <a:ext cx="385861" cy="42429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</a:lstStyle>
              <a:p>
                <a:pPr marL="0" marR="0" lvl="0" indent="0" algn="ctr" defTabSz="1462923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40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276" name="pole tekstowe 310">
              <a:extLst>
                <a:ext uri="{FF2B5EF4-FFF2-40B4-BE49-F238E27FC236}">
                  <a16:creationId xmlns:a16="http://schemas.microsoft.com/office/drawing/2014/main" id="{6A7C8DD2-24A9-116F-5DF9-3DFFA1471FA3}"/>
                </a:ext>
              </a:extLst>
            </p:cNvPr>
            <p:cNvSpPr txBox="1"/>
            <p:nvPr>
              <p:custDataLst>
                <p:tags r:id="rId256"/>
              </p:custDataLst>
            </p:nvPr>
          </p:nvSpPr>
          <p:spPr>
            <a:xfrm>
              <a:off x="11613944" y="4138724"/>
              <a:ext cx="338933" cy="114930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Japan</a:t>
              </a:r>
            </a:p>
          </p:txBody>
        </p:sp>
        <p:sp>
          <p:nvSpPr>
            <p:cNvPr id="277" name="Oval 276">
              <a:extLst>
                <a:ext uri="{FF2B5EF4-FFF2-40B4-BE49-F238E27FC236}">
                  <a16:creationId xmlns:a16="http://schemas.microsoft.com/office/drawing/2014/main" id="{B1C91E5A-C939-139F-AA45-7A0BB94612E0}"/>
                </a:ext>
              </a:extLst>
            </p:cNvPr>
            <p:cNvSpPr/>
            <p:nvPr>
              <p:custDataLst>
                <p:tags r:id="rId257"/>
              </p:custDataLst>
            </p:nvPr>
          </p:nvSpPr>
          <p:spPr>
            <a:xfrm>
              <a:off x="10140152" y="5643953"/>
              <a:ext cx="241649" cy="241649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5486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10972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6459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219456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274320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32918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38404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43891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marL="0" marR="0" lvl="0" indent="0" algn="ctr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cap="none" spc="0" normalizeH="0" baseline="0" noProof="0">
                  <a:solidFill>
                    <a:srgbClr val="FFFFFF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  <a:sym typeface="Wingdings" charset="2"/>
              </a:endParaRPr>
            </a:p>
          </p:txBody>
        </p:sp>
        <p:grpSp>
          <p:nvGrpSpPr>
            <p:cNvPr id="278" name="Group 277">
              <a:extLst>
                <a:ext uri="{FF2B5EF4-FFF2-40B4-BE49-F238E27FC236}">
                  <a16:creationId xmlns:a16="http://schemas.microsoft.com/office/drawing/2014/main" id="{CF0325DE-0F94-82B1-AF96-D8FDBB67A70C}"/>
                </a:ext>
              </a:extLst>
            </p:cNvPr>
            <p:cNvGrpSpPr/>
            <p:nvPr>
              <p:custDataLst>
                <p:tags r:id="rId258"/>
              </p:custDataLst>
            </p:nvPr>
          </p:nvGrpSpPr>
          <p:grpSpPr>
            <a:xfrm>
              <a:off x="10213040" y="5332687"/>
              <a:ext cx="439544" cy="381709"/>
              <a:chOff x="518270" y="1845053"/>
              <a:chExt cx="630734" cy="547744"/>
            </a:xfrm>
          </p:grpSpPr>
          <p:sp>
            <p:nvSpPr>
              <p:cNvPr id="279" name="Oval 278">
                <a:extLst>
                  <a:ext uri="{FF2B5EF4-FFF2-40B4-BE49-F238E27FC236}">
                    <a16:creationId xmlns:a16="http://schemas.microsoft.com/office/drawing/2014/main" id="{9B37D029-B143-C538-2EE5-B8F12954834D}"/>
                  </a:ext>
                </a:extLst>
              </p:cNvPr>
              <p:cNvSpPr/>
              <p:nvPr>
                <p:custDataLst>
                  <p:tags r:id="rId380"/>
                </p:custDataLst>
              </p:nvPr>
            </p:nvSpPr>
            <p:spPr>
              <a:xfrm>
                <a:off x="561108" y="1845053"/>
                <a:ext cx="547744" cy="547744"/>
              </a:xfrm>
              <a:prstGeom prst="ellipse">
                <a:avLst/>
              </a:prstGeom>
              <a:solidFill>
                <a:schemeClr val="accent2"/>
              </a:solidFill>
              <a:ln>
                <a:solidFill>
                  <a:schemeClr val="bg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1pPr>
                <a:lvl2pPr marL="5486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2pPr>
                <a:lvl3pPr marL="10972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3pPr>
                <a:lvl4pPr marL="16459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4pPr>
                <a:lvl5pPr marL="219456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5pPr>
                <a:lvl6pPr marL="274320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6pPr>
                <a:lvl7pPr marL="32918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7pPr>
                <a:lvl8pPr marL="38404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8pPr>
                <a:lvl9pPr marL="43891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9pPr>
              </a:lstStyle>
              <a:p>
                <a:pPr marL="0" marR="0" lvl="0" indent="0" algn="ctr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cap="none" spc="0" normalizeH="0" baseline="0" noProof="0">
                    <a:solidFill>
                      <a:srgbClr val="FFFFFF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  <a:sym typeface="Wingdings" charset="2"/>
                </a:endParaRPr>
              </a:p>
            </p:txBody>
          </p:sp>
          <p:sp>
            <p:nvSpPr>
              <p:cNvPr id="280" name="TextBox 279">
                <a:extLst>
                  <a:ext uri="{FF2B5EF4-FFF2-40B4-BE49-F238E27FC236}">
                    <a16:creationId xmlns:a16="http://schemas.microsoft.com/office/drawing/2014/main" id="{7728B9BC-C472-0F98-4183-9D170AA0FCA9}"/>
                  </a:ext>
                </a:extLst>
              </p:cNvPr>
              <p:cNvSpPr txBox="1"/>
              <p:nvPr>
                <p:custDataLst>
                  <p:tags r:id="rId381"/>
                </p:custDataLst>
              </p:nvPr>
            </p:nvSpPr>
            <p:spPr>
              <a:xfrm>
                <a:off x="518270" y="1976381"/>
                <a:ext cx="630734" cy="34117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</a:lstStyle>
              <a:p>
                <a:pPr marL="0" marR="0" lvl="0" indent="0" algn="ctr" defTabSz="1462923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40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r>
                  <a:rPr kumimoji="0" lang="en-US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rPr>
                  <a:t>2.0k</a:t>
                </a:r>
              </a:p>
            </p:txBody>
          </p:sp>
        </p:grpSp>
        <p:sp>
          <p:nvSpPr>
            <p:cNvPr id="281" name="pole tekstowe 295">
              <a:extLst>
                <a:ext uri="{FF2B5EF4-FFF2-40B4-BE49-F238E27FC236}">
                  <a16:creationId xmlns:a16="http://schemas.microsoft.com/office/drawing/2014/main" id="{E6B081CF-2084-05BE-4297-886F4C42E4BD}"/>
                </a:ext>
              </a:extLst>
            </p:cNvPr>
            <p:cNvSpPr txBox="1"/>
            <p:nvPr>
              <p:custDataLst>
                <p:tags r:id="rId259"/>
              </p:custDataLst>
            </p:nvPr>
          </p:nvSpPr>
          <p:spPr>
            <a:xfrm>
              <a:off x="10127306" y="5353020"/>
              <a:ext cx="352661" cy="107722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700" kern="1200" spc="3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700" b="0" i="0" spc="300" normalizeH="0" noProof="0">
                  <a:solidFill>
                    <a:srgbClr val="FFFFFF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Malaysia</a:t>
              </a:r>
            </a:p>
          </p:txBody>
        </p:sp>
        <p:sp>
          <p:nvSpPr>
            <p:cNvPr id="282" name="Oval 281">
              <a:extLst>
                <a:ext uri="{FF2B5EF4-FFF2-40B4-BE49-F238E27FC236}">
                  <a16:creationId xmlns:a16="http://schemas.microsoft.com/office/drawing/2014/main" id="{0F6F0694-84ED-736A-DF3C-CD9DECD672D8}"/>
                </a:ext>
              </a:extLst>
            </p:cNvPr>
            <p:cNvSpPr/>
            <p:nvPr>
              <p:custDataLst>
                <p:tags r:id="rId260"/>
              </p:custDataLst>
            </p:nvPr>
          </p:nvSpPr>
          <p:spPr>
            <a:xfrm>
              <a:off x="10871156" y="4488828"/>
              <a:ext cx="193666" cy="19366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5486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10972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6459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219456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274320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32918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38404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43891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marL="0" marR="0" lvl="0" indent="0" algn="ctr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cap="none" spc="0" normalizeH="0" baseline="0" noProof="0">
                  <a:solidFill>
                    <a:srgbClr val="FFFFFF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  <a:sym typeface="Wingdings" charset="2"/>
              </a:endParaRPr>
            </a:p>
          </p:txBody>
        </p:sp>
        <p:sp>
          <p:nvSpPr>
            <p:cNvPr id="283" name="pole tekstowe 295">
              <a:extLst>
                <a:ext uri="{FF2B5EF4-FFF2-40B4-BE49-F238E27FC236}">
                  <a16:creationId xmlns:a16="http://schemas.microsoft.com/office/drawing/2014/main" id="{E7253324-F777-B83B-D7C2-C4D86541086D}"/>
                </a:ext>
              </a:extLst>
            </p:cNvPr>
            <p:cNvSpPr txBox="1"/>
            <p:nvPr>
              <p:custDataLst>
                <p:tags r:id="rId261"/>
              </p:custDataLst>
            </p:nvPr>
          </p:nvSpPr>
          <p:spPr>
            <a:xfrm>
              <a:off x="11090529" y="4523948"/>
              <a:ext cx="286938" cy="107722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700" kern="1200" spc="3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700" b="0" i="0" spc="300" normalizeH="0" noProof="0">
                  <a:solidFill>
                    <a:srgbClr val="FFFFFF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Taiwan</a:t>
              </a:r>
            </a:p>
          </p:txBody>
        </p:sp>
        <p:sp>
          <p:nvSpPr>
            <p:cNvPr id="284" name="Oval 283">
              <a:extLst>
                <a:ext uri="{FF2B5EF4-FFF2-40B4-BE49-F238E27FC236}">
                  <a16:creationId xmlns:a16="http://schemas.microsoft.com/office/drawing/2014/main" id="{4AE59827-4904-7A77-D7D5-C42E1DCDB2EA}"/>
                </a:ext>
              </a:extLst>
            </p:cNvPr>
            <p:cNvSpPr/>
            <p:nvPr>
              <p:custDataLst>
                <p:tags r:id="rId262"/>
              </p:custDataLst>
            </p:nvPr>
          </p:nvSpPr>
          <p:spPr>
            <a:xfrm>
              <a:off x="10490694" y="4566023"/>
              <a:ext cx="193666" cy="19366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5486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10972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6459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219456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274320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32918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38404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43891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marL="0" marR="0" lvl="0" indent="0" algn="ctr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cap="none" spc="0" normalizeH="0" baseline="0" noProof="0">
                  <a:solidFill>
                    <a:srgbClr val="FFFFFF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  <a:sym typeface="Wingdings" charset="2"/>
              </a:endParaRPr>
            </a:p>
          </p:txBody>
        </p:sp>
        <p:sp>
          <p:nvSpPr>
            <p:cNvPr id="285" name="Oval 284">
              <a:extLst>
                <a:ext uri="{FF2B5EF4-FFF2-40B4-BE49-F238E27FC236}">
                  <a16:creationId xmlns:a16="http://schemas.microsoft.com/office/drawing/2014/main" id="{296A9643-0846-1BCE-4FC0-9200681E6DF6}"/>
                </a:ext>
              </a:extLst>
            </p:cNvPr>
            <p:cNvSpPr/>
            <p:nvPr>
              <p:custDataLst>
                <p:tags r:id="rId263"/>
              </p:custDataLst>
            </p:nvPr>
          </p:nvSpPr>
          <p:spPr>
            <a:xfrm>
              <a:off x="9932330" y="5129697"/>
              <a:ext cx="193666" cy="19366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5486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10972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6459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219456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274320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32918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38404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43891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marL="0" marR="0" lvl="0" indent="0" algn="ctr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cap="none" spc="0" normalizeH="0" baseline="0" noProof="0">
                  <a:solidFill>
                    <a:srgbClr val="FFFFFF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  <a:sym typeface="Wingdings" charset="2"/>
              </a:endParaRPr>
            </a:p>
          </p:txBody>
        </p:sp>
        <p:sp>
          <p:nvSpPr>
            <p:cNvPr id="286" name="pole tekstowe 289">
              <a:extLst>
                <a:ext uri="{FF2B5EF4-FFF2-40B4-BE49-F238E27FC236}">
                  <a16:creationId xmlns:a16="http://schemas.microsoft.com/office/drawing/2014/main" id="{45E52A5E-FF89-0C0A-02F3-85DFEB002CC4}"/>
                </a:ext>
              </a:extLst>
            </p:cNvPr>
            <p:cNvSpPr txBox="1"/>
            <p:nvPr>
              <p:custDataLst>
                <p:tags r:id="rId264"/>
              </p:custDataLst>
            </p:nvPr>
          </p:nvSpPr>
          <p:spPr>
            <a:xfrm>
              <a:off x="9691681" y="5141513"/>
              <a:ext cx="341440" cy="107722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700" kern="1200" spc="3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700" b="0" i="0" spc="300" normalizeH="0" noProof="0">
                  <a:solidFill>
                    <a:srgbClr val="FFFFFF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Thailand</a:t>
              </a:r>
            </a:p>
          </p:txBody>
        </p:sp>
        <p:sp>
          <p:nvSpPr>
            <p:cNvPr id="287" name="pole tekstowe 295">
              <a:extLst>
                <a:ext uri="{FF2B5EF4-FFF2-40B4-BE49-F238E27FC236}">
                  <a16:creationId xmlns:a16="http://schemas.microsoft.com/office/drawing/2014/main" id="{5A3DB370-92D9-EEEF-AFE5-65EB919F1BB9}"/>
                </a:ext>
              </a:extLst>
            </p:cNvPr>
            <p:cNvSpPr txBox="1"/>
            <p:nvPr>
              <p:custDataLst>
                <p:tags r:id="rId265"/>
              </p:custDataLst>
            </p:nvPr>
          </p:nvSpPr>
          <p:spPr>
            <a:xfrm>
              <a:off x="10175901" y="4560382"/>
              <a:ext cx="447238" cy="107722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700" kern="1200" spc="3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700" b="0" i="0" spc="300" normalizeH="0" noProof="0">
                  <a:solidFill>
                    <a:srgbClr val="FFFFFF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Hong Kong</a:t>
              </a:r>
            </a:p>
          </p:txBody>
        </p:sp>
        <p:sp>
          <p:nvSpPr>
            <p:cNvPr id="288" name="pole tekstowe 295">
              <a:extLst>
                <a:ext uri="{FF2B5EF4-FFF2-40B4-BE49-F238E27FC236}">
                  <a16:creationId xmlns:a16="http://schemas.microsoft.com/office/drawing/2014/main" id="{D4B8745C-9CEE-BA96-7A45-E951E80A34DE}"/>
                </a:ext>
              </a:extLst>
            </p:cNvPr>
            <p:cNvSpPr txBox="1"/>
            <p:nvPr>
              <p:custDataLst>
                <p:tags r:id="rId266"/>
              </p:custDataLst>
            </p:nvPr>
          </p:nvSpPr>
          <p:spPr>
            <a:xfrm>
              <a:off x="11971033" y="7309635"/>
              <a:ext cx="578534" cy="114930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700" kern="1200" spc="3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</a:lstStyle>
            <a:p>
              <a:pPr marL="0" marR="0" lvl="0" indent="0" algn="l" defTabSz="1462923" rtl="0" eaLnBrk="1" fontAlgn="b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700" b="0" i="0" spc="300" normalizeH="0" noProof="0">
                  <a:solidFill>
                    <a:srgbClr val="FFFFFF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New Zealand</a:t>
              </a:r>
            </a:p>
          </p:txBody>
        </p:sp>
        <p:sp>
          <p:nvSpPr>
            <p:cNvPr id="289" name="Oval 288">
              <a:extLst>
                <a:ext uri="{FF2B5EF4-FFF2-40B4-BE49-F238E27FC236}">
                  <a16:creationId xmlns:a16="http://schemas.microsoft.com/office/drawing/2014/main" id="{97B37734-2037-59EC-60BA-903163B756C1}"/>
                </a:ext>
              </a:extLst>
            </p:cNvPr>
            <p:cNvSpPr/>
            <p:nvPr>
              <p:custDataLst>
                <p:tags r:id="rId267"/>
              </p:custDataLst>
            </p:nvPr>
          </p:nvSpPr>
          <p:spPr>
            <a:xfrm>
              <a:off x="11030879" y="4074309"/>
              <a:ext cx="95905" cy="90949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5486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10972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6459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219456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274320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32918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38404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43891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marL="0" marR="0" lvl="0" indent="0" algn="ctr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cap="none" spc="0" normalizeH="0" baseline="0" noProof="0">
                  <a:solidFill>
                    <a:srgbClr val="FFFFFF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  <a:sym typeface="Wingdings" charset="2"/>
              </a:endParaRPr>
            </a:p>
          </p:txBody>
        </p:sp>
        <p:sp>
          <p:nvSpPr>
            <p:cNvPr id="290" name="pole tekstowe 293">
              <a:extLst>
                <a:ext uri="{FF2B5EF4-FFF2-40B4-BE49-F238E27FC236}">
                  <a16:creationId xmlns:a16="http://schemas.microsoft.com/office/drawing/2014/main" id="{6EB9314E-16BB-3A8C-27FE-20CF0169104B}"/>
                </a:ext>
              </a:extLst>
            </p:cNvPr>
            <p:cNvSpPr txBox="1"/>
            <p:nvPr>
              <p:custDataLst>
                <p:tags r:id="rId268"/>
              </p:custDataLst>
            </p:nvPr>
          </p:nvSpPr>
          <p:spPr>
            <a:xfrm>
              <a:off x="10672858" y="5936201"/>
              <a:ext cx="420594" cy="114930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700" kern="1200" spc="3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700" b="0" i="0" spc="300" normalizeH="0" noProof="0">
                  <a:solidFill>
                    <a:srgbClr val="FFFFFF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Indonesia</a:t>
              </a:r>
            </a:p>
          </p:txBody>
        </p:sp>
        <p:sp>
          <p:nvSpPr>
            <p:cNvPr id="291" name="Oval 290">
              <a:extLst>
                <a:ext uri="{FF2B5EF4-FFF2-40B4-BE49-F238E27FC236}">
                  <a16:creationId xmlns:a16="http://schemas.microsoft.com/office/drawing/2014/main" id="{B91B5E06-4305-2CB9-1BB9-0478D0350579}"/>
                </a:ext>
              </a:extLst>
            </p:cNvPr>
            <p:cNvSpPr/>
            <p:nvPr>
              <p:custDataLst>
                <p:tags r:id="rId269"/>
              </p:custDataLst>
            </p:nvPr>
          </p:nvSpPr>
          <p:spPr>
            <a:xfrm>
              <a:off x="10748839" y="5820471"/>
              <a:ext cx="109728" cy="10772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5486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10972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6459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219456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274320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32918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38404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43891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marL="0" marR="0" lvl="0" indent="0" algn="ctr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cap="none" spc="0" normalizeH="0" baseline="0" noProof="0">
                  <a:solidFill>
                    <a:srgbClr val="FFFFFF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  <a:sym typeface="Wingdings" charset="2"/>
              </a:endParaRPr>
            </a:p>
          </p:txBody>
        </p:sp>
        <p:sp>
          <p:nvSpPr>
            <p:cNvPr id="292" name="TextBox 291">
              <a:extLst>
                <a:ext uri="{FF2B5EF4-FFF2-40B4-BE49-F238E27FC236}">
                  <a16:creationId xmlns:a16="http://schemas.microsoft.com/office/drawing/2014/main" id="{83758637-BB60-187B-AED3-857579469AC7}"/>
                </a:ext>
              </a:extLst>
            </p:cNvPr>
            <p:cNvSpPr txBox="1"/>
            <p:nvPr>
              <p:custDataLst>
                <p:tags r:id="rId270"/>
              </p:custDataLst>
            </p:nvPr>
          </p:nvSpPr>
          <p:spPr>
            <a:xfrm>
              <a:off x="10677899" y="5414573"/>
              <a:ext cx="1293135" cy="2000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</a:lstStyle>
            <a:p>
              <a:pPr marL="0" marR="0" lvl="0" indent="0" algn="l" defTabSz="1462923" rtl="0" eaLnBrk="1" fontAlgn="b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Brunei Darussalam</a:t>
              </a:r>
            </a:p>
          </p:txBody>
        </p:sp>
        <p:sp>
          <p:nvSpPr>
            <p:cNvPr id="293" name="Oval 292">
              <a:extLst>
                <a:ext uri="{FF2B5EF4-FFF2-40B4-BE49-F238E27FC236}">
                  <a16:creationId xmlns:a16="http://schemas.microsoft.com/office/drawing/2014/main" id="{7258A918-63A8-DFCC-75D7-DA0F5D600C2D}"/>
                </a:ext>
              </a:extLst>
            </p:cNvPr>
            <p:cNvSpPr/>
            <p:nvPr>
              <p:custDataLst>
                <p:tags r:id="rId271"/>
              </p:custDataLst>
            </p:nvPr>
          </p:nvSpPr>
          <p:spPr>
            <a:xfrm>
              <a:off x="10624600" y="5383075"/>
              <a:ext cx="108192" cy="9909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5486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10972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6459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219456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274320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32918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38404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43891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marL="0" marR="0" lvl="0" indent="0" algn="ctr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cap="none" spc="0" normalizeH="0" baseline="0" noProof="0">
                  <a:solidFill>
                    <a:srgbClr val="FFFFFF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  <a:sym typeface="Wingdings" charset="2"/>
              </a:endParaRPr>
            </a:p>
          </p:txBody>
        </p:sp>
        <p:sp>
          <p:nvSpPr>
            <p:cNvPr id="294" name="Oval 293">
              <a:extLst>
                <a:ext uri="{FF2B5EF4-FFF2-40B4-BE49-F238E27FC236}">
                  <a16:creationId xmlns:a16="http://schemas.microsoft.com/office/drawing/2014/main" id="{908C236E-75E9-1EE0-3037-E89FB84B0B6E}"/>
                </a:ext>
              </a:extLst>
            </p:cNvPr>
            <p:cNvSpPr/>
            <p:nvPr>
              <p:custDataLst>
                <p:tags r:id="rId272"/>
              </p:custDataLst>
            </p:nvPr>
          </p:nvSpPr>
          <p:spPr>
            <a:xfrm>
              <a:off x="10114431" y="5821879"/>
              <a:ext cx="193666" cy="19366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5486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10972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6459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219456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274320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32918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38404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43891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marL="0" marR="0" lvl="0" indent="0" algn="ctr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cap="none" spc="0" normalizeH="0" baseline="0" noProof="0">
                  <a:solidFill>
                    <a:srgbClr val="FFFFFF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  <a:sym typeface="Wingdings" charset="2"/>
              </a:endParaRPr>
            </a:p>
          </p:txBody>
        </p:sp>
        <p:sp>
          <p:nvSpPr>
            <p:cNvPr id="295" name="pole tekstowe 293">
              <a:extLst>
                <a:ext uri="{FF2B5EF4-FFF2-40B4-BE49-F238E27FC236}">
                  <a16:creationId xmlns:a16="http://schemas.microsoft.com/office/drawing/2014/main" id="{3ADAE067-3B3E-5CA8-BC58-8F0256B6A3CB}"/>
                </a:ext>
              </a:extLst>
            </p:cNvPr>
            <p:cNvSpPr txBox="1"/>
            <p:nvPr>
              <p:custDataLst>
                <p:tags r:id="rId273"/>
              </p:custDataLst>
            </p:nvPr>
          </p:nvSpPr>
          <p:spPr>
            <a:xfrm>
              <a:off x="9674760" y="5690726"/>
              <a:ext cx="436771" cy="114930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700" kern="1200" spc="3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700" b="0" i="0" spc="300" normalizeH="0" noProof="0">
                  <a:solidFill>
                    <a:srgbClr val="FFFFFF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Singapore</a:t>
              </a:r>
            </a:p>
          </p:txBody>
        </p:sp>
        <p:sp>
          <p:nvSpPr>
            <p:cNvPr id="296" name="Oval 295">
              <a:extLst>
                <a:ext uri="{FF2B5EF4-FFF2-40B4-BE49-F238E27FC236}">
                  <a16:creationId xmlns:a16="http://schemas.microsoft.com/office/drawing/2014/main" id="{BABF1903-00D9-1C59-9D12-47B56380FF38}"/>
                </a:ext>
              </a:extLst>
            </p:cNvPr>
            <p:cNvSpPr/>
            <p:nvPr>
              <p:custDataLst>
                <p:tags r:id="rId274"/>
              </p:custDataLst>
            </p:nvPr>
          </p:nvSpPr>
          <p:spPr>
            <a:xfrm>
              <a:off x="11593342" y="6732748"/>
              <a:ext cx="139360" cy="13936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5486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10972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6459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219456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274320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32918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38404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43891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marL="0" marR="0" lvl="0" indent="0" algn="ctr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cap="none" spc="0" normalizeH="0" baseline="0" noProof="0">
                  <a:solidFill>
                    <a:srgbClr val="FFFFFF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  <a:sym typeface="Wingdings" charset="2"/>
              </a:endParaRPr>
            </a:p>
          </p:txBody>
        </p:sp>
        <p:sp>
          <p:nvSpPr>
            <p:cNvPr id="297" name="Oval 296">
              <a:extLst>
                <a:ext uri="{FF2B5EF4-FFF2-40B4-BE49-F238E27FC236}">
                  <a16:creationId xmlns:a16="http://schemas.microsoft.com/office/drawing/2014/main" id="{BEC2C54A-099B-B5E6-A698-2D58C1AED16A}"/>
                </a:ext>
              </a:extLst>
            </p:cNvPr>
            <p:cNvSpPr/>
            <p:nvPr>
              <p:custDataLst>
                <p:tags r:id="rId275"/>
              </p:custDataLst>
            </p:nvPr>
          </p:nvSpPr>
          <p:spPr>
            <a:xfrm>
              <a:off x="10347498" y="4241529"/>
              <a:ext cx="139360" cy="13936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5486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10972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6459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219456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274320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32918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38404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43891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marL="0" marR="0" lvl="0" indent="0" algn="ctr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cap="none" spc="0" normalizeH="0" baseline="0" noProof="0">
                  <a:solidFill>
                    <a:srgbClr val="FFFFFF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  <a:sym typeface="Wingdings" charset="2"/>
              </a:endParaRPr>
            </a:p>
          </p:txBody>
        </p:sp>
        <p:sp>
          <p:nvSpPr>
            <p:cNvPr id="298" name="Oval 297">
              <a:extLst>
                <a:ext uri="{FF2B5EF4-FFF2-40B4-BE49-F238E27FC236}">
                  <a16:creationId xmlns:a16="http://schemas.microsoft.com/office/drawing/2014/main" id="{D1EAA13B-4691-177F-85B4-77574052411D}"/>
                </a:ext>
              </a:extLst>
            </p:cNvPr>
            <p:cNvSpPr/>
            <p:nvPr>
              <p:custDataLst>
                <p:tags r:id="rId276"/>
              </p:custDataLst>
            </p:nvPr>
          </p:nvSpPr>
          <p:spPr>
            <a:xfrm>
              <a:off x="10510323" y="5067854"/>
              <a:ext cx="99670" cy="88473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5486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10972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6459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219456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274320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32918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38404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43891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marL="0" marR="0" lvl="0" indent="0" algn="ctr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cap="none" spc="0" normalizeH="0" baseline="0" noProof="0">
                  <a:solidFill>
                    <a:srgbClr val="FFFFFF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  <a:sym typeface="Wingdings" charset="2"/>
              </a:endParaRPr>
            </a:p>
          </p:txBody>
        </p:sp>
        <p:sp>
          <p:nvSpPr>
            <p:cNvPr id="299" name="Oval 298">
              <a:extLst>
                <a:ext uri="{FF2B5EF4-FFF2-40B4-BE49-F238E27FC236}">
                  <a16:creationId xmlns:a16="http://schemas.microsoft.com/office/drawing/2014/main" id="{6F0637D0-74FA-0CB6-3DD8-B95B3696BD4E}"/>
                </a:ext>
              </a:extLst>
            </p:cNvPr>
            <p:cNvSpPr/>
            <p:nvPr>
              <p:custDataLst>
                <p:tags r:id="rId277"/>
              </p:custDataLst>
            </p:nvPr>
          </p:nvSpPr>
          <p:spPr>
            <a:xfrm>
              <a:off x="10947259" y="4089590"/>
              <a:ext cx="104793" cy="9942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5486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10972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6459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219456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274320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32918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38404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43891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marL="0" marR="0" lvl="0" indent="0" algn="ctr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cap="none" spc="0" normalizeH="0" baseline="0" noProof="0">
                  <a:solidFill>
                    <a:srgbClr val="FFFFFF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  <a:sym typeface="Wingdings" charset="2"/>
              </a:endParaRPr>
            </a:p>
          </p:txBody>
        </p:sp>
        <p:sp>
          <p:nvSpPr>
            <p:cNvPr id="300" name="Oval 299">
              <a:extLst>
                <a:ext uri="{FF2B5EF4-FFF2-40B4-BE49-F238E27FC236}">
                  <a16:creationId xmlns:a16="http://schemas.microsoft.com/office/drawing/2014/main" id="{8F24DF37-547D-54A3-BE3F-F801BFA42E26}"/>
                </a:ext>
              </a:extLst>
            </p:cNvPr>
            <p:cNvSpPr/>
            <p:nvPr>
              <p:custDataLst>
                <p:tags r:id="rId278"/>
              </p:custDataLst>
            </p:nvPr>
          </p:nvSpPr>
          <p:spPr>
            <a:xfrm>
              <a:off x="10458306" y="5285245"/>
              <a:ext cx="127098" cy="124023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5486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10972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6459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219456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274320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32918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38404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43891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marL="0" marR="0" lvl="0" indent="0" algn="ctr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cap="none" spc="0" normalizeH="0" baseline="0" noProof="0">
                  <a:solidFill>
                    <a:srgbClr val="FFFFFF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  <a:sym typeface="Wingdings" charset="2"/>
              </a:endParaRPr>
            </a:p>
          </p:txBody>
        </p:sp>
        <p:sp>
          <p:nvSpPr>
            <p:cNvPr id="301" name="Oval 300">
              <a:extLst>
                <a:ext uri="{FF2B5EF4-FFF2-40B4-BE49-F238E27FC236}">
                  <a16:creationId xmlns:a16="http://schemas.microsoft.com/office/drawing/2014/main" id="{6B0AEB5A-EECD-EBAF-A7A5-EFAAA0953421}"/>
                </a:ext>
              </a:extLst>
            </p:cNvPr>
            <p:cNvSpPr/>
            <p:nvPr>
              <p:custDataLst>
                <p:tags r:id="rId279"/>
              </p:custDataLst>
            </p:nvPr>
          </p:nvSpPr>
          <p:spPr>
            <a:xfrm>
              <a:off x="10618437" y="4695260"/>
              <a:ext cx="94210" cy="97649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5486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10972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6459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219456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274320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32918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38404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43891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marL="0" marR="0" lvl="0" indent="0" algn="ctr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cap="none" spc="0" normalizeH="0" baseline="0" noProof="0">
                  <a:solidFill>
                    <a:srgbClr val="FFFFFF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  <a:sym typeface="Wingdings" charset="2"/>
              </a:endParaRPr>
            </a:p>
          </p:txBody>
        </p:sp>
        <p:sp>
          <p:nvSpPr>
            <p:cNvPr id="302" name="Oval 301">
              <a:extLst>
                <a:ext uri="{FF2B5EF4-FFF2-40B4-BE49-F238E27FC236}">
                  <a16:creationId xmlns:a16="http://schemas.microsoft.com/office/drawing/2014/main" id="{6344770A-7ED7-E219-FB78-E6D0C3348D70}"/>
                </a:ext>
              </a:extLst>
            </p:cNvPr>
            <p:cNvSpPr/>
            <p:nvPr>
              <p:custDataLst>
                <p:tags r:id="rId280"/>
              </p:custDataLst>
            </p:nvPr>
          </p:nvSpPr>
          <p:spPr>
            <a:xfrm>
              <a:off x="12553400" y="7274421"/>
              <a:ext cx="262232" cy="26223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5486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10972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6459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219456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274320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32918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38404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43891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marL="0" marR="0" lvl="0" indent="0" algn="ctr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cap="none" spc="0" normalizeH="0" baseline="0" noProof="0">
                  <a:solidFill>
                    <a:srgbClr val="FFFFFF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  <a:sym typeface="Wingdings" charset="2"/>
              </a:endParaRPr>
            </a:p>
          </p:txBody>
        </p:sp>
        <p:grpSp>
          <p:nvGrpSpPr>
            <p:cNvPr id="303" name="Group 302">
              <a:extLst>
                <a:ext uri="{FF2B5EF4-FFF2-40B4-BE49-F238E27FC236}">
                  <a16:creationId xmlns:a16="http://schemas.microsoft.com/office/drawing/2014/main" id="{43704C1C-6F1C-6B0D-B717-EE508424B728}"/>
                </a:ext>
              </a:extLst>
            </p:cNvPr>
            <p:cNvGrpSpPr/>
            <p:nvPr>
              <p:custDataLst>
                <p:tags r:id="rId281"/>
              </p:custDataLst>
            </p:nvPr>
          </p:nvGrpSpPr>
          <p:grpSpPr>
            <a:xfrm>
              <a:off x="5817358" y="4086595"/>
              <a:ext cx="2944791" cy="3026852"/>
              <a:chOff x="5817358" y="4086593"/>
              <a:chExt cx="2944791" cy="3026852"/>
            </a:xfrm>
          </p:grpSpPr>
          <p:grpSp>
            <p:nvGrpSpPr>
              <p:cNvPr id="304" name="Group 303">
                <a:extLst>
                  <a:ext uri="{FF2B5EF4-FFF2-40B4-BE49-F238E27FC236}">
                    <a16:creationId xmlns:a16="http://schemas.microsoft.com/office/drawing/2014/main" id="{94EEC4F2-CEFE-C274-8F68-3AEA7498B213}"/>
                  </a:ext>
                </a:extLst>
              </p:cNvPr>
              <p:cNvGrpSpPr/>
              <p:nvPr>
                <p:custDataLst>
                  <p:tags r:id="rId305"/>
                </p:custDataLst>
              </p:nvPr>
            </p:nvGrpSpPr>
            <p:grpSpPr>
              <a:xfrm>
                <a:off x="6137205" y="4086593"/>
                <a:ext cx="2624944" cy="3026852"/>
                <a:chOff x="6137205" y="4086593"/>
                <a:chExt cx="2624944" cy="3026852"/>
              </a:xfrm>
            </p:grpSpPr>
            <p:sp>
              <p:nvSpPr>
                <p:cNvPr id="318" name="Freeform: Shape 317">
                  <a:extLst>
                    <a:ext uri="{FF2B5EF4-FFF2-40B4-BE49-F238E27FC236}">
                      <a16:creationId xmlns:a16="http://schemas.microsoft.com/office/drawing/2014/main" id="{A4F28BE6-AA35-1AD7-BD13-E3A7E9212937}"/>
                    </a:ext>
                  </a:extLst>
                </p:cNvPr>
                <p:cNvSpPr/>
                <p:nvPr>
                  <p:custDataLst>
                    <p:tags r:id="rId319"/>
                  </p:custDataLst>
                </p:nvPr>
              </p:nvSpPr>
              <p:spPr>
                <a:xfrm>
                  <a:off x="7153368" y="6349672"/>
                  <a:ext cx="410228" cy="500592"/>
                </a:xfrm>
                <a:custGeom>
                  <a:avLst/>
                  <a:gdLst>
                    <a:gd name="connsiteX0" fmla="*/ 475676 w 479015"/>
                    <a:gd name="connsiteY0" fmla="*/ 27290 h 584532"/>
                    <a:gd name="connsiteX1" fmla="*/ 391525 w 479015"/>
                    <a:gd name="connsiteY1" fmla="*/ 34176 h 584532"/>
                    <a:gd name="connsiteX2" fmla="*/ 329680 w 479015"/>
                    <a:gd name="connsiteY2" fmla="*/ 38835 h 584532"/>
                    <a:gd name="connsiteX3" fmla="*/ 241529 w 479015"/>
                    <a:gd name="connsiteY3" fmla="*/ 38835 h 584532"/>
                    <a:gd name="connsiteX4" fmla="*/ 227510 w 479015"/>
                    <a:gd name="connsiteY4" fmla="*/ 22590 h 584532"/>
                    <a:gd name="connsiteX5" fmla="*/ 89306 w 479015"/>
                    <a:gd name="connsiteY5" fmla="*/ 22590 h 584532"/>
                    <a:gd name="connsiteX6" fmla="*/ 53229 w 479015"/>
                    <a:gd name="connsiteY6" fmla="*/ 11004 h 584532"/>
                    <a:gd name="connsiteX7" fmla="*/ 15174 w 479015"/>
                    <a:gd name="connsiteY7" fmla="*/ 8654 h 584532"/>
                    <a:gd name="connsiteX8" fmla="*/ 1 w 479015"/>
                    <a:gd name="connsiteY8" fmla="*/ -4 h 584532"/>
                    <a:gd name="connsiteX9" fmla="*/ 12370 w 479015"/>
                    <a:gd name="connsiteY9" fmla="*/ 58296 h 584532"/>
                    <a:gd name="connsiteX10" fmla="*/ 26182 w 479015"/>
                    <a:gd name="connsiteY10" fmla="*/ 107772 h 584532"/>
                    <a:gd name="connsiteX11" fmla="*/ 49230 w 479015"/>
                    <a:gd name="connsiteY11" fmla="*/ 152837 h 584532"/>
                    <a:gd name="connsiteX12" fmla="*/ 56981 w 479015"/>
                    <a:gd name="connsiteY12" fmla="*/ 228866 h 584532"/>
                    <a:gd name="connsiteX13" fmla="*/ 72937 w 479015"/>
                    <a:gd name="connsiteY13" fmla="*/ 266839 h 584532"/>
                    <a:gd name="connsiteX14" fmla="*/ 74710 w 479015"/>
                    <a:gd name="connsiteY14" fmla="*/ 345177 h 584532"/>
                    <a:gd name="connsiteX15" fmla="*/ 84853 w 479015"/>
                    <a:gd name="connsiteY15" fmla="*/ 388799 h 584532"/>
                    <a:gd name="connsiteX16" fmla="*/ 89636 w 479015"/>
                    <a:gd name="connsiteY16" fmla="*/ 402446 h 584532"/>
                    <a:gd name="connsiteX17" fmla="*/ 107489 w 479015"/>
                    <a:gd name="connsiteY17" fmla="*/ 479506 h 584532"/>
                    <a:gd name="connsiteX18" fmla="*/ 118992 w 479015"/>
                    <a:gd name="connsiteY18" fmla="*/ 533848 h 584532"/>
                    <a:gd name="connsiteX19" fmla="*/ 124723 w 479015"/>
                    <a:gd name="connsiteY19" fmla="*/ 541311 h 584532"/>
                    <a:gd name="connsiteX20" fmla="*/ 157707 w 479015"/>
                    <a:gd name="connsiteY20" fmla="*/ 565389 h 584532"/>
                    <a:gd name="connsiteX21" fmla="*/ 158326 w 479015"/>
                    <a:gd name="connsiteY21" fmla="*/ 562585 h 584532"/>
                    <a:gd name="connsiteX22" fmla="*/ 180838 w 479015"/>
                    <a:gd name="connsiteY22" fmla="*/ 548897 h 584532"/>
                    <a:gd name="connsiteX23" fmla="*/ 202154 w 479015"/>
                    <a:gd name="connsiteY23" fmla="*/ 581881 h 584532"/>
                    <a:gd name="connsiteX24" fmla="*/ 253114 w 479015"/>
                    <a:gd name="connsiteY24" fmla="*/ 580480 h 584532"/>
                    <a:gd name="connsiteX25" fmla="*/ 279131 w 479015"/>
                    <a:gd name="connsiteY25" fmla="*/ 550299 h 584532"/>
                    <a:gd name="connsiteX26" fmla="*/ 279131 w 479015"/>
                    <a:gd name="connsiteY26" fmla="*/ 244369 h 584532"/>
                    <a:gd name="connsiteX27" fmla="*/ 319413 w 479015"/>
                    <a:gd name="connsiteY27" fmla="*/ 226516 h 584532"/>
                    <a:gd name="connsiteX28" fmla="*/ 319413 w 479015"/>
                    <a:gd name="connsiteY28" fmla="*/ 67449 h 584532"/>
                    <a:gd name="connsiteX29" fmla="*/ 357304 w 479015"/>
                    <a:gd name="connsiteY29" fmla="*/ 61965 h 584532"/>
                    <a:gd name="connsiteX30" fmla="*/ 402328 w 479015"/>
                    <a:gd name="connsiteY30" fmla="*/ 46875 h 584532"/>
                    <a:gd name="connsiteX31" fmla="*/ 423644 w 479015"/>
                    <a:gd name="connsiteY31" fmla="*/ 64686 h 584532"/>
                    <a:gd name="connsiteX32" fmla="*/ 452093 w 479015"/>
                    <a:gd name="connsiteY32" fmla="*/ 44071 h 584532"/>
                    <a:gd name="connsiteX33" fmla="*/ 479016 w 479015"/>
                    <a:gd name="connsiteY33" fmla="*/ 38134 h 584532"/>
                    <a:gd name="connsiteX34" fmla="*/ 475676 w 479015"/>
                    <a:gd name="connsiteY34" fmla="*/ 27290 h 5845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</a:cxnLst>
                  <a:rect l="l" t="t" r="r" b="b"/>
                  <a:pathLst>
                    <a:path w="479015" h="584532">
                      <a:moveTo>
                        <a:pt x="475676" y="27290"/>
                      </a:moveTo>
                      <a:cubicBezTo>
                        <a:pt x="475676" y="15622"/>
                        <a:pt x="403564" y="29558"/>
                        <a:pt x="391525" y="34176"/>
                      </a:cubicBezTo>
                      <a:cubicBezTo>
                        <a:pt x="379486" y="38794"/>
                        <a:pt x="341471" y="45803"/>
                        <a:pt x="329680" y="38835"/>
                      </a:cubicBezTo>
                      <a:cubicBezTo>
                        <a:pt x="317888" y="31867"/>
                        <a:pt x="241529" y="38835"/>
                        <a:pt x="241529" y="38835"/>
                      </a:cubicBezTo>
                      <a:lnTo>
                        <a:pt x="227510" y="22590"/>
                      </a:lnTo>
                      <a:lnTo>
                        <a:pt x="89306" y="22590"/>
                      </a:lnTo>
                      <a:cubicBezTo>
                        <a:pt x="76236" y="23374"/>
                        <a:pt x="63372" y="19251"/>
                        <a:pt x="53229" y="11004"/>
                      </a:cubicBezTo>
                      <a:cubicBezTo>
                        <a:pt x="41190" y="1728"/>
                        <a:pt x="29192" y="1728"/>
                        <a:pt x="15174" y="8654"/>
                      </a:cubicBezTo>
                      <a:cubicBezTo>
                        <a:pt x="2804" y="14839"/>
                        <a:pt x="6062" y="2840"/>
                        <a:pt x="1" y="-4"/>
                      </a:cubicBezTo>
                      <a:cubicBezTo>
                        <a:pt x="5196" y="19168"/>
                        <a:pt x="9319" y="38629"/>
                        <a:pt x="12370" y="58296"/>
                      </a:cubicBezTo>
                      <a:cubicBezTo>
                        <a:pt x="17400" y="74788"/>
                        <a:pt x="19956" y="91775"/>
                        <a:pt x="26182" y="107772"/>
                      </a:cubicBezTo>
                      <a:cubicBezTo>
                        <a:pt x="32408" y="123770"/>
                        <a:pt x="42674" y="137252"/>
                        <a:pt x="49230" y="152837"/>
                      </a:cubicBezTo>
                      <a:cubicBezTo>
                        <a:pt x="59579" y="176998"/>
                        <a:pt x="58012" y="202891"/>
                        <a:pt x="56981" y="228866"/>
                      </a:cubicBezTo>
                      <a:cubicBezTo>
                        <a:pt x="63496" y="240988"/>
                        <a:pt x="68814" y="253728"/>
                        <a:pt x="72937" y="266839"/>
                      </a:cubicBezTo>
                      <a:cubicBezTo>
                        <a:pt x="79452" y="292237"/>
                        <a:pt x="68196" y="328685"/>
                        <a:pt x="74710" y="345177"/>
                      </a:cubicBezTo>
                      <a:cubicBezTo>
                        <a:pt x="79534" y="359319"/>
                        <a:pt x="82956" y="373956"/>
                        <a:pt x="84853" y="388799"/>
                      </a:cubicBezTo>
                      <a:cubicBezTo>
                        <a:pt x="86420" y="393376"/>
                        <a:pt x="87987" y="397952"/>
                        <a:pt x="89636" y="402446"/>
                      </a:cubicBezTo>
                      <a:cubicBezTo>
                        <a:pt x="98954" y="428463"/>
                        <a:pt x="102995" y="452294"/>
                        <a:pt x="107489" y="479506"/>
                      </a:cubicBezTo>
                      <a:cubicBezTo>
                        <a:pt x="109880" y="494060"/>
                        <a:pt x="111323" y="520201"/>
                        <a:pt x="118992" y="533848"/>
                      </a:cubicBezTo>
                      <a:cubicBezTo>
                        <a:pt x="120888" y="536157"/>
                        <a:pt x="122826" y="538631"/>
                        <a:pt x="124723" y="541311"/>
                      </a:cubicBezTo>
                      <a:cubicBezTo>
                        <a:pt x="134082" y="550257"/>
                        <a:pt x="147771" y="555082"/>
                        <a:pt x="157707" y="565389"/>
                      </a:cubicBezTo>
                      <a:cubicBezTo>
                        <a:pt x="158120" y="564523"/>
                        <a:pt x="158326" y="563575"/>
                        <a:pt x="158326" y="562585"/>
                      </a:cubicBezTo>
                      <a:cubicBezTo>
                        <a:pt x="158326" y="553020"/>
                        <a:pt x="172550" y="535167"/>
                        <a:pt x="180838" y="548897"/>
                      </a:cubicBezTo>
                      <a:cubicBezTo>
                        <a:pt x="189125" y="562627"/>
                        <a:pt x="185579" y="581881"/>
                        <a:pt x="202154" y="581881"/>
                      </a:cubicBezTo>
                      <a:cubicBezTo>
                        <a:pt x="218728" y="581881"/>
                        <a:pt x="248373" y="588684"/>
                        <a:pt x="253114" y="580480"/>
                      </a:cubicBezTo>
                      <a:cubicBezTo>
                        <a:pt x="257856" y="572274"/>
                        <a:pt x="279131" y="565389"/>
                        <a:pt x="279131" y="550299"/>
                      </a:cubicBezTo>
                      <a:lnTo>
                        <a:pt x="279131" y="244369"/>
                      </a:lnTo>
                      <a:cubicBezTo>
                        <a:pt x="279131" y="233401"/>
                        <a:pt x="319413" y="244369"/>
                        <a:pt x="319413" y="226516"/>
                      </a:cubicBezTo>
                      <a:lnTo>
                        <a:pt x="319413" y="67449"/>
                      </a:lnTo>
                      <a:cubicBezTo>
                        <a:pt x="319413" y="67449"/>
                        <a:pt x="349016" y="64727"/>
                        <a:pt x="357304" y="61965"/>
                      </a:cubicBezTo>
                      <a:cubicBezTo>
                        <a:pt x="365591" y="59203"/>
                        <a:pt x="395236" y="41350"/>
                        <a:pt x="402328" y="46875"/>
                      </a:cubicBezTo>
                      <a:cubicBezTo>
                        <a:pt x="409419" y="52400"/>
                        <a:pt x="418820" y="71613"/>
                        <a:pt x="423644" y="64686"/>
                      </a:cubicBezTo>
                      <a:cubicBezTo>
                        <a:pt x="428468" y="57760"/>
                        <a:pt x="440136" y="44071"/>
                        <a:pt x="452093" y="44071"/>
                      </a:cubicBezTo>
                      <a:cubicBezTo>
                        <a:pt x="461246" y="43040"/>
                        <a:pt x="470275" y="41061"/>
                        <a:pt x="479016" y="38134"/>
                      </a:cubicBezTo>
                      <a:cubicBezTo>
                        <a:pt x="477120" y="34794"/>
                        <a:pt x="476006" y="31084"/>
                        <a:pt x="475676" y="27290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19" name="Freeform: Shape 318">
                  <a:extLst>
                    <a:ext uri="{FF2B5EF4-FFF2-40B4-BE49-F238E27FC236}">
                      <a16:creationId xmlns:a16="http://schemas.microsoft.com/office/drawing/2014/main" id="{9D415515-21E6-43DF-788D-517DBED16F46}"/>
                    </a:ext>
                  </a:extLst>
                </p:cNvPr>
                <p:cNvSpPr/>
                <p:nvPr>
                  <p:custDataLst>
                    <p:tags r:id="rId320"/>
                  </p:custDataLst>
                </p:nvPr>
              </p:nvSpPr>
              <p:spPr>
                <a:xfrm>
                  <a:off x="7563634" y="6293353"/>
                  <a:ext cx="269879" cy="276863"/>
                </a:xfrm>
                <a:custGeom>
                  <a:avLst/>
                  <a:gdLst>
                    <a:gd name="connsiteX0" fmla="*/ 212296 w 315133"/>
                    <a:gd name="connsiteY0" fmla="*/ 15004 h 323288"/>
                    <a:gd name="connsiteX1" fmla="*/ 206400 w 315133"/>
                    <a:gd name="connsiteY1" fmla="*/ -4 h 323288"/>
                    <a:gd name="connsiteX2" fmla="*/ 172014 w 315133"/>
                    <a:gd name="connsiteY2" fmla="*/ 1315 h 323288"/>
                    <a:gd name="connsiteX3" fmla="*/ 149543 w 315133"/>
                    <a:gd name="connsiteY3" fmla="*/ 24652 h 323288"/>
                    <a:gd name="connsiteX4" fmla="*/ 112766 w 315133"/>
                    <a:gd name="connsiteY4" fmla="*/ 57636 h 323288"/>
                    <a:gd name="connsiteX5" fmla="*/ 71535 w 315133"/>
                    <a:gd name="connsiteY5" fmla="*/ 109752 h 323288"/>
                    <a:gd name="connsiteX6" fmla="*/ 20616 w 315133"/>
                    <a:gd name="connsiteY6" fmla="*/ 100145 h 323288"/>
                    <a:gd name="connsiteX7" fmla="*/ 1 w 315133"/>
                    <a:gd name="connsiteY7" fmla="*/ 103814 h 323288"/>
                    <a:gd name="connsiteX8" fmla="*/ 22842 w 315133"/>
                    <a:gd name="connsiteY8" fmla="*/ 130161 h 323288"/>
                    <a:gd name="connsiteX9" fmla="*/ 44859 w 315133"/>
                    <a:gd name="connsiteY9" fmla="*/ 185904 h 323288"/>
                    <a:gd name="connsiteX10" fmla="*/ 84894 w 315133"/>
                    <a:gd name="connsiteY10" fmla="*/ 218353 h 323288"/>
                    <a:gd name="connsiteX11" fmla="*/ 100974 w 315133"/>
                    <a:gd name="connsiteY11" fmla="*/ 253151 h 323288"/>
                    <a:gd name="connsiteX12" fmla="*/ 128970 w 315133"/>
                    <a:gd name="connsiteY12" fmla="*/ 285641 h 323288"/>
                    <a:gd name="connsiteX13" fmla="*/ 157254 w 315133"/>
                    <a:gd name="connsiteY13" fmla="*/ 305225 h 323288"/>
                    <a:gd name="connsiteX14" fmla="*/ 195433 w 315133"/>
                    <a:gd name="connsiteY14" fmla="*/ 313471 h 323288"/>
                    <a:gd name="connsiteX15" fmla="*/ 240992 w 315133"/>
                    <a:gd name="connsiteY15" fmla="*/ 323284 h 323288"/>
                    <a:gd name="connsiteX16" fmla="*/ 281605 w 315133"/>
                    <a:gd name="connsiteY16" fmla="*/ 276405 h 323288"/>
                    <a:gd name="connsiteX17" fmla="*/ 292283 w 315133"/>
                    <a:gd name="connsiteY17" fmla="*/ 231051 h 323288"/>
                    <a:gd name="connsiteX18" fmla="*/ 313599 w 315133"/>
                    <a:gd name="connsiteY18" fmla="*/ 196047 h 323288"/>
                    <a:gd name="connsiteX19" fmla="*/ 301230 w 315133"/>
                    <a:gd name="connsiteY19" fmla="*/ 161083 h 323288"/>
                    <a:gd name="connsiteX20" fmla="*/ 311909 w 315133"/>
                    <a:gd name="connsiteY20" fmla="*/ 119853 h 323288"/>
                    <a:gd name="connsiteX21" fmla="*/ 310136 w 315133"/>
                    <a:gd name="connsiteY21" fmla="*/ 47824 h 323288"/>
                    <a:gd name="connsiteX22" fmla="*/ 263958 w 315133"/>
                    <a:gd name="connsiteY22" fmla="*/ 29311 h 323288"/>
                    <a:gd name="connsiteX23" fmla="*/ 212296 w 315133"/>
                    <a:gd name="connsiteY23" fmla="*/ 15004 h 3232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315133" h="323288">
                      <a:moveTo>
                        <a:pt x="212296" y="15004"/>
                      </a:moveTo>
                      <a:lnTo>
                        <a:pt x="206400" y="-4"/>
                      </a:lnTo>
                      <a:lnTo>
                        <a:pt x="172014" y="1315"/>
                      </a:lnTo>
                      <a:cubicBezTo>
                        <a:pt x="149543" y="8160"/>
                        <a:pt x="149543" y="16406"/>
                        <a:pt x="149543" y="24652"/>
                      </a:cubicBezTo>
                      <a:cubicBezTo>
                        <a:pt x="149543" y="32898"/>
                        <a:pt x="128186" y="52029"/>
                        <a:pt x="112766" y="57636"/>
                      </a:cubicBezTo>
                      <a:cubicBezTo>
                        <a:pt x="97346" y="63244"/>
                        <a:pt x="80812" y="104309"/>
                        <a:pt x="71535" y="109752"/>
                      </a:cubicBezTo>
                      <a:cubicBezTo>
                        <a:pt x="62258" y="115194"/>
                        <a:pt x="30305" y="101506"/>
                        <a:pt x="20616" y="100145"/>
                      </a:cubicBezTo>
                      <a:cubicBezTo>
                        <a:pt x="13607" y="100227"/>
                        <a:pt x="6639" y="101464"/>
                        <a:pt x="1" y="103814"/>
                      </a:cubicBezTo>
                      <a:cubicBezTo>
                        <a:pt x="5937" y="115854"/>
                        <a:pt x="18307" y="130161"/>
                        <a:pt x="22842" y="130161"/>
                      </a:cubicBezTo>
                      <a:cubicBezTo>
                        <a:pt x="28821" y="130161"/>
                        <a:pt x="30800" y="178936"/>
                        <a:pt x="44859" y="185904"/>
                      </a:cubicBezTo>
                      <a:cubicBezTo>
                        <a:pt x="58919" y="192872"/>
                        <a:pt x="84894" y="209076"/>
                        <a:pt x="84894" y="218353"/>
                      </a:cubicBezTo>
                      <a:cubicBezTo>
                        <a:pt x="84894" y="227630"/>
                        <a:pt x="100974" y="239215"/>
                        <a:pt x="100974" y="253151"/>
                      </a:cubicBezTo>
                      <a:cubicBezTo>
                        <a:pt x="100974" y="267087"/>
                        <a:pt x="116806" y="286135"/>
                        <a:pt x="128970" y="285641"/>
                      </a:cubicBezTo>
                      <a:cubicBezTo>
                        <a:pt x="154573" y="284651"/>
                        <a:pt x="157254" y="296979"/>
                        <a:pt x="157254" y="305225"/>
                      </a:cubicBezTo>
                      <a:cubicBezTo>
                        <a:pt x="157254" y="313471"/>
                        <a:pt x="191021" y="305225"/>
                        <a:pt x="195433" y="313471"/>
                      </a:cubicBezTo>
                      <a:cubicBezTo>
                        <a:pt x="199556" y="321058"/>
                        <a:pt x="232870" y="318213"/>
                        <a:pt x="240992" y="323284"/>
                      </a:cubicBezTo>
                      <a:cubicBezTo>
                        <a:pt x="254887" y="307617"/>
                        <a:pt x="274802" y="287001"/>
                        <a:pt x="281605" y="276405"/>
                      </a:cubicBezTo>
                      <a:cubicBezTo>
                        <a:pt x="292283" y="259913"/>
                        <a:pt x="283377" y="237319"/>
                        <a:pt x="292283" y="231051"/>
                      </a:cubicBezTo>
                      <a:cubicBezTo>
                        <a:pt x="301189" y="224784"/>
                        <a:pt x="320732" y="198067"/>
                        <a:pt x="313599" y="196047"/>
                      </a:cubicBezTo>
                      <a:cubicBezTo>
                        <a:pt x="306466" y="194027"/>
                        <a:pt x="311827" y="173411"/>
                        <a:pt x="301230" y="161083"/>
                      </a:cubicBezTo>
                      <a:cubicBezTo>
                        <a:pt x="290634" y="148756"/>
                        <a:pt x="313599" y="142571"/>
                        <a:pt x="311909" y="119853"/>
                      </a:cubicBezTo>
                      <a:cubicBezTo>
                        <a:pt x="310218" y="97135"/>
                        <a:pt x="315455" y="51905"/>
                        <a:pt x="310136" y="47824"/>
                      </a:cubicBezTo>
                      <a:cubicBezTo>
                        <a:pt x="304817" y="43742"/>
                        <a:pt x="279914" y="41639"/>
                        <a:pt x="263958" y="29311"/>
                      </a:cubicBezTo>
                      <a:cubicBezTo>
                        <a:pt x="248002" y="16983"/>
                        <a:pt x="212296" y="15004"/>
                        <a:pt x="212296" y="15004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20" name="Freeform: Shape 319">
                  <a:extLst>
                    <a:ext uri="{FF2B5EF4-FFF2-40B4-BE49-F238E27FC236}">
                      <a16:creationId xmlns:a16="http://schemas.microsoft.com/office/drawing/2014/main" id="{DA6E17DF-492A-848B-45B6-7652AC05F6F4}"/>
                    </a:ext>
                  </a:extLst>
                </p:cNvPr>
                <p:cNvSpPr/>
                <p:nvPr>
                  <p:custDataLst>
                    <p:tags r:id="rId321"/>
                  </p:custDataLst>
                </p:nvPr>
              </p:nvSpPr>
              <p:spPr>
                <a:xfrm>
                  <a:off x="7392310" y="6382367"/>
                  <a:ext cx="305783" cy="380071"/>
                </a:xfrm>
                <a:custGeom>
                  <a:avLst/>
                  <a:gdLst>
                    <a:gd name="connsiteX0" fmla="*/ 328855 w 357057"/>
                    <a:gd name="connsiteY0" fmla="*/ 181822 h 443801"/>
                    <a:gd name="connsiteX1" fmla="*/ 300859 w 357057"/>
                    <a:gd name="connsiteY1" fmla="*/ 149332 h 443801"/>
                    <a:gd name="connsiteX2" fmla="*/ 284780 w 357057"/>
                    <a:gd name="connsiteY2" fmla="*/ 114534 h 443801"/>
                    <a:gd name="connsiteX3" fmla="*/ 244744 w 357057"/>
                    <a:gd name="connsiteY3" fmla="*/ 82086 h 443801"/>
                    <a:gd name="connsiteX4" fmla="*/ 222728 w 357057"/>
                    <a:gd name="connsiteY4" fmla="*/ 26342 h 443801"/>
                    <a:gd name="connsiteX5" fmla="*/ 199886 w 357057"/>
                    <a:gd name="connsiteY5" fmla="*/ -4 h 443801"/>
                    <a:gd name="connsiteX6" fmla="*/ 172962 w 357057"/>
                    <a:gd name="connsiteY6" fmla="*/ 5933 h 443801"/>
                    <a:gd name="connsiteX7" fmla="*/ 144513 w 357057"/>
                    <a:gd name="connsiteY7" fmla="*/ 26548 h 443801"/>
                    <a:gd name="connsiteX8" fmla="*/ 123197 w 357057"/>
                    <a:gd name="connsiteY8" fmla="*/ 8737 h 443801"/>
                    <a:gd name="connsiteX9" fmla="*/ 78173 w 357057"/>
                    <a:gd name="connsiteY9" fmla="*/ 23827 h 443801"/>
                    <a:gd name="connsiteX10" fmla="*/ 40283 w 357057"/>
                    <a:gd name="connsiteY10" fmla="*/ 29311 h 443801"/>
                    <a:gd name="connsiteX11" fmla="*/ 40283 w 357057"/>
                    <a:gd name="connsiteY11" fmla="*/ 188419 h 443801"/>
                    <a:gd name="connsiteX12" fmla="*/ 1 w 357057"/>
                    <a:gd name="connsiteY12" fmla="*/ 206272 h 443801"/>
                    <a:gd name="connsiteX13" fmla="*/ 1 w 357057"/>
                    <a:gd name="connsiteY13" fmla="*/ 342621 h 443801"/>
                    <a:gd name="connsiteX14" fmla="*/ 18966 w 357057"/>
                    <a:gd name="connsiteY14" fmla="*/ 357093 h 443801"/>
                    <a:gd name="connsiteX15" fmla="*/ 31995 w 357057"/>
                    <a:gd name="connsiteY15" fmla="*/ 409208 h 443801"/>
                    <a:gd name="connsiteX16" fmla="*/ 23749 w 357057"/>
                    <a:gd name="connsiteY16" fmla="*/ 420216 h 443801"/>
                    <a:gd name="connsiteX17" fmla="*/ 30882 w 357057"/>
                    <a:gd name="connsiteY17" fmla="*/ 440832 h 443801"/>
                    <a:gd name="connsiteX18" fmla="*/ 71123 w 357057"/>
                    <a:gd name="connsiteY18" fmla="*/ 438069 h 443801"/>
                    <a:gd name="connsiteX19" fmla="*/ 107860 w 357057"/>
                    <a:gd name="connsiteY19" fmla="*/ 390077 h 443801"/>
                    <a:gd name="connsiteX20" fmla="*/ 135072 w 357057"/>
                    <a:gd name="connsiteY20" fmla="*/ 365339 h 443801"/>
                    <a:gd name="connsiteX21" fmla="*/ 182487 w 357057"/>
                    <a:gd name="connsiteY21" fmla="*/ 383191 h 443801"/>
                    <a:gd name="connsiteX22" fmla="*/ 220377 w 357057"/>
                    <a:gd name="connsiteY22" fmla="*/ 362576 h 443801"/>
                    <a:gd name="connsiteX23" fmla="*/ 235798 w 357057"/>
                    <a:gd name="connsiteY23" fmla="*/ 328273 h 443801"/>
                    <a:gd name="connsiteX24" fmla="*/ 270101 w 357057"/>
                    <a:gd name="connsiteY24" fmla="*/ 299411 h 443801"/>
                    <a:gd name="connsiteX25" fmla="*/ 286593 w 357057"/>
                    <a:gd name="connsiteY25" fmla="*/ 267870 h 443801"/>
                    <a:gd name="connsiteX26" fmla="*/ 318588 w 357057"/>
                    <a:gd name="connsiteY26" fmla="*/ 240410 h 443801"/>
                    <a:gd name="connsiteX27" fmla="*/ 343327 w 357057"/>
                    <a:gd name="connsiteY27" fmla="*/ 223918 h 443801"/>
                    <a:gd name="connsiteX28" fmla="*/ 357056 w 357057"/>
                    <a:gd name="connsiteY28" fmla="*/ 201530 h 443801"/>
                    <a:gd name="connsiteX29" fmla="*/ 357056 w 357057"/>
                    <a:gd name="connsiteY29" fmla="*/ 201530 h 443801"/>
                    <a:gd name="connsiteX30" fmla="*/ 328855 w 357057"/>
                    <a:gd name="connsiteY30" fmla="*/ 181822 h 4438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357057" h="443801">
                      <a:moveTo>
                        <a:pt x="328855" y="181822"/>
                      </a:moveTo>
                      <a:cubicBezTo>
                        <a:pt x="316486" y="182275"/>
                        <a:pt x="300859" y="163268"/>
                        <a:pt x="300859" y="149332"/>
                      </a:cubicBezTo>
                      <a:cubicBezTo>
                        <a:pt x="300859" y="135396"/>
                        <a:pt x="284780" y="123852"/>
                        <a:pt x="284780" y="114534"/>
                      </a:cubicBezTo>
                      <a:cubicBezTo>
                        <a:pt x="284780" y="105216"/>
                        <a:pt x="258763" y="89012"/>
                        <a:pt x="244744" y="82086"/>
                      </a:cubicBezTo>
                      <a:cubicBezTo>
                        <a:pt x="230726" y="75159"/>
                        <a:pt x="228706" y="26342"/>
                        <a:pt x="222728" y="26342"/>
                      </a:cubicBezTo>
                      <a:cubicBezTo>
                        <a:pt x="218192" y="26342"/>
                        <a:pt x="205823" y="12035"/>
                        <a:pt x="199886" y="-4"/>
                      </a:cubicBezTo>
                      <a:cubicBezTo>
                        <a:pt x="191145" y="2923"/>
                        <a:pt x="182116" y="4902"/>
                        <a:pt x="172962" y="5933"/>
                      </a:cubicBezTo>
                      <a:cubicBezTo>
                        <a:pt x="161129" y="5933"/>
                        <a:pt x="149255" y="19663"/>
                        <a:pt x="144513" y="26548"/>
                      </a:cubicBezTo>
                      <a:cubicBezTo>
                        <a:pt x="139772" y="33434"/>
                        <a:pt x="130330" y="14179"/>
                        <a:pt x="123197" y="8737"/>
                      </a:cubicBezTo>
                      <a:cubicBezTo>
                        <a:pt x="116064" y="3294"/>
                        <a:pt x="86502" y="21106"/>
                        <a:pt x="78173" y="23827"/>
                      </a:cubicBezTo>
                      <a:cubicBezTo>
                        <a:pt x="69845" y="26548"/>
                        <a:pt x="40283" y="29311"/>
                        <a:pt x="40283" y="29311"/>
                      </a:cubicBezTo>
                      <a:lnTo>
                        <a:pt x="40283" y="188419"/>
                      </a:lnTo>
                      <a:cubicBezTo>
                        <a:pt x="40283" y="206272"/>
                        <a:pt x="1" y="195304"/>
                        <a:pt x="1" y="206272"/>
                      </a:cubicBezTo>
                      <a:lnTo>
                        <a:pt x="1" y="342621"/>
                      </a:lnTo>
                      <a:cubicBezTo>
                        <a:pt x="8700" y="346290"/>
                        <a:pt x="16946" y="351155"/>
                        <a:pt x="18966" y="357093"/>
                      </a:cubicBezTo>
                      <a:cubicBezTo>
                        <a:pt x="23708" y="370822"/>
                        <a:pt x="34387" y="401003"/>
                        <a:pt x="31995" y="409208"/>
                      </a:cubicBezTo>
                      <a:cubicBezTo>
                        <a:pt x="29604" y="417413"/>
                        <a:pt x="23749" y="411970"/>
                        <a:pt x="23749" y="420216"/>
                      </a:cubicBezTo>
                      <a:cubicBezTo>
                        <a:pt x="23749" y="428462"/>
                        <a:pt x="19008" y="440832"/>
                        <a:pt x="30882" y="440832"/>
                      </a:cubicBezTo>
                      <a:cubicBezTo>
                        <a:pt x="42756" y="440832"/>
                        <a:pt x="62836" y="449078"/>
                        <a:pt x="71123" y="438069"/>
                      </a:cubicBezTo>
                      <a:cubicBezTo>
                        <a:pt x="79410" y="427061"/>
                        <a:pt x="106664" y="402405"/>
                        <a:pt x="107860" y="390077"/>
                      </a:cubicBezTo>
                      <a:cubicBezTo>
                        <a:pt x="109055" y="377749"/>
                        <a:pt x="114951" y="350290"/>
                        <a:pt x="135072" y="365339"/>
                      </a:cubicBezTo>
                      <a:cubicBezTo>
                        <a:pt x="155192" y="380388"/>
                        <a:pt x="156429" y="383191"/>
                        <a:pt x="182487" y="383191"/>
                      </a:cubicBezTo>
                      <a:cubicBezTo>
                        <a:pt x="208544" y="383191"/>
                        <a:pt x="215471" y="381790"/>
                        <a:pt x="220377" y="362576"/>
                      </a:cubicBezTo>
                      <a:cubicBezTo>
                        <a:pt x="225284" y="343363"/>
                        <a:pt x="220377" y="328273"/>
                        <a:pt x="235798" y="328273"/>
                      </a:cubicBezTo>
                      <a:cubicBezTo>
                        <a:pt x="251218" y="328273"/>
                        <a:pt x="270101" y="311781"/>
                        <a:pt x="270101" y="299411"/>
                      </a:cubicBezTo>
                      <a:cubicBezTo>
                        <a:pt x="270101" y="287042"/>
                        <a:pt x="277234" y="267870"/>
                        <a:pt x="286593" y="267870"/>
                      </a:cubicBezTo>
                      <a:cubicBezTo>
                        <a:pt x="295953" y="267870"/>
                        <a:pt x="316156" y="254140"/>
                        <a:pt x="318588" y="240410"/>
                      </a:cubicBezTo>
                      <a:cubicBezTo>
                        <a:pt x="321021" y="226681"/>
                        <a:pt x="337513" y="232164"/>
                        <a:pt x="343327" y="223918"/>
                      </a:cubicBezTo>
                      <a:cubicBezTo>
                        <a:pt x="346213" y="219795"/>
                        <a:pt x="351985" y="210312"/>
                        <a:pt x="357056" y="201530"/>
                      </a:cubicBezTo>
                      <a:cubicBezTo>
                        <a:pt x="357056" y="201530"/>
                        <a:pt x="357056" y="201530"/>
                        <a:pt x="357056" y="201530"/>
                      </a:cubicBezTo>
                      <a:cubicBezTo>
                        <a:pt x="357139" y="192954"/>
                        <a:pt x="354624" y="180626"/>
                        <a:pt x="328855" y="181822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21" name="Freeform: Shape 320">
                  <a:extLst>
                    <a:ext uri="{FF2B5EF4-FFF2-40B4-BE49-F238E27FC236}">
                      <a16:creationId xmlns:a16="http://schemas.microsoft.com/office/drawing/2014/main" id="{35BD94E8-337B-597F-E688-E0E9E30D62A5}"/>
                    </a:ext>
                  </a:extLst>
                </p:cNvPr>
                <p:cNvSpPr/>
                <p:nvPr>
                  <p:custDataLst>
                    <p:tags r:id="rId322"/>
                  </p:custDataLst>
                </p:nvPr>
              </p:nvSpPr>
              <p:spPr>
                <a:xfrm>
                  <a:off x="7752824" y="6713504"/>
                  <a:ext cx="46079" cy="65741"/>
                </a:xfrm>
                <a:custGeom>
                  <a:avLst/>
                  <a:gdLst>
                    <a:gd name="connsiteX0" fmla="*/ 27213 w 53805"/>
                    <a:gd name="connsiteY0" fmla="*/ -4 h 76764"/>
                    <a:gd name="connsiteX1" fmla="*/ 1 w 53805"/>
                    <a:gd name="connsiteY1" fmla="*/ 33434 h 76764"/>
                    <a:gd name="connsiteX2" fmla="*/ 24739 w 53805"/>
                    <a:gd name="connsiteY2" fmla="*/ 76478 h 76764"/>
                    <a:gd name="connsiteX3" fmla="*/ 47045 w 53805"/>
                    <a:gd name="connsiteY3" fmla="*/ 65923 h 76764"/>
                    <a:gd name="connsiteX4" fmla="*/ 53806 w 53805"/>
                    <a:gd name="connsiteY4" fmla="*/ 53554 h 76764"/>
                    <a:gd name="connsiteX5" fmla="*/ 50054 w 53805"/>
                    <a:gd name="connsiteY5" fmla="*/ 13602 h 76764"/>
                    <a:gd name="connsiteX6" fmla="*/ 27213 w 53805"/>
                    <a:gd name="connsiteY6" fmla="*/ -4 h 767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3805" h="76764">
                      <a:moveTo>
                        <a:pt x="27213" y="-4"/>
                      </a:moveTo>
                      <a:cubicBezTo>
                        <a:pt x="17318" y="-4"/>
                        <a:pt x="1" y="27703"/>
                        <a:pt x="1" y="33434"/>
                      </a:cubicBezTo>
                      <a:cubicBezTo>
                        <a:pt x="1" y="39165"/>
                        <a:pt x="12370" y="75530"/>
                        <a:pt x="24739" y="76478"/>
                      </a:cubicBezTo>
                      <a:cubicBezTo>
                        <a:pt x="37108" y="77426"/>
                        <a:pt x="46220" y="76478"/>
                        <a:pt x="47045" y="65923"/>
                      </a:cubicBezTo>
                      <a:cubicBezTo>
                        <a:pt x="47704" y="61099"/>
                        <a:pt x="50096" y="56688"/>
                        <a:pt x="53806" y="53554"/>
                      </a:cubicBezTo>
                      <a:cubicBezTo>
                        <a:pt x="52817" y="44524"/>
                        <a:pt x="50797" y="25229"/>
                        <a:pt x="50054" y="13602"/>
                      </a:cubicBezTo>
                      <a:cubicBezTo>
                        <a:pt x="42798" y="7953"/>
                        <a:pt x="33645" y="-4"/>
                        <a:pt x="27213" y="-4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22" name="Freeform: Shape 321">
                  <a:extLst>
                    <a:ext uri="{FF2B5EF4-FFF2-40B4-BE49-F238E27FC236}">
                      <a16:creationId xmlns:a16="http://schemas.microsoft.com/office/drawing/2014/main" id="{D69C02AD-3275-D0DA-97A6-1CEB7879E1B3}"/>
                    </a:ext>
                  </a:extLst>
                </p:cNvPr>
                <p:cNvSpPr/>
                <p:nvPr>
                  <p:custDataLst>
                    <p:tags r:id="rId323"/>
                  </p:custDataLst>
                </p:nvPr>
              </p:nvSpPr>
              <p:spPr>
                <a:xfrm>
                  <a:off x="7628672" y="6833281"/>
                  <a:ext cx="77045" cy="89784"/>
                </a:xfrm>
                <a:custGeom>
                  <a:avLst/>
                  <a:gdLst>
                    <a:gd name="connsiteX0" fmla="*/ 63990 w 89964"/>
                    <a:gd name="connsiteY0" fmla="*/ 3285 h 104839"/>
                    <a:gd name="connsiteX1" fmla="*/ 23708 w 89964"/>
                    <a:gd name="connsiteY1" fmla="*/ 22457 h 104839"/>
                    <a:gd name="connsiteX2" fmla="*/ 1 w 89964"/>
                    <a:gd name="connsiteY2" fmla="*/ 63688 h 104839"/>
                    <a:gd name="connsiteX3" fmla="*/ 23708 w 89964"/>
                    <a:gd name="connsiteY3" fmla="*/ 102114 h 104839"/>
                    <a:gd name="connsiteX4" fmla="*/ 40200 w 89964"/>
                    <a:gd name="connsiteY4" fmla="*/ 104835 h 104839"/>
                    <a:gd name="connsiteX5" fmla="*/ 49724 w 89964"/>
                    <a:gd name="connsiteY5" fmla="*/ 80097 h 104839"/>
                    <a:gd name="connsiteX6" fmla="*/ 75782 w 89964"/>
                    <a:gd name="connsiteY6" fmla="*/ 71851 h 104839"/>
                    <a:gd name="connsiteX7" fmla="*/ 89965 w 89964"/>
                    <a:gd name="connsiteY7" fmla="*/ 38867 h 104839"/>
                    <a:gd name="connsiteX8" fmla="*/ 63990 w 89964"/>
                    <a:gd name="connsiteY8" fmla="*/ 3285 h 1048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89964" h="104839">
                      <a:moveTo>
                        <a:pt x="63990" y="3285"/>
                      </a:moveTo>
                      <a:cubicBezTo>
                        <a:pt x="59207" y="-7724"/>
                        <a:pt x="28449" y="11531"/>
                        <a:pt x="23708" y="22457"/>
                      </a:cubicBezTo>
                      <a:cubicBezTo>
                        <a:pt x="18966" y="33383"/>
                        <a:pt x="1" y="63688"/>
                        <a:pt x="1" y="63688"/>
                      </a:cubicBezTo>
                      <a:lnTo>
                        <a:pt x="23708" y="102114"/>
                      </a:lnTo>
                      <a:lnTo>
                        <a:pt x="40200" y="104835"/>
                      </a:lnTo>
                      <a:cubicBezTo>
                        <a:pt x="40200" y="104835"/>
                        <a:pt x="44983" y="91147"/>
                        <a:pt x="49724" y="80097"/>
                      </a:cubicBezTo>
                      <a:cubicBezTo>
                        <a:pt x="54466" y="69047"/>
                        <a:pt x="75782" y="82901"/>
                        <a:pt x="75782" y="71851"/>
                      </a:cubicBezTo>
                      <a:cubicBezTo>
                        <a:pt x="75782" y="60801"/>
                        <a:pt x="89965" y="49916"/>
                        <a:pt x="89965" y="38867"/>
                      </a:cubicBezTo>
                      <a:cubicBezTo>
                        <a:pt x="89965" y="27817"/>
                        <a:pt x="68690" y="14211"/>
                        <a:pt x="63990" y="3285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23" name="Freeform: Shape 322">
                  <a:extLst>
                    <a:ext uri="{FF2B5EF4-FFF2-40B4-BE49-F238E27FC236}">
                      <a16:creationId xmlns:a16="http://schemas.microsoft.com/office/drawing/2014/main" id="{5B774552-FB8E-223C-3B62-5CB8B8FBEEC4}"/>
                    </a:ext>
                  </a:extLst>
                </p:cNvPr>
                <p:cNvSpPr/>
                <p:nvPr>
                  <p:custDataLst>
                    <p:tags r:id="rId324"/>
                  </p:custDataLst>
                </p:nvPr>
              </p:nvSpPr>
              <p:spPr>
                <a:xfrm>
                  <a:off x="7288785" y="6554749"/>
                  <a:ext cx="536142" cy="558696"/>
                </a:xfrm>
                <a:custGeom>
                  <a:avLst/>
                  <a:gdLst>
                    <a:gd name="connsiteX0" fmla="*/ 551870 w 626043"/>
                    <a:gd name="connsiteY0" fmla="*/ 348352 h 652379"/>
                    <a:gd name="connsiteX1" fmla="*/ 589843 w 626043"/>
                    <a:gd name="connsiteY1" fmla="*/ 303700 h 652379"/>
                    <a:gd name="connsiteX2" fmla="*/ 590297 w 626043"/>
                    <a:gd name="connsiteY2" fmla="*/ 302586 h 652379"/>
                    <a:gd name="connsiteX3" fmla="*/ 600027 w 626043"/>
                    <a:gd name="connsiteY3" fmla="*/ 273271 h 652379"/>
                    <a:gd name="connsiteX4" fmla="*/ 625714 w 626043"/>
                    <a:gd name="connsiteY4" fmla="*/ 244122 h 652379"/>
                    <a:gd name="connsiteX5" fmla="*/ 626044 w 626043"/>
                    <a:gd name="connsiteY5" fmla="*/ 241153 h 652379"/>
                    <a:gd name="connsiteX6" fmla="*/ 596193 w 626043"/>
                    <a:gd name="connsiteY6" fmla="*/ 243750 h 652379"/>
                    <a:gd name="connsiteX7" fmla="*/ 595657 w 626043"/>
                    <a:gd name="connsiteY7" fmla="*/ 238927 h 652379"/>
                    <a:gd name="connsiteX8" fmla="*/ 588895 w 626043"/>
                    <a:gd name="connsiteY8" fmla="*/ 251296 h 652379"/>
                    <a:gd name="connsiteX9" fmla="*/ 566589 w 626043"/>
                    <a:gd name="connsiteY9" fmla="*/ 261850 h 652379"/>
                    <a:gd name="connsiteX10" fmla="*/ 541851 w 626043"/>
                    <a:gd name="connsiteY10" fmla="*/ 218806 h 652379"/>
                    <a:gd name="connsiteX11" fmla="*/ 569063 w 626043"/>
                    <a:gd name="connsiteY11" fmla="*/ 185368 h 652379"/>
                    <a:gd name="connsiteX12" fmla="*/ 591905 w 626043"/>
                    <a:gd name="connsiteY12" fmla="*/ 198974 h 652379"/>
                    <a:gd name="connsiteX13" fmla="*/ 591905 w 626043"/>
                    <a:gd name="connsiteY13" fmla="*/ 190274 h 652379"/>
                    <a:gd name="connsiteX14" fmla="*/ 588359 w 626043"/>
                    <a:gd name="connsiteY14" fmla="*/ 105876 h 652379"/>
                    <a:gd name="connsiteX15" fmla="*/ 563621 w 626043"/>
                    <a:gd name="connsiteY15" fmla="*/ 19292 h 652379"/>
                    <a:gd name="connsiteX16" fmla="*/ 516535 w 626043"/>
                    <a:gd name="connsiteY16" fmla="*/ 7995 h 652379"/>
                    <a:gd name="connsiteX17" fmla="*/ 478480 w 626043"/>
                    <a:gd name="connsiteY17" fmla="*/ -4 h 652379"/>
                    <a:gd name="connsiteX18" fmla="*/ 464750 w 626043"/>
                    <a:gd name="connsiteY18" fmla="*/ 22384 h 652379"/>
                    <a:gd name="connsiteX19" fmla="*/ 440012 w 626043"/>
                    <a:gd name="connsiteY19" fmla="*/ 38876 h 652379"/>
                    <a:gd name="connsiteX20" fmla="*/ 408017 w 626043"/>
                    <a:gd name="connsiteY20" fmla="*/ 66336 h 652379"/>
                    <a:gd name="connsiteX21" fmla="*/ 391525 w 626043"/>
                    <a:gd name="connsiteY21" fmla="*/ 97877 h 652379"/>
                    <a:gd name="connsiteX22" fmla="*/ 357221 w 626043"/>
                    <a:gd name="connsiteY22" fmla="*/ 126738 h 652379"/>
                    <a:gd name="connsiteX23" fmla="*/ 341801 w 626043"/>
                    <a:gd name="connsiteY23" fmla="*/ 161042 h 652379"/>
                    <a:gd name="connsiteX24" fmla="*/ 303910 w 626043"/>
                    <a:gd name="connsiteY24" fmla="*/ 181657 h 652379"/>
                    <a:gd name="connsiteX25" fmla="*/ 256495 w 626043"/>
                    <a:gd name="connsiteY25" fmla="*/ 163804 h 652379"/>
                    <a:gd name="connsiteX26" fmla="*/ 229283 w 626043"/>
                    <a:gd name="connsiteY26" fmla="*/ 188543 h 652379"/>
                    <a:gd name="connsiteX27" fmla="*/ 192547 w 626043"/>
                    <a:gd name="connsiteY27" fmla="*/ 236535 h 652379"/>
                    <a:gd name="connsiteX28" fmla="*/ 152306 w 626043"/>
                    <a:gd name="connsiteY28" fmla="*/ 239298 h 652379"/>
                    <a:gd name="connsiteX29" fmla="*/ 145173 w 626043"/>
                    <a:gd name="connsiteY29" fmla="*/ 218682 h 652379"/>
                    <a:gd name="connsiteX30" fmla="*/ 153419 w 626043"/>
                    <a:gd name="connsiteY30" fmla="*/ 207674 h 652379"/>
                    <a:gd name="connsiteX31" fmla="*/ 140390 w 626043"/>
                    <a:gd name="connsiteY31" fmla="*/ 155558 h 652379"/>
                    <a:gd name="connsiteX32" fmla="*/ 121424 w 626043"/>
                    <a:gd name="connsiteY32" fmla="*/ 141086 h 652379"/>
                    <a:gd name="connsiteX33" fmla="*/ 121424 w 626043"/>
                    <a:gd name="connsiteY33" fmla="*/ 310585 h 652379"/>
                    <a:gd name="connsiteX34" fmla="*/ 95408 w 626043"/>
                    <a:gd name="connsiteY34" fmla="*/ 340766 h 652379"/>
                    <a:gd name="connsiteX35" fmla="*/ 44447 w 626043"/>
                    <a:gd name="connsiteY35" fmla="*/ 342167 h 652379"/>
                    <a:gd name="connsiteX36" fmla="*/ 23131 w 626043"/>
                    <a:gd name="connsiteY36" fmla="*/ 309183 h 652379"/>
                    <a:gd name="connsiteX37" fmla="*/ 619 w 626043"/>
                    <a:gd name="connsiteY37" fmla="*/ 322872 h 652379"/>
                    <a:gd name="connsiteX38" fmla="*/ 1 w 626043"/>
                    <a:gd name="connsiteY38" fmla="*/ 325675 h 652379"/>
                    <a:gd name="connsiteX39" fmla="*/ 5814 w 626043"/>
                    <a:gd name="connsiteY39" fmla="*/ 333262 h 652379"/>
                    <a:gd name="connsiteX40" fmla="*/ 19708 w 626043"/>
                    <a:gd name="connsiteY40" fmla="*/ 377956 h 652379"/>
                    <a:gd name="connsiteX41" fmla="*/ 27666 w 626043"/>
                    <a:gd name="connsiteY41" fmla="*/ 431802 h 652379"/>
                    <a:gd name="connsiteX42" fmla="*/ 29315 w 626043"/>
                    <a:gd name="connsiteY42" fmla="*/ 443059 h 652379"/>
                    <a:gd name="connsiteX43" fmla="*/ 52157 w 626043"/>
                    <a:gd name="connsiteY43" fmla="*/ 493689 h 652379"/>
                    <a:gd name="connsiteX44" fmla="*/ 52157 w 626043"/>
                    <a:gd name="connsiteY44" fmla="*/ 536858 h 652379"/>
                    <a:gd name="connsiteX45" fmla="*/ 51332 w 626043"/>
                    <a:gd name="connsiteY45" fmla="*/ 536858 h 652379"/>
                    <a:gd name="connsiteX46" fmla="*/ 63083 w 626043"/>
                    <a:gd name="connsiteY46" fmla="*/ 594581 h 652379"/>
                    <a:gd name="connsiteX47" fmla="*/ 60568 w 626043"/>
                    <a:gd name="connsiteY47" fmla="*/ 609300 h 652379"/>
                    <a:gd name="connsiteX48" fmla="*/ 65763 w 626043"/>
                    <a:gd name="connsiteY48" fmla="*/ 614371 h 652379"/>
                    <a:gd name="connsiteX49" fmla="*/ 82255 w 626043"/>
                    <a:gd name="connsiteY49" fmla="*/ 626039 h 652379"/>
                    <a:gd name="connsiteX50" fmla="*/ 103571 w 626043"/>
                    <a:gd name="connsiteY50" fmla="*/ 645912 h 652379"/>
                    <a:gd name="connsiteX51" fmla="*/ 124723 w 626043"/>
                    <a:gd name="connsiteY51" fmla="*/ 649623 h 652379"/>
                    <a:gd name="connsiteX52" fmla="*/ 129629 w 626043"/>
                    <a:gd name="connsiteY52" fmla="*/ 643851 h 652379"/>
                    <a:gd name="connsiteX53" fmla="*/ 171519 w 626043"/>
                    <a:gd name="connsiteY53" fmla="*/ 629585 h 652379"/>
                    <a:gd name="connsiteX54" fmla="*/ 191186 w 626043"/>
                    <a:gd name="connsiteY54" fmla="*/ 617216 h 652379"/>
                    <a:gd name="connsiteX55" fmla="*/ 210028 w 626043"/>
                    <a:gd name="connsiteY55" fmla="*/ 612640 h 652379"/>
                    <a:gd name="connsiteX56" fmla="*/ 238519 w 626043"/>
                    <a:gd name="connsiteY56" fmla="*/ 607279 h 652379"/>
                    <a:gd name="connsiteX57" fmla="*/ 265030 w 626043"/>
                    <a:gd name="connsiteY57" fmla="*/ 608681 h 652379"/>
                    <a:gd name="connsiteX58" fmla="*/ 284367 w 626043"/>
                    <a:gd name="connsiteY58" fmla="*/ 603569 h 652379"/>
                    <a:gd name="connsiteX59" fmla="*/ 289974 w 626043"/>
                    <a:gd name="connsiteY59" fmla="*/ 603363 h 652379"/>
                    <a:gd name="connsiteX60" fmla="*/ 292160 w 626043"/>
                    <a:gd name="connsiteY60" fmla="*/ 602785 h 652379"/>
                    <a:gd name="connsiteX61" fmla="*/ 295952 w 626043"/>
                    <a:gd name="connsiteY61" fmla="*/ 600476 h 652379"/>
                    <a:gd name="connsiteX62" fmla="*/ 296653 w 626043"/>
                    <a:gd name="connsiteY62" fmla="*/ 599816 h 652379"/>
                    <a:gd name="connsiteX63" fmla="*/ 300075 w 626043"/>
                    <a:gd name="connsiteY63" fmla="*/ 595693 h 652379"/>
                    <a:gd name="connsiteX64" fmla="*/ 350006 w 626043"/>
                    <a:gd name="connsiteY64" fmla="*/ 587447 h 652379"/>
                    <a:gd name="connsiteX65" fmla="*/ 355201 w 626043"/>
                    <a:gd name="connsiteY65" fmla="*/ 586664 h 652379"/>
                    <a:gd name="connsiteX66" fmla="*/ 355201 w 626043"/>
                    <a:gd name="connsiteY66" fmla="*/ 586664 h 652379"/>
                    <a:gd name="connsiteX67" fmla="*/ 467760 w 626043"/>
                    <a:gd name="connsiteY67" fmla="*/ 506760 h 652379"/>
                    <a:gd name="connsiteX68" fmla="*/ 514598 w 626043"/>
                    <a:gd name="connsiteY68" fmla="*/ 424299 h 652379"/>
                    <a:gd name="connsiteX69" fmla="*/ 508413 w 626043"/>
                    <a:gd name="connsiteY69" fmla="*/ 402158 h 652379"/>
                    <a:gd name="connsiteX70" fmla="*/ 552117 w 626043"/>
                    <a:gd name="connsiteY70" fmla="*/ 357093 h 652379"/>
                    <a:gd name="connsiteX71" fmla="*/ 553313 w 626043"/>
                    <a:gd name="connsiteY71" fmla="*/ 357093 h 652379"/>
                    <a:gd name="connsiteX72" fmla="*/ 551870 w 626043"/>
                    <a:gd name="connsiteY72" fmla="*/ 348352 h 652379"/>
                    <a:gd name="connsiteX73" fmla="*/ 472707 w 626043"/>
                    <a:gd name="connsiteY73" fmla="*/ 397087 h 652379"/>
                    <a:gd name="connsiteX74" fmla="*/ 446650 w 626043"/>
                    <a:gd name="connsiteY74" fmla="*/ 405333 h 652379"/>
                    <a:gd name="connsiteX75" fmla="*/ 437125 w 626043"/>
                    <a:gd name="connsiteY75" fmla="*/ 430071 h 652379"/>
                    <a:gd name="connsiteX76" fmla="*/ 420633 w 626043"/>
                    <a:gd name="connsiteY76" fmla="*/ 427350 h 652379"/>
                    <a:gd name="connsiteX77" fmla="*/ 396926 w 626043"/>
                    <a:gd name="connsiteY77" fmla="*/ 388923 h 652379"/>
                    <a:gd name="connsiteX78" fmla="*/ 420633 w 626043"/>
                    <a:gd name="connsiteY78" fmla="*/ 347693 h 652379"/>
                    <a:gd name="connsiteX79" fmla="*/ 460916 w 626043"/>
                    <a:gd name="connsiteY79" fmla="*/ 328520 h 652379"/>
                    <a:gd name="connsiteX80" fmla="*/ 486932 w 626043"/>
                    <a:gd name="connsiteY80" fmla="*/ 364144 h 652379"/>
                    <a:gd name="connsiteX81" fmla="*/ 472707 w 626043"/>
                    <a:gd name="connsiteY81" fmla="*/ 396963 h 6523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</a:cxnLst>
                  <a:rect l="l" t="t" r="r" b="b"/>
                  <a:pathLst>
                    <a:path w="626043" h="652379">
                      <a:moveTo>
                        <a:pt x="551870" y="348352"/>
                      </a:moveTo>
                      <a:cubicBezTo>
                        <a:pt x="550881" y="326252"/>
                        <a:pt x="569187" y="306585"/>
                        <a:pt x="589843" y="303700"/>
                      </a:cubicBezTo>
                      <a:cubicBezTo>
                        <a:pt x="589843" y="303329"/>
                        <a:pt x="590173" y="302957"/>
                        <a:pt x="590297" y="302586"/>
                      </a:cubicBezTo>
                      <a:cubicBezTo>
                        <a:pt x="593925" y="292938"/>
                        <a:pt x="597182" y="283208"/>
                        <a:pt x="600027" y="273271"/>
                      </a:cubicBezTo>
                      <a:cubicBezTo>
                        <a:pt x="603614" y="260119"/>
                        <a:pt x="613097" y="249358"/>
                        <a:pt x="625714" y="244122"/>
                      </a:cubicBezTo>
                      <a:cubicBezTo>
                        <a:pt x="625714" y="243132"/>
                        <a:pt x="625714" y="242101"/>
                        <a:pt x="626044" y="241153"/>
                      </a:cubicBezTo>
                      <a:cubicBezTo>
                        <a:pt x="616024" y="241194"/>
                        <a:pt x="606047" y="242101"/>
                        <a:pt x="596193" y="243750"/>
                      </a:cubicBezTo>
                      <a:lnTo>
                        <a:pt x="595657" y="238927"/>
                      </a:lnTo>
                      <a:cubicBezTo>
                        <a:pt x="591946" y="242060"/>
                        <a:pt x="589555" y="246472"/>
                        <a:pt x="588895" y="251296"/>
                      </a:cubicBezTo>
                      <a:cubicBezTo>
                        <a:pt x="588071" y="261850"/>
                        <a:pt x="579000" y="262757"/>
                        <a:pt x="566589" y="261850"/>
                      </a:cubicBezTo>
                      <a:cubicBezTo>
                        <a:pt x="554179" y="260944"/>
                        <a:pt x="541851" y="224743"/>
                        <a:pt x="541851" y="218806"/>
                      </a:cubicBezTo>
                      <a:cubicBezTo>
                        <a:pt x="541851" y="212869"/>
                        <a:pt x="559168" y="185368"/>
                        <a:pt x="569063" y="185368"/>
                      </a:cubicBezTo>
                      <a:cubicBezTo>
                        <a:pt x="575495" y="185368"/>
                        <a:pt x="584648" y="193325"/>
                        <a:pt x="591905" y="198974"/>
                      </a:cubicBezTo>
                      <a:cubicBezTo>
                        <a:pt x="591699" y="196088"/>
                        <a:pt x="591699" y="193160"/>
                        <a:pt x="591905" y="190274"/>
                      </a:cubicBezTo>
                      <a:cubicBezTo>
                        <a:pt x="592770" y="184090"/>
                        <a:pt x="599038" y="113091"/>
                        <a:pt x="588359" y="105876"/>
                      </a:cubicBezTo>
                      <a:cubicBezTo>
                        <a:pt x="577680" y="98660"/>
                        <a:pt x="567043" y="26672"/>
                        <a:pt x="563621" y="19292"/>
                      </a:cubicBezTo>
                      <a:cubicBezTo>
                        <a:pt x="560199" y="11911"/>
                        <a:pt x="520989" y="16200"/>
                        <a:pt x="516535" y="7995"/>
                      </a:cubicBezTo>
                      <a:cubicBezTo>
                        <a:pt x="512083" y="-210"/>
                        <a:pt x="479428" y="7747"/>
                        <a:pt x="478480" y="-4"/>
                      </a:cubicBezTo>
                      <a:cubicBezTo>
                        <a:pt x="473408" y="8778"/>
                        <a:pt x="467636" y="18385"/>
                        <a:pt x="464750" y="22384"/>
                      </a:cubicBezTo>
                      <a:cubicBezTo>
                        <a:pt x="458813" y="30630"/>
                        <a:pt x="442238" y="25146"/>
                        <a:pt x="440012" y="38876"/>
                      </a:cubicBezTo>
                      <a:cubicBezTo>
                        <a:pt x="437785" y="52606"/>
                        <a:pt x="417500" y="66336"/>
                        <a:pt x="408017" y="66336"/>
                      </a:cubicBezTo>
                      <a:cubicBezTo>
                        <a:pt x="398534" y="66336"/>
                        <a:pt x="391525" y="85508"/>
                        <a:pt x="391525" y="97877"/>
                      </a:cubicBezTo>
                      <a:cubicBezTo>
                        <a:pt x="391525" y="110246"/>
                        <a:pt x="372600" y="126738"/>
                        <a:pt x="357221" y="126738"/>
                      </a:cubicBezTo>
                      <a:cubicBezTo>
                        <a:pt x="341842" y="126738"/>
                        <a:pt x="346542" y="141787"/>
                        <a:pt x="341801" y="161042"/>
                      </a:cubicBezTo>
                      <a:cubicBezTo>
                        <a:pt x="337060" y="180297"/>
                        <a:pt x="329968" y="181657"/>
                        <a:pt x="303910" y="181657"/>
                      </a:cubicBezTo>
                      <a:cubicBezTo>
                        <a:pt x="277853" y="181657"/>
                        <a:pt x="276657" y="178854"/>
                        <a:pt x="256495" y="163804"/>
                      </a:cubicBezTo>
                      <a:cubicBezTo>
                        <a:pt x="236333" y="148756"/>
                        <a:pt x="230438" y="176173"/>
                        <a:pt x="229283" y="188543"/>
                      </a:cubicBezTo>
                      <a:cubicBezTo>
                        <a:pt x="228128" y="200912"/>
                        <a:pt x="200834" y="225650"/>
                        <a:pt x="192547" y="236535"/>
                      </a:cubicBezTo>
                      <a:cubicBezTo>
                        <a:pt x="184259" y="247420"/>
                        <a:pt x="164097" y="239298"/>
                        <a:pt x="152306" y="239298"/>
                      </a:cubicBezTo>
                      <a:cubicBezTo>
                        <a:pt x="140514" y="239298"/>
                        <a:pt x="145173" y="226928"/>
                        <a:pt x="145173" y="218682"/>
                      </a:cubicBezTo>
                      <a:cubicBezTo>
                        <a:pt x="145173" y="210436"/>
                        <a:pt x="151110" y="215920"/>
                        <a:pt x="153419" y="207674"/>
                      </a:cubicBezTo>
                      <a:cubicBezTo>
                        <a:pt x="155728" y="199428"/>
                        <a:pt x="145173" y="169288"/>
                        <a:pt x="140390" y="155558"/>
                      </a:cubicBezTo>
                      <a:cubicBezTo>
                        <a:pt x="138370" y="149621"/>
                        <a:pt x="130124" y="144756"/>
                        <a:pt x="121424" y="141086"/>
                      </a:cubicBezTo>
                      <a:lnTo>
                        <a:pt x="121424" y="310585"/>
                      </a:lnTo>
                      <a:cubicBezTo>
                        <a:pt x="121424" y="325675"/>
                        <a:pt x="100108" y="332520"/>
                        <a:pt x="95408" y="340766"/>
                      </a:cubicBezTo>
                      <a:cubicBezTo>
                        <a:pt x="90708" y="349012"/>
                        <a:pt x="61021" y="342167"/>
                        <a:pt x="44447" y="342167"/>
                      </a:cubicBezTo>
                      <a:cubicBezTo>
                        <a:pt x="27872" y="342167"/>
                        <a:pt x="31459" y="322913"/>
                        <a:pt x="23131" y="309183"/>
                      </a:cubicBezTo>
                      <a:cubicBezTo>
                        <a:pt x="14802" y="295453"/>
                        <a:pt x="619" y="313306"/>
                        <a:pt x="619" y="322872"/>
                      </a:cubicBezTo>
                      <a:cubicBezTo>
                        <a:pt x="619" y="323861"/>
                        <a:pt x="413" y="324809"/>
                        <a:pt x="1" y="325675"/>
                      </a:cubicBezTo>
                      <a:cubicBezTo>
                        <a:pt x="2227" y="327984"/>
                        <a:pt x="4165" y="330499"/>
                        <a:pt x="5814" y="333262"/>
                      </a:cubicBezTo>
                      <a:cubicBezTo>
                        <a:pt x="12122" y="344270"/>
                        <a:pt x="12287" y="369503"/>
                        <a:pt x="19708" y="377956"/>
                      </a:cubicBezTo>
                      <a:cubicBezTo>
                        <a:pt x="32325" y="392964"/>
                        <a:pt x="35376" y="413785"/>
                        <a:pt x="27666" y="431802"/>
                      </a:cubicBezTo>
                      <a:cubicBezTo>
                        <a:pt x="28614" y="435472"/>
                        <a:pt x="29150" y="439265"/>
                        <a:pt x="29315" y="443059"/>
                      </a:cubicBezTo>
                      <a:cubicBezTo>
                        <a:pt x="38633" y="463055"/>
                        <a:pt x="48570" y="480784"/>
                        <a:pt x="52157" y="493689"/>
                      </a:cubicBezTo>
                      <a:cubicBezTo>
                        <a:pt x="58053" y="514964"/>
                        <a:pt x="64526" y="534920"/>
                        <a:pt x="52157" y="536858"/>
                      </a:cubicBezTo>
                      <a:lnTo>
                        <a:pt x="51332" y="536858"/>
                      </a:lnTo>
                      <a:cubicBezTo>
                        <a:pt x="58877" y="555164"/>
                        <a:pt x="62877" y="574749"/>
                        <a:pt x="63083" y="594581"/>
                      </a:cubicBezTo>
                      <a:cubicBezTo>
                        <a:pt x="63124" y="599611"/>
                        <a:pt x="62258" y="604558"/>
                        <a:pt x="60568" y="609300"/>
                      </a:cubicBezTo>
                      <a:cubicBezTo>
                        <a:pt x="61063" y="611938"/>
                        <a:pt x="63124" y="613959"/>
                        <a:pt x="65763" y="614371"/>
                      </a:cubicBezTo>
                      <a:cubicBezTo>
                        <a:pt x="77019" y="617092"/>
                        <a:pt x="73473" y="625338"/>
                        <a:pt x="82255" y="626039"/>
                      </a:cubicBezTo>
                      <a:cubicBezTo>
                        <a:pt x="91037" y="626740"/>
                        <a:pt x="97675" y="637006"/>
                        <a:pt x="103571" y="645912"/>
                      </a:cubicBezTo>
                      <a:cubicBezTo>
                        <a:pt x="108395" y="652757"/>
                        <a:pt x="117837" y="654447"/>
                        <a:pt x="124723" y="649623"/>
                      </a:cubicBezTo>
                      <a:cubicBezTo>
                        <a:pt x="126825" y="648139"/>
                        <a:pt x="128516" y="646159"/>
                        <a:pt x="129629" y="643851"/>
                      </a:cubicBezTo>
                      <a:cubicBezTo>
                        <a:pt x="135566" y="633873"/>
                        <a:pt x="152842" y="630163"/>
                        <a:pt x="171519" y="629585"/>
                      </a:cubicBezTo>
                      <a:cubicBezTo>
                        <a:pt x="176920" y="623854"/>
                        <a:pt x="183682" y="619607"/>
                        <a:pt x="191186" y="617216"/>
                      </a:cubicBezTo>
                      <a:cubicBezTo>
                        <a:pt x="197412" y="615237"/>
                        <a:pt x="203802" y="614371"/>
                        <a:pt x="210028" y="612640"/>
                      </a:cubicBezTo>
                      <a:cubicBezTo>
                        <a:pt x="218481" y="607279"/>
                        <a:pt x="228706" y="605383"/>
                        <a:pt x="238519" y="607279"/>
                      </a:cubicBezTo>
                      <a:cubicBezTo>
                        <a:pt x="247383" y="606496"/>
                        <a:pt x="256289" y="606950"/>
                        <a:pt x="265030" y="608681"/>
                      </a:cubicBezTo>
                      <a:cubicBezTo>
                        <a:pt x="270967" y="605465"/>
                        <a:pt x="277605" y="603734"/>
                        <a:pt x="284367" y="603569"/>
                      </a:cubicBezTo>
                      <a:cubicBezTo>
                        <a:pt x="286222" y="603569"/>
                        <a:pt x="288119" y="603569"/>
                        <a:pt x="289974" y="603363"/>
                      </a:cubicBezTo>
                      <a:lnTo>
                        <a:pt x="292160" y="602785"/>
                      </a:lnTo>
                      <a:lnTo>
                        <a:pt x="295952" y="600476"/>
                      </a:lnTo>
                      <a:lnTo>
                        <a:pt x="296653" y="599816"/>
                      </a:lnTo>
                      <a:cubicBezTo>
                        <a:pt x="297849" y="598497"/>
                        <a:pt x="298963" y="597137"/>
                        <a:pt x="300075" y="595693"/>
                      </a:cubicBezTo>
                      <a:cubicBezTo>
                        <a:pt x="312445" y="580480"/>
                        <a:pt x="333637" y="579779"/>
                        <a:pt x="350006" y="587447"/>
                      </a:cubicBezTo>
                      <a:cubicBezTo>
                        <a:pt x="351737" y="587076"/>
                        <a:pt x="353469" y="586788"/>
                        <a:pt x="355201" y="586664"/>
                      </a:cubicBezTo>
                      <a:lnTo>
                        <a:pt x="355201" y="586664"/>
                      </a:lnTo>
                      <a:cubicBezTo>
                        <a:pt x="391154" y="554876"/>
                        <a:pt x="438280" y="546423"/>
                        <a:pt x="467760" y="506760"/>
                      </a:cubicBezTo>
                      <a:cubicBezTo>
                        <a:pt x="486685" y="481320"/>
                        <a:pt x="499301" y="451964"/>
                        <a:pt x="514598" y="424299"/>
                      </a:cubicBezTo>
                      <a:cubicBezTo>
                        <a:pt x="510763" y="417537"/>
                        <a:pt x="508661" y="409909"/>
                        <a:pt x="508413" y="402158"/>
                      </a:cubicBezTo>
                      <a:cubicBezTo>
                        <a:pt x="507465" y="380017"/>
                        <a:pt x="529358" y="353959"/>
                        <a:pt x="552117" y="357093"/>
                      </a:cubicBezTo>
                      <a:lnTo>
                        <a:pt x="553313" y="357093"/>
                      </a:lnTo>
                      <a:cubicBezTo>
                        <a:pt x="552571" y="354207"/>
                        <a:pt x="552117" y="351321"/>
                        <a:pt x="551870" y="348352"/>
                      </a:cubicBezTo>
                      <a:close/>
                      <a:moveTo>
                        <a:pt x="472707" y="397087"/>
                      </a:moveTo>
                      <a:cubicBezTo>
                        <a:pt x="472707" y="408095"/>
                        <a:pt x="451350" y="394324"/>
                        <a:pt x="446650" y="405333"/>
                      </a:cubicBezTo>
                      <a:cubicBezTo>
                        <a:pt x="441950" y="416341"/>
                        <a:pt x="437125" y="430071"/>
                        <a:pt x="437125" y="430071"/>
                      </a:cubicBezTo>
                      <a:lnTo>
                        <a:pt x="420633" y="427350"/>
                      </a:lnTo>
                      <a:lnTo>
                        <a:pt x="396926" y="388923"/>
                      </a:lnTo>
                      <a:cubicBezTo>
                        <a:pt x="396926" y="388923"/>
                        <a:pt x="415892" y="358783"/>
                        <a:pt x="420633" y="347693"/>
                      </a:cubicBezTo>
                      <a:cubicBezTo>
                        <a:pt x="425375" y="336601"/>
                        <a:pt x="456133" y="317512"/>
                        <a:pt x="460916" y="328520"/>
                      </a:cubicBezTo>
                      <a:cubicBezTo>
                        <a:pt x="465698" y="339529"/>
                        <a:pt x="486932" y="353259"/>
                        <a:pt x="486932" y="364144"/>
                      </a:cubicBezTo>
                      <a:cubicBezTo>
                        <a:pt x="486932" y="375028"/>
                        <a:pt x="472707" y="386119"/>
                        <a:pt x="472707" y="396963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24" name="Freeform: Shape 323">
                  <a:extLst>
                    <a:ext uri="{FF2B5EF4-FFF2-40B4-BE49-F238E27FC236}">
                      <a16:creationId xmlns:a16="http://schemas.microsoft.com/office/drawing/2014/main" id="{48E2B211-484B-99B4-040B-3F955F4F0139}"/>
                    </a:ext>
                  </a:extLst>
                </p:cNvPr>
                <p:cNvSpPr/>
                <p:nvPr>
                  <p:custDataLst>
                    <p:tags r:id="rId325"/>
                  </p:custDataLst>
                </p:nvPr>
              </p:nvSpPr>
              <p:spPr>
                <a:xfrm>
                  <a:off x="7147582" y="5896356"/>
                  <a:ext cx="381485" cy="488872"/>
                </a:xfrm>
                <a:custGeom>
                  <a:avLst/>
                  <a:gdLst>
                    <a:gd name="connsiteX0" fmla="*/ 435023 w 445453"/>
                    <a:gd name="connsiteY0" fmla="*/ 231638 h 570846"/>
                    <a:gd name="connsiteX1" fmla="*/ 399482 w 445453"/>
                    <a:gd name="connsiteY1" fmla="*/ 235761 h 570846"/>
                    <a:gd name="connsiteX2" fmla="*/ 378166 w 445453"/>
                    <a:gd name="connsiteY2" fmla="*/ 248130 h 570846"/>
                    <a:gd name="connsiteX3" fmla="*/ 378166 w 445453"/>
                    <a:gd name="connsiteY3" fmla="*/ 211022 h 570846"/>
                    <a:gd name="connsiteX4" fmla="*/ 358623 w 445453"/>
                    <a:gd name="connsiteY4" fmla="*/ 173915 h 570846"/>
                    <a:gd name="connsiteX5" fmla="*/ 363941 w 445453"/>
                    <a:gd name="connsiteY5" fmla="*/ 107946 h 570846"/>
                    <a:gd name="connsiteX6" fmla="*/ 356850 w 445453"/>
                    <a:gd name="connsiteY6" fmla="*/ 70839 h 570846"/>
                    <a:gd name="connsiteX7" fmla="*/ 330174 w 445453"/>
                    <a:gd name="connsiteY7" fmla="*/ 64654 h 570846"/>
                    <a:gd name="connsiteX8" fmla="*/ 310672 w 445453"/>
                    <a:gd name="connsiteY8" fmla="*/ 54388 h 570846"/>
                    <a:gd name="connsiteX9" fmla="*/ 278677 w 445453"/>
                    <a:gd name="connsiteY9" fmla="*/ 54388 h 570846"/>
                    <a:gd name="connsiteX10" fmla="*/ 262680 w 445453"/>
                    <a:gd name="connsiteY10" fmla="*/ 95618 h 570846"/>
                    <a:gd name="connsiteX11" fmla="*/ 216501 w 445453"/>
                    <a:gd name="connsiteY11" fmla="*/ 103864 h 570846"/>
                    <a:gd name="connsiteX12" fmla="*/ 182734 w 445453"/>
                    <a:gd name="connsiteY12" fmla="*/ 75003 h 570846"/>
                    <a:gd name="connsiteX13" fmla="*/ 166736 w 445453"/>
                    <a:gd name="connsiteY13" fmla="*/ 40040 h 570846"/>
                    <a:gd name="connsiteX14" fmla="*/ 159645 w 445453"/>
                    <a:gd name="connsiteY14" fmla="*/ 912 h 570846"/>
                    <a:gd name="connsiteX15" fmla="*/ 29933 w 445453"/>
                    <a:gd name="connsiteY15" fmla="*/ 912 h 570846"/>
                    <a:gd name="connsiteX16" fmla="*/ 7298 w 445453"/>
                    <a:gd name="connsiteY16" fmla="*/ 15178 h 570846"/>
                    <a:gd name="connsiteX17" fmla="*/ 42385 w 445453"/>
                    <a:gd name="connsiteY17" fmla="*/ 112069 h 570846"/>
                    <a:gd name="connsiteX18" fmla="*/ 35871 w 445453"/>
                    <a:gd name="connsiteY18" fmla="*/ 160763 h 570846"/>
                    <a:gd name="connsiteX19" fmla="*/ 60609 w 445453"/>
                    <a:gd name="connsiteY19" fmla="*/ 258149 h 570846"/>
                    <a:gd name="connsiteX20" fmla="*/ 32160 w 445453"/>
                    <a:gd name="connsiteY20" fmla="*/ 325396 h 570846"/>
                    <a:gd name="connsiteX21" fmla="*/ 21152 w 445453"/>
                    <a:gd name="connsiteY21" fmla="*/ 344733 h 570846"/>
                    <a:gd name="connsiteX22" fmla="*/ 4124 w 445453"/>
                    <a:gd name="connsiteY22" fmla="*/ 486731 h 570846"/>
                    <a:gd name="connsiteX23" fmla="*/ 1 w 445453"/>
                    <a:gd name="connsiteY23" fmla="*/ 498151 h 570846"/>
                    <a:gd name="connsiteX24" fmla="*/ 2185 w 445453"/>
                    <a:gd name="connsiteY24" fmla="*/ 510851 h 570846"/>
                    <a:gd name="connsiteX25" fmla="*/ 6556 w 445453"/>
                    <a:gd name="connsiteY25" fmla="*/ 529074 h 570846"/>
                    <a:gd name="connsiteX26" fmla="*/ 21729 w 445453"/>
                    <a:gd name="connsiteY26" fmla="*/ 537733 h 570846"/>
                    <a:gd name="connsiteX27" fmla="*/ 59785 w 445453"/>
                    <a:gd name="connsiteY27" fmla="*/ 540083 h 570846"/>
                    <a:gd name="connsiteX28" fmla="*/ 95861 w 445453"/>
                    <a:gd name="connsiteY28" fmla="*/ 551669 h 570846"/>
                    <a:gd name="connsiteX29" fmla="*/ 234065 w 445453"/>
                    <a:gd name="connsiteY29" fmla="*/ 551669 h 570846"/>
                    <a:gd name="connsiteX30" fmla="*/ 248084 w 445453"/>
                    <a:gd name="connsiteY30" fmla="*/ 567913 h 570846"/>
                    <a:gd name="connsiteX31" fmla="*/ 336235 w 445453"/>
                    <a:gd name="connsiteY31" fmla="*/ 567913 h 570846"/>
                    <a:gd name="connsiteX32" fmla="*/ 398080 w 445453"/>
                    <a:gd name="connsiteY32" fmla="*/ 563254 h 570846"/>
                    <a:gd name="connsiteX33" fmla="*/ 409048 w 445453"/>
                    <a:gd name="connsiteY33" fmla="*/ 560245 h 570846"/>
                    <a:gd name="connsiteX34" fmla="*/ 363365 w 445453"/>
                    <a:gd name="connsiteY34" fmla="*/ 487885 h 570846"/>
                    <a:gd name="connsiteX35" fmla="*/ 367488 w 445453"/>
                    <a:gd name="connsiteY35" fmla="*/ 333518 h 570846"/>
                    <a:gd name="connsiteX36" fmla="*/ 426942 w 445453"/>
                    <a:gd name="connsiteY36" fmla="*/ 335951 h 570846"/>
                    <a:gd name="connsiteX37" fmla="*/ 437208 w 445453"/>
                    <a:gd name="connsiteY37" fmla="*/ 324035 h 570846"/>
                    <a:gd name="connsiteX38" fmla="*/ 445454 w 445453"/>
                    <a:gd name="connsiteY38" fmla="*/ 231844 h 570846"/>
                    <a:gd name="connsiteX39" fmla="*/ 435023 w 445453"/>
                    <a:gd name="connsiteY39" fmla="*/ 231638 h 5708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</a:cxnLst>
                  <a:rect l="l" t="t" r="r" b="b"/>
                  <a:pathLst>
                    <a:path w="445453" h="570846">
                      <a:moveTo>
                        <a:pt x="435023" y="231638"/>
                      </a:moveTo>
                      <a:cubicBezTo>
                        <a:pt x="422654" y="237781"/>
                        <a:pt x="411934" y="235761"/>
                        <a:pt x="399482" y="235761"/>
                      </a:cubicBezTo>
                      <a:cubicBezTo>
                        <a:pt x="387031" y="235761"/>
                        <a:pt x="385299" y="250191"/>
                        <a:pt x="378166" y="248130"/>
                      </a:cubicBezTo>
                      <a:cubicBezTo>
                        <a:pt x="371033" y="246068"/>
                        <a:pt x="376393" y="221371"/>
                        <a:pt x="378166" y="211022"/>
                      </a:cubicBezTo>
                      <a:cubicBezTo>
                        <a:pt x="379939" y="200674"/>
                        <a:pt x="367528" y="182161"/>
                        <a:pt x="358623" y="173915"/>
                      </a:cubicBezTo>
                      <a:cubicBezTo>
                        <a:pt x="349717" y="165669"/>
                        <a:pt x="369260" y="114255"/>
                        <a:pt x="363941" y="107946"/>
                      </a:cubicBezTo>
                      <a:cubicBezTo>
                        <a:pt x="358623" y="101638"/>
                        <a:pt x="356850" y="85352"/>
                        <a:pt x="356850" y="70839"/>
                      </a:cubicBezTo>
                      <a:cubicBezTo>
                        <a:pt x="356850" y="56326"/>
                        <a:pt x="347944" y="64654"/>
                        <a:pt x="330174" y="64654"/>
                      </a:cubicBezTo>
                      <a:cubicBezTo>
                        <a:pt x="312403" y="64654"/>
                        <a:pt x="310672" y="54388"/>
                        <a:pt x="310672" y="54388"/>
                      </a:cubicBezTo>
                      <a:cubicBezTo>
                        <a:pt x="310672" y="54388"/>
                        <a:pt x="289356" y="48203"/>
                        <a:pt x="278677" y="54388"/>
                      </a:cubicBezTo>
                      <a:cubicBezTo>
                        <a:pt x="267999" y="60572"/>
                        <a:pt x="269771" y="97598"/>
                        <a:pt x="262680" y="95618"/>
                      </a:cubicBezTo>
                      <a:cubicBezTo>
                        <a:pt x="255588" y="93639"/>
                        <a:pt x="234272" y="97680"/>
                        <a:pt x="216501" y="103864"/>
                      </a:cubicBezTo>
                      <a:cubicBezTo>
                        <a:pt x="198731" y="110049"/>
                        <a:pt x="191763" y="99741"/>
                        <a:pt x="182734" y="75003"/>
                      </a:cubicBezTo>
                      <a:cubicBezTo>
                        <a:pt x="173704" y="50265"/>
                        <a:pt x="163149" y="58511"/>
                        <a:pt x="166736" y="40040"/>
                      </a:cubicBezTo>
                      <a:cubicBezTo>
                        <a:pt x="170323" y="21569"/>
                        <a:pt x="159645" y="912"/>
                        <a:pt x="159645" y="912"/>
                      </a:cubicBezTo>
                      <a:cubicBezTo>
                        <a:pt x="159645" y="912"/>
                        <a:pt x="42385" y="-1150"/>
                        <a:pt x="29933" y="912"/>
                      </a:cubicBezTo>
                      <a:cubicBezTo>
                        <a:pt x="24862" y="1737"/>
                        <a:pt x="16039" y="8045"/>
                        <a:pt x="7298" y="15178"/>
                      </a:cubicBezTo>
                      <a:cubicBezTo>
                        <a:pt x="14554" y="46884"/>
                        <a:pt x="37272" y="99659"/>
                        <a:pt x="42385" y="112069"/>
                      </a:cubicBezTo>
                      <a:cubicBezTo>
                        <a:pt x="47704" y="125098"/>
                        <a:pt x="35871" y="136807"/>
                        <a:pt x="35871" y="160763"/>
                      </a:cubicBezTo>
                      <a:cubicBezTo>
                        <a:pt x="35871" y="184718"/>
                        <a:pt x="58382" y="228669"/>
                        <a:pt x="60609" y="258149"/>
                      </a:cubicBezTo>
                      <a:cubicBezTo>
                        <a:pt x="62836" y="287629"/>
                        <a:pt x="46385" y="306141"/>
                        <a:pt x="32160" y="325396"/>
                      </a:cubicBezTo>
                      <a:cubicBezTo>
                        <a:pt x="27872" y="331457"/>
                        <a:pt x="24161" y="337930"/>
                        <a:pt x="21152" y="344733"/>
                      </a:cubicBezTo>
                      <a:cubicBezTo>
                        <a:pt x="28490" y="390086"/>
                        <a:pt x="21894" y="436965"/>
                        <a:pt x="4124" y="486731"/>
                      </a:cubicBezTo>
                      <a:cubicBezTo>
                        <a:pt x="2680" y="490854"/>
                        <a:pt x="1237" y="494482"/>
                        <a:pt x="1" y="498151"/>
                      </a:cubicBezTo>
                      <a:cubicBezTo>
                        <a:pt x="577" y="502274"/>
                        <a:pt x="1237" y="506645"/>
                        <a:pt x="2185" y="510851"/>
                      </a:cubicBezTo>
                      <a:cubicBezTo>
                        <a:pt x="3546" y="517035"/>
                        <a:pt x="5030" y="523220"/>
                        <a:pt x="6556" y="529074"/>
                      </a:cubicBezTo>
                      <a:cubicBezTo>
                        <a:pt x="12617" y="531919"/>
                        <a:pt x="9277" y="543918"/>
                        <a:pt x="21729" y="537733"/>
                      </a:cubicBezTo>
                      <a:cubicBezTo>
                        <a:pt x="35747" y="530806"/>
                        <a:pt x="47745" y="530806"/>
                        <a:pt x="59785" y="540083"/>
                      </a:cubicBezTo>
                      <a:cubicBezTo>
                        <a:pt x="69927" y="548329"/>
                        <a:pt x="82791" y="552452"/>
                        <a:pt x="95861" y="551669"/>
                      </a:cubicBezTo>
                      <a:lnTo>
                        <a:pt x="234065" y="551669"/>
                      </a:lnTo>
                      <a:lnTo>
                        <a:pt x="248084" y="567913"/>
                      </a:lnTo>
                      <a:cubicBezTo>
                        <a:pt x="248084" y="567913"/>
                        <a:pt x="324196" y="560986"/>
                        <a:pt x="336235" y="567913"/>
                      </a:cubicBezTo>
                      <a:cubicBezTo>
                        <a:pt x="348274" y="574840"/>
                        <a:pt x="386288" y="567913"/>
                        <a:pt x="398080" y="563254"/>
                      </a:cubicBezTo>
                      <a:cubicBezTo>
                        <a:pt x="401667" y="562059"/>
                        <a:pt x="405337" y="561069"/>
                        <a:pt x="409048" y="560245"/>
                      </a:cubicBezTo>
                      <a:lnTo>
                        <a:pt x="363365" y="487885"/>
                      </a:lnTo>
                      <a:lnTo>
                        <a:pt x="367488" y="333518"/>
                      </a:lnTo>
                      <a:lnTo>
                        <a:pt x="426942" y="335951"/>
                      </a:lnTo>
                      <a:lnTo>
                        <a:pt x="437208" y="324035"/>
                      </a:lnTo>
                      <a:lnTo>
                        <a:pt x="445454" y="231844"/>
                      </a:lnTo>
                      <a:cubicBezTo>
                        <a:pt x="442238" y="230030"/>
                        <a:pt x="438321" y="229947"/>
                        <a:pt x="435023" y="231638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25" name="Freeform: Shape 324">
                  <a:extLst>
                    <a:ext uri="{FF2B5EF4-FFF2-40B4-BE49-F238E27FC236}">
                      <a16:creationId xmlns:a16="http://schemas.microsoft.com/office/drawing/2014/main" id="{9DA242F9-B721-0E2C-4D12-89C48571C956}"/>
                    </a:ext>
                  </a:extLst>
                </p:cNvPr>
                <p:cNvSpPr/>
                <p:nvPr>
                  <p:custDataLst>
                    <p:tags r:id="rId326"/>
                  </p:custDataLst>
                </p:nvPr>
              </p:nvSpPr>
              <p:spPr>
                <a:xfrm>
                  <a:off x="7459189" y="5988945"/>
                  <a:ext cx="395116" cy="399608"/>
                </a:xfrm>
                <a:custGeom>
                  <a:avLst/>
                  <a:gdLst>
                    <a:gd name="connsiteX0" fmla="*/ 354417 w 461368"/>
                    <a:gd name="connsiteY0" fmla="*/ 19086 h 466614"/>
                    <a:gd name="connsiteX1" fmla="*/ 325556 w 461368"/>
                    <a:gd name="connsiteY1" fmla="*/ -4 h 466614"/>
                    <a:gd name="connsiteX2" fmla="*/ 277357 w 461368"/>
                    <a:gd name="connsiteY2" fmla="*/ 8242 h 466614"/>
                    <a:gd name="connsiteX3" fmla="*/ 266679 w 461368"/>
                    <a:gd name="connsiteY3" fmla="*/ 39123 h 466614"/>
                    <a:gd name="connsiteX4" fmla="*/ 261360 w 461368"/>
                    <a:gd name="connsiteY4" fmla="*/ 63862 h 466614"/>
                    <a:gd name="connsiteX5" fmla="*/ 259587 w 461368"/>
                    <a:gd name="connsiteY5" fmla="*/ 115276 h 466614"/>
                    <a:gd name="connsiteX6" fmla="*/ 250681 w 461368"/>
                    <a:gd name="connsiteY6" fmla="*/ 158486 h 466614"/>
                    <a:gd name="connsiteX7" fmla="*/ 277357 w 461368"/>
                    <a:gd name="connsiteY7" fmla="*/ 195593 h 466614"/>
                    <a:gd name="connsiteX8" fmla="*/ 303993 w 461368"/>
                    <a:gd name="connsiteY8" fmla="*/ 185327 h 466614"/>
                    <a:gd name="connsiteX9" fmla="*/ 309311 w 461368"/>
                    <a:gd name="connsiteY9" fmla="*/ 218311 h 466614"/>
                    <a:gd name="connsiteX10" fmla="*/ 302219 w 461368"/>
                    <a:gd name="connsiteY10" fmla="*/ 238927 h 466614"/>
                    <a:gd name="connsiteX11" fmla="*/ 273812 w 461368"/>
                    <a:gd name="connsiteY11" fmla="*/ 238927 h 466614"/>
                    <a:gd name="connsiteX12" fmla="*/ 257814 w 461368"/>
                    <a:gd name="connsiteY12" fmla="*/ 199840 h 466614"/>
                    <a:gd name="connsiteX13" fmla="*/ 227592 w 461368"/>
                    <a:gd name="connsiteY13" fmla="*/ 191594 h 466614"/>
                    <a:gd name="connsiteX14" fmla="*/ 206276 w 461368"/>
                    <a:gd name="connsiteY14" fmla="*/ 164835 h 466614"/>
                    <a:gd name="connsiteX15" fmla="*/ 192052 w 461368"/>
                    <a:gd name="connsiteY15" fmla="*/ 173081 h 466614"/>
                    <a:gd name="connsiteX16" fmla="*/ 174323 w 461368"/>
                    <a:gd name="connsiteY16" fmla="*/ 179307 h 466614"/>
                    <a:gd name="connsiteX17" fmla="*/ 140555 w 461368"/>
                    <a:gd name="connsiteY17" fmla="*/ 166938 h 466614"/>
                    <a:gd name="connsiteX18" fmla="*/ 128186 w 461368"/>
                    <a:gd name="connsiteY18" fmla="*/ 144302 h 466614"/>
                    <a:gd name="connsiteX19" fmla="*/ 103448 w 461368"/>
                    <a:gd name="connsiteY19" fmla="*/ 146364 h 466614"/>
                    <a:gd name="connsiteX20" fmla="*/ 92810 w 461368"/>
                    <a:gd name="connsiteY20" fmla="*/ 136098 h 466614"/>
                    <a:gd name="connsiteX21" fmla="*/ 82296 w 461368"/>
                    <a:gd name="connsiteY21" fmla="*/ 124182 h 466614"/>
                    <a:gd name="connsiteX22" fmla="*/ 73803 w 461368"/>
                    <a:gd name="connsiteY22" fmla="*/ 216373 h 466614"/>
                    <a:gd name="connsiteX23" fmla="*/ 63578 w 461368"/>
                    <a:gd name="connsiteY23" fmla="*/ 228289 h 466614"/>
                    <a:gd name="connsiteX24" fmla="*/ 4124 w 461368"/>
                    <a:gd name="connsiteY24" fmla="*/ 225856 h 466614"/>
                    <a:gd name="connsiteX25" fmla="*/ 1 w 461368"/>
                    <a:gd name="connsiteY25" fmla="*/ 380223 h 466614"/>
                    <a:gd name="connsiteX26" fmla="*/ 45684 w 461368"/>
                    <a:gd name="connsiteY26" fmla="*/ 452583 h 466614"/>
                    <a:gd name="connsiteX27" fmla="*/ 118868 w 461368"/>
                    <a:gd name="connsiteY27" fmla="*/ 448707 h 466614"/>
                    <a:gd name="connsiteX28" fmla="*/ 122084 w 461368"/>
                    <a:gd name="connsiteY28" fmla="*/ 459386 h 466614"/>
                    <a:gd name="connsiteX29" fmla="*/ 142699 w 461368"/>
                    <a:gd name="connsiteY29" fmla="*/ 455716 h 466614"/>
                    <a:gd name="connsiteX30" fmla="*/ 193619 w 461368"/>
                    <a:gd name="connsiteY30" fmla="*/ 465323 h 466614"/>
                    <a:gd name="connsiteX31" fmla="*/ 234849 w 461368"/>
                    <a:gd name="connsiteY31" fmla="*/ 413207 h 466614"/>
                    <a:gd name="connsiteX32" fmla="*/ 271627 w 461368"/>
                    <a:gd name="connsiteY32" fmla="*/ 380223 h 466614"/>
                    <a:gd name="connsiteX33" fmla="*/ 294097 w 461368"/>
                    <a:gd name="connsiteY33" fmla="*/ 356887 h 466614"/>
                    <a:gd name="connsiteX34" fmla="*/ 328483 w 461368"/>
                    <a:gd name="connsiteY34" fmla="*/ 355567 h 466614"/>
                    <a:gd name="connsiteX35" fmla="*/ 330792 w 461368"/>
                    <a:gd name="connsiteY35" fmla="*/ 355567 h 466614"/>
                    <a:gd name="connsiteX36" fmla="*/ 322546 w 461368"/>
                    <a:gd name="connsiteY36" fmla="*/ 321222 h 466614"/>
                    <a:gd name="connsiteX37" fmla="*/ 433497 w 461368"/>
                    <a:gd name="connsiteY37" fmla="*/ 274714 h 466614"/>
                    <a:gd name="connsiteX38" fmla="*/ 426447 w 461368"/>
                    <a:gd name="connsiteY38" fmla="*/ 254347 h 466614"/>
                    <a:gd name="connsiteX39" fmla="*/ 432549 w 461368"/>
                    <a:gd name="connsiteY39" fmla="*/ 209240 h 466614"/>
                    <a:gd name="connsiteX40" fmla="*/ 449041 w 461368"/>
                    <a:gd name="connsiteY40" fmla="*/ 197283 h 466614"/>
                    <a:gd name="connsiteX41" fmla="*/ 446980 w 461368"/>
                    <a:gd name="connsiteY41" fmla="*/ 121337 h 466614"/>
                    <a:gd name="connsiteX42" fmla="*/ 461369 w 461368"/>
                    <a:gd name="connsiteY42" fmla="*/ 111895 h 466614"/>
                    <a:gd name="connsiteX43" fmla="*/ 442939 w 461368"/>
                    <a:gd name="connsiteY43" fmla="*/ 61965 h 466614"/>
                    <a:gd name="connsiteX44" fmla="*/ 391649 w 461368"/>
                    <a:gd name="connsiteY44" fmla="*/ 35867 h 466614"/>
                    <a:gd name="connsiteX45" fmla="*/ 354417 w 461368"/>
                    <a:gd name="connsiteY45" fmla="*/ 19086 h 4666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</a:cxnLst>
                  <a:rect l="l" t="t" r="r" b="b"/>
                  <a:pathLst>
                    <a:path w="461368" h="466613">
                      <a:moveTo>
                        <a:pt x="354417" y="19086"/>
                      </a:moveTo>
                      <a:cubicBezTo>
                        <a:pt x="349057" y="19086"/>
                        <a:pt x="336358" y="9273"/>
                        <a:pt x="325556" y="-4"/>
                      </a:cubicBezTo>
                      <a:cubicBezTo>
                        <a:pt x="317846" y="9974"/>
                        <a:pt x="290716" y="8242"/>
                        <a:pt x="277357" y="8242"/>
                      </a:cubicBezTo>
                      <a:cubicBezTo>
                        <a:pt x="263133" y="8242"/>
                        <a:pt x="275585" y="30877"/>
                        <a:pt x="266679" y="39123"/>
                      </a:cubicBezTo>
                      <a:cubicBezTo>
                        <a:pt x="257773" y="47370"/>
                        <a:pt x="254310" y="59739"/>
                        <a:pt x="261360" y="63862"/>
                      </a:cubicBezTo>
                      <a:cubicBezTo>
                        <a:pt x="268411" y="67985"/>
                        <a:pt x="259587" y="102948"/>
                        <a:pt x="259587" y="115276"/>
                      </a:cubicBezTo>
                      <a:cubicBezTo>
                        <a:pt x="259587" y="127604"/>
                        <a:pt x="245363" y="154404"/>
                        <a:pt x="250681" y="158486"/>
                      </a:cubicBezTo>
                      <a:cubicBezTo>
                        <a:pt x="256000" y="162568"/>
                        <a:pt x="264906" y="191470"/>
                        <a:pt x="277357" y="195593"/>
                      </a:cubicBezTo>
                      <a:cubicBezTo>
                        <a:pt x="289809" y="199716"/>
                        <a:pt x="298674" y="185327"/>
                        <a:pt x="303993" y="185327"/>
                      </a:cubicBezTo>
                      <a:cubicBezTo>
                        <a:pt x="309311" y="185327"/>
                        <a:pt x="309311" y="203798"/>
                        <a:pt x="309311" y="218311"/>
                      </a:cubicBezTo>
                      <a:cubicBezTo>
                        <a:pt x="309311" y="232824"/>
                        <a:pt x="302219" y="238927"/>
                        <a:pt x="302219" y="238927"/>
                      </a:cubicBezTo>
                      <a:cubicBezTo>
                        <a:pt x="302219" y="238927"/>
                        <a:pt x="282676" y="247173"/>
                        <a:pt x="273812" y="238927"/>
                      </a:cubicBezTo>
                      <a:cubicBezTo>
                        <a:pt x="264947" y="230681"/>
                        <a:pt x="257814" y="208086"/>
                        <a:pt x="257814" y="199840"/>
                      </a:cubicBezTo>
                      <a:cubicBezTo>
                        <a:pt x="257814" y="191594"/>
                        <a:pt x="236498" y="191594"/>
                        <a:pt x="227592" y="191594"/>
                      </a:cubicBezTo>
                      <a:cubicBezTo>
                        <a:pt x="218687" y="191594"/>
                        <a:pt x="209822" y="173040"/>
                        <a:pt x="206276" y="164835"/>
                      </a:cubicBezTo>
                      <a:cubicBezTo>
                        <a:pt x="202730" y="156630"/>
                        <a:pt x="192052" y="166897"/>
                        <a:pt x="192052" y="173081"/>
                      </a:cubicBezTo>
                      <a:cubicBezTo>
                        <a:pt x="192052" y="179266"/>
                        <a:pt x="183187" y="179307"/>
                        <a:pt x="174323" y="179307"/>
                      </a:cubicBezTo>
                      <a:cubicBezTo>
                        <a:pt x="165458" y="179307"/>
                        <a:pt x="147647" y="162815"/>
                        <a:pt x="140555" y="166938"/>
                      </a:cubicBezTo>
                      <a:cubicBezTo>
                        <a:pt x="133463" y="171061"/>
                        <a:pt x="126330" y="152548"/>
                        <a:pt x="128186" y="144302"/>
                      </a:cubicBezTo>
                      <a:cubicBezTo>
                        <a:pt x="130041" y="136056"/>
                        <a:pt x="110415" y="142282"/>
                        <a:pt x="103448" y="146364"/>
                      </a:cubicBezTo>
                      <a:cubicBezTo>
                        <a:pt x="96479" y="150446"/>
                        <a:pt x="92810" y="136098"/>
                        <a:pt x="92810" y="136098"/>
                      </a:cubicBezTo>
                      <a:cubicBezTo>
                        <a:pt x="90377" y="131315"/>
                        <a:pt x="86749" y="127192"/>
                        <a:pt x="82296" y="124182"/>
                      </a:cubicBezTo>
                      <a:lnTo>
                        <a:pt x="73803" y="216373"/>
                      </a:lnTo>
                      <a:lnTo>
                        <a:pt x="63578" y="228289"/>
                      </a:lnTo>
                      <a:lnTo>
                        <a:pt x="4124" y="225856"/>
                      </a:lnTo>
                      <a:lnTo>
                        <a:pt x="1" y="380223"/>
                      </a:lnTo>
                      <a:lnTo>
                        <a:pt x="45684" y="452583"/>
                      </a:lnTo>
                      <a:cubicBezTo>
                        <a:pt x="69515" y="446934"/>
                        <a:pt x="118868" y="439059"/>
                        <a:pt x="118868" y="448707"/>
                      </a:cubicBezTo>
                      <a:cubicBezTo>
                        <a:pt x="119156" y="452459"/>
                        <a:pt x="120269" y="456087"/>
                        <a:pt x="122084" y="459386"/>
                      </a:cubicBezTo>
                      <a:cubicBezTo>
                        <a:pt x="128722" y="457035"/>
                        <a:pt x="135690" y="455799"/>
                        <a:pt x="142699" y="455716"/>
                      </a:cubicBezTo>
                      <a:cubicBezTo>
                        <a:pt x="152182" y="457077"/>
                        <a:pt x="184177" y="470807"/>
                        <a:pt x="193619" y="465323"/>
                      </a:cubicBezTo>
                      <a:cubicBezTo>
                        <a:pt x="203061" y="459839"/>
                        <a:pt x="219717" y="418691"/>
                        <a:pt x="234849" y="413207"/>
                      </a:cubicBezTo>
                      <a:cubicBezTo>
                        <a:pt x="249981" y="407724"/>
                        <a:pt x="271627" y="388469"/>
                        <a:pt x="271627" y="380223"/>
                      </a:cubicBezTo>
                      <a:cubicBezTo>
                        <a:pt x="271627" y="371977"/>
                        <a:pt x="271627" y="363731"/>
                        <a:pt x="294097" y="356887"/>
                      </a:cubicBezTo>
                      <a:lnTo>
                        <a:pt x="328483" y="355567"/>
                      </a:lnTo>
                      <a:lnTo>
                        <a:pt x="330792" y="355567"/>
                      </a:lnTo>
                      <a:lnTo>
                        <a:pt x="322546" y="321222"/>
                      </a:lnTo>
                      <a:cubicBezTo>
                        <a:pt x="322546" y="321222"/>
                        <a:pt x="427519" y="275869"/>
                        <a:pt x="433497" y="274714"/>
                      </a:cubicBezTo>
                      <a:cubicBezTo>
                        <a:pt x="428879" y="263747"/>
                        <a:pt x="424138" y="255666"/>
                        <a:pt x="426447" y="254347"/>
                      </a:cubicBezTo>
                      <a:cubicBezTo>
                        <a:pt x="430570" y="251955"/>
                        <a:pt x="432549" y="218682"/>
                        <a:pt x="432549" y="209240"/>
                      </a:cubicBezTo>
                      <a:cubicBezTo>
                        <a:pt x="432549" y="199798"/>
                        <a:pt x="457287" y="206849"/>
                        <a:pt x="449041" y="197283"/>
                      </a:cubicBezTo>
                      <a:cubicBezTo>
                        <a:pt x="440795" y="187718"/>
                        <a:pt x="442939" y="133253"/>
                        <a:pt x="446980" y="121337"/>
                      </a:cubicBezTo>
                      <a:cubicBezTo>
                        <a:pt x="451020" y="109422"/>
                        <a:pt x="461369" y="121337"/>
                        <a:pt x="461369" y="111895"/>
                      </a:cubicBezTo>
                      <a:cubicBezTo>
                        <a:pt x="461369" y="102453"/>
                        <a:pt x="449000" y="71489"/>
                        <a:pt x="442939" y="61965"/>
                      </a:cubicBezTo>
                      <a:cubicBezTo>
                        <a:pt x="438486" y="55162"/>
                        <a:pt x="401709" y="38216"/>
                        <a:pt x="391649" y="35867"/>
                      </a:cubicBezTo>
                      <a:cubicBezTo>
                        <a:pt x="381588" y="33516"/>
                        <a:pt x="364642" y="19086"/>
                        <a:pt x="354417" y="19086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26" name="Freeform: Shape 325">
                  <a:extLst>
                    <a:ext uri="{FF2B5EF4-FFF2-40B4-BE49-F238E27FC236}">
                      <a16:creationId xmlns:a16="http://schemas.microsoft.com/office/drawing/2014/main" id="{12F51CC7-828B-1E0F-2528-B36B9BF2E6B0}"/>
                    </a:ext>
                  </a:extLst>
                </p:cNvPr>
                <p:cNvSpPr/>
                <p:nvPr>
                  <p:custDataLst>
                    <p:tags r:id="rId327"/>
                  </p:custDataLst>
                </p:nvPr>
              </p:nvSpPr>
              <p:spPr>
                <a:xfrm>
                  <a:off x="7693579" y="5703185"/>
                  <a:ext cx="65989" cy="64712"/>
                </a:xfrm>
                <a:custGeom>
                  <a:avLst/>
                  <a:gdLst>
                    <a:gd name="connsiteX0" fmla="*/ 63902 w 77054"/>
                    <a:gd name="connsiteY0" fmla="*/ -4 h 75563"/>
                    <a:gd name="connsiteX1" fmla="*/ 41761 w 77054"/>
                    <a:gd name="connsiteY1" fmla="*/ 8242 h 75563"/>
                    <a:gd name="connsiteX2" fmla="*/ 21806 w 77054"/>
                    <a:gd name="connsiteY2" fmla="*/ 12365 h 75563"/>
                    <a:gd name="connsiteX3" fmla="*/ 16900 w 77054"/>
                    <a:gd name="connsiteY3" fmla="*/ 16694 h 75563"/>
                    <a:gd name="connsiteX4" fmla="*/ 8901 w 77054"/>
                    <a:gd name="connsiteY4" fmla="*/ 46545 h 75563"/>
                    <a:gd name="connsiteX5" fmla="*/ 36 w 77054"/>
                    <a:gd name="connsiteY5" fmla="*/ 59945 h 75563"/>
                    <a:gd name="connsiteX6" fmla="*/ 8035 w 77054"/>
                    <a:gd name="connsiteY6" fmla="*/ 73344 h 75563"/>
                    <a:gd name="connsiteX7" fmla="*/ 21270 w 77054"/>
                    <a:gd name="connsiteY7" fmla="*/ 74787 h 75563"/>
                    <a:gd name="connsiteX8" fmla="*/ 41885 w 77054"/>
                    <a:gd name="connsiteY8" fmla="*/ 60563 h 75563"/>
                    <a:gd name="connsiteX9" fmla="*/ 76766 w 77054"/>
                    <a:gd name="connsiteY9" fmla="*/ 51039 h 75563"/>
                    <a:gd name="connsiteX10" fmla="*/ 70582 w 77054"/>
                    <a:gd name="connsiteY10" fmla="*/ 20198 h 755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77054" h="75563">
                      <a:moveTo>
                        <a:pt x="63902" y="-4"/>
                      </a:moveTo>
                      <a:cubicBezTo>
                        <a:pt x="56316" y="2222"/>
                        <a:pt x="48936" y="4943"/>
                        <a:pt x="41761" y="8242"/>
                      </a:cubicBezTo>
                      <a:cubicBezTo>
                        <a:pt x="36072" y="11581"/>
                        <a:pt x="33144" y="13643"/>
                        <a:pt x="21806" y="12365"/>
                      </a:cubicBezTo>
                      <a:cubicBezTo>
                        <a:pt x="20610" y="14220"/>
                        <a:pt x="18920" y="15746"/>
                        <a:pt x="16900" y="16694"/>
                      </a:cubicBezTo>
                      <a:cubicBezTo>
                        <a:pt x="7128" y="20817"/>
                        <a:pt x="8901" y="46545"/>
                        <a:pt x="8901" y="46545"/>
                      </a:cubicBezTo>
                      <a:cubicBezTo>
                        <a:pt x="8901" y="46545"/>
                        <a:pt x="36" y="47575"/>
                        <a:pt x="36" y="59945"/>
                      </a:cubicBezTo>
                      <a:cubicBezTo>
                        <a:pt x="-376" y="65634"/>
                        <a:pt x="2840" y="70995"/>
                        <a:pt x="8035" y="73344"/>
                      </a:cubicBezTo>
                      <a:cubicBezTo>
                        <a:pt x="12488" y="73510"/>
                        <a:pt x="16900" y="73963"/>
                        <a:pt x="21270" y="74787"/>
                      </a:cubicBezTo>
                      <a:cubicBezTo>
                        <a:pt x="43823" y="79570"/>
                        <a:pt x="41885" y="60563"/>
                        <a:pt x="41885" y="60563"/>
                      </a:cubicBezTo>
                      <a:cubicBezTo>
                        <a:pt x="41885" y="60563"/>
                        <a:pt x="74869" y="62914"/>
                        <a:pt x="76766" y="51039"/>
                      </a:cubicBezTo>
                      <a:cubicBezTo>
                        <a:pt x="78663" y="39165"/>
                        <a:pt x="70582" y="20198"/>
                        <a:pt x="70582" y="20198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27" name="Freeform: Shape 326">
                  <a:extLst>
                    <a:ext uri="{FF2B5EF4-FFF2-40B4-BE49-F238E27FC236}">
                      <a16:creationId xmlns:a16="http://schemas.microsoft.com/office/drawing/2014/main" id="{AE14D7AB-F75A-E654-0104-3A8758FBB380}"/>
                    </a:ext>
                  </a:extLst>
                </p:cNvPr>
                <p:cNvSpPr/>
                <p:nvPr>
                  <p:custDataLst>
                    <p:tags r:id="rId328"/>
                  </p:custDataLst>
                </p:nvPr>
              </p:nvSpPr>
              <p:spPr>
                <a:xfrm>
                  <a:off x="8106837" y="5175141"/>
                  <a:ext cx="349706" cy="548486"/>
                </a:xfrm>
                <a:custGeom>
                  <a:avLst/>
                  <a:gdLst>
                    <a:gd name="connsiteX0" fmla="*/ 408347 w 408346"/>
                    <a:gd name="connsiteY0" fmla="*/ 4104 h 640458"/>
                    <a:gd name="connsiteX1" fmla="*/ 387731 w 408346"/>
                    <a:gd name="connsiteY1" fmla="*/ 10000 h 640458"/>
                    <a:gd name="connsiteX2" fmla="*/ 297685 w 408346"/>
                    <a:gd name="connsiteY2" fmla="*/ 38119 h 640458"/>
                    <a:gd name="connsiteX3" fmla="*/ 233736 w 408346"/>
                    <a:gd name="connsiteY3" fmla="*/ 55271 h 640458"/>
                    <a:gd name="connsiteX4" fmla="*/ 181620 w 408346"/>
                    <a:gd name="connsiteY4" fmla="*/ 66238 h 640458"/>
                    <a:gd name="connsiteX5" fmla="*/ 115281 w 408346"/>
                    <a:gd name="connsiteY5" fmla="*/ 60094 h 640458"/>
                    <a:gd name="connsiteX6" fmla="*/ 94666 w 408346"/>
                    <a:gd name="connsiteY6" fmla="*/ 33625 h 640458"/>
                    <a:gd name="connsiteX7" fmla="*/ 71948 w 408346"/>
                    <a:gd name="connsiteY7" fmla="*/ 73783 h 640458"/>
                    <a:gd name="connsiteX8" fmla="*/ 96686 w 408346"/>
                    <a:gd name="connsiteY8" fmla="*/ 115962 h 640458"/>
                    <a:gd name="connsiteX9" fmla="*/ 123321 w 408346"/>
                    <a:gd name="connsiteY9" fmla="*/ 143751 h 640458"/>
                    <a:gd name="connsiteX10" fmla="*/ 204215 w 408346"/>
                    <a:gd name="connsiteY10" fmla="*/ 176736 h 640458"/>
                    <a:gd name="connsiteX11" fmla="*/ 259299 w 408346"/>
                    <a:gd name="connsiteY11" fmla="*/ 191125 h 640458"/>
                    <a:gd name="connsiteX12" fmla="*/ 273482 w 408346"/>
                    <a:gd name="connsiteY12" fmla="*/ 201391 h 640458"/>
                    <a:gd name="connsiteX13" fmla="*/ 166861 w 408346"/>
                    <a:gd name="connsiteY13" fmla="*/ 325083 h 640458"/>
                    <a:gd name="connsiteX14" fmla="*/ 122455 w 408346"/>
                    <a:gd name="connsiteY14" fmla="*/ 334360 h 640458"/>
                    <a:gd name="connsiteX15" fmla="*/ 70052 w 408346"/>
                    <a:gd name="connsiteY15" fmla="*/ 366231 h 640458"/>
                    <a:gd name="connsiteX16" fmla="*/ 37603 w 408346"/>
                    <a:gd name="connsiteY16" fmla="*/ 372086 h 640458"/>
                    <a:gd name="connsiteX17" fmla="*/ 18472 w 408346"/>
                    <a:gd name="connsiteY17" fmla="*/ 404534 h 640458"/>
                    <a:gd name="connsiteX18" fmla="*/ 1 w 408346"/>
                    <a:gd name="connsiteY18" fmla="*/ 437766 h 640458"/>
                    <a:gd name="connsiteX19" fmla="*/ 2103 w 408346"/>
                    <a:gd name="connsiteY19" fmla="*/ 604007 h 640458"/>
                    <a:gd name="connsiteX20" fmla="*/ 21935 w 408346"/>
                    <a:gd name="connsiteY20" fmla="*/ 640455 h 640458"/>
                    <a:gd name="connsiteX21" fmla="*/ 47251 w 408346"/>
                    <a:gd name="connsiteY21" fmla="*/ 607223 h 640458"/>
                    <a:gd name="connsiteX22" fmla="*/ 116188 w 408346"/>
                    <a:gd name="connsiteY22" fmla="*/ 506579 h 640458"/>
                    <a:gd name="connsiteX23" fmla="*/ 147441 w 408346"/>
                    <a:gd name="connsiteY23" fmla="*/ 492726 h 640458"/>
                    <a:gd name="connsiteX24" fmla="*/ 180796 w 408346"/>
                    <a:gd name="connsiteY24" fmla="*/ 469843 h 640458"/>
                    <a:gd name="connsiteX25" fmla="*/ 200834 w 408346"/>
                    <a:gd name="connsiteY25" fmla="*/ 453351 h 640458"/>
                    <a:gd name="connsiteX26" fmla="*/ 201700 w 408346"/>
                    <a:gd name="connsiteY26" fmla="*/ 451743 h 640458"/>
                    <a:gd name="connsiteX27" fmla="*/ 314712 w 408346"/>
                    <a:gd name="connsiteY27" fmla="*/ 245590 h 640458"/>
                    <a:gd name="connsiteX28" fmla="*/ 345470 w 408346"/>
                    <a:gd name="connsiteY28" fmla="*/ 226006 h 640458"/>
                    <a:gd name="connsiteX29" fmla="*/ 347656 w 408346"/>
                    <a:gd name="connsiteY29" fmla="*/ 222501 h 640458"/>
                    <a:gd name="connsiteX30" fmla="*/ 349635 w 408346"/>
                    <a:gd name="connsiteY30" fmla="*/ 211287 h 640458"/>
                    <a:gd name="connsiteX31" fmla="*/ 353758 w 408346"/>
                    <a:gd name="connsiteY31" fmla="*/ 197310 h 640458"/>
                    <a:gd name="connsiteX32" fmla="*/ 354170 w 408346"/>
                    <a:gd name="connsiteY32" fmla="*/ 193187 h 640458"/>
                    <a:gd name="connsiteX33" fmla="*/ 367281 w 408346"/>
                    <a:gd name="connsiteY33" fmla="*/ 116539 h 640458"/>
                    <a:gd name="connsiteX34" fmla="*/ 372807 w 408346"/>
                    <a:gd name="connsiteY34" fmla="*/ 102933 h 640458"/>
                    <a:gd name="connsiteX35" fmla="*/ 374455 w 408346"/>
                    <a:gd name="connsiteY35" fmla="*/ 47437 h 640458"/>
                    <a:gd name="connsiteX36" fmla="*/ 408347 w 408346"/>
                    <a:gd name="connsiteY36" fmla="*/ 4104 h 6404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</a:cxnLst>
                  <a:rect l="l" t="t" r="r" b="b"/>
                  <a:pathLst>
                    <a:path w="408346" h="640458">
                      <a:moveTo>
                        <a:pt x="408347" y="4104"/>
                      </a:moveTo>
                      <a:cubicBezTo>
                        <a:pt x="401998" y="-3153"/>
                        <a:pt x="391854" y="-555"/>
                        <a:pt x="387731" y="10000"/>
                      </a:cubicBezTo>
                      <a:cubicBezTo>
                        <a:pt x="381218" y="26492"/>
                        <a:pt x="330298" y="37418"/>
                        <a:pt x="297685" y="38119"/>
                      </a:cubicBezTo>
                      <a:cubicBezTo>
                        <a:pt x="265071" y="38820"/>
                        <a:pt x="245610" y="42242"/>
                        <a:pt x="233736" y="55271"/>
                      </a:cubicBezTo>
                      <a:cubicBezTo>
                        <a:pt x="221861" y="68299"/>
                        <a:pt x="192258" y="51848"/>
                        <a:pt x="181620" y="66238"/>
                      </a:cubicBezTo>
                      <a:cubicBezTo>
                        <a:pt x="170984" y="80628"/>
                        <a:pt x="128846" y="93038"/>
                        <a:pt x="115281" y="60094"/>
                      </a:cubicBezTo>
                      <a:cubicBezTo>
                        <a:pt x="111241" y="49375"/>
                        <a:pt x="104067" y="40139"/>
                        <a:pt x="94666" y="33625"/>
                      </a:cubicBezTo>
                      <a:cubicBezTo>
                        <a:pt x="83204" y="47189"/>
                        <a:pt x="69474" y="67310"/>
                        <a:pt x="71948" y="73783"/>
                      </a:cubicBezTo>
                      <a:cubicBezTo>
                        <a:pt x="75534" y="83060"/>
                        <a:pt x="89760" y="111839"/>
                        <a:pt x="96686" y="115962"/>
                      </a:cubicBezTo>
                      <a:cubicBezTo>
                        <a:pt x="103613" y="120085"/>
                        <a:pt x="115364" y="141690"/>
                        <a:pt x="123321" y="143751"/>
                      </a:cubicBezTo>
                      <a:cubicBezTo>
                        <a:pt x="150821" y="153399"/>
                        <a:pt x="177828" y="164408"/>
                        <a:pt x="204215" y="176736"/>
                      </a:cubicBezTo>
                      <a:cubicBezTo>
                        <a:pt x="232623" y="190094"/>
                        <a:pt x="250394" y="191125"/>
                        <a:pt x="259299" y="191125"/>
                      </a:cubicBezTo>
                      <a:cubicBezTo>
                        <a:pt x="268204" y="191125"/>
                        <a:pt x="281481" y="194217"/>
                        <a:pt x="273482" y="201391"/>
                      </a:cubicBezTo>
                      <a:cubicBezTo>
                        <a:pt x="265484" y="208565"/>
                        <a:pt x="178652" y="310488"/>
                        <a:pt x="166861" y="325083"/>
                      </a:cubicBezTo>
                      <a:cubicBezTo>
                        <a:pt x="155068" y="339678"/>
                        <a:pt x="148224" y="334360"/>
                        <a:pt x="122455" y="334360"/>
                      </a:cubicBezTo>
                      <a:cubicBezTo>
                        <a:pt x="96686" y="334360"/>
                        <a:pt x="77102" y="367344"/>
                        <a:pt x="70052" y="366231"/>
                      </a:cubicBezTo>
                      <a:cubicBezTo>
                        <a:pt x="65928" y="365613"/>
                        <a:pt x="50673" y="368664"/>
                        <a:pt x="37603" y="372086"/>
                      </a:cubicBezTo>
                      <a:lnTo>
                        <a:pt x="18472" y="404534"/>
                      </a:lnTo>
                      <a:lnTo>
                        <a:pt x="1" y="437766"/>
                      </a:lnTo>
                      <a:lnTo>
                        <a:pt x="2103" y="604007"/>
                      </a:lnTo>
                      <a:lnTo>
                        <a:pt x="21935" y="640455"/>
                      </a:lnTo>
                      <a:cubicBezTo>
                        <a:pt x="29810" y="628952"/>
                        <a:pt x="38262" y="617860"/>
                        <a:pt x="47251" y="607223"/>
                      </a:cubicBezTo>
                      <a:cubicBezTo>
                        <a:pt x="67866" y="572012"/>
                        <a:pt x="88481" y="536842"/>
                        <a:pt x="116188" y="506579"/>
                      </a:cubicBezTo>
                      <a:cubicBezTo>
                        <a:pt x="123856" y="497344"/>
                        <a:pt x="135442" y="492190"/>
                        <a:pt x="147441" y="492726"/>
                      </a:cubicBezTo>
                      <a:cubicBezTo>
                        <a:pt x="157708" y="483944"/>
                        <a:pt x="168922" y="476275"/>
                        <a:pt x="180796" y="469843"/>
                      </a:cubicBezTo>
                      <a:cubicBezTo>
                        <a:pt x="188053" y="465102"/>
                        <a:pt x="194774" y="459576"/>
                        <a:pt x="200834" y="453351"/>
                      </a:cubicBezTo>
                      <a:lnTo>
                        <a:pt x="201700" y="451743"/>
                      </a:lnTo>
                      <a:cubicBezTo>
                        <a:pt x="238601" y="382311"/>
                        <a:pt x="270472" y="310446"/>
                        <a:pt x="314712" y="245590"/>
                      </a:cubicBezTo>
                      <a:cubicBezTo>
                        <a:pt x="321599" y="234870"/>
                        <a:pt x="332854" y="227696"/>
                        <a:pt x="345470" y="226006"/>
                      </a:cubicBezTo>
                      <a:cubicBezTo>
                        <a:pt x="346172" y="224810"/>
                        <a:pt x="346914" y="223656"/>
                        <a:pt x="347656" y="222501"/>
                      </a:cubicBezTo>
                      <a:cubicBezTo>
                        <a:pt x="347862" y="218708"/>
                        <a:pt x="348562" y="214956"/>
                        <a:pt x="349635" y="211287"/>
                      </a:cubicBezTo>
                      <a:cubicBezTo>
                        <a:pt x="350995" y="206586"/>
                        <a:pt x="352315" y="201969"/>
                        <a:pt x="353758" y="197310"/>
                      </a:cubicBezTo>
                      <a:cubicBezTo>
                        <a:pt x="353758" y="195949"/>
                        <a:pt x="353758" y="194588"/>
                        <a:pt x="354170" y="193187"/>
                      </a:cubicBezTo>
                      <a:cubicBezTo>
                        <a:pt x="359035" y="167706"/>
                        <a:pt x="363117" y="142143"/>
                        <a:pt x="367281" y="116539"/>
                      </a:cubicBezTo>
                      <a:cubicBezTo>
                        <a:pt x="368106" y="111633"/>
                        <a:pt x="369962" y="107015"/>
                        <a:pt x="372807" y="102933"/>
                      </a:cubicBezTo>
                      <a:cubicBezTo>
                        <a:pt x="374786" y="84503"/>
                        <a:pt x="375321" y="65949"/>
                        <a:pt x="374455" y="47437"/>
                      </a:cubicBezTo>
                      <a:cubicBezTo>
                        <a:pt x="372930" y="21132"/>
                        <a:pt x="389381" y="6908"/>
                        <a:pt x="408347" y="4104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28" name="Freeform: Shape 327">
                  <a:extLst>
                    <a:ext uri="{FF2B5EF4-FFF2-40B4-BE49-F238E27FC236}">
                      <a16:creationId xmlns:a16="http://schemas.microsoft.com/office/drawing/2014/main" id="{74C6DDC3-23F7-C826-EA6B-1959829E8F37}"/>
                    </a:ext>
                  </a:extLst>
                </p:cNvPr>
                <p:cNvSpPr/>
                <p:nvPr>
                  <p:custDataLst>
                    <p:tags r:id="rId329"/>
                  </p:custDataLst>
                </p:nvPr>
              </p:nvSpPr>
              <p:spPr>
                <a:xfrm>
                  <a:off x="6274052" y="4161355"/>
                  <a:ext cx="412183" cy="377810"/>
                </a:xfrm>
                <a:custGeom>
                  <a:avLst/>
                  <a:gdLst>
                    <a:gd name="connsiteX0" fmla="*/ 480953 w 481298"/>
                    <a:gd name="connsiteY0" fmla="*/ 179757 h 441162"/>
                    <a:gd name="connsiteX1" fmla="*/ 465286 w 481298"/>
                    <a:gd name="connsiteY1" fmla="*/ 147968 h 441162"/>
                    <a:gd name="connsiteX2" fmla="*/ 462689 w 481298"/>
                    <a:gd name="connsiteY2" fmla="*/ 105666 h 441162"/>
                    <a:gd name="connsiteX3" fmla="*/ 450938 w 481298"/>
                    <a:gd name="connsiteY3" fmla="*/ 57261 h 441162"/>
                    <a:gd name="connsiteX4" fmla="*/ 444341 w 481298"/>
                    <a:gd name="connsiteY4" fmla="*/ 42995 h 441162"/>
                    <a:gd name="connsiteX5" fmla="*/ 397874 w 481298"/>
                    <a:gd name="connsiteY5" fmla="*/ 30338 h 441162"/>
                    <a:gd name="connsiteX6" fmla="*/ 329762 w 481298"/>
                    <a:gd name="connsiteY6" fmla="*/ 22092 h 441162"/>
                    <a:gd name="connsiteX7" fmla="*/ 294097 w 481298"/>
                    <a:gd name="connsiteY7" fmla="*/ 1476 h 441162"/>
                    <a:gd name="connsiteX8" fmla="*/ 306013 w 481298"/>
                    <a:gd name="connsiteY8" fmla="*/ 31740 h 441162"/>
                    <a:gd name="connsiteX9" fmla="*/ 262309 w 481298"/>
                    <a:gd name="connsiteY9" fmla="*/ 76804 h 441162"/>
                    <a:gd name="connsiteX10" fmla="*/ 259629 w 481298"/>
                    <a:gd name="connsiteY10" fmla="*/ 76433 h 441162"/>
                    <a:gd name="connsiteX11" fmla="*/ 258021 w 481298"/>
                    <a:gd name="connsiteY11" fmla="*/ 80103 h 441162"/>
                    <a:gd name="connsiteX12" fmla="*/ 252042 w 481298"/>
                    <a:gd name="connsiteY12" fmla="*/ 91359 h 441162"/>
                    <a:gd name="connsiteX13" fmla="*/ 231427 w 481298"/>
                    <a:gd name="connsiteY13" fmla="*/ 144422 h 441162"/>
                    <a:gd name="connsiteX14" fmla="*/ 185538 w 481298"/>
                    <a:gd name="connsiteY14" fmla="*/ 215339 h 441162"/>
                    <a:gd name="connsiteX15" fmla="*/ 179436 w 481298"/>
                    <a:gd name="connsiteY15" fmla="*/ 232862 h 441162"/>
                    <a:gd name="connsiteX16" fmla="*/ 153543 w 481298"/>
                    <a:gd name="connsiteY16" fmla="*/ 262919 h 441162"/>
                    <a:gd name="connsiteX17" fmla="*/ 135855 w 481298"/>
                    <a:gd name="connsiteY17" fmla="*/ 291780 h 441162"/>
                    <a:gd name="connsiteX18" fmla="*/ 87491 w 481298"/>
                    <a:gd name="connsiteY18" fmla="*/ 360965 h 441162"/>
                    <a:gd name="connsiteX19" fmla="*/ 28862 w 481298"/>
                    <a:gd name="connsiteY19" fmla="*/ 406896 h 441162"/>
                    <a:gd name="connsiteX20" fmla="*/ 1 w 481298"/>
                    <a:gd name="connsiteY20" fmla="*/ 423388 h 441162"/>
                    <a:gd name="connsiteX21" fmla="*/ 148925 w 481298"/>
                    <a:gd name="connsiteY21" fmla="*/ 423388 h 441162"/>
                    <a:gd name="connsiteX22" fmla="*/ 177786 w 481298"/>
                    <a:gd name="connsiteY22" fmla="*/ 441158 h 441162"/>
                    <a:gd name="connsiteX23" fmla="*/ 176920 w 481298"/>
                    <a:gd name="connsiteY23" fmla="*/ 377869 h 441162"/>
                    <a:gd name="connsiteX24" fmla="*/ 240910 w 481298"/>
                    <a:gd name="connsiteY24" fmla="*/ 329465 h 441162"/>
                    <a:gd name="connsiteX25" fmla="*/ 267009 w 481298"/>
                    <a:gd name="connsiteY25" fmla="*/ 320394 h 441162"/>
                    <a:gd name="connsiteX26" fmla="*/ 302261 w 481298"/>
                    <a:gd name="connsiteY26" fmla="*/ 311323 h 441162"/>
                    <a:gd name="connsiteX27" fmla="*/ 323165 w 481298"/>
                    <a:gd name="connsiteY27" fmla="*/ 284111 h 441162"/>
                    <a:gd name="connsiteX28" fmla="*/ 353180 w 481298"/>
                    <a:gd name="connsiteY28" fmla="*/ 271989 h 441162"/>
                    <a:gd name="connsiteX29" fmla="*/ 371487 w 481298"/>
                    <a:gd name="connsiteY29" fmla="*/ 258383 h 441162"/>
                    <a:gd name="connsiteX30" fmla="*/ 376682 w 481298"/>
                    <a:gd name="connsiteY30" fmla="*/ 229522 h 441162"/>
                    <a:gd name="connsiteX31" fmla="*/ 389752 w 481298"/>
                    <a:gd name="connsiteY31" fmla="*/ 217483 h 441162"/>
                    <a:gd name="connsiteX32" fmla="*/ 413253 w 481298"/>
                    <a:gd name="connsiteY32" fmla="*/ 200991 h 441162"/>
                    <a:gd name="connsiteX33" fmla="*/ 472048 w 481298"/>
                    <a:gd name="connsiteY33" fmla="*/ 197898 h 441162"/>
                    <a:gd name="connsiteX34" fmla="*/ 480953 w 481298"/>
                    <a:gd name="connsiteY34" fmla="*/ 179757 h 4411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</a:cxnLst>
                  <a:rect l="l" t="t" r="r" b="b"/>
                  <a:pathLst>
                    <a:path w="481298" h="441161">
                      <a:moveTo>
                        <a:pt x="480953" y="179757"/>
                      </a:moveTo>
                      <a:cubicBezTo>
                        <a:pt x="479676" y="172212"/>
                        <a:pt x="473120" y="149494"/>
                        <a:pt x="465286" y="147968"/>
                      </a:cubicBezTo>
                      <a:cubicBezTo>
                        <a:pt x="457452" y="146443"/>
                        <a:pt x="462689" y="123807"/>
                        <a:pt x="462689" y="105666"/>
                      </a:cubicBezTo>
                      <a:cubicBezTo>
                        <a:pt x="462689" y="87524"/>
                        <a:pt x="460050" y="70867"/>
                        <a:pt x="450938" y="57261"/>
                      </a:cubicBezTo>
                      <a:cubicBezTo>
                        <a:pt x="448299" y="52726"/>
                        <a:pt x="446073" y="47947"/>
                        <a:pt x="444341" y="42995"/>
                      </a:cubicBezTo>
                      <a:cubicBezTo>
                        <a:pt x="430034" y="43284"/>
                        <a:pt x="412759" y="30626"/>
                        <a:pt x="397874" y="30338"/>
                      </a:cubicBezTo>
                      <a:cubicBezTo>
                        <a:pt x="377259" y="29678"/>
                        <a:pt x="345141" y="42047"/>
                        <a:pt x="329762" y="22092"/>
                      </a:cubicBezTo>
                      <a:cubicBezTo>
                        <a:pt x="315125" y="3167"/>
                        <a:pt x="304734" y="-3224"/>
                        <a:pt x="294097" y="1476"/>
                      </a:cubicBezTo>
                      <a:cubicBezTo>
                        <a:pt x="302014" y="9525"/>
                        <a:pt x="306301" y="20451"/>
                        <a:pt x="306013" y="31740"/>
                      </a:cubicBezTo>
                      <a:cubicBezTo>
                        <a:pt x="305765" y="54169"/>
                        <a:pt x="285975" y="79484"/>
                        <a:pt x="262309" y="76804"/>
                      </a:cubicBezTo>
                      <a:lnTo>
                        <a:pt x="259629" y="76433"/>
                      </a:lnTo>
                      <a:cubicBezTo>
                        <a:pt x="259258" y="77720"/>
                        <a:pt x="258722" y="78957"/>
                        <a:pt x="258021" y="80103"/>
                      </a:cubicBezTo>
                      <a:cubicBezTo>
                        <a:pt x="255794" y="83731"/>
                        <a:pt x="253898" y="87524"/>
                        <a:pt x="252042" y="91359"/>
                      </a:cubicBezTo>
                      <a:cubicBezTo>
                        <a:pt x="244085" y="107851"/>
                        <a:pt x="238519" y="126570"/>
                        <a:pt x="231427" y="144422"/>
                      </a:cubicBezTo>
                      <a:cubicBezTo>
                        <a:pt x="220501" y="172171"/>
                        <a:pt x="206689" y="198764"/>
                        <a:pt x="185538" y="215339"/>
                      </a:cubicBezTo>
                      <a:cubicBezTo>
                        <a:pt x="184383" y="221453"/>
                        <a:pt x="182363" y="227362"/>
                        <a:pt x="179436" y="232862"/>
                      </a:cubicBezTo>
                      <a:cubicBezTo>
                        <a:pt x="172756" y="245726"/>
                        <a:pt x="162242" y="252240"/>
                        <a:pt x="153543" y="262919"/>
                      </a:cubicBezTo>
                      <a:cubicBezTo>
                        <a:pt x="146740" y="271944"/>
                        <a:pt x="140802" y="281612"/>
                        <a:pt x="135855" y="291780"/>
                      </a:cubicBezTo>
                      <a:cubicBezTo>
                        <a:pt x="134123" y="311117"/>
                        <a:pt x="105138" y="348926"/>
                        <a:pt x="87491" y="360965"/>
                      </a:cubicBezTo>
                      <a:cubicBezTo>
                        <a:pt x="67371" y="374653"/>
                        <a:pt x="60857" y="400711"/>
                        <a:pt x="28862" y="406896"/>
                      </a:cubicBezTo>
                      <a:cubicBezTo>
                        <a:pt x="17688" y="409089"/>
                        <a:pt x="7545" y="414882"/>
                        <a:pt x="1" y="423388"/>
                      </a:cubicBezTo>
                      <a:lnTo>
                        <a:pt x="148925" y="423388"/>
                      </a:lnTo>
                      <a:cubicBezTo>
                        <a:pt x="179806" y="423388"/>
                        <a:pt x="172715" y="431428"/>
                        <a:pt x="177786" y="441158"/>
                      </a:cubicBezTo>
                      <a:cubicBezTo>
                        <a:pt x="177168" y="410771"/>
                        <a:pt x="176261" y="380797"/>
                        <a:pt x="176920" y="377869"/>
                      </a:cubicBezTo>
                      <a:cubicBezTo>
                        <a:pt x="178198" y="371808"/>
                        <a:pt x="231715" y="335526"/>
                        <a:pt x="240910" y="329465"/>
                      </a:cubicBezTo>
                      <a:cubicBezTo>
                        <a:pt x="250104" y="323404"/>
                        <a:pt x="267009" y="332475"/>
                        <a:pt x="267009" y="320394"/>
                      </a:cubicBezTo>
                      <a:cubicBezTo>
                        <a:pt x="267009" y="308313"/>
                        <a:pt x="289191" y="314374"/>
                        <a:pt x="302261" y="311323"/>
                      </a:cubicBezTo>
                      <a:cubicBezTo>
                        <a:pt x="314960" y="308610"/>
                        <a:pt x="323824" y="297082"/>
                        <a:pt x="323165" y="284111"/>
                      </a:cubicBezTo>
                      <a:cubicBezTo>
                        <a:pt x="323165" y="270505"/>
                        <a:pt x="341430" y="273515"/>
                        <a:pt x="353180" y="271989"/>
                      </a:cubicBezTo>
                      <a:cubicBezTo>
                        <a:pt x="364931" y="270464"/>
                        <a:pt x="363612" y="258383"/>
                        <a:pt x="371487" y="258383"/>
                      </a:cubicBezTo>
                      <a:cubicBezTo>
                        <a:pt x="379362" y="258383"/>
                        <a:pt x="375610" y="244777"/>
                        <a:pt x="376682" y="229522"/>
                      </a:cubicBezTo>
                      <a:cubicBezTo>
                        <a:pt x="377754" y="214267"/>
                        <a:pt x="378001" y="217483"/>
                        <a:pt x="389752" y="217483"/>
                      </a:cubicBezTo>
                      <a:cubicBezTo>
                        <a:pt x="401503" y="217483"/>
                        <a:pt x="413253" y="209896"/>
                        <a:pt x="413253" y="200991"/>
                      </a:cubicBezTo>
                      <a:cubicBezTo>
                        <a:pt x="413253" y="192085"/>
                        <a:pt x="464173" y="197898"/>
                        <a:pt x="472048" y="197898"/>
                      </a:cubicBezTo>
                      <a:cubicBezTo>
                        <a:pt x="479923" y="197898"/>
                        <a:pt x="482273" y="187302"/>
                        <a:pt x="480953" y="179757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29" name="Freeform: Shape 328">
                  <a:extLst>
                    <a:ext uri="{FF2B5EF4-FFF2-40B4-BE49-F238E27FC236}">
                      <a16:creationId xmlns:a16="http://schemas.microsoft.com/office/drawing/2014/main" id="{84A9E7ED-6DA5-3E7E-9159-354214B3D88E}"/>
                    </a:ext>
                  </a:extLst>
                </p:cNvPr>
                <p:cNvSpPr/>
                <p:nvPr>
                  <p:custDataLst>
                    <p:tags r:id="rId330"/>
                  </p:custDataLst>
                </p:nvPr>
              </p:nvSpPr>
              <p:spPr>
                <a:xfrm>
                  <a:off x="6982354" y="4108387"/>
                  <a:ext cx="142484" cy="304298"/>
                </a:xfrm>
                <a:custGeom>
                  <a:avLst/>
                  <a:gdLst>
                    <a:gd name="connsiteX0" fmla="*/ 151205 w 166376"/>
                    <a:gd name="connsiteY0" fmla="*/ 188254 h 355324"/>
                    <a:gd name="connsiteX1" fmla="*/ 134712 w 166376"/>
                    <a:gd name="connsiteY1" fmla="*/ 172463 h 355324"/>
                    <a:gd name="connsiteX2" fmla="*/ 103336 w 166376"/>
                    <a:gd name="connsiteY2" fmla="*/ 156713 h 355324"/>
                    <a:gd name="connsiteX3" fmla="*/ 134712 w 166376"/>
                    <a:gd name="connsiteY3" fmla="*/ 124471 h 355324"/>
                    <a:gd name="connsiteX4" fmla="*/ 135866 w 166376"/>
                    <a:gd name="connsiteY4" fmla="*/ 62048 h 355324"/>
                    <a:gd name="connsiteX5" fmla="*/ 142999 w 166376"/>
                    <a:gd name="connsiteY5" fmla="*/ 21601 h 355324"/>
                    <a:gd name="connsiteX6" fmla="*/ 144855 w 166376"/>
                    <a:gd name="connsiteY6" fmla="*/ 19086 h 355324"/>
                    <a:gd name="connsiteX7" fmla="*/ 70970 w 166376"/>
                    <a:gd name="connsiteY7" fmla="*/ 3542 h 355324"/>
                    <a:gd name="connsiteX8" fmla="*/ 53117 w 166376"/>
                    <a:gd name="connsiteY8" fmla="*/ -4 h 355324"/>
                    <a:gd name="connsiteX9" fmla="*/ 42108 w 166376"/>
                    <a:gd name="connsiteY9" fmla="*/ 1274 h 355324"/>
                    <a:gd name="connsiteX10" fmla="*/ 41737 w 166376"/>
                    <a:gd name="connsiteY10" fmla="*/ 73716 h 355324"/>
                    <a:gd name="connsiteX11" fmla="*/ 29863 w 166376"/>
                    <a:gd name="connsiteY11" fmla="*/ 123192 h 355324"/>
                    <a:gd name="connsiteX12" fmla="*/ 3806 w 166376"/>
                    <a:gd name="connsiteY12" fmla="*/ 153414 h 355324"/>
                    <a:gd name="connsiteX13" fmla="*/ 20298 w 166376"/>
                    <a:gd name="connsiteY13" fmla="*/ 202891 h 355324"/>
                    <a:gd name="connsiteX14" fmla="*/ 36790 w 166376"/>
                    <a:gd name="connsiteY14" fmla="*/ 233030 h 355324"/>
                    <a:gd name="connsiteX15" fmla="*/ 67589 w 166376"/>
                    <a:gd name="connsiteY15" fmla="*/ 260490 h 355324"/>
                    <a:gd name="connsiteX16" fmla="*/ 86514 w 166376"/>
                    <a:gd name="connsiteY16" fmla="*/ 342951 h 355324"/>
                    <a:gd name="connsiteX17" fmla="*/ 90059 w 166376"/>
                    <a:gd name="connsiteY17" fmla="*/ 355320 h 355324"/>
                    <a:gd name="connsiteX18" fmla="*/ 106552 w 166376"/>
                    <a:gd name="connsiteY18" fmla="*/ 338292 h 355324"/>
                    <a:gd name="connsiteX19" fmla="*/ 113643 w 166376"/>
                    <a:gd name="connsiteY19" fmla="*/ 301184 h 355324"/>
                    <a:gd name="connsiteX20" fmla="*/ 117230 w 166376"/>
                    <a:gd name="connsiteY20" fmla="*/ 280569 h 355324"/>
                    <a:gd name="connsiteX21" fmla="*/ 147988 w 166376"/>
                    <a:gd name="connsiteY21" fmla="*/ 246966 h 355324"/>
                    <a:gd name="connsiteX22" fmla="*/ 165181 w 166376"/>
                    <a:gd name="connsiteY22" fmla="*/ 232577 h 355324"/>
                    <a:gd name="connsiteX23" fmla="*/ 166377 w 166376"/>
                    <a:gd name="connsiteY23" fmla="*/ 208374 h 355324"/>
                    <a:gd name="connsiteX24" fmla="*/ 151205 w 166376"/>
                    <a:gd name="connsiteY24" fmla="*/ 188254 h 3553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166376" h="355324">
                      <a:moveTo>
                        <a:pt x="151205" y="188254"/>
                      </a:moveTo>
                      <a:cubicBezTo>
                        <a:pt x="151205" y="179348"/>
                        <a:pt x="140567" y="164217"/>
                        <a:pt x="134712" y="172463"/>
                      </a:cubicBezTo>
                      <a:cubicBezTo>
                        <a:pt x="128857" y="180709"/>
                        <a:pt x="106305" y="173865"/>
                        <a:pt x="103336" y="156713"/>
                      </a:cubicBezTo>
                      <a:cubicBezTo>
                        <a:pt x="100367" y="139561"/>
                        <a:pt x="118096" y="140221"/>
                        <a:pt x="134712" y="124471"/>
                      </a:cubicBezTo>
                      <a:cubicBezTo>
                        <a:pt x="151328" y="108720"/>
                        <a:pt x="153637" y="78498"/>
                        <a:pt x="135866" y="62048"/>
                      </a:cubicBezTo>
                      <a:cubicBezTo>
                        <a:pt x="118096" y="45597"/>
                        <a:pt x="130548" y="36650"/>
                        <a:pt x="142999" y="21601"/>
                      </a:cubicBezTo>
                      <a:cubicBezTo>
                        <a:pt x="143700" y="20693"/>
                        <a:pt x="144319" y="19869"/>
                        <a:pt x="144855" y="19086"/>
                      </a:cubicBezTo>
                      <a:cubicBezTo>
                        <a:pt x="122219" y="6914"/>
                        <a:pt x="96574" y="1521"/>
                        <a:pt x="70970" y="3542"/>
                      </a:cubicBezTo>
                      <a:cubicBezTo>
                        <a:pt x="64826" y="4007"/>
                        <a:pt x="58642" y="2783"/>
                        <a:pt x="53117" y="-4"/>
                      </a:cubicBezTo>
                      <a:cubicBezTo>
                        <a:pt x="49530" y="911"/>
                        <a:pt x="45819" y="1340"/>
                        <a:pt x="42108" y="1274"/>
                      </a:cubicBezTo>
                      <a:cubicBezTo>
                        <a:pt x="38563" y="28527"/>
                        <a:pt x="35388" y="62707"/>
                        <a:pt x="41737" y="73716"/>
                      </a:cubicBezTo>
                      <a:cubicBezTo>
                        <a:pt x="51179" y="90208"/>
                        <a:pt x="39346" y="117585"/>
                        <a:pt x="29863" y="123192"/>
                      </a:cubicBezTo>
                      <a:cubicBezTo>
                        <a:pt x="20380" y="128800"/>
                        <a:pt x="13371" y="153414"/>
                        <a:pt x="3806" y="153414"/>
                      </a:cubicBezTo>
                      <a:cubicBezTo>
                        <a:pt x="-5760" y="153414"/>
                        <a:pt x="3806" y="194645"/>
                        <a:pt x="20298" y="202891"/>
                      </a:cubicBezTo>
                      <a:cubicBezTo>
                        <a:pt x="36790" y="211137"/>
                        <a:pt x="36790" y="224784"/>
                        <a:pt x="36790" y="233030"/>
                      </a:cubicBezTo>
                      <a:cubicBezTo>
                        <a:pt x="36790" y="241276"/>
                        <a:pt x="60456" y="249522"/>
                        <a:pt x="67589" y="260490"/>
                      </a:cubicBezTo>
                      <a:cubicBezTo>
                        <a:pt x="74722" y="271457"/>
                        <a:pt x="86514" y="323572"/>
                        <a:pt x="86514" y="342951"/>
                      </a:cubicBezTo>
                      <a:cubicBezTo>
                        <a:pt x="86431" y="347333"/>
                        <a:pt x="87668" y="351638"/>
                        <a:pt x="90059" y="355320"/>
                      </a:cubicBezTo>
                      <a:cubicBezTo>
                        <a:pt x="96161" y="350537"/>
                        <a:pt x="103624" y="345012"/>
                        <a:pt x="106552" y="338292"/>
                      </a:cubicBezTo>
                      <a:cubicBezTo>
                        <a:pt x="111871" y="326665"/>
                        <a:pt x="116035" y="306750"/>
                        <a:pt x="113643" y="301184"/>
                      </a:cubicBezTo>
                      <a:cubicBezTo>
                        <a:pt x="111005" y="294171"/>
                        <a:pt x="112365" y="286279"/>
                        <a:pt x="117230" y="280569"/>
                      </a:cubicBezTo>
                      <a:cubicBezTo>
                        <a:pt x="122549" y="275085"/>
                        <a:pt x="143865" y="249028"/>
                        <a:pt x="147988" y="246966"/>
                      </a:cubicBezTo>
                      <a:cubicBezTo>
                        <a:pt x="152112" y="244905"/>
                        <a:pt x="165759" y="247667"/>
                        <a:pt x="165181" y="232577"/>
                      </a:cubicBezTo>
                      <a:cubicBezTo>
                        <a:pt x="165099" y="224491"/>
                        <a:pt x="165511" y="216410"/>
                        <a:pt x="166377" y="208374"/>
                      </a:cubicBezTo>
                      <a:cubicBezTo>
                        <a:pt x="157142" y="200788"/>
                        <a:pt x="151205" y="192418"/>
                        <a:pt x="151205" y="188254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30" name="Freeform: Shape 329">
                  <a:extLst>
                    <a:ext uri="{FF2B5EF4-FFF2-40B4-BE49-F238E27FC236}">
                      <a16:creationId xmlns:a16="http://schemas.microsoft.com/office/drawing/2014/main" id="{ABA456E8-CDF1-2E40-785C-52CDB151F96C}"/>
                    </a:ext>
                  </a:extLst>
                </p:cNvPr>
                <p:cNvSpPr/>
                <p:nvPr>
                  <p:custDataLst>
                    <p:tags r:id="rId331"/>
                  </p:custDataLst>
                </p:nvPr>
              </p:nvSpPr>
              <p:spPr>
                <a:xfrm>
                  <a:off x="6425193" y="4101158"/>
                  <a:ext cx="714688" cy="794354"/>
                </a:xfrm>
                <a:custGeom>
                  <a:avLst/>
                  <a:gdLst>
                    <a:gd name="connsiteX0" fmla="*/ 286204 w 834527"/>
                    <a:gd name="connsiteY0" fmla="*/ 175958 h 927552"/>
                    <a:gd name="connsiteX1" fmla="*/ 288802 w 834527"/>
                    <a:gd name="connsiteY1" fmla="*/ 218302 h 927552"/>
                    <a:gd name="connsiteX2" fmla="*/ 304469 w 834527"/>
                    <a:gd name="connsiteY2" fmla="*/ 250050 h 927552"/>
                    <a:gd name="connsiteX3" fmla="*/ 295357 w 834527"/>
                    <a:gd name="connsiteY3" fmla="*/ 268191 h 927552"/>
                    <a:gd name="connsiteX4" fmla="*/ 236563 w 834527"/>
                    <a:gd name="connsiteY4" fmla="*/ 271242 h 927552"/>
                    <a:gd name="connsiteX5" fmla="*/ 213062 w 834527"/>
                    <a:gd name="connsiteY5" fmla="*/ 287734 h 927552"/>
                    <a:gd name="connsiteX6" fmla="*/ 199991 w 834527"/>
                    <a:gd name="connsiteY6" fmla="*/ 299773 h 927552"/>
                    <a:gd name="connsiteX7" fmla="*/ 194796 w 834527"/>
                    <a:gd name="connsiteY7" fmla="*/ 328635 h 927552"/>
                    <a:gd name="connsiteX8" fmla="*/ 176490 w 834527"/>
                    <a:gd name="connsiteY8" fmla="*/ 342241 h 927552"/>
                    <a:gd name="connsiteX9" fmla="*/ 146474 w 834527"/>
                    <a:gd name="connsiteY9" fmla="*/ 354363 h 927552"/>
                    <a:gd name="connsiteX10" fmla="*/ 125571 w 834527"/>
                    <a:gd name="connsiteY10" fmla="*/ 381575 h 927552"/>
                    <a:gd name="connsiteX11" fmla="*/ 90318 w 834527"/>
                    <a:gd name="connsiteY11" fmla="*/ 390646 h 927552"/>
                    <a:gd name="connsiteX12" fmla="*/ 64220 w 834527"/>
                    <a:gd name="connsiteY12" fmla="*/ 399716 h 927552"/>
                    <a:gd name="connsiteX13" fmla="*/ 230 w 834527"/>
                    <a:gd name="connsiteY13" fmla="*/ 448121 h 927552"/>
                    <a:gd name="connsiteX14" fmla="*/ 1137 w 834527"/>
                    <a:gd name="connsiteY14" fmla="*/ 511409 h 927552"/>
                    <a:gd name="connsiteX15" fmla="*/ 8971 w 834527"/>
                    <a:gd name="connsiteY15" fmla="*/ 519656 h 927552"/>
                    <a:gd name="connsiteX16" fmla="*/ 397651 w 834527"/>
                    <a:gd name="connsiteY16" fmla="*/ 819772 h 927552"/>
                    <a:gd name="connsiteX17" fmla="*/ 423007 w 834527"/>
                    <a:gd name="connsiteY17" fmla="*/ 862157 h 927552"/>
                    <a:gd name="connsiteX18" fmla="*/ 468031 w 834527"/>
                    <a:gd name="connsiteY18" fmla="*/ 878649 h 927552"/>
                    <a:gd name="connsiteX19" fmla="*/ 487780 w 834527"/>
                    <a:gd name="connsiteY19" fmla="*/ 927549 h 927552"/>
                    <a:gd name="connsiteX20" fmla="*/ 527196 w 834527"/>
                    <a:gd name="connsiteY20" fmla="*/ 917777 h 927552"/>
                    <a:gd name="connsiteX21" fmla="*/ 589042 w 834527"/>
                    <a:gd name="connsiteY21" fmla="*/ 894935 h 927552"/>
                    <a:gd name="connsiteX22" fmla="*/ 662267 w 834527"/>
                    <a:gd name="connsiteY22" fmla="*/ 826452 h 927552"/>
                    <a:gd name="connsiteX23" fmla="*/ 834075 w 834527"/>
                    <a:gd name="connsiteY23" fmla="*/ 702471 h 927552"/>
                    <a:gd name="connsiteX24" fmla="*/ 834528 w 834527"/>
                    <a:gd name="connsiteY24" fmla="*/ 702471 h 927552"/>
                    <a:gd name="connsiteX25" fmla="*/ 814325 w 834527"/>
                    <a:gd name="connsiteY25" fmla="*/ 662931 h 927552"/>
                    <a:gd name="connsiteX26" fmla="*/ 784763 w 834527"/>
                    <a:gd name="connsiteY26" fmla="*/ 652665 h 927552"/>
                    <a:gd name="connsiteX27" fmla="*/ 756685 w 834527"/>
                    <a:gd name="connsiteY27" fmla="*/ 633823 h 927552"/>
                    <a:gd name="connsiteX28" fmla="*/ 752274 w 834527"/>
                    <a:gd name="connsiteY28" fmla="*/ 597911 h 927552"/>
                    <a:gd name="connsiteX29" fmla="*/ 734544 w 834527"/>
                    <a:gd name="connsiteY29" fmla="*/ 568802 h 927552"/>
                    <a:gd name="connsiteX30" fmla="*/ 751944 w 834527"/>
                    <a:gd name="connsiteY30" fmla="*/ 545837 h 927552"/>
                    <a:gd name="connsiteX31" fmla="*/ 746007 w 834527"/>
                    <a:gd name="connsiteY31" fmla="*/ 524603 h 927552"/>
                    <a:gd name="connsiteX32" fmla="*/ 746007 w 834527"/>
                    <a:gd name="connsiteY32" fmla="*/ 495742 h 927552"/>
                    <a:gd name="connsiteX33" fmla="*/ 748934 w 834527"/>
                    <a:gd name="connsiteY33" fmla="*/ 464159 h 927552"/>
                    <a:gd name="connsiteX34" fmla="*/ 750171 w 834527"/>
                    <a:gd name="connsiteY34" fmla="*/ 415466 h 927552"/>
                    <a:gd name="connsiteX35" fmla="*/ 731782 w 834527"/>
                    <a:gd name="connsiteY35" fmla="*/ 372916 h 927552"/>
                    <a:gd name="connsiteX36" fmla="*/ 740646 w 834527"/>
                    <a:gd name="connsiteY36" fmla="*/ 363186 h 927552"/>
                    <a:gd name="connsiteX37" fmla="*/ 737101 w 834527"/>
                    <a:gd name="connsiteY37" fmla="*/ 350817 h 927552"/>
                    <a:gd name="connsiteX38" fmla="*/ 718176 w 834527"/>
                    <a:gd name="connsiteY38" fmla="*/ 268356 h 927552"/>
                    <a:gd name="connsiteX39" fmla="*/ 687377 w 834527"/>
                    <a:gd name="connsiteY39" fmla="*/ 240896 h 927552"/>
                    <a:gd name="connsiteX40" fmla="*/ 670885 w 834527"/>
                    <a:gd name="connsiteY40" fmla="*/ 210757 h 927552"/>
                    <a:gd name="connsiteX41" fmla="*/ 654393 w 834527"/>
                    <a:gd name="connsiteY41" fmla="*/ 161280 h 927552"/>
                    <a:gd name="connsiteX42" fmla="*/ 680450 w 834527"/>
                    <a:gd name="connsiteY42" fmla="*/ 131058 h 927552"/>
                    <a:gd name="connsiteX43" fmla="*/ 692325 w 834527"/>
                    <a:gd name="connsiteY43" fmla="*/ 81582 h 927552"/>
                    <a:gd name="connsiteX44" fmla="*/ 692695 w 834527"/>
                    <a:gd name="connsiteY44" fmla="*/ 9140 h 927552"/>
                    <a:gd name="connsiteX45" fmla="*/ 654969 w 834527"/>
                    <a:gd name="connsiteY45" fmla="*/ 646 h 927552"/>
                    <a:gd name="connsiteX46" fmla="*/ 614152 w 834527"/>
                    <a:gd name="connsiteY46" fmla="*/ 5429 h 927552"/>
                    <a:gd name="connsiteX47" fmla="*/ 558449 w 834527"/>
                    <a:gd name="connsiteY47" fmla="*/ 18458 h 927552"/>
                    <a:gd name="connsiteX48" fmla="*/ 408041 w 834527"/>
                    <a:gd name="connsiteY48" fmla="*/ 28724 h 927552"/>
                    <a:gd name="connsiteX49" fmla="*/ 345865 w 834527"/>
                    <a:gd name="connsiteY49" fmla="*/ 67151 h 927552"/>
                    <a:gd name="connsiteX50" fmla="*/ 283071 w 834527"/>
                    <a:gd name="connsiteY50" fmla="*/ 104877 h 927552"/>
                    <a:gd name="connsiteX51" fmla="*/ 267939 w 834527"/>
                    <a:gd name="connsiteY51" fmla="*/ 112711 h 927552"/>
                    <a:gd name="connsiteX52" fmla="*/ 274536 w 834527"/>
                    <a:gd name="connsiteY52" fmla="*/ 126977 h 927552"/>
                    <a:gd name="connsiteX53" fmla="*/ 286204 w 834527"/>
                    <a:gd name="connsiteY53" fmla="*/ 175958 h 9275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</a:cxnLst>
                  <a:rect l="l" t="t" r="r" b="b"/>
                  <a:pathLst>
                    <a:path w="834527" h="927552">
                      <a:moveTo>
                        <a:pt x="286204" y="175958"/>
                      </a:moveTo>
                      <a:cubicBezTo>
                        <a:pt x="286204" y="194100"/>
                        <a:pt x="280968" y="216777"/>
                        <a:pt x="288802" y="218302"/>
                      </a:cubicBezTo>
                      <a:cubicBezTo>
                        <a:pt x="296636" y="219828"/>
                        <a:pt x="303191" y="242504"/>
                        <a:pt x="304469" y="250050"/>
                      </a:cubicBezTo>
                      <a:cubicBezTo>
                        <a:pt x="305748" y="257595"/>
                        <a:pt x="303191" y="268191"/>
                        <a:pt x="295357" y="268191"/>
                      </a:cubicBezTo>
                      <a:cubicBezTo>
                        <a:pt x="287524" y="268191"/>
                        <a:pt x="236563" y="262130"/>
                        <a:pt x="236563" y="271242"/>
                      </a:cubicBezTo>
                      <a:cubicBezTo>
                        <a:pt x="236563" y="280354"/>
                        <a:pt x="224771" y="287734"/>
                        <a:pt x="213062" y="287734"/>
                      </a:cubicBezTo>
                      <a:cubicBezTo>
                        <a:pt x="201352" y="287734"/>
                        <a:pt x="201311" y="284683"/>
                        <a:pt x="199991" y="299773"/>
                      </a:cubicBezTo>
                      <a:cubicBezTo>
                        <a:pt x="198672" y="314864"/>
                        <a:pt x="202630" y="328635"/>
                        <a:pt x="194796" y="328635"/>
                      </a:cubicBezTo>
                      <a:cubicBezTo>
                        <a:pt x="186962" y="328635"/>
                        <a:pt x="188282" y="340757"/>
                        <a:pt x="176490" y="342241"/>
                      </a:cubicBezTo>
                      <a:cubicBezTo>
                        <a:pt x="164698" y="343725"/>
                        <a:pt x="146474" y="340757"/>
                        <a:pt x="146474" y="354363"/>
                      </a:cubicBezTo>
                      <a:cubicBezTo>
                        <a:pt x="147134" y="367334"/>
                        <a:pt x="138270" y="378862"/>
                        <a:pt x="125571" y="381575"/>
                      </a:cubicBezTo>
                      <a:cubicBezTo>
                        <a:pt x="112500" y="384626"/>
                        <a:pt x="90318" y="378565"/>
                        <a:pt x="90318" y="390646"/>
                      </a:cubicBezTo>
                      <a:cubicBezTo>
                        <a:pt x="90318" y="402726"/>
                        <a:pt x="73332" y="393697"/>
                        <a:pt x="64220" y="399716"/>
                      </a:cubicBezTo>
                      <a:cubicBezTo>
                        <a:pt x="55107" y="405736"/>
                        <a:pt x="1508" y="442060"/>
                        <a:pt x="230" y="448121"/>
                      </a:cubicBezTo>
                      <a:cubicBezTo>
                        <a:pt x="-430" y="451048"/>
                        <a:pt x="477" y="481105"/>
                        <a:pt x="1137" y="511409"/>
                      </a:cubicBezTo>
                      <a:cubicBezTo>
                        <a:pt x="2951" y="514807"/>
                        <a:pt x="5672" y="517656"/>
                        <a:pt x="8971" y="519656"/>
                      </a:cubicBezTo>
                      <a:cubicBezTo>
                        <a:pt x="28679" y="532684"/>
                        <a:pt x="386353" y="806702"/>
                        <a:pt x="397651" y="819772"/>
                      </a:cubicBezTo>
                      <a:cubicBezTo>
                        <a:pt x="408948" y="832842"/>
                        <a:pt x="423007" y="862157"/>
                        <a:pt x="423007" y="862157"/>
                      </a:cubicBezTo>
                      <a:cubicBezTo>
                        <a:pt x="438964" y="864590"/>
                        <a:pt x="454260" y="870197"/>
                        <a:pt x="468031" y="878649"/>
                      </a:cubicBezTo>
                      <a:cubicBezTo>
                        <a:pt x="487780" y="891719"/>
                        <a:pt x="487780" y="927549"/>
                        <a:pt x="487780" y="927549"/>
                      </a:cubicBezTo>
                      <a:cubicBezTo>
                        <a:pt x="487780" y="927549"/>
                        <a:pt x="513096" y="921034"/>
                        <a:pt x="527196" y="917777"/>
                      </a:cubicBezTo>
                      <a:cubicBezTo>
                        <a:pt x="541297" y="914520"/>
                        <a:pt x="589042" y="894935"/>
                        <a:pt x="589042" y="894935"/>
                      </a:cubicBezTo>
                      <a:lnTo>
                        <a:pt x="662267" y="826452"/>
                      </a:lnTo>
                      <a:lnTo>
                        <a:pt x="834075" y="702471"/>
                      </a:lnTo>
                      <a:lnTo>
                        <a:pt x="834528" y="702471"/>
                      </a:lnTo>
                      <a:cubicBezTo>
                        <a:pt x="829209" y="680537"/>
                        <a:pt x="823520" y="662931"/>
                        <a:pt x="814325" y="662931"/>
                      </a:cubicBezTo>
                      <a:cubicBezTo>
                        <a:pt x="803976" y="662931"/>
                        <a:pt x="796597" y="652665"/>
                        <a:pt x="784763" y="652665"/>
                      </a:cubicBezTo>
                      <a:cubicBezTo>
                        <a:pt x="772930" y="652665"/>
                        <a:pt x="758169" y="645821"/>
                        <a:pt x="756685" y="633823"/>
                      </a:cubicBezTo>
                      <a:cubicBezTo>
                        <a:pt x="755201" y="621825"/>
                        <a:pt x="761138" y="613208"/>
                        <a:pt x="752274" y="597911"/>
                      </a:cubicBezTo>
                      <a:cubicBezTo>
                        <a:pt x="743409" y="582615"/>
                        <a:pt x="734544" y="575647"/>
                        <a:pt x="734544" y="568802"/>
                      </a:cubicBezTo>
                      <a:cubicBezTo>
                        <a:pt x="734544" y="561958"/>
                        <a:pt x="749552" y="548640"/>
                        <a:pt x="751944" y="545837"/>
                      </a:cubicBezTo>
                      <a:cubicBezTo>
                        <a:pt x="754335" y="543033"/>
                        <a:pt x="746007" y="532148"/>
                        <a:pt x="746007" y="524603"/>
                      </a:cubicBezTo>
                      <a:cubicBezTo>
                        <a:pt x="746007" y="517058"/>
                        <a:pt x="740069" y="503988"/>
                        <a:pt x="746007" y="495742"/>
                      </a:cubicBezTo>
                      <a:cubicBezTo>
                        <a:pt x="751944" y="487496"/>
                        <a:pt x="755489" y="479250"/>
                        <a:pt x="748934" y="464159"/>
                      </a:cubicBezTo>
                      <a:cubicBezTo>
                        <a:pt x="742378" y="449069"/>
                        <a:pt x="757840" y="435298"/>
                        <a:pt x="750171" y="415466"/>
                      </a:cubicBezTo>
                      <a:cubicBezTo>
                        <a:pt x="742502" y="395634"/>
                        <a:pt x="730628" y="379802"/>
                        <a:pt x="731782" y="372916"/>
                      </a:cubicBezTo>
                      <a:cubicBezTo>
                        <a:pt x="732277" y="369989"/>
                        <a:pt x="736111" y="366773"/>
                        <a:pt x="740646" y="363186"/>
                      </a:cubicBezTo>
                      <a:cubicBezTo>
                        <a:pt x="738255" y="359504"/>
                        <a:pt x="737018" y="355200"/>
                        <a:pt x="737101" y="350817"/>
                      </a:cubicBezTo>
                      <a:cubicBezTo>
                        <a:pt x="737101" y="331603"/>
                        <a:pt x="725268" y="279488"/>
                        <a:pt x="718176" y="268356"/>
                      </a:cubicBezTo>
                      <a:cubicBezTo>
                        <a:pt x="711085" y="257224"/>
                        <a:pt x="687377" y="249101"/>
                        <a:pt x="687377" y="240896"/>
                      </a:cubicBezTo>
                      <a:cubicBezTo>
                        <a:pt x="687377" y="232692"/>
                        <a:pt x="687377" y="218962"/>
                        <a:pt x="670885" y="210757"/>
                      </a:cubicBezTo>
                      <a:cubicBezTo>
                        <a:pt x="654393" y="202552"/>
                        <a:pt x="644868" y="161280"/>
                        <a:pt x="654393" y="161280"/>
                      </a:cubicBezTo>
                      <a:cubicBezTo>
                        <a:pt x="663917" y="161280"/>
                        <a:pt x="670885" y="136542"/>
                        <a:pt x="680450" y="131058"/>
                      </a:cubicBezTo>
                      <a:cubicBezTo>
                        <a:pt x="690015" y="125575"/>
                        <a:pt x="701766" y="98074"/>
                        <a:pt x="692325" y="81582"/>
                      </a:cubicBezTo>
                      <a:cubicBezTo>
                        <a:pt x="685975" y="70573"/>
                        <a:pt x="689150" y="36228"/>
                        <a:pt x="692695" y="9140"/>
                      </a:cubicBezTo>
                      <a:cubicBezTo>
                        <a:pt x="679749" y="8373"/>
                        <a:pt x="667009" y="5508"/>
                        <a:pt x="654969" y="646"/>
                      </a:cubicBezTo>
                      <a:cubicBezTo>
                        <a:pt x="647878" y="-2116"/>
                        <a:pt x="627180" y="4770"/>
                        <a:pt x="614152" y="5429"/>
                      </a:cubicBezTo>
                      <a:cubicBezTo>
                        <a:pt x="601123" y="6089"/>
                        <a:pt x="569128" y="30167"/>
                        <a:pt x="558449" y="18458"/>
                      </a:cubicBezTo>
                      <a:cubicBezTo>
                        <a:pt x="547770" y="6749"/>
                        <a:pt x="438881" y="27364"/>
                        <a:pt x="408041" y="28724"/>
                      </a:cubicBezTo>
                      <a:cubicBezTo>
                        <a:pt x="377200" y="30085"/>
                        <a:pt x="364213" y="67151"/>
                        <a:pt x="345865" y="67151"/>
                      </a:cubicBezTo>
                      <a:cubicBezTo>
                        <a:pt x="327517" y="67151"/>
                        <a:pt x="298450" y="85004"/>
                        <a:pt x="283071" y="104877"/>
                      </a:cubicBezTo>
                      <a:cubicBezTo>
                        <a:pt x="279566" y="109775"/>
                        <a:pt x="273959" y="112694"/>
                        <a:pt x="267939" y="112711"/>
                      </a:cubicBezTo>
                      <a:cubicBezTo>
                        <a:pt x="269671" y="117663"/>
                        <a:pt x="271898" y="122441"/>
                        <a:pt x="274536" y="126977"/>
                      </a:cubicBezTo>
                      <a:cubicBezTo>
                        <a:pt x="283566" y="141160"/>
                        <a:pt x="286204" y="157817"/>
                        <a:pt x="286204" y="175958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31" name="Freeform: Shape 330">
                  <a:extLst>
                    <a:ext uri="{FF2B5EF4-FFF2-40B4-BE49-F238E27FC236}">
                      <a16:creationId xmlns:a16="http://schemas.microsoft.com/office/drawing/2014/main" id="{06C89A83-ED72-5E4B-E792-5DABC2F069E6}"/>
                    </a:ext>
                  </a:extLst>
                </p:cNvPr>
                <p:cNvSpPr/>
                <p:nvPr>
                  <p:custDataLst>
                    <p:tags r:id="rId332"/>
                  </p:custDataLst>
                </p:nvPr>
              </p:nvSpPr>
              <p:spPr>
                <a:xfrm>
                  <a:off x="7051747" y="4286454"/>
                  <a:ext cx="519054" cy="579538"/>
                </a:xfrm>
                <a:custGeom>
                  <a:avLst/>
                  <a:gdLst>
                    <a:gd name="connsiteX0" fmla="*/ 606090 w 606089"/>
                    <a:gd name="connsiteY0" fmla="*/ 59615 h 676715"/>
                    <a:gd name="connsiteX1" fmla="*/ 604977 w 606089"/>
                    <a:gd name="connsiteY1" fmla="*/ 57842 h 676715"/>
                    <a:gd name="connsiteX2" fmla="*/ 551088 w 606089"/>
                    <a:gd name="connsiteY2" fmla="*/ 41350 h 676715"/>
                    <a:gd name="connsiteX3" fmla="*/ 506601 w 606089"/>
                    <a:gd name="connsiteY3" fmla="*/ 8654 h 676715"/>
                    <a:gd name="connsiteX4" fmla="*/ 464587 w 606089"/>
                    <a:gd name="connsiteY4" fmla="*/ 49472 h 676715"/>
                    <a:gd name="connsiteX5" fmla="*/ 426984 w 606089"/>
                    <a:gd name="connsiteY5" fmla="*/ 25888 h 676715"/>
                    <a:gd name="connsiteX6" fmla="*/ 400638 w 606089"/>
                    <a:gd name="connsiteY6" fmla="*/ 57842 h 676715"/>
                    <a:gd name="connsiteX7" fmla="*/ 405957 w 606089"/>
                    <a:gd name="connsiteY7" fmla="*/ 118203 h 676715"/>
                    <a:gd name="connsiteX8" fmla="*/ 344359 w 606089"/>
                    <a:gd name="connsiteY8" fmla="*/ 118863 h 676715"/>
                    <a:gd name="connsiteX9" fmla="*/ 270144 w 606089"/>
                    <a:gd name="connsiteY9" fmla="*/ 88023 h 676715"/>
                    <a:gd name="connsiteX10" fmla="*/ 230439 w 606089"/>
                    <a:gd name="connsiteY10" fmla="*/ 55038 h 676715"/>
                    <a:gd name="connsiteX11" fmla="*/ 204422 w 606089"/>
                    <a:gd name="connsiteY11" fmla="*/ 28321 h 676715"/>
                    <a:gd name="connsiteX12" fmla="*/ 131609 w 606089"/>
                    <a:gd name="connsiteY12" fmla="*/ 11169 h 676715"/>
                    <a:gd name="connsiteX13" fmla="*/ 85390 w 606089"/>
                    <a:gd name="connsiteY13" fmla="*/ -4 h 676715"/>
                    <a:gd name="connsiteX14" fmla="*/ 84194 w 606089"/>
                    <a:gd name="connsiteY14" fmla="*/ 24198 h 676715"/>
                    <a:gd name="connsiteX15" fmla="*/ 67002 w 606089"/>
                    <a:gd name="connsiteY15" fmla="*/ 38587 h 676715"/>
                    <a:gd name="connsiteX16" fmla="*/ 36243 w 606089"/>
                    <a:gd name="connsiteY16" fmla="*/ 72190 h 676715"/>
                    <a:gd name="connsiteX17" fmla="*/ 32656 w 606089"/>
                    <a:gd name="connsiteY17" fmla="*/ 92806 h 676715"/>
                    <a:gd name="connsiteX18" fmla="*/ 25565 w 606089"/>
                    <a:gd name="connsiteY18" fmla="*/ 129913 h 676715"/>
                    <a:gd name="connsiteX19" fmla="*/ 85 w 606089"/>
                    <a:gd name="connsiteY19" fmla="*/ 156672 h 676715"/>
                    <a:gd name="connsiteX20" fmla="*/ 18473 w 606089"/>
                    <a:gd name="connsiteY20" fmla="*/ 199221 h 676715"/>
                    <a:gd name="connsiteX21" fmla="*/ 17236 w 606089"/>
                    <a:gd name="connsiteY21" fmla="*/ 247915 h 676715"/>
                    <a:gd name="connsiteX22" fmla="*/ 14309 w 606089"/>
                    <a:gd name="connsiteY22" fmla="*/ 279497 h 676715"/>
                    <a:gd name="connsiteX23" fmla="*/ 14309 w 606089"/>
                    <a:gd name="connsiteY23" fmla="*/ 308358 h 676715"/>
                    <a:gd name="connsiteX24" fmla="*/ 20246 w 606089"/>
                    <a:gd name="connsiteY24" fmla="*/ 329592 h 676715"/>
                    <a:gd name="connsiteX25" fmla="*/ 2847 w 606089"/>
                    <a:gd name="connsiteY25" fmla="*/ 352558 h 676715"/>
                    <a:gd name="connsiteX26" fmla="*/ 20576 w 606089"/>
                    <a:gd name="connsiteY26" fmla="*/ 381666 h 676715"/>
                    <a:gd name="connsiteX27" fmla="*/ 24987 w 606089"/>
                    <a:gd name="connsiteY27" fmla="*/ 417578 h 676715"/>
                    <a:gd name="connsiteX28" fmla="*/ 53066 w 606089"/>
                    <a:gd name="connsiteY28" fmla="*/ 436420 h 676715"/>
                    <a:gd name="connsiteX29" fmla="*/ 82628 w 606089"/>
                    <a:gd name="connsiteY29" fmla="*/ 446686 h 676715"/>
                    <a:gd name="connsiteX30" fmla="*/ 102831 w 606089"/>
                    <a:gd name="connsiteY30" fmla="*/ 486227 h 676715"/>
                    <a:gd name="connsiteX31" fmla="*/ 161501 w 606089"/>
                    <a:gd name="connsiteY31" fmla="*/ 499297 h 676715"/>
                    <a:gd name="connsiteX32" fmla="*/ 186858 w 606089"/>
                    <a:gd name="connsiteY32" fmla="*/ 528653 h 676715"/>
                    <a:gd name="connsiteX33" fmla="*/ 254435 w 606089"/>
                    <a:gd name="connsiteY33" fmla="*/ 486227 h 676715"/>
                    <a:gd name="connsiteX34" fmla="*/ 560242 w 606089"/>
                    <a:gd name="connsiteY34" fmla="*/ 676711 h 676715"/>
                    <a:gd name="connsiteX35" fmla="*/ 560242 w 606089"/>
                    <a:gd name="connsiteY35" fmla="*/ 651973 h 676715"/>
                    <a:gd name="connsiteX36" fmla="*/ 597349 w 606089"/>
                    <a:gd name="connsiteY36" fmla="*/ 651973 h 676715"/>
                    <a:gd name="connsiteX37" fmla="*/ 597349 w 606089"/>
                    <a:gd name="connsiteY37" fmla="*/ 197036 h 676715"/>
                    <a:gd name="connsiteX38" fmla="*/ 597349 w 606089"/>
                    <a:gd name="connsiteY38" fmla="*/ 128387 h 676715"/>
                    <a:gd name="connsiteX39" fmla="*/ 602296 w 606089"/>
                    <a:gd name="connsiteY39" fmla="*/ 71160 h 676715"/>
                    <a:gd name="connsiteX40" fmla="*/ 606090 w 606089"/>
                    <a:gd name="connsiteY40" fmla="*/ 59615 h 6767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</a:cxnLst>
                  <a:rect l="l" t="t" r="r" b="b"/>
                  <a:pathLst>
                    <a:path w="606089" h="676715">
                      <a:moveTo>
                        <a:pt x="606090" y="59615"/>
                      </a:moveTo>
                      <a:cubicBezTo>
                        <a:pt x="605636" y="59071"/>
                        <a:pt x="605265" y="58473"/>
                        <a:pt x="604977" y="57842"/>
                      </a:cubicBezTo>
                      <a:cubicBezTo>
                        <a:pt x="602008" y="48235"/>
                        <a:pt x="586011" y="47534"/>
                        <a:pt x="551088" y="41350"/>
                      </a:cubicBezTo>
                      <a:cubicBezTo>
                        <a:pt x="522227" y="36320"/>
                        <a:pt x="525979" y="16941"/>
                        <a:pt x="506601" y="8654"/>
                      </a:cubicBezTo>
                      <a:cubicBezTo>
                        <a:pt x="504951" y="29682"/>
                        <a:pt x="490933" y="49472"/>
                        <a:pt x="464587" y="49472"/>
                      </a:cubicBezTo>
                      <a:cubicBezTo>
                        <a:pt x="448425" y="50050"/>
                        <a:pt x="433499" y="40707"/>
                        <a:pt x="426984" y="25888"/>
                      </a:cubicBezTo>
                      <a:cubicBezTo>
                        <a:pt x="411688" y="36526"/>
                        <a:pt x="400927" y="48978"/>
                        <a:pt x="400638" y="57842"/>
                      </a:cubicBezTo>
                      <a:cubicBezTo>
                        <a:pt x="400061" y="77056"/>
                        <a:pt x="418986" y="98289"/>
                        <a:pt x="405957" y="118203"/>
                      </a:cubicBezTo>
                      <a:cubicBezTo>
                        <a:pt x="392928" y="138118"/>
                        <a:pt x="364727" y="140138"/>
                        <a:pt x="344359" y="118863"/>
                      </a:cubicBezTo>
                      <a:cubicBezTo>
                        <a:pt x="324692" y="99139"/>
                        <a:pt x="298015" y="88043"/>
                        <a:pt x="270144" y="88023"/>
                      </a:cubicBezTo>
                      <a:cubicBezTo>
                        <a:pt x="245901" y="88023"/>
                        <a:pt x="228914" y="70170"/>
                        <a:pt x="230439" y="55038"/>
                      </a:cubicBezTo>
                      <a:cubicBezTo>
                        <a:pt x="231965" y="39907"/>
                        <a:pt x="224543" y="33063"/>
                        <a:pt x="204422" y="28321"/>
                      </a:cubicBezTo>
                      <a:cubicBezTo>
                        <a:pt x="184302" y="23579"/>
                        <a:pt x="167109" y="4284"/>
                        <a:pt x="131609" y="11169"/>
                      </a:cubicBezTo>
                      <a:cubicBezTo>
                        <a:pt x="115323" y="14179"/>
                        <a:pt x="98502" y="10114"/>
                        <a:pt x="85390" y="-4"/>
                      </a:cubicBezTo>
                      <a:cubicBezTo>
                        <a:pt x="84524" y="8031"/>
                        <a:pt x="84112" y="16113"/>
                        <a:pt x="84194" y="24198"/>
                      </a:cubicBezTo>
                      <a:cubicBezTo>
                        <a:pt x="84772" y="39288"/>
                        <a:pt x="71166" y="36567"/>
                        <a:pt x="67002" y="38587"/>
                      </a:cubicBezTo>
                      <a:cubicBezTo>
                        <a:pt x="62837" y="40608"/>
                        <a:pt x="41562" y="66707"/>
                        <a:pt x="36243" y="72190"/>
                      </a:cubicBezTo>
                      <a:cubicBezTo>
                        <a:pt x="31378" y="77901"/>
                        <a:pt x="30017" y="85792"/>
                        <a:pt x="32656" y="92806"/>
                      </a:cubicBezTo>
                      <a:cubicBezTo>
                        <a:pt x="35048" y="98289"/>
                        <a:pt x="30884" y="118203"/>
                        <a:pt x="25565" y="129913"/>
                      </a:cubicBezTo>
                      <a:cubicBezTo>
                        <a:pt x="20246" y="141622"/>
                        <a:pt x="1280" y="149827"/>
                        <a:pt x="85" y="156672"/>
                      </a:cubicBezTo>
                      <a:cubicBezTo>
                        <a:pt x="-1111" y="163516"/>
                        <a:pt x="10722" y="179307"/>
                        <a:pt x="18473" y="199221"/>
                      </a:cubicBezTo>
                      <a:cubicBezTo>
                        <a:pt x="26225" y="219136"/>
                        <a:pt x="10722" y="232824"/>
                        <a:pt x="17236" y="247915"/>
                      </a:cubicBezTo>
                      <a:cubicBezTo>
                        <a:pt x="23751" y="263005"/>
                        <a:pt x="20246" y="271251"/>
                        <a:pt x="14309" y="279497"/>
                      </a:cubicBezTo>
                      <a:cubicBezTo>
                        <a:pt x="8371" y="287743"/>
                        <a:pt x="14309" y="300731"/>
                        <a:pt x="14309" y="308358"/>
                      </a:cubicBezTo>
                      <a:cubicBezTo>
                        <a:pt x="14309" y="315986"/>
                        <a:pt x="22555" y="326871"/>
                        <a:pt x="20246" y="329592"/>
                      </a:cubicBezTo>
                      <a:cubicBezTo>
                        <a:pt x="17937" y="332313"/>
                        <a:pt x="2847" y="345713"/>
                        <a:pt x="2847" y="352558"/>
                      </a:cubicBezTo>
                      <a:cubicBezTo>
                        <a:pt x="2847" y="359402"/>
                        <a:pt x="11711" y="366246"/>
                        <a:pt x="20576" y="381666"/>
                      </a:cubicBezTo>
                      <a:cubicBezTo>
                        <a:pt x="29441" y="397086"/>
                        <a:pt x="23503" y="405621"/>
                        <a:pt x="24987" y="417578"/>
                      </a:cubicBezTo>
                      <a:cubicBezTo>
                        <a:pt x="26472" y="429535"/>
                        <a:pt x="41232" y="436420"/>
                        <a:pt x="53066" y="436420"/>
                      </a:cubicBezTo>
                      <a:cubicBezTo>
                        <a:pt x="64899" y="436420"/>
                        <a:pt x="72279" y="446686"/>
                        <a:pt x="82628" y="446686"/>
                      </a:cubicBezTo>
                      <a:cubicBezTo>
                        <a:pt x="91822" y="446686"/>
                        <a:pt x="97512" y="464292"/>
                        <a:pt x="102831" y="486227"/>
                      </a:cubicBezTo>
                      <a:cubicBezTo>
                        <a:pt x="107242" y="486227"/>
                        <a:pt x="145587" y="487010"/>
                        <a:pt x="161501" y="499297"/>
                      </a:cubicBezTo>
                      <a:cubicBezTo>
                        <a:pt x="171809" y="507337"/>
                        <a:pt x="180427" y="517315"/>
                        <a:pt x="186858" y="528653"/>
                      </a:cubicBezTo>
                      <a:lnTo>
                        <a:pt x="254435" y="486227"/>
                      </a:lnTo>
                      <a:lnTo>
                        <a:pt x="560242" y="676711"/>
                      </a:lnTo>
                      <a:lnTo>
                        <a:pt x="560242" y="651973"/>
                      </a:lnTo>
                      <a:lnTo>
                        <a:pt x="597349" y="651973"/>
                      </a:lnTo>
                      <a:lnTo>
                        <a:pt x="597349" y="197036"/>
                      </a:lnTo>
                      <a:cubicBezTo>
                        <a:pt x="597349" y="165618"/>
                        <a:pt x="584980" y="145539"/>
                        <a:pt x="597349" y="128387"/>
                      </a:cubicBezTo>
                      <a:cubicBezTo>
                        <a:pt x="609718" y="111235"/>
                        <a:pt x="592401" y="102659"/>
                        <a:pt x="602296" y="71160"/>
                      </a:cubicBezTo>
                      <a:cubicBezTo>
                        <a:pt x="603616" y="67490"/>
                        <a:pt x="604811" y="63614"/>
                        <a:pt x="606090" y="59615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32" name="Freeform: Shape 331">
                  <a:extLst>
                    <a:ext uri="{FF2B5EF4-FFF2-40B4-BE49-F238E27FC236}">
                      <a16:creationId xmlns:a16="http://schemas.microsoft.com/office/drawing/2014/main" id="{384DCCED-57DD-4F22-B6F2-DA1B7D1CF61E}"/>
                    </a:ext>
                  </a:extLst>
                </p:cNvPr>
                <p:cNvSpPr/>
                <p:nvPr>
                  <p:custDataLst>
                    <p:tags r:id="rId333"/>
                  </p:custDataLst>
                </p:nvPr>
              </p:nvSpPr>
              <p:spPr>
                <a:xfrm>
                  <a:off x="6153645" y="5101872"/>
                  <a:ext cx="96890" cy="31804"/>
                </a:xfrm>
                <a:custGeom>
                  <a:avLst/>
                  <a:gdLst>
                    <a:gd name="connsiteX0" fmla="*/ 53229 w 113136"/>
                    <a:gd name="connsiteY0" fmla="*/ 2045 h 37136"/>
                    <a:gd name="connsiteX1" fmla="*/ 2516 w 113136"/>
                    <a:gd name="connsiteY1" fmla="*/ 11611 h 37136"/>
                    <a:gd name="connsiteX2" fmla="*/ 1 w 113136"/>
                    <a:gd name="connsiteY2" fmla="*/ 25547 h 37136"/>
                    <a:gd name="connsiteX3" fmla="*/ 6680 w 113136"/>
                    <a:gd name="connsiteY3" fmla="*/ 37133 h 37136"/>
                    <a:gd name="connsiteX4" fmla="*/ 9030 w 113136"/>
                    <a:gd name="connsiteY4" fmla="*/ 36720 h 37136"/>
                    <a:gd name="connsiteX5" fmla="*/ 54713 w 113136"/>
                    <a:gd name="connsiteY5" fmla="*/ 22001 h 37136"/>
                    <a:gd name="connsiteX6" fmla="*/ 88399 w 113136"/>
                    <a:gd name="connsiteY6" fmla="*/ 32391 h 37136"/>
                    <a:gd name="connsiteX7" fmla="*/ 113137 w 113136"/>
                    <a:gd name="connsiteY7" fmla="*/ 24598 h 37136"/>
                    <a:gd name="connsiteX8" fmla="*/ 91367 w 113136"/>
                    <a:gd name="connsiteY8" fmla="*/ 21135 h 37136"/>
                    <a:gd name="connsiteX9" fmla="*/ 53229 w 113136"/>
                    <a:gd name="connsiteY9" fmla="*/ 2045 h 371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13134" h="37136">
                      <a:moveTo>
                        <a:pt x="53229" y="2045"/>
                      </a:moveTo>
                      <a:cubicBezTo>
                        <a:pt x="36077" y="11570"/>
                        <a:pt x="24079" y="14167"/>
                        <a:pt x="2516" y="11611"/>
                      </a:cubicBezTo>
                      <a:cubicBezTo>
                        <a:pt x="2103" y="16311"/>
                        <a:pt x="1238" y="20970"/>
                        <a:pt x="1" y="25547"/>
                      </a:cubicBezTo>
                      <a:cubicBezTo>
                        <a:pt x="2392" y="29340"/>
                        <a:pt x="4619" y="33175"/>
                        <a:pt x="6680" y="37133"/>
                      </a:cubicBezTo>
                      <a:cubicBezTo>
                        <a:pt x="7463" y="36926"/>
                        <a:pt x="8247" y="36803"/>
                        <a:pt x="9030" y="36720"/>
                      </a:cubicBezTo>
                      <a:cubicBezTo>
                        <a:pt x="21028" y="35895"/>
                        <a:pt x="46467" y="30659"/>
                        <a:pt x="54713" y="22001"/>
                      </a:cubicBezTo>
                      <a:cubicBezTo>
                        <a:pt x="62959" y="13342"/>
                        <a:pt x="76483" y="30659"/>
                        <a:pt x="88399" y="32391"/>
                      </a:cubicBezTo>
                      <a:cubicBezTo>
                        <a:pt x="100315" y="34123"/>
                        <a:pt x="113137" y="24598"/>
                        <a:pt x="113137" y="24598"/>
                      </a:cubicBezTo>
                      <a:cubicBezTo>
                        <a:pt x="113137" y="24598"/>
                        <a:pt x="110869" y="22867"/>
                        <a:pt x="91367" y="21135"/>
                      </a:cubicBezTo>
                      <a:cubicBezTo>
                        <a:pt x="71865" y="19403"/>
                        <a:pt x="70464" y="-7520"/>
                        <a:pt x="53229" y="2045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33" name="Freeform: Shape 332">
                  <a:extLst>
                    <a:ext uri="{FF2B5EF4-FFF2-40B4-BE49-F238E27FC236}">
                      <a16:creationId xmlns:a16="http://schemas.microsoft.com/office/drawing/2014/main" id="{BED84FDD-803A-FDD1-D745-29CC7582FDC6}"/>
                    </a:ext>
                  </a:extLst>
                </p:cNvPr>
                <p:cNvSpPr/>
                <p:nvPr>
                  <p:custDataLst>
                    <p:tags r:id="rId334"/>
                  </p:custDataLst>
                </p:nvPr>
              </p:nvSpPr>
              <p:spPr>
                <a:xfrm>
                  <a:off x="6137205" y="4991321"/>
                  <a:ext cx="195487" cy="177611"/>
                </a:xfrm>
                <a:custGeom>
                  <a:avLst/>
                  <a:gdLst>
                    <a:gd name="connsiteX0" fmla="*/ 206468 w 228266"/>
                    <a:gd name="connsiteY0" fmla="*/ 141566 h 207393"/>
                    <a:gd name="connsiteX1" fmla="*/ 200531 w 228266"/>
                    <a:gd name="connsiteY1" fmla="*/ 112705 h 207393"/>
                    <a:gd name="connsiteX2" fmla="*/ 193192 w 228266"/>
                    <a:gd name="connsiteY2" fmla="*/ 100047 h 207393"/>
                    <a:gd name="connsiteX3" fmla="*/ 170639 w 228266"/>
                    <a:gd name="connsiteY3" fmla="*/ 67434 h 207393"/>
                    <a:gd name="connsiteX4" fmla="*/ 142478 w 228266"/>
                    <a:gd name="connsiteY4" fmla="*/ 25007 h 207393"/>
                    <a:gd name="connsiteX5" fmla="*/ 128378 w 228266"/>
                    <a:gd name="connsiteY5" fmla="*/ 25007 h 207393"/>
                    <a:gd name="connsiteX6" fmla="*/ 105865 w 228266"/>
                    <a:gd name="connsiteY6" fmla="*/ 2165 h 207393"/>
                    <a:gd name="connsiteX7" fmla="*/ 74901 w 228266"/>
                    <a:gd name="connsiteY7" fmla="*/ 5423 h 207393"/>
                    <a:gd name="connsiteX8" fmla="*/ 38289 w 228266"/>
                    <a:gd name="connsiteY8" fmla="*/ 5423 h 207393"/>
                    <a:gd name="connsiteX9" fmla="*/ 15736 w 228266"/>
                    <a:gd name="connsiteY9" fmla="*/ 28265 h 207393"/>
                    <a:gd name="connsiteX10" fmla="*/ 13674 w 228266"/>
                    <a:gd name="connsiteY10" fmla="*/ 28883 h 207393"/>
                    <a:gd name="connsiteX11" fmla="*/ 4521 w 228266"/>
                    <a:gd name="connsiteY11" fmla="*/ 65990 h 207393"/>
                    <a:gd name="connsiteX12" fmla="*/ 150 w 228266"/>
                    <a:gd name="connsiteY12" fmla="*/ 86936 h 207393"/>
                    <a:gd name="connsiteX13" fmla="*/ 18952 w 228266"/>
                    <a:gd name="connsiteY13" fmla="*/ 131382 h 207393"/>
                    <a:gd name="connsiteX14" fmla="*/ 19323 w 228266"/>
                    <a:gd name="connsiteY14" fmla="*/ 131836 h 207393"/>
                    <a:gd name="connsiteX15" fmla="*/ 21714 w 228266"/>
                    <a:gd name="connsiteY15" fmla="*/ 140576 h 207393"/>
                    <a:gd name="connsiteX16" fmla="*/ 72428 w 228266"/>
                    <a:gd name="connsiteY16" fmla="*/ 131011 h 207393"/>
                    <a:gd name="connsiteX17" fmla="*/ 110607 w 228266"/>
                    <a:gd name="connsiteY17" fmla="*/ 150100 h 207393"/>
                    <a:gd name="connsiteX18" fmla="*/ 132377 w 228266"/>
                    <a:gd name="connsiteY18" fmla="*/ 153564 h 207393"/>
                    <a:gd name="connsiteX19" fmla="*/ 107639 w 228266"/>
                    <a:gd name="connsiteY19" fmla="*/ 161356 h 207393"/>
                    <a:gd name="connsiteX20" fmla="*/ 73953 w 228266"/>
                    <a:gd name="connsiteY20" fmla="*/ 150967 h 207393"/>
                    <a:gd name="connsiteX21" fmla="*/ 28270 w 228266"/>
                    <a:gd name="connsiteY21" fmla="*/ 165686 h 207393"/>
                    <a:gd name="connsiteX22" fmla="*/ 25919 w 228266"/>
                    <a:gd name="connsiteY22" fmla="*/ 166098 h 207393"/>
                    <a:gd name="connsiteX23" fmla="*/ 35856 w 228266"/>
                    <a:gd name="connsiteY23" fmla="*/ 194093 h 207393"/>
                    <a:gd name="connsiteX24" fmla="*/ 45463 w 228266"/>
                    <a:gd name="connsiteY24" fmla="*/ 202340 h 207393"/>
                    <a:gd name="connsiteX25" fmla="*/ 67975 w 228266"/>
                    <a:gd name="connsiteY25" fmla="*/ 191908 h 207393"/>
                    <a:gd name="connsiteX26" fmla="*/ 126398 w 228266"/>
                    <a:gd name="connsiteY26" fmla="*/ 186713 h 207393"/>
                    <a:gd name="connsiteX27" fmla="*/ 136500 w 228266"/>
                    <a:gd name="connsiteY27" fmla="*/ 189805 h 207393"/>
                    <a:gd name="connsiteX28" fmla="*/ 136500 w 228266"/>
                    <a:gd name="connsiteY28" fmla="*/ 185682 h 207393"/>
                    <a:gd name="connsiteX29" fmla="*/ 164949 w 228266"/>
                    <a:gd name="connsiteY29" fmla="*/ 199041 h 207393"/>
                    <a:gd name="connsiteX30" fmla="*/ 223537 w 228266"/>
                    <a:gd name="connsiteY30" fmla="*/ 203164 h 207393"/>
                    <a:gd name="connsiteX31" fmla="*/ 227949 w 228266"/>
                    <a:gd name="connsiteY31" fmla="*/ 201350 h 207393"/>
                    <a:gd name="connsiteX32" fmla="*/ 227702 w 228266"/>
                    <a:gd name="connsiteY32" fmla="*/ 171953 h 207393"/>
                    <a:gd name="connsiteX33" fmla="*/ 206468 w 228266"/>
                    <a:gd name="connsiteY33" fmla="*/ 141566 h 2073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</a:cxnLst>
                  <a:rect l="l" t="t" r="r" b="b"/>
                  <a:pathLst>
                    <a:path w="228266" h="207390">
                      <a:moveTo>
                        <a:pt x="206468" y="141566"/>
                      </a:moveTo>
                      <a:cubicBezTo>
                        <a:pt x="199376" y="133320"/>
                        <a:pt x="200531" y="112705"/>
                        <a:pt x="200531" y="112705"/>
                      </a:cubicBezTo>
                      <a:lnTo>
                        <a:pt x="193192" y="100047"/>
                      </a:lnTo>
                      <a:cubicBezTo>
                        <a:pt x="193192" y="100047"/>
                        <a:pt x="187543" y="73907"/>
                        <a:pt x="170639" y="67434"/>
                      </a:cubicBezTo>
                      <a:cubicBezTo>
                        <a:pt x="153734" y="60960"/>
                        <a:pt x="142478" y="25007"/>
                        <a:pt x="142478" y="25007"/>
                      </a:cubicBezTo>
                      <a:lnTo>
                        <a:pt x="128378" y="25007"/>
                      </a:lnTo>
                      <a:cubicBezTo>
                        <a:pt x="128378" y="25007"/>
                        <a:pt x="117121" y="8515"/>
                        <a:pt x="105865" y="2165"/>
                      </a:cubicBezTo>
                      <a:cubicBezTo>
                        <a:pt x="94610" y="-4184"/>
                        <a:pt x="74901" y="5423"/>
                        <a:pt x="74901" y="5423"/>
                      </a:cubicBezTo>
                      <a:cubicBezTo>
                        <a:pt x="74901" y="5423"/>
                        <a:pt x="52348" y="8721"/>
                        <a:pt x="38289" y="5423"/>
                      </a:cubicBezTo>
                      <a:cubicBezTo>
                        <a:pt x="24229" y="2124"/>
                        <a:pt x="26992" y="25007"/>
                        <a:pt x="15736" y="28265"/>
                      </a:cubicBezTo>
                      <a:lnTo>
                        <a:pt x="13674" y="28883"/>
                      </a:lnTo>
                      <a:cubicBezTo>
                        <a:pt x="12396" y="42159"/>
                        <a:pt x="10458" y="55724"/>
                        <a:pt x="4521" y="65990"/>
                      </a:cubicBezTo>
                      <a:cubicBezTo>
                        <a:pt x="1017" y="72381"/>
                        <a:pt x="-509" y="79679"/>
                        <a:pt x="150" y="86936"/>
                      </a:cubicBezTo>
                      <a:cubicBezTo>
                        <a:pt x="14086" y="97202"/>
                        <a:pt x="21302" y="114230"/>
                        <a:pt x="18952" y="131382"/>
                      </a:cubicBezTo>
                      <a:lnTo>
                        <a:pt x="19323" y="131836"/>
                      </a:lnTo>
                      <a:cubicBezTo>
                        <a:pt x="21260" y="134309"/>
                        <a:pt x="22127" y="137443"/>
                        <a:pt x="21714" y="140576"/>
                      </a:cubicBezTo>
                      <a:cubicBezTo>
                        <a:pt x="43278" y="143133"/>
                        <a:pt x="55276" y="140576"/>
                        <a:pt x="72428" y="131011"/>
                      </a:cubicBezTo>
                      <a:cubicBezTo>
                        <a:pt x="89580" y="121445"/>
                        <a:pt x="91146" y="148369"/>
                        <a:pt x="110607" y="150100"/>
                      </a:cubicBezTo>
                      <a:cubicBezTo>
                        <a:pt x="130068" y="151832"/>
                        <a:pt x="132377" y="153564"/>
                        <a:pt x="132377" y="153564"/>
                      </a:cubicBezTo>
                      <a:cubicBezTo>
                        <a:pt x="132377" y="153564"/>
                        <a:pt x="119637" y="163129"/>
                        <a:pt x="107639" y="161356"/>
                      </a:cubicBezTo>
                      <a:cubicBezTo>
                        <a:pt x="95640" y="159584"/>
                        <a:pt x="82199" y="142266"/>
                        <a:pt x="73953" y="150967"/>
                      </a:cubicBezTo>
                      <a:cubicBezTo>
                        <a:pt x="65707" y="159666"/>
                        <a:pt x="40268" y="164861"/>
                        <a:pt x="28270" y="165686"/>
                      </a:cubicBezTo>
                      <a:cubicBezTo>
                        <a:pt x="27486" y="165768"/>
                        <a:pt x="26703" y="165892"/>
                        <a:pt x="25919" y="166098"/>
                      </a:cubicBezTo>
                      <a:cubicBezTo>
                        <a:pt x="30537" y="174921"/>
                        <a:pt x="33877" y="184322"/>
                        <a:pt x="35856" y="194093"/>
                      </a:cubicBezTo>
                      <a:cubicBezTo>
                        <a:pt x="43113" y="194835"/>
                        <a:pt x="40722" y="201597"/>
                        <a:pt x="45463" y="202340"/>
                      </a:cubicBezTo>
                      <a:cubicBezTo>
                        <a:pt x="52967" y="203164"/>
                        <a:pt x="67975" y="191908"/>
                        <a:pt x="67975" y="191908"/>
                      </a:cubicBezTo>
                      <a:cubicBezTo>
                        <a:pt x="67975" y="191908"/>
                        <a:pt x="118152" y="187785"/>
                        <a:pt x="126398" y="186713"/>
                      </a:cubicBezTo>
                      <a:cubicBezTo>
                        <a:pt x="129986" y="186754"/>
                        <a:pt x="133490" y="187826"/>
                        <a:pt x="136500" y="189805"/>
                      </a:cubicBezTo>
                      <a:cubicBezTo>
                        <a:pt x="136500" y="187332"/>
                        <a:pt x="136500" y="185682"/>
                        <a:pt x="136500" y="185682"/>
                      </a:cubicBezTo>
                      <a:cubicBezTo>
                        <a:pt x="136500" y="185682"/>
                        <a:pt x="163135" y="191826"/>
                        <a:pt x="164949" y="199041"/>
                      </a:cubicBezTo>
                      <a:cubicBezTo>
                        <a:pt x="166763" y="206256"/>
                        <a:pt x="203128" y="211410"/>
                        <a:pt x="223537" y="203164"/>
                      </a:cubicBezTo>
                      <a:lnTo>
                        <a:pt x="227949" y="201350"/>
                      </a:lnTo>
                      <a:cubicBezTo>
                        <a:pt x="228443" y="191537"/>
                        <a:pt x="228361" y="181724"/>
                        <a:pt x="227702" y="171953"/>
                      </a:cubicBezTo>
                      <a:cubicBezTo>
                        <a:pt x="226588" y="164902"/>
                        <a:pt x="213601" y="149812"/>
                        <a:pt x="206468" y="141566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34" name="Freeform: Shape 333">
                  <a:extLst>
                    <a:ext uri="{FF2B5EF4-FFF2-40B4-BE49-F238E27FC236}">
                      <a16:creationId xmlns:a16="http://schemas.microsoft.com/office/drawing/2014/main" id="{00EE20FF-3B17-501A-E911-BF199FBF51A3}"/>
                    </a:ext>
                  </a:extLst>
                </p:cNvPr>
                <p:cNvSpPr/>
                <p:nvPr>
                  <p:custDataLst>
                    <p:tags r:id="rId335"/>
                  </p:custDataLst>
                </p:nvPr>
              </p:nvSpPr>
              <p:spPr>
                <a:xfrm>
                  <a:off x="6167840" y="5151049"/>
                  <a:ext cx="86048" cy="65782"/>
                </a:xfrm>
                <a:custGeom>
                  <a:avLst/>
                  <a:gdLst>
                    <a:gd name="connsiteX0" fmla="*/ 32119 w 100478"/>
                    <a:gd name="connsiteY0" fmla="*/ 5355 h 76812"/>
                    <a:gd name="connsiteX1" fmla="*/ 9608 w 100478"/>
                    <a:gd name="connsiteY1" fmla="*/ 15787 h 76812"/>
                    <a:gd name="connsiteX2" fmla="*/ 1 w 100478"/>
                    <a:gd name="connsiteY2" fmla="*/ 7541 h 76812"/>
                    <a:gd name="connsiteX3" fmla="*/ 1031 w 100478"/>
                    <a:gd name="connsiteY3" fmla="*/ 13272 h 76812"/>
                    <a:gd name="connsiteX4" fmla="*/ 1031 w 100478"/>
                    <a:gd name="connsiteY4" fmla="*/ 26177 h 76812"/>
                    <a:gd name="connsiteX5" fmla="*/ 21317 w 100478"/>
                    <a:gd name="connsiteY5" fmla="*/ 37886 h 76812"/>
                    <a:gd name="connsiteX6" fmla="*/ 38428 w 100478"/>
                    <a:gd name="connsiteY6" fmla="*/ 72891 h 76812"/>
                    <a:gd name="connsiteX7" fmla="*/ 43045 w 100478"/>
                    <a:gd name="connsiteY7" fmla="*/ 76808 h 76812"/>
                    <a:gd name="connsiteX8" fmla="*/ 47168 w 100478"/>
                    <a:gd name="connsiteY8" fmla="*/ 71819 h 76812"/>
                    <a:gd name="connsiteX9" fmla="*/ 80153 w 100478"/>
                    <a:gd name="connsiteY9" fmla="*/ 49183 h 76812"/>
                    <a:gd name="connsiteX10" fmla="*/ 94377 w 100478"/>
                    <a:gd name="connsiteY10" fmla="*/ 42009 h 76812"/>
                    <a:gd name="connsiteX11" fmla="*/ 91697 w 100478"/>
                    <a:gd name="connsiteY11" fmla="*/ 20363 h 76812"/>
                    <a:gd name="connsiteX12" fmla="*/ 100479 w 100478"/>
                    <a:gd name="connsiteY12" fmla="*/ 3088 h 76812"/>
                    <a:gd name="connsiteX13" fmla="*/ 90378 w 100478"/>
                    <a:gd name="connsiteY13" fmla="*/ -4 h 76812"/>
                    <a:gd name="connsiteX14" fmla="*/ 32119 w 100478"/>
                    <a:gd name="connsiteY14" fmla="*/ 5355 h 768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100478" h="76812">
                      <a:moveTo>
                        <a:pt x="32119" y="5355"/>
                      </a:moveTo>
                      <a:cubicBezTo>
                        <a:pt x="32119" y="5355"/>
                        <a:pt x="17111" y="16611"/>
                        <a:pt x="9608" y="15787"/>
                      </a:cubicBezTo>
                      <a:cubicBezTo>
                        <a:pt x="4866" y="15210"/>
                        <a:pt x="7257" y="8448"/>
                        <a:pt x="1" y="7541"/>
                      </a:cubicBezTo>
                      <a:cubicBezTo>
                        <a:pt x="413" y="9437"/>
                        <a:pt x="784" y="11334"/>
                        <a:pt x="1031" y="13272"/>
                      </a:cubicBezTo>
                      <a:cubicBezTo>
                        <a:pt x="1567" y="17559"/>
                        <a:pt x="1567" y="21889"/>
                        <a:pt x="1031" y="26177"/>
                      </a:cubicBezTo>
                      <a:cubicBezTo>
                        <a:pt x="6557" y="31908"/>
                        <a:pt x="13607" y="35949"/>
                        <a:pt x="21317" y="37886"/>
                      </a:cubicBezTo>
                      <a:cubicBezTo>
                        <a:pt x="44406" y="45431"/>
                        <a:pt x="19502" y="59161"/>
                        <a:pt x="38428" y="72891"/>
                      </a:cubicBezTo>
                      <a:cubicBezTo>
                        <a:pt x="40036" y="74087"/>
                        <a:pt x="41602" y="75406"/>
                        <a:pt x="43045" y="76808"/>
                      </a:cubicBezTo>
                      <a:cubicBezTo>
                        <a:pt x="44282" y="75035"/>
                        <a:pt x="45643" y="73344"/>
                        <a:pt x="47168" y="71819"/>
                      </a:cubicBezTo>
                      <a:cubicBezTo>
                        <a:pt x="56074" y="64645"/>
                        <a:pt x="73844" y="46091"/>
                        <a:pt x="80153" y="49183"/>
                      </a:cubicBezTo>
                      <a:cubicBezTo>
                        <a:pt x="86461" y="52276"/>
                        <a:pt x="94377" y="46091"/>
                        <a:pt x="94377" y="42009"/>
                      </a:cubicBezTo>
                      <a:cubicBezTo>
                        <a:pt x="94377" y="37928"/>
                        <a:pt x="82008" y="24528"/>
                        <a:pt x="91697" y="20363"/>
                      </a:cubicBezTo>
                      <a:cubicBezTo>
                        <a:pt x="98418" y="17601"/>
                        <a:pt x="99943" y="8530"/>
                        <a:pt x="100479" y="3088"/>
                      </a:cubicBezTo>
                      <a:cubicBezTo>
                        <a:pt x="97469" y="1109"/>
                        <a:pt x="93965" y="37"/>
                        <a:pt x="90378" y="-4"/>
                      </a:cubicBezTo>
                      <a:cubicBezTo>
                        <a:pt x="82338" y="1027"/>
                        <a:pt x="32119" y="5355"/>
                        <a:pt x="32119" y="5355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35" name="Freeform: Shape 334">
                  <a:extLst>
                    <a:ext uri="{FF2B5EF4-FFF2-40B4-BE49-F238E27FC236}">
                      <a16:creationId xmlns:a16="http://schemas.microsoft.com/office/drawing/2014/main" id="{2537B039-EB9C-D701-413C-5EDE626CA988}"/>
                    </a:ext>
                  </a:extLst>
                </p:cNvPr>
                <p:cNvSpPr/>
                <p:nvPr>
                  <p:custDataLst>
                    <p:tags r:id="rId336"/>
                  </p:custDataLst>
                </p:nvPr>
              </p:nvSpPr>
              <p:spPr>
                <a:xfrm>
                  <a:off x="7220530" y="5213512"/>
                  <a:ext cx="421316" cy="340807"/>
                </a:xfrm>
                <a:custGeom>
                  <a:avLst/>
                  <a:gdLst>
                    <a:gd name="connsiteX0" fmla="*/ 454731 w 491962"/>
                    <a:gd name="connsiteY0" fmla="*/ 224700 h 397954"/>
                    <a:gd name="connsiteX1" fmla="*/ 439971 w 491962"/>
                    <a:gd name="connsiteY1" fmla="*/ 193200 h 397954"/>
                    <a:gd name="connsiteX2" fmla="*/ 415233 w 491962"/>
                    <a:gd name="connsiteY2" fmla="*/ 167431 h 397954"/>
                    <a:gd name="connsiteX3" fmla="*/ 397916 w 491962"/>
                    <a:gd name="connsiteY3" fmla="*/ 138858 h 397954"/>
                    <a:gd name="connsiteX4" fmla="*/ 365798 w 491962"/>
                    <a:gd name="connsiteY4" fmla="*/ 121706 h 397954"/>
                    <a:gd name="connsiteX5" fmla="*/ 360850 w 491962"/>
                    <a:gd name="connsiteY5" fmla="*/ 107399 h 397954"/>
                    <a:gd name="connsiteX6" fmla="*/ 343533 w 491962"/>
                    <a:gd name="connsiteY6" fmla="*/ 104513 h 397954"/>
                    <a:gd name="connsiteX7" fmla="*/ 348522 w 491962"/>
                    <a:gd name="connsiteY7" fmla="*/ 87361 h 397954"/>
                    <a:gd name="connsiteX8" fmla="*/ 346048 w 491962"/>
                    <a:gd name="connsiteY8" fmla="*/ 47285 h 397954"/>
                    <a:gd name="connsiteX9" fmla="*/ 317640 w 491962"/>
                    <a:gd name="connsiteY9" fmla="*/ 3292 h 397954"/>
                    <a:gd name="connsiteX10" fmla="*/ 310713 w 491962"/>
                    <a:gd name="connsiteY10" fmla="*/ 1478 h 397954"/>
                    <a:gd name="connsiteX11" fmla="*/ 277729 w 491962"/>
                    <a:gd name="connsiteY11" fmla="*/ 16569 h 397954"/>
                    <a:gd name="connsiteX12" fmla="*/ 269483 w 491962"/>
                    <a:gd name="connsiteY12" fmla="*/ 38503 h 397954"/>
                    <a:gd name="connsiteX13" fmla="*/ 230396 w 491962"/>
                    <a:gd name="connsiteY13" fmla="*/ 85176 h 397954"/>
                    <a:gd name="connsiteX14" fmla="*/ 173540 w 491962"/>
                    <a:gd name="connsiteY14" fmla="*/ 98864 h 397954"/>
                    <a:gd name="connsiteX15" fmla="*/ 171148 w 491962"/>
                    <a:gd name="connsiteY15" fmla="*/ 123603 h 397954"/>
                    <a:gd name="connsiteX16" fmla="*/ 135649 w 491962"/>
                    <a:gd name="connsiteY16" fmla="*/ 145579 h 397954"/>
                    <a:gd name="connsiteX17" fmla="*/ 91780 w 491962"/>
                    <a:gd name="connsiteY17" fmla="*/ 160669 h 397954"/>
                    <a:gd name="connsiteX18" fmla="*/ 65722 w 491962"/>
                    <a:gd name="connsiteY18" fmla="*/ 160669 h 397954"/>
                    <a:gd name="connsiteX19" fmla="*/ 43251 w 491962"/>
                    <a:gd name="connsiteY19" fmla="*/ 171636 h 397954"/>
                    <a:gd name="connsiteX20" fmla="*/ 39747 w 491962"/>
                    <a:gd name="connsiteY20" fmla="*/ 166771 h 397954"/>
                    <a:gd name="connsiteX21" fmla="*/ 19544 w 491962"/>
                    <a:gd name="connsiteY21" fmla="*/ 195632 h 397954"/>
                    <a:gd name="connsiteX22" fmla="*/ 1 w 491962"/>
                    <a:gd name="connsiteY22" fmla="*/ 241934 h 397954"/>
                    <a:gd name="connsiteX23" fmla="*/ 5361 w 491962"/>
                    <a:gd name="connsiteY23" fmla="*/ 279990 h 397954"/>
                    <a:gd name="connsiteX24" fmla="*/ 16864 w 491962"/>
                    <a:gd name="connsiteY24" fmla="*/ 317097 h 397954"/>
                    <a:gd name="connsiteX25" fmla="*/ 23089 w 491962"/>
                    <a:gd name="connsiteY25" fmla="*/ 344887 h 397954"/>
                    <a:gd name="connsiteX26" fmla="*/ 31995 w 491962"/>
                    <a:gd name="connsiteY26" fmla="*/ 360307 h 397954"/>
                    <a:gd name="connsiteX27" fmla="*/ 57723 w 491962"/>
                    <a:gd name="connsiteY27" fmla="*/ 390158 h 397954"/>
                    <a:gd name="connsiteX28" fmla="*/ 64650 w 491962"/>
                    <a:gd name="connsiteY28" fmla="*/ 397950 h 397954"/>
                    <a:gd name="connsiteX29" fmla="*/ 67083 w 491962"/>
                    <a:gd name="connsiteY29" fmla="*/ 393580 h 397954"/>
                    <a:gd name="connsiteX30" fmla="*/ 74504 w 491962"/>
                    <a:gd name="connsiteY30" fmla="*/ 359276 h 397954"/>
                    <a:gd name="connsiteX31" fmla="*/ 96728 w 491962"/>
                    <a:gd name="connsiteY31" fmla="*/ 353545 h 397954"/>
                    <a:gd name="connsiteX32" fmla="*/ 114003 w 491962"/>
                    <a:gd name="connsiteY32" fmla="*/ 347855 h 397954"/>
                    <a:gd name="connsiteX33" fmla="*/ 148595 w 491962"/>
                    <a:gd name="connsiteY33" fmla="*/ 353545 h 397954"/>
                    <a:gd name="connsiteX34" fmla="*/ 148595 w 491962"/>
                    <a:gd name="connsiteY34" fmla="*/ 322127 h 397954"/>
                    <a:gd name="connsiteX35" fmla="*/ 190609 w 491962"/>
                    <a:gd name="connsiteY35" fmla="*/ 285020 h 397954"/>
                    <a:gd name="connsiteX36" fmla="*/ 222728 w 491962"/>
                    <a:gd name="connsiteY36" fmla="*/ 310789 h 397954"/>
                    <a:gd name="connsiteX37" fmla="*/ 299293 w 491962"/>
                    <a:gd name="connsiteY37" fmla="*/ 327941 h 397954"/>
                    <a:gd name="connsiteX38" fmla="*/ 311662 w 491962"/>
                    <a:gd name="connsiteY38" fmla="*/ 296482 h 397954"/>
                    <a:gd name="connsiteX39" fmla="*/ 343739 w 491962"/>
                    <a:gd name="connsiteY39" fmla="*/ 296482 h 397954"/>
                    <a:gd name="connsiteX40" fmla="*/ 385753 w 491962"/>
                    <a:gd name="connsiteY40" fmla="*/ 282175 h 397954"/>
                    <a:gd name="connsiteX41" fmla="*/ 417871 w 491962"/>
                    <a:gd name="connsiteY41" fmla="*/ 276444 h 397954"/>
                    <a:gd name="connsiteX42" fmla="*/ 462318 w 491962"/>
                    <a:gd name="connsiteY42" fmla="*/ 282175 h 397954"/>
                    <a:gd name="connsiteX43" fmla="*/ 491963 w 491962"/>
                    <a:gd name="connsiteY43" fmla="*/ 276444 h 397954"/>
                    <a:gd name="connsiteX44" fmla="*/ 482109 w 491962"/>
                    <a:gd name="connsiteY44" fmla="*/ 247830 h 397954"/>
                    <a:gd name="connsiteX45" fmla="*/ 454731 w 491962"/>
                    <a:gd name="connsiteY45" fmla="*/ 224700 h 3979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</a:cxnLst>
                  <a:rect l="l" t="t" r="r" b="b"/>
                  <a:pathLst>
                    <a:path w="491961" h="397954">
                      <a:moveTo>
                        <a:pt x="454731" y="224700"/>
                      </a:moveTo>
                      <a:cubicBezTo>
                        <a:pt x="454731" y="216083"/>
                        <a:pt x="454731" y="207507"/>
                        <a:pt x="439971" y="193200"/>
                      </a:cubicBezTo>
                      <a:cubicBezTo>
                        <a:pt x="425210" y="178893"/>
                        <a:pt x="415233" y="176048"/>
                        <a:pt x="415233" y="167431"/>
                      </a:cubicBezTo>
                      <a:cubicBezTo>
                        <a:pt x="415233" y="158814"/>
                        <a:pt x="410285" y="156010"/>
                        <a:pt x="397916" y="138858"/>
                      </a:cubicBezTo>
                      <a:cubicBezTo>
                        <a:pt x="390329" y="128633"/>
                        <a:pt x="378538" y="122325"/>
                        <a:pt x="365798" y="121706"/>
                      </a:cubicBezTo>
                      <a:lnTo>
                        <a:pt x="360850" y="107399"/>
                      </a:lnTo>
                      <a:lnTo>
                        <a:pt x="343533" y="104513"/>
                      </a:lnTo>
                      <a:cubicBezTo>
                        <a:pt x="343533" y="104513"/>
                        <a:pt x="333638" y="95937"/>
                        <a:pt x="348522" y="87361"/>
                      </a:cubicBezTo>
                      <a:cubicBezTo>
                        <a:pt x="363406" y="78785"/>
                        <a:pt x="348522" y="55861"/>
                        <a:pt x="346048" y="47285"/>
                      </a:cubicBezTo>
                      <a:cubicBezTo>
                        <a:pt x="343904" y="39823"/>
                        <a:pt x="323000" y="10672"/>
                        <a:pt x="317640" y="3292"/>
                      </a:cubicBezTo>
                      <a:cubicBezTo>
                        <a:pt x="315208" y="3292"/>
                        <a:pt x="312816" y="2674"/>
                        <a:pt x="310713" y="1478"/>
                      </a:cubicBezTo>
                      <a:cubicBezTo>
                        <a:pt x="302467" y="-4047"/>
                        <a:pt x="285975" y="6962"/>
                        <a:pt x="277729" y="16569"/>
                      </a:cubicBezTo>
                      <a:cubicBezTo>
                        <a:pt x="269483" y="26175"/>
                        <a:pt x="275338" y="31659"/>
                        <a:pt x="269483" y="38503"/>
                      </a:cubicBezTo>
                      <a:cubicBezTo>
                        <a:pt x="263628" y="45347"/>
                        <a:pt x="243384" y="65963"/>
                        <a:pt x="230396" y="85176"/>
                      </a:cubicBezTo>
                      <a:cubicBezTo>
                        <a:pt x="217409" y="104389"/>
                        <a:pt x="184177" y="92020"/>
                        <a:pt x="173540" y="98864"/>
                      </a:cubicBezTo>
                      <a:cubicBezTo>
                        <a:pt x="162902" y="105709"/>
                        <a:pt x="178281" y="116717"/>
                        <a:pt x="171148" y="123603"/>
                      </a:cubicBezTo>
                      <a:cubicBezTo>
                        <a:pt x="164015" y="130488"/>
                        <a:pt x="142740" y="141414"/>
                        <a:pt x="135649" y="145579"/>
                      </a:cubicBezTo>
                      <a:cubicBezTo>
                        <a:pt x="128557" y="149743"/>
                        <a:pt x="100067" y="148300"/>
                        <a:pt x="91780" y="160669"/>
                      </a:cubicBezTo>
                      <a:cubicBezTo>
                        <a:pt x="83492" y="173038"/>
                        <a:pt x="74009" y="146939"/>
                        <a:pt x="65722" y="160669"/>
                      </a:cubicBezTo>
                      <a:cubicBezTo>
                        <a:pt x="57435" y="174399"/>
                        <a:pt x="47952" y="175759"/>
                        <a:pt x="43251" y="171636"/>
                      </a:cubicBezTo>
                      <a:cubicBezTo>
                        <a:pt x="41808" y="170235"/>
                        <a:pt x="40612" y="168585"/>
                        <a:pt x="39747" y="166771"/>
                      </a:cubicBezTo>
                      <a:cubicBezTo>
                        <a:pt x="32037" y="175017"/>
                        <a:pt x="22636" y="184253"/>
                        <a:pt x="19544" y="195632"/>
                      </a:cubicBezTo>
                      <a:cubicBezTo>
                        <a:pt x="14225" y="215176"/>
                        <a:pt x="1" y="232740"/>
                        <a:pt x="1" y="241934"/>
                      </a:cubicBezTo>
                      <a:cubicBezTo>
                        <a:pt x="1" y="251129"/>
                        <a:pt x="5361" y="263539"/>
                        <a:pt x="5361" y="279990"/>
                      </a:cubicBezTo>
                      <a:cubicBezTo>
                        <a:pt x="4825" y="293307"/>
                        <a:pt x="8906" y="306418"/>
                        <a:pt x="16864" y="317097"/>
                      </a:cubicBezTo>
                      <a:cubicBezTo>
                        <a:pt x="21770" y="325508"/>
                        <a:pt x="23914" y="335198"/>
                        <a:pt x="23089" y="344887"/>
                      </a:cubicBezTo>
                      <a:cubicBezTo>
                        <a:pt x="25646" y="350246"/>
                        <a:pt x="28615" y="355441"/>
                        <a:pt x="31995" y="360307"/>
                      </a:cubicBezTo>
                      <a:cubicBezTo>
                        <a:pt x="38180" y="369584"/>
                        <a:pt x="55951" y="382942"/>
                        <a:pt x="57723" y="390158"/>
                      </a:cubicBezTo>
                      <a:cubicBezTo>
                        <a:pt x="58960" y="393538"/>
                        <a:pt x="61434" y="396342"/>
                        <a:pt x="64650" y="397950"/>
                      </a:cubicBezTo>
                      <a:cubicBezTo>
                        <a:pt x="65433" y="396466"/>
                        <a:pt x="66217" y="394899"/>
                        <a:pt x="67083" y="393580"/>
                      </a:cubicBezTo>
                      <a:cubicBezTo>
                        <a:pt x="76978" y="379314"/>
                        <a:pt x="74504" y="359276"/>
                        <a:pt x="74504" y="359276"/>
                      </a:cubicBezTo>
                      <a:lnTo>
                        <a:pt x="96728" y="353545"/>
                      </a:lnTo>
                      <a:lnTo>
                        <a:pt x="114003" y="347855"/>
                      </a:lnTo>
                      <a:lnTo>
                        <a:pt x="148595" y="353545"/>
                      </a:lnTo>
                      <a:lnTo>
                        <a:pt x="148595" y="322127"/>
                      </a:lnTo>
                      <a:cubicBezTo>
                        <a:pt x="148595" y="322127"/>
                        <a:pt x="173334" y="285020"/>
                        <a:pt x="190609" y="285020"/>
                      </a:cubicBezTo>
                      <a:cubicBezTo>
                        <a:pt x="207885" y="285020"/>
                        <a:pt x="222728" y="310789"/>
                        <a:pt x="222728" y="310789"/>
                      </a:cubicBezTo>
                      <a:lnTo>
                        <a:pt x="299293" y="327941"/>
                      </a:lnTo>
                      <a:cubicBezTo>
                        <a:pt x="299293" y="327941"/>
                        <a:pt x="304240" y="302213"/>
                        <a:pt x="311662" y="296482"/>
                      </a:cubicBezTo>
                      <a:cubicBezTo>
                        <a:pt x="319083" y="290751"/>
                        <a:pt x="333844" y="302213"/>
                        <a:pt x="343739" y="296482"/>
                      </a:cubicBezTo>
                      <a:cubicBezTo>
                        <a:pt x="353634" y="290751"/>
                        <a:pt x="368477" y="282175"/>
                        <a:pt x="385753" y="282175"/>
                      </a:cubicBezTo>
                      <a:cubicBezTo>
                        <a:pt x="403028" y="282175"/>
                        <a:pt x="410491" y="293596"/>
                        <a:pt x="417871" y="276444"/>
                      </a:cubicBezTo>
                      <a:cubicBezTo>
                        <a:pt x="425252" y="259292"/>
                        <a:pt x="462318" y="282175"/>
                        <a:pt x="462318" y="282175"/>
                      </a:cubicBezTo>
                      <a:lnTo>
                        <a:pt x="491963" y="276444"/>
                      </a:lnTo>
                      <a:lnTo>
                        <a:pt x="482109" y="247830"/>
                      </a:lnTo>
                      <a:cubicBezTo>
                        <a:pt x="482109" y="247830"/>
                        <a:pt x="454731" y="233234"/>
                        <a:pt x="454731" y="224700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36" name="Freeform: Shape 335">
                  <a:extLst>
                    <a:ext uri="{FF2B5EF4-FFF2-40B4-BE49-F238E27FC236}">
                      <a16:creationId xmlns:a16="http://schemas.microsoft.com/office/drawing/2014/main" id="{414582E1-A0D9-D1E8-14CC-E3422AC6969F}"/>
                    </a:ext>
                  </a:extLst>
                </p:cNvPr>
                <p:cNvSpPr/>
                <p:nvPr>
                  <p:custDataLst>
                    <p:tags r:id="rId337"/>
                  </p:custDataLst>
                </p:nvPr>
              </p:nvSpPr>
              <p:spPr>
                <a:xfrm>
                  <a:off x="6821293" y="5103266"/>
                  <a:ext cx="404540" cy="373244"/>
                </a:xfrm>
                <a:custGeom>
                  <a:avLst/>
                  <a:gdLst>
                    <a:gd name="connsiteX0" fmla="*/ 467788 w 472374"/>
                    <a:gd name="connsiteY0" fmla="*/ 78095 h 435831"/>
                    <a:gd name="connsiteX1" fmla="*/ 451296 w 472374"/>
                    <a:gd name="connsiteY1" fmla="*/ 58882 h 435831"/>
                    <a:gd name="connsiteX2" fmla="*/ 453770 w 472374"/>
                    <a:gd name="connsiteY2" fmla="*/ 33854 h 435831"/>
                    <a:gd name="connsiteX3" fmla="*/ 438226 w 472374"/>
                    <a:gd name="connsiteY3" fmla="*/ 14971 h 435831"/>
                    <a:gd name="connsiteX4" fmla="*/ 424043 w 472374"/>
                    <a:gd name="connsiteY4" fmla="*/ 5364 h 435831"/>
                    <a:gd name="connsiteX5" fmla="*/ 395635 w 472374"/>
                    <a:gd name="connsiteY5" fmla="*/ 35545 h 435831"/>
                    <a:gd name="connsiteX6" fmla="*/ 362650 w 472374"/>
                    <a:gd name="connsiteY6" fmla="*/ 25938 h 435831"/>
                    <a:gd name="connsiteX7" fmla="*/ 311731 w 472374"/>
                    <a:gd name="connsiteY7" fmla="*/ 24578 h 435831"/>
                    <a:gd name="connsiteX8" fmla="*/ 282127 w 472374"/>
                    <a:gd name="connsiteY8" fmla="*/ 46512 h 435831"/>
                    <a:gd name="connsiteX9" fmla="*/ 243041 w 472374"/>
                    <a:gd name="connsiteY9" fmla="*/ 46512 h 435831"/>
                    <a:gd name="connsiteX10" fmla="*/ 212200 w 472374"/>
                    <a:gd name="connsiteY10" fmla="*/ 27340 h 435831"/>
                    <a:gd name="connsiteX11" fmla="*/ 179216 w 472374"/>
                    <a:gd name="connsiteY11" fmla="*/ 38266 h 435831"/>
                    <a:gd name="connsiteX12" fmla="*/ 156746 w 472374"/>
                    <a:gd name="connsiteY12" fmla="*/ 13528 h 435831"/>
                    <a:gd name="connsiteX13" fmla="*/ 124751 w 472374"/>
                    <a:gd name="connsiteY13" fmla="*/ 2561 h 435831"/>
                    <a:gd name="connsiteX14" fmla="*/ 101085 w 472374"/>
                    <a:gd name="connsiteY14" fmla="*/ 12167 h 435831"/>
                    <a:gd name="connsiteX15" fmla="*/ 64348 w 472374"/>
                    <a:gd name="connsiteY15" fmla="*/ 12167 h 435831"/>
                    <a:gd name="connsiteX16" fmla="*/ 54865 w 472374"/>
                    <a:gd name="connsiteY16" fmla="*/ 49275 h 435831"/>
                    <a:gd name="connsiteX17" fmla="*/ 37095 w 472374"/>
                    <a:gd name="connsiteY17" fmla="*/ 82259 h 435831"/>
                    <a:gd name="connsiteX18" fmla="*/ 33301 w 472374"/>
                    <a:gd name="connsiteY18" fmla="*/ 91453 h 435831"/>
                    <a:gd name="connsiteX19" fmla="*/ 37424 w 472374"/>
                    <a:gd name="connsiteY19" fmla="*/ 122706 h 435831"/>
                    <a:gd name="connsiteX20" fmla="*/ 32972 w 472374"/>
                    <a:gd name="connsiteY20" fmla="*/ 188675 h 435831"/>
                    <a:gd name="connsiteX21" fmla="*/ 17881 w 472374"/>
                    <a:gd name="connsiteY21" fmla="*/ 215475 h 435831"/>
                    <a:gd name="connsiteX22" fmla="*/ 977 w 472374"/>
                    <a:gd name="connsiteY22" fmla="*/ 249407 h 435831"/>
                    <a:gd name="connsiteX23" fmla="*/ 1884 w 472374"/>
                    <a:gd name="connsiteY23" fmla="*/ 303955 h 435831"/>
                    <a:gd name="connsiteX24" fmla="*/ 14253 w 472374"/>
                    <a:gd name="connsiteY24" fmla="*/ 340527 h 435831"/>
                    <a:gd name="connsiteX25" fmla="*/ 14748 w 472374"/>
                    <a:gd name="connsiteY25" fmla="*/ 340980 h 435831"/>
                    <a:gd name="connsiteX26" fmla="*/ 20396 w 472374"/>
                    <a:gd name="connsiteY26" fmla="*/ 345763 h 435831"/>
                    <a:gd name="connsiteX27" fmla="*/ 34703 w 472374"/>
                    <a:gd name="connsiteY27" fmla="*/ 350958 h 435831"/>
                    <a:gd name="connsiteX28" fmla="*/ 74573 w 472374"/>
                    <a:gd name="connsiteY28" fmla="*/ 358833 h 435831"/>
                    <a:gd name="connsiteX29" fmla="*/ 112464 w 472374"/>
                    <a:gd name="connsiteY29" fmla="*/ 406166 h 435831"/>
                    <a:gd name="connsiteX30" fmla="*/ 113454 w 472374"/>
                    <a:gd name="connsiteY30" fmla="*/ 413298 h 435831"/>
                    <a:gd name="connsiteX31" fmla="*/ 173568 w 472374"/>
                    <a:gd name="connsiteY31" fmla="*/ 435810 h 435831"/>
                    <a:gd name="connsiteX32" fmla="*/ 174681 w 472374"/>
                    <a:gd name="connsiteY32" fmla="*/ 435810 h 435831"/>
                    <a:gd name="connsiteX33" fmla="*/ 227951 w 472374"/>
                    <a:gd name="connsiteY33" fmla="*/ 428925 h 435831"/>
                    <a:gd name="connsiteX34" fmla="*/ 234094 w 472374"/>
                    <a:gd name="connsiteY34" fmla="*/ 428348 h 435831"/>
                    <a:gd name="connsiteX35" fmla="*/ 234382 w 472374"/>
                    <a:gd name="connsiteY35" fmla="*/ 428595 h 435831"/>
                    <a:gd name="connsiteX36" fmla="*/ 246051 w 472374"/>
                    <a:gd name="connsiteY36" fmla="*/ 378830 h 435831"/>
                    <a:gd name="connsiteX37" fmla="*/ 291940 w 472374"/>
                    <a:gd name="connsiteY37" fmla="*/ 328116 h 435831"/>
                    <a:gd name="connsiteX38" fmla="*/ 315606 w 472374"/>
                    <a:gd name="connsiteY38" fmla="*/ 323993 h 435831"/>
                    <a:gd name="connsiteX39" fmla="*/ 344055 w 472374"/>
                    <a:gd name="connsiteY39" fmla="*/ 347288 h 435831"/>
                    <a:gd name="connsiteX40" fmla="*/ 360548 w 472374"/>
                    <a:gd name="connsiteY40" fmla="*/ 326673 h 435831"/>
                    <a:gd name="connsiteX41" fmla="*/ 390151 w 472374"/>
                    <a:gd name="connsiteY41" fmla="*/ 255344 h 435831"/>
                    <a:gd name="connsiteX42" fmla="*/ 409117 w 472374"/>
                    <a:gd name="connsiteY42" fmla="*/ 227885 h 435831"/>
                    <a:gd name="connsiteX43" fmla="*/ 413900 w 472374"/>
                    <a:gd name="connsiteY43" fmla="*/ 203147 h 435831"/>
                    <a:gd name="connsiteX44" fmla="*/ 423342 w 472374"/>
                    <a:gd name="connsiteY44" fmla="*/ 172966 h 435831"/>
                    <a:gd name="connsiteX45" fmla="*/ 447008 w 472374"/>
                    <a:gd name="connsiteY45" fmla="*/ 122211 h 435831"/>
                    <a:gd name="connsiteX46" fmla="*/ 470715 w 472374"/>
                    <a:gd name="connsiteY46" fmla="*/ 107121 h 435831"/>
                    <a:gd name="connsiteX47" fmla="*/ 467788 w 472374"/>
                    <a:gd name="connsiteY47" fmla="*/ 78095 h 4358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</a:cxnLst>
                  <a:rect l="l" t="t" r="r" b="b"/>
                  <a:pathLst>
                    <a:path w="472374" h="435831">
                      <a:moveTo>
                        <a:pt x="467788" y="78095"/>
                      </a:moveTo>
                      <a:cubicBezTo>
                        <a:pt x="460697" y="75332"/>
                        <a:pt x="451296" y="65725"/>
                        <a:pt x="451296" y="58882"/>
                      </a:cubicBezTo>
                      <a:cubicBezTo>
                        <a:pt x="451378" y="50470"/>
                        <a:pt x="452203" y="42100"/>
                        <a:pt x="453770" y="33854"/>
                      </a:cubicBezTo>
                      <a:cubicBezTo>
                        <a:pt x="444287" y="32329"/>
                        <a:pt x="443792" y="21485"/>
                        <a:pt x="438226" y="14971"/>
                      </a:cubicBezTo>
                      <a:cubicBezTo>
                        <a:pt x="432660" y="8456"/>
                        <a:pt x="432330" y="2602"/>
                        <a:pt x="424043" y="5364"/>
                      </a:cubicBezTo>
                      <a:cubicBezTo>
                        <a:pt x="415755" y="8127"/>
                        <a:pt x="406273" y="31422"/>
                        <a:pt x="395635" y="35545"/>
                      </a:cubicBezTo>
                      <a:cubicBezTo>
                        <a:pt x="384998" y="39668"/>
                        <a:pt x="369577" y="30020"/>
                        <a:pt x="362650" y="25938"/>
                      </a:cubicBezTo>
                      <a:cubicBezTo>
                        <a:pt x="355724" y="21856"/>
                        <a:pt x="322368" y="25938"/>
                        <a:pt x="311731" y="24578"/>
                      </a:cubicBezTo>
                      <a:cubicBezTo>
                        <a:pt x="301094" y="23217"/>
                        <a:pt x="290415" y="41070"/>
                        <a:pt x="282127" y="46512"/>
                      </a:cubicBezTo>
                      <a:cubicBezTo>
                        <a:pt x="273840" y="51955"/>
                        <a:pt x="250132" y="49275"/>
                        <a:pt x="243041" y="46512"/>
                      </a:cubicBezTo>
                      <a:cubicBezTo>
                        <a:pt x="235949" y="43750"/>
                        <a:pt x="219333" y="27340"/>
                        <a:pt x="212200" y="27340"/>
                      </a:cubicBezTo>
                      <a:cubicBezTo>
                        <a:pt x="200409" y="27876"/>
                        <a:pt x="188988" y="31628"/>
                        <a:pt x="179216" y="38266"/>
                      </a:cubicBezTo>
                      <a:cubicBezTo>
                        <a:pt x="167383" y="46512"/>
                        <a:pt x="163837" y="23217"/>
                        <a:pt x="156746" y="13528"/>
                      </a:cubicBezTo>
                      <a:cubicBezTo>
                        <a:pt x="149654" y="3838"/>
                        <a:pt x="134234" y="12167"/>
                        <a:pt x="124751" y="2561"/>
                      </a:cubicBezTo>
                      <a:cubicBezTo>
                        <a:pt x="115268" y="-7046"/>
                        <a:pt x="109331" y="13528"/>
                        <a:pt x="101085" y="12167"/>
                      </a:cubicBezTo>
                      <a:cubicBezTo>
                        <a:pt x="92839" y="10807"/>
                        <a:pt x="71440" y="5282"/>
                        <a:pt x="64348" y="12167"/>
                      </a:cubicBezTo>
                      <a:cubicBezTo>
                        <a:pt x="57257" y="19053"/>
                        <a:pt x="58411" y="45151"/>
                        <a:pt x="54865" y="49275"/>
                      </a:cubicBezTo>
                      <a:cubicBezTo>
                        <a:pt x="51319" y="53398"/>
                        <a:pt x="37095" y="72570"/>
                        <a:pt x="37095" y="82259"/>
                      </a:cubicBezTo>
                      <a:cubicBezTo>
                        <a:pt x="37424" y="85763"/>
                        <a:pt x="36023" y="89186"/>
                        <a:pt x="33301" y="91453"/>
                      </a:cubicBezTo>
                      <a:cubicBezTo>
                        <a:pt x="34868" y="102833"/>
                        <a:pt x="36888" y="117346"/>
                        <a:pt x="37424" y="122706"/>
                      </a:cubicBezTo>
                      <a:cubicBezTo>
                        <a:pt x="38291" y="131983"/>
                        <a:pt x="41878" y="178244"/>
                        <a:pt x="32972" y="188675"/>
                      </a:cubicBezTo>
                      <a:cubicBezTo>
                        <a:pt x="26663" y="196839"/>
                        <a:pt x="21592" y="205868"/>
                        <a:pt x="17881" y="215475"/>
                      </a:cubicBezTo>
                      <a:cubicBezTo>
                        <a:pt x="8275" y="224339"/>
                        <a:pt x="2255" y="236420"/>
                        <a:pt x="977" y="249407"/>
                      </a:cubicBezTo>
                      <a:cubicBezTo>
                        <a:pt x="-1662" y="272043"/>
                        <a:pt x="1884" y="286515"/>
                        <a:pt x="1884" y="303955"/>
                      </a:cubicBezTo>
                      <a:cubicBezTo>
                        <a:pt x="1884" y="316324"/>
                        <a:pt x="9800" y="325189"/>
                        <a:pt x="14253" y="340527"/>
                      </a:cubicBezTo>
                      <a:cubicBezTo>
                        <a:pt x="14459" y="340527"/>
                        <a:pt x="14624" y="340774"/>
                        <a:pt x="14748" y="340980"/>
                      </a:cubicBezTo>
                      <a:cubicBezTo>
                        <a:pt x="16232" y="343000"/>
                        <a:pt x="18170" y="344650"/>
                        <a:pt x="20396" y="345763"/>
                      </a:cubicBezTo>
                      <a:cubicBezTo>
                        <a:pt x="25303" y="347123"/>
                        <a:pt x="30085" y="348855"/>
                        <a:pt x="34703" y="350958"/>
                      </a:cubicBezTo>
                      <a:cubicBezTo>
                        <a:pt x="47608" y="354174"/>
                        <a:pt x="63564" y="356029"/>
                        <a:pt x="74573" y="358833"/>
                      </a:cubicBezTo>
                      <a:cubicBezTo>
                        <a:pt x="93539" y="363657"/>
                        <a:pt x="113041" y="394497"/>
                        <a:pt x="112464" y="406166"/>
                      </a:cubicBezTo>
                      <a:cubicBezTo>
                        <a:pt x="112464" y="408557"/>
                        <a:pt x="112835" y="410989"/>
                        <a:pt x="113454" y="413298"/>
                      </a:cubicBezTo>
                      <a:cubicBezTo>
                        <a:pt x="130935" y="425668"/>
                        <a:pt x="152334" y="430203"/>
                        <a:pt x="173568" y="435810"/>
                      </a:cubicBezTo>
                      <a:cubicBezTo>
                        <a:pt x="173897" y="435810"/>
                        <a:pt x="174351" y="435810"/>
                        <a:pt x="174681" y="435810"/>
                      </a:cubicBezTo>
                      <a:cubicBezTo>
                        <a:pt x="184741" y="435810"/>
                        <a:pt x="220859" y="436511"/>
                        <a:pt x="227951" y="428925"/>
                      </a:cubicBezTo>
                      <a:cubicBezTo>
                        <a:pt x="229476" y="427069"/>
                        <a:pt x="232238" y="426822"/>
                        <a:pt x="234094" y="428348"/>
                      </a:cubicBezTo>
                      <a:cubicBezTo>
                        <a:pt x="234217" y="428430"/>
                        <a:pt x="234300" y="428512"/>
                        <a:pt x="234382" y="428595"/>
                      </a:cubicBezTo>
                      <a:cubicBezTo>
                        <a:pt x="239578" y="412350"/>
                        <a:pt x="243494" y="395693"/>
                        <a:pt x="246051" y="378830"/>
                      </a:cubicBezTo>
                      <a:cubicBezTo>
                        <a:pt x="246051" y="378830"/>
                        <a:pt x="287281" y="329353"/>
                        <a:pt x="291940" y="328116"/>
                      </a:cubicBezTo>
                      <a:cubicBezTo>
                        <a:pt x="296599" y="326880"/>
                        <a:pt x="307319" y="330879"/>
                        <a:pt x="315606" y="323993"/>
                      </a:cubicBezTo>
                      <a:cubicBezTo>
                        <a:pt x="323894" y="317108"/>
                        <a:pt x="341706" y="333600"/>
                        <a:pt x="344055" y="347288"/>
                      </a:cubicBezTo>
                      <a:cubicBezTo>
                        <a:pt x="346406" y="360977"/>
                        <a:pt x="353539" y="341805"/>
                        <a:pt x="360548" y="326673"/>
                      </a:cubicBezTo>
                      <a:cubicBezTo>
                        <a:pt x="367557" y="311541"/>
                        <a:pt x="390151" y="266312"/>
                        <a:pt x="390151" y="255344"/>
                      </a:cubicBezTo>
                      <a:cubicBezTo>
                        <a:pt x="390151" y="244377"/>
                        <a:pt x="409117" y="234729"/>
                        <a:pt x="409117" y="227885"/>
                      </a:cubicBezTo>
                      <a:cubicBezTo>
                        <a:pt x="409117" y="221041"/>
                        <a:pt x="407921" y="205950"/>
                        <a:pt x="413900" y="203147"/>
                      </a:cubicBezTo>
                      <a:cubicBezTo>
                        <a:pt x="419878" y="200343"/>
                        <a:pt x="424496" y="179852"/>
                        <a:pt x="423342" y="172966"/>
                      </a:cubicBezTo>
                      <a:cubicBezTo>
                        <a:pt x="422187" y="166081"/>
                        <a:pt x="443421" y="127612"/>
                        <a:pt x="447008" y="122211"/>
                      </a:cubicBezTo>
                      <a:cubicBezTo>
                        <a:pt x="450595" y="116810"/>
                        <a:pt x="469520" y="119490"/>
                        <a:pt x="470715" y="107121"/>
                      </a:cubicBezTo>
                      <a:cubicBezTo>
                        <a:pt x="471911" y="94752"/>
                        <a:pt x="474921" y="80816"/>
                        <a:pt x="467788" y="78095"/>
                      </a:cubicBezTo>
                      <a:close/>
                    </a:path>
                  </a:pathLst>
                </a:custGeom>
                <a:solidFill>
                  <a:srgbClr val="5F249F"/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37" name="Freeform: Shape 336">
                  <a:extLst>
                    <a:ext uri="{FF2B5EF4-FFF2-40B4-BE49-F238E27FC236}">
                      <a16:creationId xmlns:a16="http://schemas.microsoft.com/office/drawing/2014/main" id="{1B395F9B-A709-FC07-6713-D9175CB23059}"/>
                    </a:ext>
                  </a:extLst>
                </p:cNvPr>
                <p:cNvSpPr/>
                <p:nvPr>
                  <p:custDataLst>
                    <p:tags r:id="rId338"/>
                  </p:custDataLst>
                </p:nvPr>
              </p:nvSpPr>
              <p:spPr>
                <a:xfrm>
                  <a:off x="6752889" y="5160983"/>
                  <a:ext cx="101164" cy="238822"/>
                </a:xfrm>
                <a:custGeom>
                  <a:avLst/>
                  <a:gdLst>
                    <a:gd name="connsiteX0" fmla="*/ 21729 w 118127"/>
                    <a:gd name="connsiteY0" fmla="*/ 110808 h 278867"/>
                    <a:gd name="connsiteX1" fmla="*/ 29728 w 118127"/>
                    <a:gd name="connsiteY1" fmla="*/ 145771 h 278867"/>
                    <a:gd name="connsiteX2" fmla="*/ 35953 w 118127"/>
                    <a:gd name="connsiteY2" fmla="*/ 200319 h 278867"/>
                    <a:gd name="connsiteX3" fmla="*/ 39169 w 118127"/>
                    <a:gd name="connsiteY3" fmla="*/ 278863 h 278867"/>
                    <a:gd name="connsiteX4" fmla="*/ 63083 w 118127"/>
                    <a:gd name="connsiteY4" fmla="*/ 274740 h 278867"/>
                    <a:gd name="connsiteX5" fmla="*/ 81348 w 118127"/>
                    <a:gd name="connsiteY5" fmla="*/ 274740 h 278867"/>
                    <a:gd name="connsiteX6" fmla="*/ 93511 w 118127"/>
                    <a:gd name="connsiteY6" fmla="*/ 272679 h 278867"/>
                    <a:gd name="connsiteX7" fmla="*/ 81142 w 118127"/>
                    <a:gd name="connsiteY7" fmla="*/ 236108 h 278867"/>
                    <a:gd name="connsiteX8" fmla="*/ 80235 w 118127"/>
                    <a:gd name="connsiteY8" fmla="*/ 181560 h 278867"/>
                    <a:gd name="connsiteX9" fmla="*/ 97139 w 118127"/>
                    <a:gd name="connsiteY9" fmla="*/ 147627 h 278867"/>
                    <a:gd name="connsiteX10" fmla="*/ 112230 w 118127"/>
                    <a:gd name="connsiteY10" fmla="*/ 120827 h 278867"/>
                    <a:gd name="connsiteX11" fmla="*/ 116682 w 118127"/>
                    <a:gd name="connsiteY11" fmla="*/ 54859 h 278867"/>
                    <a:gd name="connsiteX12" fmla="*/ 112559 w 118127"/>
                    <a:gd name="connsiteY12" fmla="*/ 23606 h 278867"/>
                    <a:gd name="connsiteX13" fmla="*/ 99778 w 118127"/>
                    <a:gd name="connsiteY13" fmla="*/ 22657 h 278867"/>
                    <a:gd name="connsiteX14" fmla="*/ 86749 w 118127"/>
                    <a:gd name="connsiteY14" fmla="*/ 682 h 278867"/>
                    <a:gd name="connsiteX15" fmla="*/ 72525 w 118127"/>
                    <a:gd name="connsiteY15" fmla="*/ 22657 h 278867"/>
                    <a:gd name="connsiteX16" fmla="*/ 61846 w 118127"/>
                    <a:gd name="connsiteY16" fmla="*/ 40469 h 278867"/>
                    <a:gd name="connsiteX17" fmla="*/ 28862 w 118127"/>
                    <a:gd name="connsiteY17" fmla="*/ 48715 h 278867"/>
                    <a:gd name="connsiteX18" fmla="*/ 6350 w 118127"/>
                    <a:gd name="connsiteY18" fmla="*/ 66568 h 278867"/>
                    <a:gd name="connsiteX19" fmla="*/ 1 w 118127"/>
                    <a:gd name="connsiteY19" fmla="*/ 67063 h 278867"/>
                    <a:gd name="connsiteX20" fmla="*/ 21729 w 118127"/>
                    <a:gd name="connsiteY20" fmla="*/ 110808 h 2788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118125" h="278867">
                      <a:moveTo>
                        <a:pt x="21729" y="110808"/>
                      </a:moveTo>
                      <a:cubicBezTo>
                        <a:pt x="38633" y="122146"/>
                        <a:pt x="22636" y="137567"/>
                        <a:pt x="29728" y="145771"/>
                      </a:cubicBezTo>
                      <a:cubicBezTo>
                        <a:pt x="36819" y="153976"/>
                        <a:pt x="34180" y="174633"/>
                        <a:pt x="35953" y="200319"/>
                      </a:cubicBezTo>
                      <a:cubicBezTo>
                        <a:pt x="36943" y="214709"/>
                        <a:pt x="38221" y="250249"/>
                        <a:pt x="39169" y="278863"/>
                      </a:cubicBezTo>
                      <a:cubicBezTo>
                        <a:pt x="47003" y="276843"/>
                        <a:pt x="55002" y="275483"/>
                        <a:pt x="63083" y="274740"/>
                      </a:cubicBezTo>
                      <a:cubicBezTo>
                        <a:pt x="69144" y="274287"/>
                        <a:pt x="75287" y="274287"/>
                        <a:pt x="81348" y="274740"/>
                      </a:cubicBezTo>
                      <a:cubicBezTo>
                        <a:pt x="86007" y="270617"/>
                        <a:pt x="89883" y="267731"/>
                        <a:pt x="93511" y="272679"/>
                      </a:cubicBezTo>
                      <a:cubicBezTo>
                        <a:pt x="89388" y="257341"/>
                        <a:pt x="81142" y="248477"/>
                        <a:pt x="81142" y="236108"/>
                      </a:cubicBezTo>
                      <a:cubicBezTo>
                        <a:pt x="81142" y="218626"/>
                        <a:pt x="77596" y="204195"/>
                        <a:pt x="80235" y="181560"/>
                      </a:cubicBezTo>
                      <a:cubicBezTo>
                        <a:pt x="81513" y="168572"/>
                        <a:pt x="87533" y="156491"/>
                        <a:pt x="97139" y="147627"/>
                      </a:cubicBezTo>
                      <a:cubicBezTo>
                        <a:pt x="100850" y="138020"/>
                        <a:pt x="105921" y="128991"/>
                        <a:pt x="112230" y="120827"/>
                      </a:cubicBezTo>
                      <a:cubicBezTo>
                        <a:pt x="121136" y="110561"/>
                        <a:pt x="117549" y="64300"/>
                        <a:pt x="116682" y="54859"/>
                      </a:cubicBezTo>
                      <a:cubicBezTo>
                        <a:pt x="116188" y="49498"/>
                        <a:pt x="114167" y="34985"/>
                        <a:pt x="112559" y="23606"/>
                      </a:cubicBezTo>
                      <a:cubicBezTo>
                        <a:pt x="109756" y="25543"/>
                        <a:pt x="105509" y="25585"/>
                        <a:pt x="99778" y="22657"/>
                      </a:cubicBezTo>
                      <a:cubicBezTo>
                        <a:pt x="89099" y="17133"/>
                        <a:pt x="98583" y="4763"/>
                        <a:pt x="86749" y="682"/>
                      </a:cubicBezTo>
                      <a:cubicBezTo>
                        <a:pt x="74916" y="-3400"/>
                        <a:pt x="70257" y="11608"/>
                        <a:pt x="72525" y="22657"/>
                      </a:cubicBezTo>
                      <a:cubicBezTo>
                        <a:pt x="74793" y="33707"/>
                        <a:pt x="66629" y="33583"/>
                        <a:pt x="61846" y="40469"/>
                      </a:cubicBezTo>
                      <a:cubicBezTo>
                        <a:pt x="57063" y="47354"/>
                        <a:pt x="35788" y="48715"/>
                        <a:pt x="28862" y="48715"/>
                      </a:cubicBezTo>
                      <a:cubicBezTo>
                        <a:pt x="21935" y="48715"/>
                        <a:pt x="13483" y="63805"/>
                        <a:pt x="6350" y="66568"/>
                      </a:cubicBezTo>
                      <a:cubicBezTo>
                        <a:pt x="4288" y="67186"/>
                        <a:pt x="2145" y="67351"/>
                        <a:pt x="1" y="67063"/>
                      </a:cubicBezTo>
                      <a:cubicBezTo>
                        <a:pt x="1650" y="103593"/>
                        <a:pt x="6845" y="100830"/>
                        <a:pt x="21729" y="110808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38" name="Freeform: Shape 337">
                  <a:extLst>
                    <a:ext uri="{FF2B5EF4-FFF2-40B4-BE49-F238E27FC236}">
                      <a16:creationId xmlns:a16="http://schemas.microsoft.com/office/drawing/2014/main" id="{1963A311-0B5C-5A3D-EF2F-12AF35645132}"/>
                    </a:ext>
                  </a:extLst>
                </p:cNvPr>
                <p:cNvSpPr/>
                <p:nvPr>
                  <p:custDataLst>
                    <p:tags r:id="rId339"/>
                  </p:custDataLst>
                </p:nvPr>
              </p:nvSpPr>
              <p:spPr>
                <a:xfrm>
                  <a:off x="6722768" y="5213552"/>
                  <a:ext cx="63662" cy="195715"/>
                </a:xfrm>
                <a:custGeom>
                  <a:avLst/>
                  <a:gdLst>
                    <a:gd name="connsiteX0" fmla="*/ 17853 w 74338"/>
                    <a:gd name="connsiteY0" fmla="*/ 58701 h 228533"/>
                    <a:gd name="connsiteX1" fmla="*/ 18719 w 74338"/>
                    <a:gd name="connsiteY1" fmla="*/ 123515 h 228533"/>
                    <a:gd name="connsiteX2" fmla="*/ 29398 w 74338"/>
                    <a:gd name="connsiteY2" fmla="*/ 187299 h 228533"/>
                    <a:gd name="connsiteX3" fmla="*/ 39046 w 74338"/>
                    <a:gd name="connsiteY3" fmla="*/ 228529 h 228533"/>
                    <a:gd name="connsiteX4" fmla="*/ 74339 w 74338"/>
                    <a:gd name="connsiteY4" fmla="*/ 217479 h 228533"/>
                    <a:gd name="connsiteX5" fmla="*/ 71123 w 74338"/>
                    <a:gd name="connsiteY5" fmla="*/ 138935 h 228533"/>
                    <a:gd name="connsiteX6" fmla="*/ 64897 w 74338"/>
                    <a:gd name="connsiteY6" fmla="*/ 84387 h 228533"/>
                    <a:gd name="connsiteX7" fmla="*/ 56899 w 74338"/>
                    <a:gd name="connsiteY7" fmla="*/ 49424 h 228533"/>
                    <a:gd name="connsiteX8" fmla="*/ 35170 w 74338"/>
                    <a:gd name="connsiteY8" fmla="*/ 6049 h 228533"/>
                    <a:gd name="connsiteX9" fmla="*/ 4825 w 74338"/>
                    <a:gd name="connsiteY9" fmla="*/ 71 h 228533"/>
                    <a:gd name="connsiteX10" fmla="*/ 1 w 74338"/>
                    <a:gd name="connsiteY10" fmla="*/ 1061 h 228533"/>
                    <a:gd name="connsiteX11" fmla="*/ 8247 w 74338"/>
                    <a:gd name="connsiteY11" fmla="*/ 30911 h 228533"/>
                    <a:gd name="connsiteX12" fmla="*/ 17853 w 74338"/>
                    <a:gd name="connsiteY12" fmla="*/ 58701 h 2285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74338" h="228528">
                      <a:moveTo>
                        <a:pt x="17853" y="58701"/>
                      </a:moveTo>
                      <a:cubicBezTo>
                        <a:pt x="16946" y="74121"/>
                        <a:pt x="13400" y="108177"/>
                        <a:pt x="18719" y="123515"/>
                      </a:cubicBezTo>
                      <a:cubicBezTo>
                        <a:pt x="25522" y="144089"/>
                        <a:pt x="29150" y="165612"/>
                        <a:pt x="29398" y="187299"/>
                      </a:cubicBezTo>
                      <a:cubicBezTo>
                        <a:pt x="29398" y="198678"/>
                        <a:pt x="33521" y="214304"/>
                        <a:pt x="39046" y="228529"/>
                      </a:cubicBezTo>
                      <a:cubicBezTo>
                        <a:pt x="50590" y="224200"/>
                        <a:pt x="62382" y="220530"/>
                        <a:pt x="74339" y="217479"/>
                      </a:cubicBezTo>
                      <a:cubicBezTo>
                        <a:pt x="73391" y="188865"/>
                        <a:pt x="72113" y="153324"/>
                        <a:pt x="71123" y="138935"/>
                      </a:cubicBezTo>
                      <a:cubicBezTo>
                        <a:pt x="69350" y="113249"/>
                        <a:pt x="72030" y="92633"/>
                        <a:pt x="64897" y="84387"/>
                      </a:cubicBezTo>
                      <a:cubicBezTo>
                        <a:pt x="57764" y="76141"/>
                        <a:pt x="73803" y="60762"/>
                        <a:pt x="56899" y="49424"/>
                      </a:cubicBezTo>
                      <a:cubicBezTo>
                        <a:pt x="42015" y="39446"/>
                        <a:pt x="36820" y="42209"/>
                        <a:pt x="35170" y="6049"/>
                      </a:cubicBezTo>
                      <a:cubicBezTo>
                        <a:pt x="26594" y="5431"/>
                        <a:pt x="13978" y="1102"/>
                        <a:pt x="4825" y="71"/>
                      </a:cubicBezTo>
                      <a:cubicBezTo>
                        <a:pt x="3134" y="-177"/>
                        <a:pt x="1443" y="195"/>
                        <a:pt x="1" y="1061"/>
                      </a:cubicBezTo>
                      <a:cubicBezTo>
                        <a:pt x="1938" y="14131"/>
                        <a:pt x="4742" y="28726"/>
                        <a:pt x="8247" y="30911"/>
                      </a:cubicBezTo>
                      <a:cubicBezTo>
                        <a:pt x="14307" y="35034"/>
                        <a:pt x="18719" y="43281"/>
                        <a:pt x="17853" y="58701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39" name="Freeform: Shape 338">
                  <a:extLst>
                    <a:ext uri="{FF2B5EF4-FFF2-40B4-BE49-F238E27FC236}">
                      <a16:creationId xmlns:a16="http://schemas.microsoft.com/office/drawing/2014/main" id="{940BD748-937C-580B-B1BE-AD2E28806026}"/>
                    </a:ext>
                  </a:extLst>
                </p:cNvPr>
                <p:cNvSpPr/>
                <p:nvPr>
                  <p:custDataLst>
                    <p:tags r:id="rId340"/>
                  </p:custDataLst>
                </p:nvPr>
              </p:nvSpPr>
              <p:spPr>
                <a:xfrm>
                  <a:off x="7021770" y="5132015"/>
                  <a:ext cx="254266" cy="457648"/>
                </a:xfrm>
                <a:custGeom>
                  <a:avLst/>
                  <a:gdLst>
                    <a:gd name="connsiteX0" fmla="*/ 289645 w 296900"/>
                    <a:gd name="connsiteY0" fmla="*/ 485196 h 534387"/>
                    <a:gd name="connsiteX1" fmla="*/ 263917 w 296900"/>
                    <a:gd name="connsiteY1" fmla="*/ 455345 h 534387"/>
                    <a:gd name="connsiteX2" fmla="*/ 255011 w 296900"/>
                    <a:gd name="connsiteY2" fmla="*/ 439925 h 534387"/>
                    <a:gd name="connsiteX3" fmla="*/ 248785 w 296900"/>
                    <a:gd name="connsiteY3" fmla="*/ 412135 h 534387"/>
                    <a:gd name="connsiteX4" fmla="*/ 237282 w 296900"/>
                    <a:gd name="connsiteY4" fmla="*/ 375028 h 534387"/>
                    <a:gd name="connsiteX5" fmla="*/ 231922 w 296900"/>
                    <a:gd name="connsiteY5" fmla="*/ 336972 h 534387"/>
                    <a:gd name="connsiteX6" fmla="*/ 251465 w 296900"/>
                    <a:gd name="connsiteY6" fmla="*/ 290671 h 534387"/>
                    <a:gd name="connsiteX7" fmla="*/ 271668 w 296900"/>
                    <a:gd name="connsiteY7" fmla="*/ 261809 h 534387"/>
                    <a:gd name="connsiteX8" fmla="*/ 259752 w 296900"/>
                    <a:gd name="connsiteY8" fmla="*/ 228248 h 534387"/>
                    <a:gd name="connsiteX9" fmla="*/ 226768 w 296900"/>
                    <a:gd name="connsiteY9" fmla="*/ 188501 h 534387"/>
                    <a:gd name="connsiteX10" fmla="*/ 217285 w 296900"/>
                    <a:gd name="connsiteY10" fmla="*/ 155517 h 534387"/>
                    <a:gd name="connsiteX11" fmla="*/ 251630 w 296900"/>
                    <a:gd name="connsiteY11" fmla="*/ 149992 h 534387"/>
                    <a:gd name="connsiteX12" fmla="*/ 268122 w 296900"/>
                    <a:gd name="connsiteY12" fmla="*/ 143189 h 534387"/>
                    <a:gd name="connsiteX13" fmla="*/ 251630 w 296900"/>
                    <a:gd name="connsiteY13" fmla="*/ 85466 h 534387"/>
                    <a:gd name="connsiteX14" fmla="*/ 246889 w 296900"/>
                    <a:gd name="connsiteY14" fmla="*/ 44236 h 534387"/>
                    <a:gd name="connsiteX15" fmla="*/ 222150 w 296900"/>
                    <a:gd name="connsiteY15" fmla="*/ 325 h 534387"/>
                    <a:gd name="connsiteX16" fmla="*/ 219924 w 296900"/>
                    <a:gd name="connsiteY16" fmla="*/ -4 h 534387"/>
                    <a:gd name="connsiteX17" fmla="*/ 217450 w 296900"/>
                    <a:gd name="connsiteY17" fmla="*/ 25022 h 534387"/>
                    <a:gd name="connsiteX18" fmla="*/ 233942 w 296900"/>
                    <a:gd name="connsiteY18" fmla="*/ 44236 h 534387"/>
                    <a:gd name="connsiteX19" fmla="*/ 236333 w 296900"/>
                    <a:gd name="connsiteY19" fmla="*/ 73097 h 534387"/>
                    <a:gd name="connsiteX20" fmla="*/ 212626 w 296900"/>
                    <a:gd name="connsiteY20" fmla="*/ 88188 h 534387"/>
                    <a:gd name="connsiteX21" fmla="*/ 188960 w 296900"/>
                    <a:gd name="connsiteY21" fmla="*/ 138942 h 534387"/>
                    <a:gd name="connsiteX22" fmla="*/ 179518 w 296900"/>
                    <a:gd name="connsiteY22" fmla="*/ 169123 h 534387"/>
                    <a:gd name="connsiteX23" fmla="*/ 174735 w 296900"/>
                    <a:gd name="connsiteY23" fmla="*/ 193861 h 534387"/>
                    <a:gd name="connsiteX24" fmla="*/ 155769 w 296900"/>
                    <a:gd name="connsiteY24" fmla="*/ 221321 h 534387"/>
                    <a:gd name="connsiteX25" fmla="*/ 126166 w 296900"/>
                    <a:gd name="connsiteY25" fmla="*/ 292650 h 534387"/>
                    <a:gd name="connsiteX26" fmla="*/ 109673 w 296900"/>
                    <a:gd name="connsiteY26" fmla="*/ 313265 h 534387"/>
                    <a:gd name="connsiteX27" fmla="*/ 81224 w 296900"/>
                    <a:gd name="connsiteY27" fmla="*/ 289969 h 534387"/>
                    <a:gd name="connsiteX28" fmla="*/ 57558 w 296900"/>
                    <a:gd name="connsiteY28" fmla="*/ 294092 h 534387"/>
                    <a:gd name="connsiteX29" fmla="*/ 11669 w 296900"/>
                    <a:gd name="connsiteY29" fmla="*/ 344806 h 534387"/>
                    <a:gd name="connsiteX30" fmla="*/ 1 w 296900"/>
                    <a:gd name="connsiteY30" fmla="*/ 394571 h 534387"/>
                    <a:gd name="connsiteX31" fmla="*/ 7958 w 296900"/>
                    <a:gd name="connsiteY31" fmla="*/ 405003 h 534387"/>
                    <a:gd name="connsiteX32" fmla="*/ 18636 w 296900"/>
                    <a:gd name="connsiteY32" fmla="*/ 403601 h 534387"/>
                    <a:gd name="connsiteX33" fmla="*/ 67288 w 296900"/>
                    <a:gd name="connsiteY33" fmla="*/ 432709 h 534387"/>
                    <a:gd name="connsiteX34" fmla="*/ 72154 w 296900"/>
                    <a:gd name="connsiteY34" fmla="*/ 464086 h 534387"/>
                    <a:gd name="connsiteX35" fmla="*/ 73226 w 296900"/>
                    <a:gd name="connsiteY35" fmla="*/ 473486 h 534387"/>
                    <a:gd name="connsiteX36" fmla="*/ 69515 w 296900"/>
                    <a:gd name="connsiteY36" fmla="*/ 510223 h 534387"/>
                    <a:gd name="connsiteX37" fmla="*/ 68319 w 296900"/>
                    <a:gd name="connsiteY37" fmla="*/ 514346 h 534387"/>
                    <a:gd name="connsiteX38" fmla="*/ 106622 w 296900"/>
                    <a:gd name="connsiteY38" fmla="*/ 514346 h 534387"/>
                    <a:gd name="connsiteX39" fmla="*/ 123898 w 296900"/>
                    <a:gd name="connsiteY39" fmla="*/ 508615 h 534387"/>
                    <a:gd name="connsiteX40" fmla="*/ 230190 w 296900"/>
                    <a:gd name="connsiteY40" fmla="*/ 511501 h 534387"/>
                    <a:gd name="connsiteX41" fmla="*/ 286964 w 296900"/>
                    <a:gd name="connsiteY41" fmla="*/ 534384 h 534387"/>
                    <a:gd name="connsiteX42" fmla="*/ 296901 w 296900"/>
                    <a:gd name="connsiteY42" fmla="*/ 492947 h 534387"/>
                    <a:gd name="connsiteX43" fmla="*/ 289645 w 296900"/>
                    <a:gd name="connsiteY43" fmla="*/ 485196 h 5343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</a:cxnLst>
                  <a:rect l="l" t="t" r="r" b="b"/>
                  <a:pathLst>
                    <a:path w="296900" h="534387">
                      <a:moveTo>
                        <a:pt x="289645" y="485196"/>
                      </a:moveTo>
                      <a:cubicBezTo>
                        <a:pt x="287871" y="477980"/>
                        <a:pt x="270101" y="464580"/>
                        <a:pt x="263917" y="455345"/>
                      </a:cubicBezTo>
                      <a:cubicBezTo>
                        <a:pt x="260536" y="450480"/>
                        <a:pt x="257567" y="445285"/>
                        <a:pt x="255011" y="439925"/>
                      </a:cubicBezTo>
                      <a:cubicBezTo>
                        <a:pt x="255835" y="430236"/>
                        <a:pt x="253691" y="420546"/>
                        <a:pt x="248785" y="412135"/>
                      </a:cubicBezTo>
                      <a:cubicBezTo>
                        <a:pt x="240827" y="401457"/>
                        <a:pt x="236745" y="388345"/>
                        <a:pt x="237282" y="375028"/>
                      </a:cubicBezTo>
                      <a:cubicBezTo>
                        <a:pt x="237282" y="358536"/>
                        <a:pt x="231922" y="346167"/>
                        <a:pt x="231922" y="336972"/>
                      </a:cubicBezTo>
                      <a:cubicBezTo>
                        <a:pt x="231922" y="327778"/>
                        <a:pt x="246146" y="310214"/>
                        <a:pt x="251465" y="290671"/>
                      </a:cubicBezTo>
                      <a:cubicBezTo>
                        <a:pt x="254557" y="279291"/>
                        <a:pt x="263834" y="270055"/>
                        <a:pt x="271668" y="261809"/>
                      </a:cubicBezTo>
                      <a:cubicBezTo>
                        <a:pt x="266514" y="251089"/>
                        <a:pt x="262515" y="239833"/>
                        <a:pt x="259752" y="228248"/>
                      </a:cubicBezTo>
                      <a:cubicBezTo>
                        <a:pt x="255011" y="210394"/>
                        <a:pt x="242023" y="204952"/>
                        <a:pt x="226768" y="188501"/>
                      </a:cubicBezTo>
                      <a:cubicBezTo>
                        <a:pt x="211512" y="172050"/>
                        <a:pt x="217285" y="162403"/>
                        <a:pt x="217285" y="155517"/>
                      </a:cubicBezTo>
                      <a:cubicBezTo>
                        <a:pt x="217285" y="148631"/>
                        <a:pt x="237447" y="148631"/>
                        <a:pt x="251630" y="149992"/>
                      </a:cubicBezTo>
                      <a:cubicBezTo>
                        <a:pt x="265813" y="151353"/>
                        <a:pt x="274142" y="147271"/>
                        <a:pt x="268122" y="143189"/>
                      </a:cubicBezTo>
                      <a:cubicBezTo>
                        <a:pt x="262102" y="139107"/>
                        <a:pt x="250310" y="107483"/>
                        <a:pt x="251630" y="85466"/>
                      </a:cubicBezTo>
                      <a:cubicBezTo>
                        <a:pt x="252949" y="63450"/>
                        <a:pt x="245734" y="56605"/>
                        <a:pt x="246889" y="44236"/>
                      </a:cubicBezTo>
                      <a:cubicBezTo>
                        <a:pt x="248043" y="31867"/>
                        <a:pt x="233860" y="325"/>
                        <a:pt x="222150" y="325"/>
                      </a:cubicBezTo>
                      <a:cubicBezTo>
                        <a:pt x="221408" y="284"/>
                        <a:pt x="220666" y="160"/>
                        <a:pt x="219924" y="-4"/>
                      </a:cubicBezTo>
                      <a:cubicBezTo>
                        <a:pt x="218357" y="8242"/>
                        <a:pt x="217532" y="16611"/>
                        <a:pt x="217450" y="25022"/>
                      </a:cubicBezTo>
                      <a:cubicBezTo>
                        <a:pt x="217450" y="31867"/>
                        <a:pt x="226933" y="41515"/>
                        <a:pt x="233942" y="44236"/>
                      </a:cubicBezTo>
                      <a:cubicBezTo>
                        <a:pt x="240951" y="46957"/>
                        <a:pt x="237529" y="60728"/>
                        <a:pt x="236333" y="73097"/>
                      </a:cubicBezTo>
                      <a:cubicBezTo>
                        <a:pt x="235137" y="85466"/>
                        <a:pt x="216172" y="82704"/>
                        <a:pt x="212626" y="88188"/>
                      </a:cubicBezTo>
                      <a:cubicBezTo>
                        <a:pt x="209080" y="93671"/>
                        <a:pt x="187887" y="132098"/>
                        <a:pt x="188960" y="138942"/>
                      </a:cubicBezTo>
                      <a:cubicBezTo>
                        <a:pt x="190032" y="145787"/>
                        <a:pt x="185414" y="166402"/>
                        <a:pt x="179518" y="169123"/>
                      </a:cubicBezTo>
                      <a:cubicBezTo>
                        <a:pt x="173622" y="171844"/>
                        <a:pt x="174735" y="186976"/>
                        <a:pt x="174735" y="193861"/>
                      </a:cubicBezTo>
                      <a:cubicBezTo>
                        <a:pt x="174735" y="200747"/>
                        <a:pt x="155769" y="210354"/>
                        <a:pt x="155769" y="221321"/>
                      </a:cubicBezTo>
                      <a:cubicBezTo>
                        <a:pt x="155769" y="232288"/>
                        <a:pt x="133257" y="277518"/>
                        <a:pt x="126166" y="292650"/>
                      </a:cubicBezTo>
                      <a:cubicBezTo>
                        <a:pt x="119074" y="307781"/>
                        <a:pt x="111941" y="326953"/>
                        <a:pt x="109673" y="313265"/>
                      </a:cubicBezTo>
                      <a:cubicBezTo>
                        <a:pt x="107406" y="299576"/>
                        <a:pt x="89512" y="283084"/>
                        <a:pt x="81224" y="289969"/>
                      </a:cubicBezTo>
                      <a:cubicBezTo>
                        <a:pt x="72937" y="296855"/>
                        <a:pt x="62300" y="292691"/>
                        <a:pt x="57558" y="294092"/>
                      </a:cubicBezTo>
                      <a:cubicBezTo>
                        <a:pt x="52816" y="295494"/>
                        <a:pt x="11669" y="344806"/>
                        <a:pt x="11669" y="344806"/>
                      </a:cubicBezTo>
                      <a:cubicBezTo>
                        <a:pt x="9112" y="361669"/>
                        <a:pt x="5196" y="378327"/>
                        <a:pt x="1" y="394571"/>
                      </a:cubicBezTo>
                      <a:cubicBezTo>
                        <a:pt x="3257" y="397540"/>
                        <a:pt x="5979" y="401045"/>
                        <a:pt x="7958" y="405003"/>
                      </a:cubicBezTo>
                      <a:cubicBezTo>
                        <a:pt x="11421" y="403972"/>
                        <a:pt x="15008" y="403518"/>
                        <a:pt x="18636" y="403601"/>
                      </a:cubicBezTo>
                      <a:cubicBezTo>
                        <a:pt x="38881" y="403931"/>
                        <a:pt x="57434" y="415021"/>
                        <a:pt x="67288" y="432709"/>
                      </a:cubicBezTo>
                      <a:cubicBezTo>
                        <a:pt x="72442" y="442316"/>
                        <a:pt x="74133" y="453366"/>
                        <a:pt x="72154" y="464086"/>
                      </a:cubicBezTo>
                      <a:cubicBezTo>
                        <a:pt x="72854" y="467178"/>
                        <a:pt x="73185" y="470311"/>
                        <a:pt x="73226" y="473486"/>
                      </a:cubicBezTo>
                      <a:cubicBezTo>
                        <a:pt x="73390" y="485814"/>
                        <a:pt x="72113" y="498142"/>
                        <a:pt x="69515" y="510223"/>
                      </a:cubicBezTo>
                      <a:cubicBezTo>
                        <a:pt x="69185" y="511624"/>
                        <a:pt x="68773" y="512985"/>
                        <a:pt x="68319" y="514346"/>
                      </a:cubicBezTo>
                      <a:lnTo>
                        <a:pt x="106622" y="514346"/>
                      </a:lnTo>
                      <a:lnTo>
                        <a:pt x="123898" y="508615"/>
                      </a:lnTo>
                      <a:cubicBezTo>
                        <a:pt x="123898" y="508615"/>
                        <a:pt x="217821" y="514346"/>
                        <a:pt x="230190" y="511501"/>
                      </a:cubicBezTo>
                      <a:cubicBezTo>
                        <a:pt x="242559" y="508656"/>
                        <a:pt x="286964" y="534384"/>
                        <a:pt x="286964" y="534384"/>
                      </a:cubicBezTo>
                      <a:cubicBezTo>
                        <a:pt x="286964" y="534384"/>
                        <a:pt x="289108" y="508450"/>
                        <a:pt x="296901" y="492947"/>
                      </a:cubicBezTo>
                      <a:cubicBezTo>
                        <a:pt x="293561" y="491421"/>
                        <a:pt x="290964" y="488618"/>
                        <a:pt x="289645" y="485196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40" name="Freeform: Shape 339">
                  <a:extLst>
                    <a:ext uri="{FF2B5EF4-FFF2-40B4-BE49-F238E27FC236}">
                      <a16:creationId xmlns:a16="http://schemas.microsoft.com/office/drawing/2014/main" id="{CF03E51A-39C5-408B-60B2-9C1A0FF4A9BC}"/>
                    </a:ext>
                  </a:extLst>
                </p:cNvPr>
                <p:cNvSpPr/>
                <p:nvPr>
                  <p:custDataLst>
                    <p:tags r:id="rId341"/>
                  </p:custDataLst>
                </p:nvPr>
              </p:nvSpPr>
              <p:spPr>
                <a:xfrm>
                  <a:off x="6431342" y="5232872"/>
                  <a:ext cx="209330" cy="230842"/>
                </a:xfrm>
                <a:custGeom>
                  <a:avLst/>
                  <a:gdLst>
                    <a:gd name="connsiteX0" fmla="*/ 15233 w 244432"/>
                    <a:gd name="connsiteY0" fmla="*/ 211040 h 269550"/>
                    <a:gd name="connsiteX1" fmla="*/ 46320 w 244432"/>
                    <a:gd name="connsiteY1" fmla="*/ 246004 h 269550"/>
                    <a:gd name="connsiteX2" fmla="*/ 39889 w 244432"/>
                    <a:gd name="connsiteY2" fmla="*/ 268144 h 269550"/>
                    <a:gd name="connsiteX3" fmla="*/ 41331 w 244432"/>
                    <a:gd name="connsiteY3" fmla="*/ 269546 h 269550"/>
                    <a:gd name="connsiteX4" fmla="*/ 60545 w 244432"/>
                    <a:gd name="connsiteY4" fmla="*/ 263650 h 269550"/>
                    <a:gd name="connsiteX5" fmla="*/ 228683 w 244432"/>
                    <a:gd name="connsiteY5" fmla="*/ 237427 h 269550"/>
                    <a:gd name="connsiteX6" fmla="*/ 214211 w 244432"/>
                    <a:gd name="connsiteY6" fmla="*/ 190466 h 269550"/>
                    <a:gd name="connsiteX7" fmla="*/ 229301 w 244432"/>
                    <a:gd name="connsiteY7" fmla="*/ 145113 h 269550"/>
                    <a:gd name="connsiteX8" fmla="*/ 244433 w 244432"/>
                    <a:gd name="connsiteY8" fmla="*/ 114231 h 269550"/>
                    <a:gd name="connsiteX9" fmla="*/ 230456 w 244432"/>
                    <a:gd name="connsiteY9" fmla="*/ 42201 h 269550"/>
                    <a:gd name="connsiteX10" fmla="*/ 223075 w 244432"/>
                    <a:gd name="connsiteY10" fmla="*/ 37790 h 269550"/>
                    <a:gd name="connsiteX11" fmla="*/ 175743 w 244432"/>
                    <a:gd name="connsiteY11" fmla="*/ 44634 h 269550"/>
                    <a:gd name="connsiteX12" fmla="*/ 140202 w 244432"/>
                    <a:gd name="connsiteY12" fmla="*/ 25462 h 269550"/>
                    <a:gd name="connsiteX13" fmla="*/ 109362 w 244432"/>
                    <a:gd name="connsiteY13" fmla="*/ 13093 h 269550"/>
                    <a:gd name="connsiteX14" fmla="*/ 95179 w 244432"/>
                    <a:gd name="connsiteY14" fmla="*/ 7568 h 269550"/>
                    <a:gd name="connsiteX15" fmla="*/ 75058 w 244432"/>
                    <a:gd name="connsiteY15" fmla="*/ 10330 h 269550"/>
                    <a:gd name="connsiteX16" fmla="*/ 52546 w 244432"/>
                    <a:gd name="connsiteY16" fmla="*/ 22699 h 269550"/>
                    <a:gd name="connsiteX17" fmla="*/ 32384 w 244432"/>
                    <a:gd name="connsiteY17" fmla="*/ 15855 h 269550"/>
                    <a:gd name="connsiteX18" fmla="*/ 18820 w 244432"/>
                    <a:gd name="connsiteY18" fmla="*/ 19648 h 269550"/>
                    <a:gd name="connsiteX19" fmla="*/ 18820 w 244432"/>
                    <a:gd name="connsiteY19" fmla="*/ 56756 h 269550"/>
                    <a:gd name="connsiteX20" fmla="*/ 25911 w 244432"/>
                    <a:gd name="connsiteY20" fmla="*/ 78361 h 269550"/>
                    <a:gd name="connsiteX21" fmla="*/ 33003 w 244432"/>
                    <a:gd name="connsiteY21" fmla="*/ 107222 h 269550"/>
                    <a:gd name="connsiteX22" fmla="*/ 14367 w 244432"/>
                    <a:gd name="connsiteY22" fmla="*/ 110273 h 269550"/>
                    <a:gd name="connsiteX23" fmla="*/ 17913 w 244432"/>
                    <a:gd name="connsiteY23" fmla="*/ 138103 h 269550"/>
                    <a:gd name="connsiteX24" fmla="*/ 6368 w 244432"/>
                    <a:gd name="connsiteY24" fmla="*/ 163790 h 269550"/>
                    <a:gd name="connsiteX25" fmla="*/ 1915 w 244432"/>
                    <a:gd name="connsiteY25" fmla="*/ 196774 h 269550"/>
                    <a:gd name="connsiteX26" fmla="*/ 15233 w 244432"/>
                    <a:gd name="connsiteY26" fmla="*/ 211040 h 2695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244432" h="269550">
                      <a:moveTo>
                        <a:pt x="15233" y="211040"/>
                      </a:moveTo>
                      <a:cubicBezTo>
                        <a:pt x="27602" y="220276"/>
                        <a:pt x="48217" y="230584"/>
                        <a:pt x="46320" y="246004"/>
                      </a:cubicBezTo>
                      <a:cubicBezTo>
                        <a:pt x="45084" y="253631"/>
                        <a:pt x="42940" y="261053"/>
                        <a:pt x="39889" y="268144"/>
                      </a:cubicBezTo>
                      <a:lnTo>
                        <a:pt x="41331" y="269546"/>
                      </a:lnTo>
                      <a:cubicBezTo>
                        <a:pt x="48093" y="267485"/>
                        <a:pt x="54608" y="265423"/>
                        <a:pt x="60545" y="263650"/>
                      </a:cubicBezTo>
                      <a:cubicBezTo>
                        <a:pt x="117649" y="247158"/>
                        <a:pt x="171166" y="242499"/>
                        <a:pt x="228683" y="237427"/>
                      </a:cubicBezTo>
                      <a:cubicBezTo>
                        <a:pt x="222746" y="225058"/>
                        <a:pt x="213427" y="197640"/>
                        <a:pt x="214211" y="190466"/>
                      </a:cubicBezTo>
                      <a:cubicBezTo>
                        <a:pt x="215118" y="182220"/>
                        <a:pt x="230208" y="157482"/>
                        <a:pt x="229301" y="145113"/>
                      </a:cubicBezTo>
                      <a:cubicBezTo>
                        <a:pt x="228394" y="132744"/>
                        <a:pt x="244433" y="124498"/>
                        <a:pt x="244433" y="114231"/>
                      </a:cubicBezTo>
                      <a:cubicBezTo>
                        <a:pt x="244433" y="106397"/>
                        <a:pt x="240310" y="67517"/>
                        <a:pt x="230456" y="42201"/>
                      </a:cubicBezTo>
                      <a:cubicBezTo>
                        <a:pt x="228435" y="42201"/>
                        <a:pt x="225962" y="41129"/>
                        <a:pt x="223075" y="37790"/>
                      </a:cubicBezTo>
                      <a:cubicBezTo>
                        <a:pt x="215984" y="29544"/>
                        <a:pt x="186380" y="30904"/>
                        <a:pt x="175743" y="44634"/>
                      </a:cubicBezTo>
                      <a:cubicBezTo>
                        <a:pt x="165105" y="58364"/>
                        <a:pt x="143748" y="32265"/>
                        <a:pt x="140202" y="25462"/>
                      </a:cubicBezTo>
                      <a:cubicBezTo>
                        <a:pt x="136656" y="18659"/>
                        <a:pt x="121236" y="3486"/>
                        <a:pt x="109362" y="13093"/>
                      </a:cubicBezTo>
                      <a:cubicBezTo>
                        <a:pt x="97487" y="22699"/>
                        <a:pt x="94024" y="19937"/>
                        <a:pt x="95179" y="7568"/>
                      </a:cubicBezTo>
                      <a:cubicBezTo>
                        <a:pt x="96333" y="-4802"/>
                        <a:pt x="77408" y="-678"/>
                        <a:pt x="75058" y="10330"/>
                      </a:cubicBezTo>
                      <a:cubicBezTo>
                        <a:pt x="72708" y="21339"/>
                        <a:pt x="57288" y="30945"/>
                        <a:pt x="52546" y="22699"/>
                      </a:cubicBezTo>
                      <a:cubicBezTo>
                        <a:pt x="47805" y="14453"/>
                        <a:pt x="37126" y="3527"/>
                        <a:pt x="32384" y="15855"/>
                      </a:cubicBezTo>
                      <a:cubicBezTo>
                        <a:pt x="29086" y="24431"/>
                        <a:pt x="23520" y="23689"/>
                        <a:pt x="18820" y="19648"/>
                      </a:cubicBezTo>
                      <a:cubicBezTo>
                        <a:pt x="15851" y="34945"/>
                        <a:pt x="12182" y="52426"/>
                        <a:pt x="18820" y="56756"/>
                      </a:cubicBezTo>
                      <a:cubicBezTo>
                        <a:pt x="25499" y="61745"/>
                        <a:pt x="28344" y="70403"/>
                        <a:pt x="25911" y="78361"/>
                      </a:cubicBezTo>
                      <a:cubicBezTo>
                        <a:pt x="24138" y="84504"/>
                        <a:pt x="39229" y="99965"/>
                        <a:pt x="33003" y="107222"/>
                      </a:cubicBezTo>
                      <a:cubicBezTo>
                        <a:pt x="26777" y="114478"/>
                        <a:pt x="18820" y="100007"/>
                        <a:pt x="14367" y="110273"/>
                      </a:cubicBezTo>
                      <a:cubicBezTo>
                        <a:pt x="9914" y="120539"/>
                        <a:pt x="23231" y="129857"/>
                        <a:pt x="17913" y="138103"/>
                      </a:cubicBezTo>
                      <a:cubicBezTo>
                        <a:pt x="12594" y="146350"/>
                        <a:pt x="4595" y="147339"/>
                        <a:pt x="6368" y="163790"/>
                      </a:cubicBezTo>
                      <a:cubicBezTo>
                        <a:pt x="8141" y="180241"/>
                        <a:pt x="7234" y="191579"/>
                        <a:pt x="1915" y="196774"/>
                      </a:cubicBezTo>
                      <a:cubicBezTo>
                        <a:pt x="-3403" y="201969"/>
                        <a:pt x="2781" y="201805"/>
                        <a:pt x="15233" y="211040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41" name="Freeform: Shape 340">
                  <a:extLst>
                    <a:ext uri="{FF2B5EF4-FFF2-40B4-BE49-F238E27FC236}">
                      <a16:creationId xmlns:a16="http://schemas.microsoft.com/office/drawing/2014/main" id="{2B4BAA45-1538-B183-E410-4AC14027A54B}"/>
                    </a:ext>
                  </a:extLst>
                </p:cNvPr>
                <p:cNvSpPr/>
                <p:nvPr>
                  <p:custDataLst>
                    <p:tags r:id="rId342"/>
                  </p:custDataLst>
                </p:nvPr>
              </p:nvSpPr>
              <p:spPr>
                <a:xfrm>
                  <a:off x="6614576" y="5214463"/>
                  <a:ext cx="141631" cy="221815"/>
                </a:xfrm>
                <a:custGeom>
                  <a:avLst/>
                  <a:gdLst>
                    <a:gd name="connsiteX0" fmla="*/ 39340 w 165380"/>
                    <a:gd name="connsiteY0" fmla="*/ 256738 h 259009"/>
                    <a:gd name="connsiteX1" fmla="*/ 136767 w 165380"/>
                    <a:gd name="connsiteY1" fmla="*/ 237359 h 259009"/>
                    <a:gd name="connsiteX2" fmla="*/ 165381 w 165380"/>
                    <a:gd name="connsiteY2" fmla="*/ 227464 h 259009"/>
                    <a:gd name="connsiteX3" fmla="*/ 155733 w 165380"/>
                    <a:gd name="connsiteY3" fmla="*/ 186234 h 259009"/>
                    <a:gd name="connsiteX4" fmla="*/ 145055 w 165380"/>
                    <a:gd name="connsiteY4" fmla="*/ 122450 h 259009"/>
                    <a:gd name="connsiteX5" fmla="*/ 144188 w 165380"/>
                    <a:gd name="connsiteY5" fmla="*/ 57636 h 259009"/>
                    <a:gd name="connsiteX6" fmla="*/ 134376 w 165380"/>
                    <a:gd name="connsiteY6" fmla="*/ 29847 h 259009"/>
                    <a:gd name="connsiteX7" fmla="*/ 126129 w 165380"/>
                    <a:gd name="connsiteY7" fmla="*/ -4 h 259009"/>
                    <a:gd name="connsiteX8" fmla="*/ 115533 w 165380"/>
                    <a:gd name="connsiteY8" fmla="*/ 11334 h 259009"/>
                    <a:gd name="connsiteX9" fmla="*/ 14890 w 165380"/>
                    <a:gd name="connsiteY9" fmla="*/ 8572 h 259009"/>
                    <a:gd name="connsiteX10" fmla="*/ 21982 w 165380"/>
                    <a:gd name="connsiteY10" fmla="*/ 55245 h 259009"/>
                    <a:gd name="connsiteX11" fmla="*/ 16292 w 165380"/>
                    <a:gd name="connsiteY11" fmla="*/ 63779 h 259009"/>
                    <a:gd name="connsiteX12" fmla="*/ 30269 w 165380"/>
                    <a:gd name="connsiteY12" fmla="*/ 135809 h 259009"/>
                    <a:gd name="connsiteX13" fmla="*/ 15137 w 165380"/>
                    <a:gd name="connsiteY13" fmla="*/ 166690 h 259009"/>
                    <a:gd name="connsiteX14" fmla="*/ 47 w 165380"/>
                    <a:gd name="connsiteY14" fmla="*/ 212044 h 259009"/>
                    <a:gd name="connsiteX15" fmla="*/ 14519 w 165380"/>
                    <a:gd name="connsiteY15" fmla="*/ 259005 h 2590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65380" h="259009">
                      <a:moveTo>
                        <a:pt x="39340" y="256738"/>
                      </a:moveTo>
                      <a:cubicBezTo>
                        <a:pt x="72407" y="253728"/>
                        <a:pt x="105061" y="247213"/>
                        <a:pt x="136767" y="237359"/>
                      </a:cubicBezTo>
                      <a:cubicBezTo>
                        <a:pt x="146374" y="234350"/>
                        <a:pt x="155857" y="230886"/>
                        <a:pt x="165381" y="227464"/>
                      </a:cubicBezTo>
                      <a:cubicBezTo>
                        <a:pt x="160021" y="213240"/>
                        <a:pt x="155733" y="197613"/>
                        <a:pt x="155733" y="186234"/>
                      </a:cubicBezTo>
                      <a:cubicBezTo>
                        <a:pt x="155486" y="164547"/>
                        <a:pt x="151858" y="143024"/>
                        <a:pt x="145055" y="122450"/>
                      </a:cubicBezTo>
                      <a:cubicBezTo>
                        <a:pt x="139736" y="106989"/>
                        <a:pt x="143281" y="72973"/>
                        <a:pt x="144188" y="57636"/>
                      </a:cubicBezTo>
                      <a:cubicBezTo>
                        <a:pt x="145096" y="42298"/>
                        <a:pt x="140643" y="33970"/>
                        <a:pt x="134376" y="29847"/>
                      </a:cubicBezTo>
                      <a:cubicBezTo>
                        <a:pt x="131077" y="27661"/>
                        <a:pt x="128273" y="13066"/>
                        <a:pt x="126129" y="-4"/>
                      </a:cubicBezTo>
                      <a:cubicBezTo>
                        <a:pt x="119079" y="3665"/>
                        <a:pt x="118502" y="17065"/>
                        <a:pt x="115533" y="11334"/>
                      </a:cubicBezTo>
                      <a:cubicBezTo>
                        <a:pt x="111988" y="4490"/>
                        <a:pt x="19590" y="367"/>
                        <a:pt x="14890" y="8572"/>
                      </a:cubicBezTo>
                      <a:cubicBezTo>
                        <a:pt x="10189" y="16776"/>
                        <a:pt x="23136" y="47040"/>
                        <a:pt x="21982" y="55245"/>
                      </a:cubicBezTo>
                      <a:cubicBezTo>
                        <a:pt x="21239" y="60192"/>
                        <a:pt x="19260" y="63491"/>
                        <a:pt x="16292" y="63779"/>
                      </a:cubicBezTo>
                      <a:cubicBezTo>
                        <a:pt x="26105" y="89095"/>
                        <a:pt x="30269" y="127975"/>
                        <a:pt x="30269" y="135809"/>
                      </a:cubicBezTo>
                      <a:cubicBezTo>
                        <a:pt x="30269" y="146116"/>
                        <a:pt x="14271" y="154362"/>
                        <a:pt x="15137" y="166690"/>
                      </a:cubicBezTo>
                      <a:cubicBezTo>
                        <a:pt x="16003" y="179019"/>
                        <a:pt x="954" y="203798"/>
                        <a:pt x="47" y="212044"/>
                      </a:cubicBezTo>
                      <a:cubicBezTo>
                        <a:pt x="-736" y="219218"/>
                        <a:pt x="8582" y="246554"/>
                        <a:pt x="14519" y="259005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42" name="Freeform: Shape 341">
                  <a:extLst>
                    <a:ext uri="{FF2B5EF4-FFF2-40B4-BE49-F238E27FC236}">
                      <a16:creationId xmlns:a16="http://schemas.microsoft.com/office/drawing/2014/main" id="{7417C345-7E78-CF07-6E16-B9D7E534AF20}"/>
                    </a:ext>
                  </a:extLst>
                </p:cNvPr>
                <p:cNvSpPr/>
                <p:nvPr>
                  <p:custDataLst>
                    <p:tags r:id="rId343"/>
                  </p:custDataLst>
                </p:nvPr>
              </p:nvSpPr>
              <p:spPr>
                <a:xfrm>
                  <a:off x="6204810" y="5150093"/>
                  <a:ext cx="256033" cy="222551"/>
                </a:xfrm>
                <a:custGeom>
                  <a:avLst/>
                  <a:gdLst>
                    <a:gd name="connsiteX0" fmla="*/ 28614 w 298965"/>
                    <a:gd name="connsiteY0" fmla="*/ 118739 h 259869"/>
                    <a:gd name="connsiteX1" fmla="*/ 34180 w 298965"/>
                    <a:gd name="connsiteY1" fmla="*/ 123522 h 259869"/>
                    <a:gd name="connsiteX2" fmla="*/ 79534 w 298965"/>
                    <a:gd name="connsiteY2" fmla="*/ 169989 h 259869"/>
                    <a:gd name="connsiteX3" fmla="*/ 101221 w 298965"/>
                    <a:gd name="connsiteY3" fmla="*/ 141128 h 259869"/>
                    <a:gd name="connsiteX4" fmla="*/ 119857 w 298965"/>
                    <a:gd name="connsiteY4" fmla="*/ 136015 h 259869"/>
                    <a:gd name="connsiteX5" fmla="*/ 150079 w 298965"/>
                    <a:gd name="connsiteY5" fmla="*/ 128800 h 259869"/>
                    <a:gd name="connsiteX6" fmla="*/ 182033 w 298965"/>
                    <a:gd name="connsiteY6" fmla="*/ 175101 h 259869"/>
                    <a:gd name="connsiteX7" fmla="*/ 187393 w 298965"/>
                    <a:gd name="connsiteY7" fmla="*/ 202891 h 259869"/>
                    <a:gd name="connsiteX8" fmla="*/ 188630 w 298965"/>
                    <a:gd name="connsiteY8" fmla="*/ 206148 h 259869"/>
                    <a:gd name="connsiteX9" fmla="*/ 217491 w 298965"/>
                    <a:gd name="connsiteY9" fmla="*/ 200293 h 259869"/>
                    <a:gd name="connsiteX10" fmla="*/ 228830 w 298965"/>
                    <a:gd name="connsiteY10" fmla="*/ 239751 h 259869"/>
                    <a:gd name="connsiteX11" fmla="*/ 248084 w 298965"/>
                    <a:gd name="connsiteY11" fmla="*/ 255996 h 259869"/>
                    <a:gd name="connsiteX12" fmla="*/ 263793 w 298965"/>
                    <a:gd name="connsiteY12" fmla="*/ 241771 h 259869"/>
                    <a:gd name="connsiteX13" fmla="*/ 271791 w 298965"/>
                    <a:gd name="connsiteY13" fmla="*/ 248739 h 259869"/>
                    <a:gd name="connsiteX14" fmla="*/ 282347 w 298965"/>
                    <a:gd name="connsiteY14" fmla="*/ 234803 h 259869"/>
                    <a:gd name="connsiteX15" fmla="*/ 278801 w 298965"/>
                    <a:gd name="connsiteY15" fmla="*/ 206973 h 259869"/>
                    <a:gd name="connsiteX16" fmla="*/ 297437 w 298965"/>
                    <a:gd name="connsiteY16" fmla="*/ 203921 h 259869"/>
                    <a:gd name="connsiteX17" fmla="*/ 290345 w 298965"/>
                    <a:gd name="connsiteY17" fmla="*/ 175060 h 259869"/>
                    <a:gd name="connsiteX18" fmla="*/ 283254 w 298965"/>
                    <a:gd name="connsiteY18" fmla="*/ 153455 h 259869"/>
                    <a:gd name="connsiteX19" fmla="*/ 283254 w 298965"/>
                    <a:gd name="connsiteY19" fmla="*/ 116348 h 259869"/>
                    <a:gd name="connsiteX20" fmla="*/ 277852 w 298965"/>
                    <a:gd name="connsiteY20" fmla="*/ 109834 h 259869"/>
                    <a:gd name="connsiteX21" fmla="*/ 268411 w 298965"/>
                    <a:gd name="connsiteY21" fmla="*/ 83735 h 259869"/>
                    <a:gd name="connsiteX22" fmla="*/ 268411 w 298965"/>
                    <a:gd name="connsiteY22" fmla="*/ 67242 h 259869"/>
                    <a:gd name="connsiteX23" fmla="*/ 254186 w 298965"/>
                    <a:gd name="connsiteY23" fmla="*/ 45308 h 259869"/>
                    <a:gd name="connsiteX24" fmla="*/ 238766 w 298965"/>
                    <a:gd name="connsiteY24" fmla="*/ 11004 h 259869"/>
                    <a:gd name="connsiteX25" fmla="*/ 210358 w 298965"/>
                    <a:gd name="connsiteY25" fmla="*/ 34341 h 259869"/>
                    <a:gd name="connsiteX26" fmla="*/ 183105 w 298965"/>
                    <a:gd name="connsiteY26" fmla="*/ 31578 h 259869"/>
                    <a:gd name="connsiteX27" fmla="*/ 160593 w 298965"/>
                    <a:gd name="connsiteY27" fmla="*/ 35701 h 259869"/>
                    <a:gd name="connsiteX28" fmla="*/ 148760 w 298965"/>
                    <a:gd name="connsiteY28" fmla="*/ 23332 h 259869"/>
                    <a:gd name="connsiteX29" fmla="*/ 149007 w 298965"/>
                    <a:gd name="connsiteY29" fmla="*/ 15663 h 259869"/>
                    <a:gd name="connsiteX30" fmla="*/ 144596 w 298965"/>
                    <a:gd name="connsiteY30" fmla="*/ 17477 h 259869"/>
                    <a:gd name="connsiteX31" fmla="*/ 86007 w 298965"/>
                    <a:gd name="connsiteY31" fmla="*/ 13354 h 259869"/>
                    <a:gd name="connsiteX32" fmla="*/ 57558 w 298965"/>
                    <a:gd name="connsiteY32" fmla="*/ -4 h 259869"/>
                    <a:gd name="connsiteX33" fmla="*/ 48652 w 298965"/>
                    <a:gd name="connsiteY33" fmla="*/ 21559 h 259869"/>
                    <a:gd name="connsiteX34" fmla="*/ 51332 w 298965"/>
                    <a:gd name="connsiteY34" fmla="*/ 43205 h 259869"/>
                    <a:gd name="connsiteX35" fmla="*/ 37108 w 298965"/>
                    <a:gd name="connsiteY35" fmla="*/ 50379 h 259869"/>
                    <a:gd name="connsiteX36" fmla="*/ 4124 w 298965"/>
                    <a:gd name="connsiteY36" fmla="*/ 73015 h 259869"/>
                    <a:gd name="connsiteX37" fmla="*/ 1 w 298965"/>
                    <a:gd name="connsiteY37" fmla="*/ 78003 h 259869"/>
                    <a:gd name="connsiteX38" fmla="*/ 28614 w 298965"/>
                    <a:gd name="connsiteY38" fmla="*/ 118739 h 2598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</a:cxnLst>
                  <a:rect l="l" t="t" r="r" b="b"/>
                  <a:pathLst>
                    <a:path w="298965" h="259869">
                      <a:moveTo>
                        <a:pt x="28614" y="118739"/>
                      </a:moveTo>
                      <a:cubicBezTo>
                        <a:pt x="30429" y="120265"/>
                        <a:pt x="32284" y="121831"/>
                        <a:pt x="34180" y="123522"/>
                      </a:cubicBezTo>
                      <a:cubicBezTo>
                        <a:pt x="52363" y="135685"/>
                        <a:pt x="67783" y="151518"/>
                        <a:pt x="79534" y="169989"/>
                      </a:cubicBezTo>
                      <a:cubicBezTo>
                        <a:pt x="89800" y="159599"/>
                        <a:pt x="100685" y="147518"/>
                        <a:pt x="101221" y="141128"/>
                      </a:cubicBezTo>
                      <a:cubicBezTo>
                        <a:pt x="102087" y="129830"/>
                        <a:pt x="110086" y="133912"/>
                        <a:pt x="119857" y="136015"/>
                      </a:cubicBezTo>
                      <a:cubicBezTo>
                        <a:pt x="129629" y="138118"/>
                        <a:pt x="141174" y="128800"/>
                        <a:pt x="150079" y="128800"/>
                      </a:cubicBezTo>
                      <a:cubicBezTo>
                        <a:pt x="158985" y="128800"/>
                        <a:pt x="182033" y="164794"/>
                        <a:pt x="182033" y="175101"/>
                      </a:cubicBezTo>
                      <a:cubicBezTo>
                        <a:pt x="181455" y="184667"/>
                        <a:pt x="183311" y="194232"/>
                        <a:pt x="187393" y="202891"/>
                      </a:cubicBezTo>
                      <a:cubicBezTo>
                        <a:pt x="187929" y="203921"/>
                        <a:pt x="188341" y="204994"/>
                        <a:pt x="188630" y="206148"/>
                      </a:cubicBezTo>
                      <a:cubicBezTo>
                        <a:pt x="198071" y="203427"/>
                        <a:pt x="207720" y="201448"/>
                        <a:pt x="217491" y="200293"/>
                      </a:cubicBezTo>
                      <a:cubicBezTo>
                        <a:pt x="221861" y="200293"/>
                        <a:pt x="230602" y="224578"/>
                        <a:pt x="228830" y="239751"/>
                      </a:cubicBezTo>
                      <a:cubicBezTo>
                        <a:pt x="227056" y="254924"/>
                        <a:pt x="241941" y="266097"/>
                        <a:pt x="248084" y="255996"/>
                      </a:cubicBezTo>
                      <a:cubicBezTo>
                        <a:pt x="254227" y="245894"/>
                        <a:pt x="262061" y="232659"/>
                        <a:pt x="263793" y="241771"/>
                      </a:cubicBezTo>
                      <a:cubicBezTo>
                        <a:pt x="264329" y="244492"/>
                        <a:pt x="267627" y="246801"/>
                        <a:pt x="271791" y="248739"/>
                      </a:cubicBezTo>
                      <a:cubicBezTo>
                        <a:pt x="273977" y="242761"/>
                        <a:pt x="278760" y="240493"/>
                        <a:pt x="282347" y="234803"/>
                      </a:cubicBezTo>
                      <a:cubicBezTo>
                        <a:pt x="287665" y="226557"/>
                        <a:pt x="274348" y="217280"/>
                        <a:pt x="278801" y="206973"/>
                      </a:cubicBezTo>
                      <a:cubicBezTo>
                        <a:pt x="283254" y="196665"/>
                        <a:pt x="291170" y="211096"/>
                        <a:pt x="297437" y="203921"/>
                      </a:cubicBezTo>
                      <a:cubicBezTo>
                        <a:pt x="303704" y="196747"/>
                        <a:pt x="288572" y="181245"/>
                        <a:pt x="290345" y="175060"/>
                      </a:cubicBezTo>
                      <a:cubicBezTo>
                        <a:pt x="292778" y="167102"/>
                        <a:pt x="289933" y="158444"/>
                        <a:pt x="283254" y="153455"/>
                      </a:cubicBezTo>
                      <a:cubicBezTo>
                        <a:pt x="276657" y="149332"/>
                        <a:pt x="280326" y="131727"/>
                        <a:pt x="283254" y="116348"/>
                      </a:cubicBezTo>
                      <a:cubicBezTo>
                        <a:pt x="281110" y="114493"/>
                        <a:pt x="279296" y="112266"/>
                        <a:pt x="277852" y="109834"/>
                      </a:cubicBezTo>
                      <a:cubicBezTo>
                        <a:pt x="273111" y="101588"/>
                        <a:pt x="276698" y="83735"/>
                        <a:pt x="268411" y="83735"/>
                      </a:cubicBezTo>
                      <a:cubicBezTo>
                        <a:pt x="260123" y="83735"/>
                        <a:pt x="261278" y="70005"/>
                        <a:pt x="268411" y="67242"/>
                      </a:cubicBezTo>
                      <a:cubicBezTo>
                        <a:pt x="275544" y="64480"/>
                        <a:pt x="254186" y="54873"/>
                        <a:pt x="254186" y="45308"/>
                      </a:cubicBezTo>
                      <a:cubicBezTo>
                        <a:pt x="254186" y="35742"/>
                        <a:pt x="243507" y="12324"/>
                        <a:pt x="238766" y="11004"/>
                      </a:cubicBezTo>
                      <a:cubicBezTo>
                        <a:pt x="234024" y="9685"/>
                        <a:pt x="217450" y="34341"/>
                        <a:pt x="210358" y="34341"/>
                      </a:cubicBezTo>
                      <a:cubicBezTo>
                        <a:pt x="203266" y="34341"/>
                        <a:pt x="187887" y="17848"/>
                        <a:pt x="183105" y="31578"/>
                      </a:cubicBezTo>
                      <a:cubicBezTo>
                        <a:pt x="178322" y="45308"/>
                        <a:pt x="167726" y="24693"/>
                        <a:pt x="160593" y="35701"/>
                      </a:cubicBezTo>
                      <a:cubicBezTo>
                        <a:pt x="153460" y="46710"/>
                        <a:pt x="148760" y="23332"/>
                        <a:pt x="148760" y="23332"/>
                      </a:cubicBezTo>
                      <a:cubicBezTo>
                        <a:pt x="148760" y="23332"/>
                        <a:pt x="148760" y="20075"/>
                        <a:pt x="149007" y="15663"/>
                      </a:cubicBezTo>
                      <a:lnTo>
                        <a:pt x="144596" y="17477"/>
                      </a:lnTo>
                      <a:cubicBezTo>
                        <a:pt x="123980" y="25724"/>
                        <a:pt x="87739" y="20570"/>
                        <a:pt x="86007" y="13354"/>
                      </a:cubicBezTo>
                      <a:cubicBezTo>
                        <a:pt x="84275" y="6139"/>
                        <a:pt x="57558" y="-4"/>
                        <a:pt x="57558" y="-4"/>
                      </a:cubicBezTo>
                      <a:cubicBezTo>
                        <a:pt x="57558" y="-4"/>
                        <a:pt x="58424" y="17477"/>
                        <a:pt x="48652" y="21559"/>
                      </a:cubicBezTo>
                      <a:cubicBezTo>
                        <a:pt x="38881" y="25641"/>
                        <a:pt x="51332" y="39082"/>
                        <a:pt x="51332" y="43205"/>
                      </a:cubicBezTo>
                      <a:cubicBezTo>
                        <a:pt x="51332" y="47328"/>
                        <a:pt x="43333" y="53513"/>
                        <a:pt x="37108" y="50379"/>
                      </a:cubicBezTo>
                      <a:cubicBezTo>
                        <a:pt x="30882" y="47246"/>
                        <a:pt x="13153" y="65841"/>
                        <a:pt x="4124" y="73015"/>
                      </a:cubicBezTo>
                      <a:cubicBezTo>
                        <a:pt x="2598" y="74540"/>
                        <a:pt x="1237" y="76231"/>
                        <a:pt x="1" y="78003"/>
                      </a:cubicBezTo>
                      <a:cubicBezTo>
                        <a:pt x="13689" y="90826"/>
                        <a:pt x="12534" y="105051"/>
                        <a:pt x="28614" y="118739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43" name="Freeform: Shape 342">
                  <a:extLst>
                    <a:ext uri="{FF2B5EF4-FFF2-40B4-BE49-F238E27FC236}">
                      <a16:creationId xmlns:a16="http://schemas.microsoft.com/office/drawing/2014/main" id="{C5156F72-204D-FC63-229F-71A857359262}"/>
                    </a:ext>
                  </a:extLst>
                </p:cNvPr>
                <p:cNvSpPr/>
                <p:nvPr>
                  <p:custDataLst>
                    <p:tags r:id="rId344"/>
                  </p:custDataLst>
                </p:nvPr>
              </p:nvSpPr>
              <p:spPr>
                <a:xfrm>
                  <a:off x="6328429" y="5321489"/>
                  <a:ext cx="142673" cy="141028"/>
                </a:xfrm>
                <a:custGeom>
                  <a:avLst/>
                  <a:gdLst>
                    <a:gd name="connsiteX0" fmla="*/ 26471 w 166596"/>
                    <a:gd name="connsiteY0" fmla="*/ 81962 h 164674"/>
                    <a:gd name="connsiteX1" fmla="*/ 74175 w 166596"/>
                    <a:gd name="connsiteY1" fmla="*/ 123894 h 164674"/>
                    <a:gd name="connsiteX2" fmla="*/ 154615 w 166596"/>
                    <a:gd name="connsiteY2" fmla="*/ 160053 h 164674"/>
                    <a:gd name="connsiteX3" fmla="*/ 160057 w 166596"/>
                    <a:gd name="connsiteY3" fmla="*/ 164671 h 164674"/>
                    <a:gd name="connsiteX4" fmla="*/ 166489 w 166596"/>
                    <a:gd name="connsiteY4" fmla="*/ 142530 h 164674"/>
                    <a:gd name="connsiteX5" fmla="*/ 135402 w 166596"/>
                    <a:gd name="connsiteY5" fmla="*/ 107566 h 164674"/>
                    <a:gd name="connsiteX6" fmla="*/ 122043 w 166596"/>
                    <a:gd name="connsiteY6" fmla="*/ 93177 h 164674"/>
                    <a:gd name="connsiteX7" fmla="*/ 126496 w 166596"/>
                    <a:gd name="connsiteY7" fmla="*/ 60193 h 164674"/>
                    <a:gd name="connsiteX8" fmla="*/ 127485 w 166596"/>
                    <a:gd name="connsiteY8" fmla="*/ 48442 h 164674"/>
                    <a:gd name="connsiteX9" fmla="*/ 119487 w 166596"/>
                    <a:gd name="connsiteY9" fmla="*/ 41474 h 164674"/>
                    <a:gd name="connsiteX10" fmla="*/ 103778 w 166596"/>
                    <a:gd name="connsiteY10" fmla="*/ 55698 h 164674"/>
                    <a:gd name="connsiteX11" fmla="*/ 84523 w 166596"/>
                    <a:gd name="connsiteY11" fmla="*/ 39454 h 164674"/>
                    <a:gd name="connsiteX12" fmla="*/ 73185 w 166596"/>
                    <a:gd name="connsiteY12" fmla="*/ -4 h 164674"/>
                    <a:gd name="connsiteX13" fmla="*/ 44323 w 166596"/>
                    <a:gd name="connsiteY13" fmla="*/ 5851 h 164674"/>
                    <a:gd name="connsiteX14" fmla="*/ 40200 w 166596"/>
                    <a:gd name="connsiteY14" fmla="*/ 29352 h 164674"/>
                    <a:gd name="connsiteX15" fmla="*/ 8247 w 166596"/>
                    <a:gd name="connsiteY15" fmla="*/ 60193 h 164674"/>
                    <a:gd name="connsiteX16" fmla="*/ 1 w 166596"/>
                    <a:gd name="connsiteY16" fmla="*/ 74252 h 164674"/>
                    <a:gd name="connsiteX17" fmla="*/ 26471 w 166596"/>
                    <a:gd name="connsiteY17" fmla="*/ 81962 h 1646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166596" h="164674">
                      <a:moveTo>
                        <a:pt x="26471" y="81962"/>
                      </a:moveTo>
                      <a:cubicBezTo>
                        <a:pt x="39829" y="92311"/>
                        <a:pt x="56445" y="109092"/>
                        <a:pt x="74175" y="123894"/>
                      </a:cubicBezTo>
                      <a:cubicBezTo>
                        <a:pt x="101840" y="134201"/>
                        <a:pt x="130578" y="143395"/>
                        <a:pt x="154615" y="160053"/>
                      </a:cubicBezTo>
                      <a:cubicBezTo>
                        <a:pt x="156553" y="161454"/>
                        <a:pt x="158367" y="162980"/>
                        <a:pt x="160057" y="164671"/>
                      </a:cubicBezTo>
                      <a:cubicBezTo>
                        <a:pt x="163108" y="157579"/>
                        <a:pt x="165253" y="150157"/>
                        <a:pt x="166489" y="142530"/>
                      </a:cubicBezTo>
                      <a:cubicBezTo>
                        <a:pt x="168262" y="127110"/>
                        <a:pt x="147812" y="116802"/>
                        <a:pt x="135402" y="107566"/>
                      </a:cubicBezTo>
                      <a:cubicBezTo>
                        <a:pt x="122991" y="98331"/>
                        <a:pt x="116724" y="98331"/>
                        <a:pt x="122043" y="93177"/>
                      </a:cubicBezTo>
                      <a:cubicBezTo>
                        <a:pt x="127361" y="88023"/>
                        <a:pt x="128269" y="76685"/>
                        <a:pt x="126496" y="60193"/>
                      </a:cubicBezTo>
                      <a:cubicBezTo>
                        <a:pt x="125918" y="56234"/>
                        <a:pt x="126249" y="52235"/>
                        <a:pt x="127485" y="48442"/>
                      </a:cubicBezTo>
                      <a:cubicBezTo>
                        <a:pt x="123362" y="46504"/>
                        <a:pt x="120023" y="44319"/>
                        <a:pt x="119487" y="41474"/>
                      </a:cubicBezTo>
                      <a:cubicBezTo>
                        <a:pt x="117755" y="32362"/>
                        <a:pt x="109921" y="45597"/>
                        <a:pt x="103778" y="55698"/>
                      </a:cubicBezTo>
                      <a:cubicBezTo>
                        <a:pt x="97634" y="65800"/>
                        <a:pt x="82792" y="54626"/>
                        <a:pt x="84523" y="39454"/>
                      </a:cubicBezTo>
                      <a:cubicBezTo>
                        <a:pt x="86255" y="24281"/>
                        <a:pt x="77555" y="-4"/>
                        <a:pt x="73185" y="-4"/>
                      </a:cubicBezTo>
                      <a:cubicBezTo>
                        <a:pt x="63413" y="1150"/>
                        <a:pt x="53765" y="3129"/>
                        <a:pt x="44323" y="5851"/>
                      </a:cubicBezTo>
                      <a:cubicBezTo>
                        <a:pt x="46220" y="13190"/>
                        <a:pt x="41973" y="21230"/>
                        <a:pt x="40200" y="29352"/>
                      </a:cubicBezTo>
                      <a:cubicBezTo>
                        <a:pt x="38428" y="38588"/>
                        <a:pt x="17070" y="51988"/>
                        <a:pt x="8247" y="60193"/>
                      </a:cubicBezTo>
                      <a:cubicBezTo>
                        <a:pt x="4783" y="64439"/>
                        <a:pt x="2021" y="69181"/>
                        <a:pt x="1" y="74252"/>
                      </a:cubicBezTo>
                      <a:cubicBezTo>
                        <a:pt x="9525" y="72974"/>
                        <a:pt x="19131" y="75777"/>
                        <a:pt x="26471" y="81962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44" name="Freeform: Shape 343">
                  <a:extLst>
                    <a:ext uri="{FF2B5EF4-FFF2-40B4-BE49-F238E27FC236}">
                      <a16:creationId xmlns:a16="http://schemas.microsoft.com/office/drawing/2014/main" id="{13A8A9AE-C073-A65A-6266-791C287FC5A3}"/>
                    </a:ext>
                  </a:extLst>
                </p:cNvPr>
                <p:cNvSpPr/>
                <p:nvPr>
                  <p:custDataLst>
                    <p:tags r:id="rId345"/>
                  </p:custDataLst>
                </p:nvPr>
              </p:nvSpPr>
              <p:spPr>
                <a:xfrm>
                  <a:off x="6272781" y="5260296"/>
                  <a:ext cx="93848" cy="125208"/>
                </a:xfrm>
                <a:custGeom>
                  <a:avLst/>
                  <a:gdLst>
                    <a:gd name="connsiteX0" fmla="*/ 48858 w 109585"/>
                    <a:gd name="connsiteY0" fmla="*/ 130490 h 146203"/>
                    <a:gd name="connsiteX1" fmla="*/ 55785 w 109585"/>
                    <a:gd name="connsiteY1" fmla="*/ 141128 h 146203"/>
                    <a:gd name="connsiteX2" fmla="*/ 62671 w 109585"/>
                    <a:gd name="connsiteY2" fmla="*/ 146199 h 146203"/>
                    <a:gd name="connsiteX3" fmla="*/ 64979 w 109585"/>
                    <a:gd name="connsiteY3" fmla="*/ 145745 h 146203"/>
                    <a:gd name="connsiteX4" fmla="*/ 73225 w 109585"/>
                    <a:gd name="connsiteY4" fmla="*/ 131686 h 146203"/>
                    <a:gd name="connsiteX5" fmla="*/ 105179 w 109585"/>
                    <a:gd name="connsiteY5" fmla="*/ 100845 h 146203"/>
                    <a:gd name="connsiteX6" fmla="*/ 107859 w 109585"/>
                    <a:gd name="connsiteY6" fmla="*/ 74087 h 146203"/>
                    <a:gd name="connsiteX7" fmla="*/ 102499 w 109585"/>
                    <a:gd name="connsiteY7" fmla="*/ 46298 h 146203"/>
                    <a:gd name="connsiteX8" fmla="*/ 70546 w 109585"/>
                    <a:gd name="connsiteY8" fmla="*/ -4 h 146203"/>
                    <a:gd name="connsiteX9" fmla="*/ 40324 w 109585"/>
                    <a:gd name="connsiteY9" fmla="*/ 7211 h 146203"/>
                    <a:gd name="connsiteX10" fmla="*/ 21687 w 109585"/>
                    <a:gd name="connsiteY10" fmla="*/ 12324 h 146203"/>
                    <a:gd name="connsiteX11" fmla="*/ 1 w 109585"/>
                    <a:gd name="connsiteY11" fmla="*/ 41185 h 146203"/>
                    <a:gd name="connsiteX12" fmla="*/ 48858 w 109585"/>
                    <a:gd name="connsiteY12" fmla="*/ 130490 h 146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09585" h="146203">
                      <a:moveTo>
                        <a:pt x="48858" y="130490"/>
                      </a:moveTo>
                      <a:cubicBezTo>
                        <a:pt x="50920" y="134201"/>
                        <a:pt x="53229" y="137747"/>
                        <a:pt x="55785" y="141128"/>
                      </a:cubicBezTo>
                      <a:lnTo>
                        <a:pt x="62671" y="146199"/>
                      </a:lnTo>
                      <a:cubicBezTo>
                        <a:pt x="63413" y="145993"/>
                        <a:pt x="64196" y="145869"/>
                        <a:pt x="64979" y="145745"/>
                      </a:cubicBezTo>
                      <a:cubicBezTo>
                        <a:pt x="67000" y="140674"/>
                        <a:pt x="69762" y="135932"/>
                        <a:pt x="73225" y="131686"/>
                      </a:cubicBezTo>
                      <a:cubicBezTo>
                        <a:pt x="82049" y="123440"/>
                        <a:pt x="103406" y="110081"/>
                        <a:pt x="105179" y="100845"/>
                      </a:cubicBezTo>
                      <a:cubicBezTo>
                        <a:pt x="106952" y="91610"/>
                        <a:pt x="112312" y="82292"/>
                        <a:pt x="107859" y="74087"/>
                      </a:cubicBezTo>
                      <a:cubicBezTo>
                        <a:pt x="103777" y="65429"/>
                        <a:pt x="101922" y="55863"/>
                        <a:pt x="102499" y="46298"/>
                      </a:cubicBezTo>
                      <a:cubicBezTo>
                        <a:pt x="102499" y="35990"/>
                        <a:pt x="79410" y="-4"/>
                        <a:pt x="70546" y="-4"/>
                      </a:cubicBezTo>
                      <a:cubicBezTo>
                        <a:pt x="61681" y="-4"/>
                        <a:pt x="49931" y="9273"/>
                        <a:pt x="40324" y="7211"/>
                      </a:cubicBezTo>
                      <a:cubicBezTo>
                        <a:pt x="30717" y="5150"/>
                        <a:pt x="22553" y="1027"/>
                        <a:pt x="21687" y="12324"/>
                      </a:cubicBezTo>
                      <a:cubicBezTo>
                        <a:pt x="21152" y="18838"/>
                        <a:pt x="10267" y="30919"/>
                        <a:pt x="1" y="41185"/>
                      </a:cubicBezTo>
                      <a:cubicBezTo>
                        <a:pt x="19214" y="69593"/>
                        <a:pt x="33603" y="102825"/>
                        <a:pt x="48858" y="130490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45" name="Freeform: Shape 344">
                  <a:extLst>
                    <a:ext uri="{FF2B5EF4-FFF2-40B4-BE49-F238E27FC236}">
                      <a16:creationId xmlns:a16="http://schemas.microsoft.com/office/drawing/2014/main" id="{933A8601-AA58-211D-7557-5A54D46411DA}"/>
                    </a:ext>
                  </a:extLst>
                </p:cNvPr>
                <p:cNvSpPr/>
                <p:nvPr>
                  <p:custDataLst>
                    <p:tags r:id="rId346"/>
                  </p:custDataLst>
                </p:nvPr>
              </p:nvSpPr>
              <p:spPr>
                <a:xfrm>
                  <a:off x="6139064" y="4523947"/>
                  <a:ext cx="287590" cy="270296"/>
                </a:xfrm>
                <a:custGeom>
                  <a:avLst/>
                  <a:gdLst>
                    <a:gd name="connsiteX0" fmla="*/ 306466 w 335813"/>
                    <a:gd name="connsiteY0" fmla="*/ -4 h 315619"/>
                    <a:gd name="connsiteX1" fmla="*/ 157542 w 335813"/>
                    <a:gd name="connsiteY1" fmla="*/ -4 h 315619"/>
                    <a:gd name="connsiteX2" fmla="*/ 145461 w 335813"/>
                    <a:gd name="connsiteY2" fmla="*/ 18096 h 315619"/>
                    <a:gd name="connsiteX3" fmla="*/ 101345 w 335813"/>
                    <a:gd name="connsiteY3" fmla="*/ 105834 h 315619"/>
                    <a:gd name="connsiteX4" fmla="*/ 82131 w 335813"/>
                    <a:gd name="connsiteY4" fmla="*/ 128676 h 315619"/>
                    <a:gd name="connsiteX5" fmla="*/ 13235 w 335813"/>
                    <a:gd name="connsiteY5" fmla="*/ 268860 h 315619"/>
                    <a:gd name="connsiteX6" fmla="*/ 1113 w 335813"/>
                    <a:gd name="connsiteY6" fmla="*/ 307369 h 315619"/>
                    <a:gd name="connsiteX7" fmla="*/ 1 w 335813"/>
                    <a:gd name="connsiteY7" fmla="*/ 315615 h 315619"/>
                    <a:gd name="connsiteX8" fmla="*/ 157995 w 335813"/>
                    <a:gd name="connsiteY8" fmla="*/ 315615 h 315619"/>
                    <a:gd name="connsiteX9" fmla="*/ 157995 w 335813"/>
                    <a:gd name="connsiteY9" fmla="*/ 243008 h 315619"/>
                    <a:gd name="connsiteX10" fmla="*/ 199803 w 335813"/>
                    <a:gd name="connsiteY10" fmla="*/ 208209 h 315619"/>
                    <a:gd name="connsiteX11" fmla="*/ 199803 w 335813"/>
                    <a:gd name="connsiteY11" fmla="*/ 84559 h 315619"/>
                    <a:gd name="connsiteX12" fmla="*/ 334338 w 335813"/>
                    <a:gd name="connsiteY12" fmla="*/ 84559 h 315619"/>
                    <a:gd name="connsiteX13" fmla="*/ 335204 w 335813"/>
                    <a:gd name="connsiteY13" fmla="*/ 17766 h 315619"/>
                    <a:gd name="connsiteX14" fmla="*/ 306466 w 335813"/>
                    <a:gd name="connsiteY14" fmla="*/ -4 h 3156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335813" h="315619">
                      <a:moveTo>
                        <a:pt x="306466" y="-4"/>
                      </a:moveTo>
                      <a:lnTo>
                        <a:pt x="157542" y="-4"/>
                      </a:lnTo>
                      <a:cubicBezTo>
                        <a:pt x="152677" y="5442"/>
                        <a:pt x="148636" y="11532"/>
                        <a:pt x="145461" y="18096"/>
                      </a:cubicBezTo>
                      <a:cubicBezTo>
                        <a:pt x="136927" y="50054"/>
                        <a:pt x="121919" y="79917"/>
                        <a:pt x="101345" y="105834"/>
                      </a:cubicBezTo>
                      <a:cubicBezTo>
                        <a:pt x="95119" y="113668"/>
                        <a:pt x="88605" y="121172"/>
                        <a:pt x="82131" y="128676"/>
                      </a:cubicBezTo>
                      <a:cubicBezTo>
                        <a:pt x="79575" y="159063"/>
                        <a:pt x="40159" y="205612"/>
                        <a:pt x="13235" y="268860"/>
                      </a:cubicBezTo>
                      <a:cubicBezTo>
                        <a:pt x="8865" y="281559"/>
                        <a:pt x="4700" y="294422"/>
                        <a:pt x="1113" y="307369"/>
                      </a:cubicBezTo>
                      <a:cubicBezTo>
                        <a:pt x="577" y="310337"/>
                        <a:pt x="206" y="313182"/>
                        <a:pt x="1" y="315615"/>
                      </a:cubicBezTo>
                      <a:lnTo>
                        <a:pt x="157995" y="315615"/>
                      </a:lnTo>
                      <a:lnTo>
                        <a:pt x="157995" y="243008"/>
                      </a:lnTo>
                      <a:cubicBezTo>
                        <a:pt x="157995" y="232412"/>
                        <a:pt x="199803" y="218806"/>
                        <a:pt x="199803" y="208209"/>
                      </a:cubicBezTo>
                      <a:lnTo>
                        <a:pt x="199803" y="84559"/>
                      </a:lnTo>
                      <a:cubicBezTo>
                        <a:pt x="199803" y="84559"/>
                        <a:pt x="330421" y="87611"/>
                        <a:pt x="334338" y="84559"/>
                      </a:cubicBezTo>
                      <a:cubicBezTo>
                        <a:pt x="336358" y="82993"/>
                        <a:pt x="335946" y="50091"/>
                        <a:pt x="335204" y="17766"/>
                      </a:cubicBezTo>
                      <a:cubicBezTo>
                        <a:pt x="330256" y="8036"/>
                        <a:pt x="337348" y="-4"/>
                        <a:pt x="306466" y="-4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46" name="Freeform: Shape 345">
                  <a:extLst>
                    <a:ext uri="{FF2B5EF4-FFF2-40B4-BE49-F238E27FC236}">
                      <a16:creationId xmlns:a16="http://schemas.microsoft.com/office/drawing/2014/main" id="{61EBDD69-4AC4-5F82-3E86-DB4FC9C70DCB}"/>
                    </a:ext>
                  </a:extLst>
                </p:cNvPr>
                <p:cNvSpPr/>
                <p:nvPr>
                  <p:custDataLst>
                    <p:tags r:id="rId347"/>
                  </p:custDataLst>
                </p:nvPr>
              </p:nvSpPr>
              <p:spPr>
                <a:xfrm>
                  <a:off x="6139050" y="4539341"/>
                  <a:ext cx="415290" cy="528550"/>
                </a:xfrm>
                <a:custGeom>
                  <a:avLst/>
                  <a:gdLst>
                    <a:gd name="connsiteX0" fmla="*/ 36133 w 484926"/>
                    <a:gd name="connsiteY0" fmla="*/ 533271 h 617178"/>
                    <a:gd name="connsiteX1" fmla="*/ 72745 w 484926"/>
                    <a:gd name="connsiteY1" fmla="*/ 533271 h 617178"/>
                    <a:gd name="connsiteX2" fmla="*/ 103709 w 484926"/>
                    <a:gd name="connsiteY2" fmla="*/ 530013 h 617178"/>
                    <a:gd name="connsiteX3" fmla="*/ 126222 w 484926"/>
                    <a:gd name="connsiteY3" fmla="*/ 552855 h 617178"/>
                    <a:gd name="connsiteX4" fmla="*/ 140322 w 484926"/>
                    <a:gd name="connsiteY4" fmla="*/ 552855 h 617178"/>
                    <a:gd name="connsiteX5" fmla="*/ 168483 w 484926"/>
                    <a:gd name="connsiteY5" fmla="*/ 595281 h 617178"/>
                    <a:gd name="connsiteX6" fmla="*/ 187449 w 484926"/>
                    <a:gd name="connsiteY6" fmla="*/ 617175 h 617178"/>
                    <a:gd name="connsiteX7" fmla="*/ 208806 w 484926"/>
                    <a:gd name="connsiteY7" fmla="*/ 602208 h 617178"/>
                    <a:gd name="connsiteX8" fmla="*/ 232184 w 484926"/>
                    <a:gd name="connsiteY8" fmla="*/ 591818 h 617178"/>
                    <a:gd name="connsiteX9" fmla="*/ 253747 w 484926"/>
                    <a:gd name="connsiteY9" fmla="*/ 587695 h 617178"/>
                    <a:gd name="connsiteX10" fmla="*/ 280671 w 484926"/>
                    <a:gd name="connsiteY10" fmla="*/ 589798 h 617178"/>
                    <a:gd name="connsiteX11" fmla="*/ 305863 w 484926"/>
                    <a:gd name="connsiteY11" fmla="*/ 581551 h 617178"/>
                    <a:gd name="connsiteX12" fmla="*/ 462167 w 484926"/>
                    <a:gd name="connsiteY12" fmla="*/ 579490 h 617178"/>
                    <a:gd name="connsiteX13" fmla="*/ 467568 w 484926"/>
                    <a:gd name="connsiteY13" fmla="*/ 539950 h 617178"/>
                    <a:gd name="connsiteX14" fmla="*/ 455199 w 484926"/>
                    <a:gd name="connsiteY14" fmla="*/ 525396 h 617178"/>
                    <a:gd name="connsiteX15" fmla="*/ 417474 w 484926"/>
                    <a:gd name="connsiteY15" fmla="*/ 115441 h 617178"/>
                    <a:gd name="connsiteX16" fmla="*/ 484927 w 484926"/>
                    <a:gd name="connsiteY16" fmla="*/ 115441 h 617178"/>
                    <a:gd name="connsiteX17" fmla="*/ 343300 w 484926"/>
                    <a:gd name="connsiteY17" fmla="*/ 8242 h 617178"/>
                    <a:gd name="connsiteX18" fmla="*/ 335466 w 484926"/>
                    <a:gd name="connsiteY18" fmla="*/ -4 h 617178"/>
                    <a:gd name="connsiteX19" fmla="*/ 334559 w 484926"/>
                    <a:gd name="connsiteY19" fmla="*/ 66789 h 617178"/>
                    <a:gd name="connsiteX20" fmla="*/ 200024 w 484926"/>
                    <a:gd name="connsiteY20" fmla="*/ 66789 h 617178"/>
                    <a:gd name="connsiteX21" fmla="*/ 200024 w 484926"/>
                    <a:gd name="connsiteY21" fmla="*/ 190810 h 617178"/>
                    <a:gd name="connsiteX22" fmla="*/ 158217 w 484926"/>
                    <a:gd name="connsiteY22" fmla="*/ 225609 h 617178"/>
                    <a:gd name="connsiteX23" fmla="*/ 158217 w 484926"/>
                    <a:gd name="connsiteY23" fmla="*/ 298216 h 617178"/>
                    <a:gd name="connsiteX24" fmla="*/ 221 w 484926"/>
                    <a:gd name="connsiteY24" fmla="*/ 298216 h 617178"/>
                    <a:gd name="connsiteX25" fmla="*/ 22692 w 484926"/>
                    <a:gd name="connsiteY25" fmla="*/ 350620 h 617178"/>
                    <a:gd name="connsiteX26" fmla="*/ 31556 w 484926"/>
                    <a:gd name="connsiteY26" fmla="*/ 425370 h 617178"/>
                    <a:gd name="connsiteX27" fmla="*/ 18569 w 484926"/>
                    <a:gd name="connsiteY27" fmla="*/ 516613 h 617178"/>
                    <a:gd name="connsiteX28" fmla="*/ 11725 w 484926"/>
                    <a:gd name="connsiteY28" fmla="*/ 556937 h 617178"/>
                    <a:gd name="connsiteX29" fmla="*/ 13786 w 484926"/>
                    <a:gd name="connsiteY29" fmla="*/ 556318 h 617178"/>
                    <a:gd name="connsiteX30" fmla="*/ 36133 w 484926"/>
                    <a:gd name="connsiteY30" fmla="*/ 533271 h 6171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484925" h="617178">
                      <a:moveTo>
                        <a:pt x="36133" y="533271"/>
                      </a:moveTo>
                      <a:cubicBezTo>
                        <a:pt x="50192" y="536569"/>
                        <a:pt x="72745" y="533271"/>
                        <a:pt x="72745" y="533271"/>
                      </a:cubicBezTo>
                      <a:cubicBezTo>
                        <a:pt x="72745" y="533271"/>
                        <a:pt x="92454" y="523499"/>
                        <a:pt x="103709" y="530013"/>
                      </a:cubicBezTo>
                      <a:cubicBezTo>
                        <a:pt x="114965" y="536528"/>
                        <a:pt x="126222" y="552855"/>
                        <a:pt x="126222" y="552855"/>
                      </a:cubicBezTo>
                      <a:lnTo>
                        <a:pt x="140322" y="552855"/>
                      </a:lnTo>
                      <a:cubicBezTo>
                        <a:pt x="140322" y="552855"/>
                        <a:pt x="151578" y="588767"/>
                        <a:pt x="168483" y="595281"/>
                      </a:cubicBezTo>
                      <a:cubicBezTo>
                        <a:pt x="178213" y="599033"/>
                        <a:pt x="184109" y="609217"/>
                        <a:pt x="187449" y="617175"/>
                      </a:cubicBezTo>
                      <a:cubicBezTo>
                        <a:pt x="199488" y="616845"/>
                        <a:pt x="208806" y="612227"/>
                        <a:pt x="208806" y="602208"/>
                      </a:cubicBezTo>
                      <a:cubicBezTo>
                        <a:pt x="208806" y="589839"/>
                        <a:pt x="214249" y="573058"/>
                        <a:pt x="232184" y="591818"/>
                      </a:cubicBezTo>
                      <a:cubicBezTo>
                        <a:pt x="250119" y="610578"/>
                        <a:pt x="250160" y="593879"/>
                        <a:pt x="253747" y="587695"/>
                      </a:cubicBezTo>
                      <a:cubicBezTo>
                        <a:pt x="257334" y="581510"/>
                        <a:pt x="269951" y="589798"/>
                        <a:pt x="280671" y="589798"/>
                      </a:cubicBezTo>
                      <a:cubicBezTo>
                        <a:pt x="291391" y="589798"/>
                        <a:pt x="305863" y="581551"/>
                        <a:pt x="305863" y="581551"/>
                      </a:cubicBezTo>
                      <a:cubicBezTo>
                        <a:pt x="305863" y="581551"/>
                        <a:pt x="454993" y="583654"/>
                        <a:pt x="462167" y="579490"/>
                      </a:cubicBezTo>
                      <a:cubicBezTo>
                        <a:pt x="469341" y="575326"/>
                        <a:pt x="467568" y="539950"/>
                        <a:pt x="467568" y="539950"/>
                      </a:cubicBezTo>
                      <a:lnTo>
                        <a:pt x="455199" y="525396"/>
                      </a:lnTo>
                      <a:lnTo>
                        <a:pt x="417474" y="115441"/>
                      </a:lnTo>
                      <a:lnTo>
                        <a:pt x="484927" y="115441"/>
                      </a:lnTo>
                      <a:cubicBezTo>
                        <a:pt x="412938" y="60316"/>
                        <a:pt x="351175" y="13478"/>
                        <a:pt x="343300" y="8242"/>
                      </a:cubicBezTo>
                      <a:cubicBezTo>
                        <a:pt x="340002" y="6242"/>
                        <a:pt x="337280" y="3393"/>
                        <a:pt x="335466" y="-4"/>
                      </a:cubicBezTo>
                      <a:cubicBezTo>
                        <a:pt x="336167" y="32321"/>
                        <a:pt x="336579" y="65222"/>
                        <a:pt x="334559" y="66789"/>
                      </a:cubicBezTo>
                      <a:cubicBezTo>
                        <a:pt x="330436" y="69840"/>
                        <a:pt x="200024" y="66789"/>
                        <a:pt x="200024" y="66789"/>
                      </a:cubicBezTo>
                      <a:lnTo>
                        <a:pt x="200024" y="190810"/>
                      </a:lnTo>
                      <a:cubicBezTo>
                        <a:pt x="200024" y="201407"/>
                        <a:pt x="158217" y="215012"/>
                        <a:pt x="158217" y="225609"/>
                      </a:cubicBezTo>
                      <a:lnTo>
                        <a:pt x="158217" y="298216"/>
                      </a:lnTo>
                      <a:lnTo>
                        <a:pt x="221" y="298216"/>
                      </a:lnTo>
                      <a:cubicBezTo>
                        <a:pt x="-2046" y="328067"/>
                        <a:pt x="13704" y="338663"/>
                        <a:pt x="22692" y="350620"/>
                      </a:cubicBezTo>
                      <a:cubicBezTo>
                        <a:pt x="35061" y="367112"/>
                        <a:pt x="13209" y="395973"/>
                        <a:pt x="31556" y="425370"/>
                      </a:cubicBezTo>
                      <a:cubicBezTo>
                        <a:pt x="49904" y="454768"/>
                        <a:pt x="27433" y="500121"/>
                        <a:pt x="18569" y="516613"/>
                      </a:cubicBezTo>
                      <a:cubicBezTo>
                        <a:pt x="13704" y="525561"/>
                        <a:pt x="13209" y="541063"/>
                        <a:pt x="11725" y="556937"/>
                      </a:cubicBezTo>
                      <a:lnTo>
                        <a:pt x="13786" y="556318"/>
                      </a:lnTo>
                      <a:cubicBezTo>
                        <a:pt x="24836" y="552731"/>
                        <a:pt x="22032" y="530013"/>
                        <a:pt x="36133" y="533271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47" name="Freeform: Shape 346">
                  <a:extLst>
                    <a:ext uri="{FF2B5EF4-FFF2-40B4-BE49-F238E27FC236}">
                      <a16:creationId xmlns:a16="http://schemas.microsoft.com/office/drawing/2014/main" id="{EB04960E-45E1-700B-6227-F83A36FD1771}"/>
                    </a:ext>
                  </a:extLst>
                </p:cNvPr>
                <p:cNvSpPr/>
                <p:nvPr>
                  <p:custDataLst>
                    <p:tags r:id="rId348"/>
                  </p:custDataLst>
                </p:nvPr>
              </p:nvSpPr>
              <p:spPr>
                <a:xfrm>
                  <a:off x="6299405" y="4637927"/>
                  <a:ext cx="572634" cy="616958"/>
                </a:xfrm>
                <a:custGeom>
                  <a:avLst/>
                  <a:gdLst>
                    <a:gd name="connsiteX0" fmla="*/ 634661 w 668654"/>
                    <a:gd name="connsiteY0" fmla="*/ 300731 h 720410"/>
                    <a:gd name="connsiteX1" fmla="*/ 614912 w 668654"/>
                    <a:gd name="connsiteY1" fmla="*/ 251831 h 720410"/>
                    <a:gd name="connsiteX2" fmla="*/ 569888 w 668654"/>
                    <a:gd name="connsiteY2" fmla="*/ 235339 h 720410"/>
                    <a:gd name="connsiteX3" fmla="*/ 544532 w 668654"/>
                    <a:gd name="connsiteY3" fmla="*/ 192955 h 720410"/>
                    <a:gd name="connsiteX4" fmla="*/ 297478 w 668654"/>
                    <a:gd name="connsiteY4" fmla="*/ -4 h 720410"/>
                    <a:gd name="connsiteX5" fmla="*/ 230025 w 668654"/>
                    <a:gd name="connsiteY5" fmla="*/ -4 h 720410"/>
                    <a:gd name="connsiteX6" fmla="*/ 267751 w 668654"/>
                    <a:gd name="connsiteY6" fmla="*/ 409950 h 720410"/>
                    <a:gd name="connsiteX7" fmla="*/ 280121 w 668654"/>
                    <a:gd name="connsiteY7" fmla="*/ 424504 h 720410"/>
                    <a:gd name="connsiteX8" fmla="*/ 274719 w 668654"/>
                    <a:gd name="connsiteY8" fmla="*/ 464045 h 720410"/>
                    <a:gd name="connsiteX9" fmla="*/ 118414 w 668654"/>
                    <a:gd name="connsiteY9" fmla="*/ 466106 h 720410"/>
                    <a:gd name="connsiteX10" fmla="*/ 93223 w 668654"/>
                    <a:gd name="connsiteY10" fmla="*/ 474352 h 720410"/>
                    <a:gd name="connsiteX11" fmla="*/ 66299 w 668654"/>
                    <a:gd name="connsiteY11" fmla="*/ 472250 h 720410"/>
                    <a:gd name="connsiteX12" fmla="*/ 44735 w 668654"/>
                    <a:gd name="connsiteY12" fmla="*/ 476373 h 720410"/>
                    <a:gd name="connsiteX13" fmla="*/ 21358 w 668654"/>
                    <a:gd name="connsiteY13" fmla="*/ 486763 h 720410"/>
                    <a:gd name="connsiteX14" fmla="*/ 1 w 668654"/>
                    <a:gd name="connsiteY14" fmla="*/ 501730 h 720410"/>
                    <a:gd name="connsiteX15" fmla="*/ 3588 w 668654"/>
                    <a:gd name="connsiteY15" fmla="*/ 512449 h 720410"/>
                    <a:gd name="connsiteX16" fmla="*/ 10927 w 668654"/>
                    <a:gd name="connsiteY16" fmla="*/ 525107 h 720410"/>
                    <a:gd name="connsiteX17" fmla="*/ 16864 w 668654"/>
                    <a:gd name="connsiteY17" fmla="*/ 553968 h 720410"/>
                    <a:gd name="connsiteX18" fmla="*/ 38180 w 668654"/>
                    <a:gd name="connsiteY18" fmla="*/ 584149 h 720410"/>
                    <a:gd name="connsiteX19" fmla="*/ 38180 w 668654"/>
                    <a:gd name="connsiteY19" fmla="*/ 621257 h 720410"/>
                    <a:gd name="connsiteX20" fmla="*/ 50013 w 668654"/>
                    <a:gd name="connsiteY20" fmla="*/ 633626 h 720410"/>
                    <a:gd name="connsiteX21" fmla="*/ 72525 w 668654"/>
                    <a:gd name="connsiteY21" fmla="*/ 629503 h 720410"/>
                    <a:gd name="connsiteX22" fmla="*/ 99779 w 668654"/>
                    <a:gd name="connsiteY22" fmla="*/ 632265 h 720410"/>
                    <a:gd name="connsiteX23" fmla="*/ 128186 w 668654"/>
                    <a:gd name="connsiteY23" fmla="*/ 608929 h 720410"/>
                    <a:gd name="connsiteX24" fmla="*/ 143607 w 668654"/>
                    <a:gd name="connsiteY24" fmla="*/ 643232 h 720410"/>
                    <a:gd name="connsiteX25" fmla="*/ 157831 w 668654"/>
                    <a:gd name="connsiteY25" fmla="*/ 665167 h 720410"/>
                    <a:gd name="connsiteX26" fmla="*/ 157831 w 668654"/>
                    <a:gd name="connsiteY26" fmla="*/ 681659 h 720410"/>
                    <a:gd name="connsiteX27" fmla="*/ 167273 w 668654"/>
                    <a:gd name="connsiteY27" fmla="*/ 707758 h 720410"/>
                    <a:gd name="connsiteX28" fmla="*/ 186239 w 668654"/>
                    <a:gd name="connsiteY28" fmla="*/ 710479 h 720410"/>
                    <a:gd name="connsiteX29" fmla="*/ 206400 w 668654"/>
                    <a:gd name="connsiteY29" fmla="*/ 717323 h 720410"/>
                    <a:gd name="connsiteX30" fmla="*/ 228912 w 668654"/>
                    <a:gd name="connsiteY30" fmla="*/ 704954 h 720410"/>
                    <a:gd name="connsiteX31" fmla="*/ 249033 w 668654"/>
                    <a:gd name="connsiteY31" fmla="*/ 702192 h 720410"/>
                    <a:gd name="connsiteX32" fmla="*/ 263216 w 668654"/>
                    <a:gd name="connsiteY32" fmla="*/ 707717 h 720410"/>
                    <a:gd name="connsiteX33" fmla="*/ 274555 w 668654"/>
                    <a:gd name="connsiteY33" fmla="*/ 704995 h 720410"/>
                    <a:gd name="connsiteX34" fmla="*/ 285728 w 668654"/>
                    <a:gd name="connsiteY34" fmla="*/ 669290 h 720410"/>
                    <a:gd name="connsiteX35" fmla="*/ 283377 w 668654"/>
                    <a:gd name="connsiteY35" fmla="*/ 639109 h 720410"/>
                    <a:gd name="connsiteX36" fmla="*/ 315331 w 668654"/>
                    <a:gd name="connsiteY36" fmla="*/ 622617 h 720410"/>
                    <a:gd name="connsiteX37" fmla="*/ 328401 w 668654"/>
                    <a:gd name="connsiteY37" fmla="*/ 593756 h 720410"/>
                    <a:gd name="connsiteX38" fmla="*/ 341389 w 668654"/>
                    <a:gd name="connsiteY38" fmla="*/ 559534 h 720410"/>
                    <a:gd name="connsiteX39" fmla="*/ 366127 w 668654"/>
                    <a:gd name="connsiteY39" fmla="*/ 560854 h 720410"/>
                    <a:gd name="connsiteX40" fmla="*/ 383897 w 668654"/>
                    <a:gd name="connsiteY40" fmla="*/ 538960 h 720410"/>
                    <a:gd name="connsiteX41" fmla="*/ 402822 w 668654"/>
                    <a:gd name="connsiteY41" fmla="*/ 527952 h 720410"/>
                    <a:gd name="connsiteX42" fmla="*/ 418243 w 668654"/>
                    <a:gd name="connsiteY42" fmla="*/ 518345 h 720410"/>
                    <a:gd name="connsiteX43" fmla="*/ 452587 w 668654"/>
                    <a:gd name="connsiteY43" fmla="*/ 501853 h 720410"/>
                    <a:gd name="connsiteX44" fmla="*/ 482191 w 668654"/>
                    <a:gd name="connsiteY44" fmla="*/ 486722 h 720410"/>
                    <a:gd name="connsiteX45" fmla="*/ 533152 w 668654"/>
                    <a:gd name="connsiteY45" fmla="*/ 489484 h 720410"/>
                    <a:gd name="connsiteX46" fmla="*/ 565105 w 668654"/>
                    <a:gd name="connsiteY46" fmla="*/ 477115 h 720410"/>
                    <a:gd name="connsiteX47" fmla="*/ 627899 w 668654"/>
                    <a:gd name="connsiteY47" fmla="*/ 470229 h 720410"/>
                    <a:gd name="connsiteX48" fmla="*/ 652638 w 668654"/>
                    <a:gd name="connsiteY48" fmla="*/ 449614 h 720410"/>
                    <a:gd name="connsiteX49" fmla="*/ 665708 w 668654"/>
                    <a:gd name="connsiteY49" fmla="*/ 415351 h 720410"/>
                    <a:gd name="connsiteX50" fmla="*/ 668264 w 668654"/>
                    <a:gd name="connsiteY50" fmla="*/ 291908 h 720410"/>
                    <a:gd name="connsiteX51" fmla="*/ 634661 w 668654"/>
                    <a:gd name="connsiteY51" fmla="*/ 300731 h 7204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</a:cxnLst>
                  <a:rect l="l" t="t" r="r" b="b"/>
                  <a:pathLst>
                    <a:path w="668654" h="720410">
                      <a:moveTo>
                        <a:pt x="634661" y="300731"/>
                      </a:moveTo>
                      <a:cubicBezTo>
                        <a:pt x="634661" y="300731"/>
                        <a:pt x="634661" y="264902"/>
                        <a:pt x="614912" y="251831"/>
                      </a:cubicBezTo>
                      <a:cubicBezTo>
                        <a:pt x="601141" y="243379"/>
                        <a:pt x="585845" y="237772"/>
                        <a:pt x="569888" y="235339"/>
                      </a:cubicBezTo>
                      <a:cubicBezTo>
                        <a:pt x="569888" y="235339"/>
                        <a:pt x="555787" y="205983"/>
                        <a:pt x="544532" y="192955"/>
                      </a:cubicBezTo>
                      <a:cubicBezTo>
                        <a:pt x="537770" y="185121"/>
                        <a:pt x="405956" y="83034"/>
                        <a:pt x="297478" y="-4"/>
                      </a:cubicBezTo>
                      <a:lnTo>
                        <a:pt x="230025" y="-4"/>
                      </a:lnTo>
                      <a:lnTo>
                        <a:pt x="267751" y="409950"/>
                      </a:lnTo>
                      <a:lnTo>
                        <a:pt x="280121" y="424504"/>
                      </a:lnTo>
                      <a:cubicBezTo>
                        <a:pt x="280121" y="424504"/>
                        <a:pt x="281893" y="459881"/>
                        <a:pt x="274719" y="464045"/>
                      </a:cubicBezTo>
                      <a:cubicBezTo>
                        <a:pt x="267545" y="468209"/>
                        <a:pt x="118414" y="466106"/>
                        <a:pt x="118414" y="466106"/>
                      </a:cubicBezTo>
                      <a:cubicBezTo>
                        <a:pt x="118414" y="466106"/>
                        <a:pt x="104025" y="474352"/>
                        <a:pt x="93223" y="474352"/>
                      </a:cubicBezTo>
                      <a:cubicBezTo>
                        <a:pt x="82420" y="474352"/>
                        <a:pt x="69886" y="466106"/>
                        <a:pt x="66299" y="472250"/>
                      </a:cubicBezTo>
                      <a:cubicBezTo>
                        <a:pt x="62712" y="478393"/>
                        <a:pt x="62712" y="495174"/>
                        <a:pt x="44735" y="476373"/>
                      </a:cubicBezTo>
                      <a:cubicBezTo>
                        <a:pt x="26759" y="457571"/>
                        <a:pt x="21358" y="474270"/>
                        <a:pt x="21358" y="486763"/>
                      </a:cubicBezTo>
                      <a:cubicBezTo>
                        <a:pt x="21358" y="496782"/>
                        <a:pt x="12040" y="501399"/>
                        <a:pt x="1" y="501730"/>
                      </a:cubicBezTo>
                      <a:cubicBezTo>
                        <a:pt x="1443" y="505193"/>
                        <a:pt x="2681" y="508780"/>
                        <a:pt x="3588" y="512449"/>
                      </a:cubicBezTo>
                      <a:lnTo>
                        <a:pt x="10927" y="525107"/>
                      </a:lnTo>
                      <a:cubicBezTo>
                        <a:pt x="10927" y="525107"/>
                        <a:pt x="9772" y="545722"/>
                        <a:pt x="16864" y="553968"/>
                      </a:cubicBezTo>
                      <a:cubicBezTo>
                        <a:pt x="23956" y="562214"/>
                        <a:pt x="36984" y="577305"/>
                        <a:pt x="38180" y="584149"/>
                      </a:cubicBezTo>
                      <a:cubicBezTo>
                        <a:pt x="39376" y="590993"/>
                        <a:pt x="38180" y="621257"/>
                        <a:pt x="38180" y="621257"/>
                      </a:cubicBezTo>
                      <a:cubicBezTo>
                        <a:pt x="38180" y="621257"/>
                        <a:pt x="42922" y="644551"/>
                        <a:pt x="50013" y="633626"/>
                      </a:cubicBezTo>
                      <a:cubicBezTo>
                        <a:pt x="57105" y="622700"/>
                        <a:pt x="67784" y="643191"/>
                        <a:pt x="72525" y="629503"/>
                      </a:cubicBezTo>
                      <a:cubicBezTo>
                        <a:pt x="77266" y="615814"/>
                        <a:pt x="92645" y="632265"/>
                        <a:pt x="99779" y="632265"/>
                      </a:cubicBezTo>
                      <a:cubicBezTo>
                        <a:pt x="106911" y="632265"/>
                        <a:pt x="123445" y="607527"/>
                        <a:pt x="128186" y="608929"/>
                      </a:cubicBezTo>
                      <a:cubicBezTo>
                        <a:pt x="132927" y="610330"/>
                        <a:pt x="143607" y="633667"/>
                        <a:pt x="143607" y="643232"/>
                      </a:cubicBezTo>
                      <a:cubicBezTo>
                        <a:pt x="143607" y="652798"/>
                        <a:pt x="164922" y="662446"/>
                        <a:pt x="157831" y="665167"/>
                      </a:cubicBezTo>
                      <a:cubicBezTo>
                        <a:pt x="150739" y="667888"/>
                        <a:pt x="149585" y="681659"/>
                        <a:pt x="157831" y="681659"/>
                      </a:cubicBezTo>
                      <a:cubicBezTo>
                        <a:pt x="166077" y="681659"/>
                        <a:pt x="162531" y="699553"/>
                        <a:pt x="167273" y="707758"/>
                      </a:cubicBezTo>
                      <a:cubicBezTo>
                        <a:pt x="172014" y="715963"/>
                        <a:pt x="181497" y="722849"/>
                        <a:pt x="186239" y="710479"/>
                      </a:cubicBezTo>
                      <a:cubicBezTo>
                        <a:pt x="190980" y="698110"/>
                        <a:pt x="201618" y="709118"/>
                        <a:pt x="206400" y="717323"/>
                      </a:cubicBezTo>
                      <a:cubicBezTo>
                        <a:pt x="211183" y="725528"/>
                        <a:pt x="226521" y="715963"/>
                        <a:pt x="228912" y="704954"/>
                      </a:cubicBezTo>
                      <a:cubicBezTo>
                        <a:pt x="231303" y="693946"/>
                        <a:pt x="250228" y="689864"/>
                        <a:pt x="249033" y="702192"/>
                      </a:cubicBezTo>
                      <a:cubicBezTo>
                        <a:pt x="247837" y="714520"/>
                        <a:pt x="251383" y="717282"/>
                        <a:pt x="263216" y="707717"/>
                      </a:cubicBezTo>
                      <a:cubicBezTo>
                        <a:pt x="266390" y="705119"/>
                        <a:pt x="270555" y="704130"/>
                        <a:pt x="274555" y="704995"/>
                      </a:cubicBezTo>
                      <a:cubicBezTo>
                        <a:pt x="277647" y="692915"/>
                        <a:pt x="281357" y="681000"/>
                        <a:pt x="285728" y="669290"/>
                      </a:cubicBezTo>
                      <a:cubicBezTo>
                        <a:pt x="289315" y="661044"/>
                        <a:pt x="277482" y="641872"/>
                        <a:pt x="283377" y="639109"/>
                      </a:cubicBezTo>
                      <a:cubicBezTo>
                        <a:pt x="289274" y="636347"/>
                        <a:pt x="309435" y="641872"/>
                        <a:pt x="315331" y="622617"/>
                      </a:cubicBezTo>
                      <a:cubicBezTo>
                        <a:pt x="318176" y="612392"/>
                        <a:pt x="322588" y="602662"/>
                        <a:pt x="328401" y="593756"/>
                      </a:cubicBezTo>
                      <a:cubicBezTo>
                        <a:pt x="328401" y="593756"/>
                        <a:pt x="330751" y="552525"/>
                        <a:pt x="341389" y="559534"/>
                      </a:cubicBezTo>
                      <a:cubicBezTo>
                        <a:pt x="352026" y="566544"/>
                        <a:pt x="365096" y="577346"/>
                        <a:pt x="366127" y="560854"/>
                      </a:cubicBezTo>
                      <a:cubicBezTo>
                        <a:pt x="367158" y="544362"/>
                        <a:pt x="380352" y="554009"/>
                        <a:pt x="383897" y="538960"/>
                      </a:cubicBezTo>
                      <a:cubicBezTo>
                        <a:pt x="387443" y="523912"/>
                        <a:pt x="394535" y="525231"/>
                        <a:pt x="402822" y="527952"/>
                      </a:cubicBezTo>
                      <a:cubicBezTo>
                        <a:pt x="411110" y="530673"/>
                        <a:pt x="418243" y="526591"/>
                        <a:pt x="418243" y="518345"/>
                      </a:cubicBezTo>
                      <a:cubicBezTo>
                        <a:pt x="418243" y="510099"/>
                        <a:pt x="437167" y="514222"/>
                        <a:pt x="452587" y="501853"/>
                      </a:cubicBezTo>
                      <a:cubicBezTo>
                        <a:pt x="468008" y="489484"/>
                        <a:pt x="476295" y="479918"/>
                        <a:pt x="482191" y="486722"/>
                      </a:cubicBezTo>
                      <a:cubicBezTo>
                        <a:pt x="488087" y="493525"/>
                        <a:pt x="527214" y="492246"/>
                        <a:pt x="533152" y="489484"/>
                      </a:cubicBezTo>
                      <a:cubicBezTo>
                        <a:pt x="539089" y="486722"/>
                        <a:pt x="550881" y="474435"/>
                        <a:pt x="565105" y="477115"/>
                      </a:cubicBezTo>
                      <a:cubicBezTo>
                        <a:pt x="579330" y="479795"/>
                        <a:pt x="613675" y="470229"/>
                        <a:pt x="627899" y="470229"/>
                      </a:cubicBezTo>
                      <a:cubicBezTo>
                        <a:pt x="642124" y="470229"/>
                        <a:pt x="648061" y="455139"/>
                        <a:pt x="652638" y="449614"/>
                      </a:cubicBezTo>
                      <a:cubicBezTo>
                        <a:pt x="657214" y="444089"/>
                        <a:pt x="660884" y="419474"/>
                        <a:pt x="665708" y="415351"/>
                      </a:cubicBezTo>
                      <a:cubicBezTo>
                        <a:pt x="669501" y="412053"/>
                        <a:pt x="668718" y="325882"/>
                        <a:pt x="668264" y="291908"/>
                      </a:cubicBezTo>
                      <a:cubicBezTo>
                        <a:pt x="654452" y="295659"/>
                        <a:pt x="634661" y="300731"/>
                        <a:pt x="634661" y="300731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48" name="Freeform: Shape 347">
                  <a:extLst>
                    <a:ext uri="{FF2B5EF4-FFF2-40B4-BE49-F238E27FC236}">
                      <a16:creationId xmlns:a16="http://schemas.microsoft.com/office/drawing/2014/main" id="{19B366DC-ABE4-B7A1-06BE-9A3C5B43D12E}"/>
                    </a:ext>
                  </a:extLst>
                </p:cNvPr>
                <p:cNvSpPr/>
                <p:nvPr>
                  <p:custDataLst>
                    <p:tags r:id="rId349"/>
                  </p:custDataLst>
                </p:nvPr>
              </p:nvSpPr>
              <p:spPr>
                <a:xfrm>
                  <a:off x="6534847" y="5053316"/>
                  <a:ext cx="280634" cy="221603"/>
                </a:xfrm>
                <a:custGeom>
                  <a:avLst/>
                  <a:gdLst>
                    <a:gd name="connsiteX0" fmla="*/ 327247 w 327692"/>
                    <a:gd name="connsiteY0" fmla="*/ 148254 h 258762"/>
                    <a:gd name="connsiteX1" fmla="*/ 311002 w 327692"/>
                    <a:gd name="connsiteY1" fmla="*/ 140008 h 258762"/>
                    <a:gd name="connsiteX2" fmla="*/ 308322 w 327692"/>
                    <a:gd name="connsiteY2" fmla="*/ 114321 h 258762"/>
                    <a:gd name="connsiteX3" fmla="*/ 287707 w 327692"/>
                    <a:gd name="connsiteY3" fmla="*/ 117414 h 258762"/>
                    <a:gd name="connsiteX4" fmla="*/ 271709 w 327692"/>
                    <a:gd name="connsiteY4" fmla="*/ 100922 h 258762"/>
                    <a:gd name="connsiteX5" fmla="*/ 264617 w 327692"/>
                    <a:gd name="connsiteY5" fmla="*/ 83440 h 258762"/>
                    <a:gd name="connsiteX6" fmla="*/ 245982 w 327692"/>
                    <a:gd name="connsiteY6" fmla="*/ 58702 h 258762"/>
                    <a:gd name="connsiteX7" fmla="*/ 232664 w 327692"/>
                    <a:gd name="connsiteY7" fmla="*/ 31943 h 258762"/>
                    <a:gd name="connsiteX8" fmla="*/ 232375 w 327692"/>
                    <a:gd name="connsiteY8" fmla="*/ 7205 h 258762"/>
                    <a:gd name="connsiteX9" fmla="*/ 207637 w 327692"/>
                    <a:gd name="connsiteY9" fmla="*/ 2257 h 258762"/>
                    <a:gd name="connsiteX10" fmla="*/ 178033 w 327692"/>
                    <a:gd name="connsiteY10" fmla="*/ 17389 h 258762"/>
                    <a:gd name="connsiteX11" fmla="*/ 143689 w 327692"/>
                    <a:gd name="connsiteY11" fmla="*/ 33881 h 258762"/>
                    <a:gd name="connsiteX12" fmla="*/ 128268 w 327692"/>
                    <a:gd name="connsiteY12" fmla="*/ 43488 h 258762"/>
                    <a:gd name="connsiteX13" fmla="*/ 109344 w 327692"/>
                    <a:gd name="connsiteY13" fmla="*/ 54496 h 258762"/>
                    <a:gd name="connsiteX14" fmla="*/ 91573 w 327692"/>
                    <a:gd name="connsiteY14" fmla="*/ 76390 h 258762"/>
                    <a:gd name="connsiteX15" fmla="*/ 66835 w 327692"/>
                    <a:gd name="connsiteY15" fmla="*/ 75070 h 258762"/>
                    <a:gd name="connsiteX16" fmla="*/ 53847 w 327692"/>
                    <a:gd name="connsiteY16" fmla="*/ 109291 h 258762"/>
                    <a:gd name="connsiteX17" fmla="*/ 40777 w 327692"/>
                    <a:gd name="connsiteY17" fmla="*/ 138153 h 258762"/>
                    <a:gd name="connsiteX18" fmla="*/ 8824 w 327692"/>
                    <a:gd name="connsiteY18" fmla="*/ 154645 h 258762"/>
                    <a:gd name="connsiteX19" fmla="*/ 11174 w 327692"/>
                    <a:gd name="connsiteY19" fmla="*/ 184825 h 258762"/>
                    <a:gd name="connsiteX20" fmla="*/ 1 w 327692"/>
                    <a:gd name="connsiteY20" fmla="*/ 220531 h 258762"/>
                    <a:gd name="connsiteX21" fmla="*/ 19502 w 327692"/>
                    <a:gd name="connsiteY21" fmla="*/ 235622 h 258762"/>
                    <a:gd name="connsiteX22" fmla="*/ 55043 w 327692"/>
                    <a:gd name="connsiteY22" fmla="*/ 254794 h 258762"/>
                    <a:gd name="connsiteX23" fmla="*/ 102376 w 327692"/>
                    <a:gd name="connsiteY23" fmla="*/ 247950 h 258762"/>
                    <a:gd name="connsiteX24" fmla="*/ 115446 w 327692"/>
                    <a:gd name="connsiteY24" fmla="*/ 243826 h 258762"/>
                    <a:gd name="connsiteX25" fmla="*/ 108354 w 327692"/>
                    <a:gd name="connsiteY25" fmla="*/ 197153 h 258762"/>
                    <a:gd name="connsiteX26" fmla="*/ 208997 w 327692"/>
                    <a:gd name="connsiteY26" fmla="*/ 199916 h 258762"/>
                    <a:gd name="connsiteX27" fmla="*/ 224418 w 327692"/>
                    <a:gd name="connsiteY27" fmla="*/ 187547 h 258762"/>
                    <a:gd name="connsiteX28" fmla="*/ 261113 w 327692"/>
                    <a:gd name="connsiteY28" fmla="*/ 193030 h 258762"/>
                    <a:gd name="connsiteX29" fmla="*/ 283625 w 327692"/>
                    <a:gd name="connsiteY29" fmla="*/ 175178 h 258762"/>
                    <a:gd name="connsiteX30" fmla="*/ 316609 w 327692"/>
                    <a:gd name="connsiteY30" fmla="*/ 166932 h 258762"/>
                    <a:gd name="connsiteX31" fmla="*/ 327288 w 327692"/>
                    <a:gd name="connsiteY31" fmla="*/ 149120 h 258762"/>
                    <a:gd name="connsiteX32" fmla="*/ 327247 w 327692"/>
                    <a:gd name="connsiteY32" fmla="*/ 148254 h 2587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</a:cxnLst>
                  <a:rect l="l" t="t" r="r" b="b"/>
                  <a:pathLst>
                    <a:path w="327692" h="258762">
                      <a:moveTo>
                        <a:pt x="327247" y="148254"/>
                      </a:moveTo>
                      <a:cubicBezTo>
                        <a:pt x="322917" y="143719"/>
                        <a:pt x="317186" y="140833"/>
                        <a:pt x="311002" y="140008"/>
                      </a:cubicBezTo>
                      <a:cubicBezTo>
                        <a:pt x="307415" y="140008"/>
                        <a:pt x="310095" y="117414"/>
                        <a:pt x="308322" y="114321"/>
                      </a:cubicBezTo>
                      <a:cubicBezTo>
                        <a:pt x="306549" y="111229"/>
                        <a:pt x="295004" y="120465"/>
                        <a:pt x="287707" y="117414"/>
                      </a:cubicBezTo>
                      <a:cubicBezTo>
                        <a:pt x="280409" y="114363"/>
                        <a:pt x="277976" y="100922"/>
                        <a:pt x="271709" y="100922"/>
                      </a:cubicBezTo>
                      <a:cubicBezTo>
                        <a:pt x="265442" y="100922"/>
                        <a:pt x="264617" y="92675"/>
                        <a:pt x="264617" y="83440"/>
                      </a:cubicBezTo>
                      <a:cubicBezTo>
                        <a:pt x="264617" y="74204"/>
                        <a:pt x="253114" y="64927"/>
                        <a:pt x="245982" y="58702"/>
                      </a:cubicBezTo>
                      <a:cubicBezTo>
                        <a:pt x="238848" y="52476"/>
                        <a:pt x="237117" y="35035"/>
                        <a:pt x="232664" y="31943"/>
                      </a:cubicBezTo>
                      <a:cubicBezTo>
                        <a:pt x="230107" y="30170"/>
                        <a:pt x="231097" y="17554"/>
                        <a:pt x="232375" y="7205"/>
                      </a:cubicBezTo>
                      <a:cubicBezTo>
                        <a:pt x="221325" y="7205"/>
                        <a:pt x="210400" y="5679"/>
                        <a:pt x="207637" y="2257"/>
                      </a:cubicBezTo>
                      <a:cubicBezTo>
                        <a:pt x="201741" y="-4546"/>
                        <a:pt x="193413" y="5019"/>
                        <a:pt x="178033" y="17389"/>
                      </a:cubicBezTo>
                      <a:cubicBezTo>
                        <a:pt x="162654" y="29758"/>
                        <a:pt x="143689" y="25635"/>
                        <a:pt x="143689" y="33881"/>
                      </a:cubicBezTo>
                      <a:cubicBezTo>
                        <a:pt x="143689" y="42127"/>
                        <a:pt x="136556" y="46250"/>
                        <a:pt x="128268" y="43488"/>
                      </a:cubicBezTo>
                      <a:cubicBezTo>
                        <a:pt x="119981" y="40725"/>
                        <a:pt x="112890" y="39365"/>
                        <a:pt x="109344" y="54496"/>
                      </a:cubicBezTo>
                      <a:cubicBezTo>
                        <a:pt x="105798" y="69628"/>
                        <a:pt x="92852" y="59939"/>
                        <a:pt x="91573" y="76390"/>
                      </a:cubicBezTo>
                      <a:cubicBezTo>
                        <a:pt x="90295" y="92841"/>
                        <a:pt x="77349" y="81914"/>
                        <a:pt x="66835" y="75070"/>
                      </a:cubicBezTo>
                      <a:cubicBezTo>
                        <a:pt x="56321" y="68226"/>
                        <a:pt x="53847" y="109291"/>
                        <a:pt x="53847" y="109291"/>
                      </a:cubicBezTo>
                      <a:cubicBezTo>
                        <a:pt x="48034" y="118197"/>
                        <a:pt x="43622" y="127928"/>
                        <a:pt x="40777" y="138153"/>
                      </a:cubicBezTo>
                      <a:cubicBezTo>
                        <a:pt x="34881" y="157408"/>
                        <a:pt x="14761" y="151882"/>
                        <a:pt x="8824" y="154645"/>
                      </a:cubicBezTo>
                      <a:cubicBezTo>
                        <a:pt x="2886" y="157408"/>
                        <a:pt x="14761" y="176579"/>
                        <a:pt x="11174" y="184825"/>
                      </a:cubicBezTo>
                      <a:cubicBezTo>
                        <a:pt x="6804" y="196535"/>
                        <a:pt x="3093" y="208451"/>
                        <a:pt x="1" y="220531"/>
                      </a:cubicBezTo>
                      <a:cubicBezTo>
                        <a:pt x="8205" y="222840"/>
                        <a:pt x="15214" y="228241"/>
                        <a:pt x="19502" y="235622"/>
                      </a:cubicBezTo>
                      <a:cubicBezTo>
                        <a:pt x="23048" y="242425"/>
                        <a:pt x="44241" y="268606"/>
                        <a:pt x="55043" y="254794"/>
                      </a:cubicBezTo>
                      <a:cubicBezTo>
                        <a:pt x="65845" y="240981"/>
                        <a:pt x="95284" y="239703"/>
                        <a:pt x="102376" y="247950"/>
                      </a:cubicBezTo>
                      <a:cubicBezTo>
                        <a:pt x="109467" y="256196"/>
                        <a:pt x="114250" y="252073"/>
                        <a:pt x="115446" y="243826"/>
                      </a:cubicBezTo>
                      <a:cubicBezTo>
                        <a:pt x="116641" y="235580"/>
                        <a:pt x="103613" y="205399"/>
                        <a:pt x="108354" y="197153"/>
                      </a:cubicBezTo>
                      <a:cubicBezTo>
                        <a:pt x="113095" y="188907"/>
                        <a:pt x="205452" y="193030"/>
                        <a:pt x="208997" y="199916"/>
                      </a:cubicBezTo>
                      <a:cubicBezTo>
                        <a:pt x="212543" y="206802"/>
                        <a:pt x="212543" y="186228"/>
                        <a:pt x="224418" y="187547"/>
                      </a:cubicBezTo>
                      <a:cubicBezTo>
                        <a:pt x="236292" y="188866"/>
                        <a:pt x="254021" y="195793"/>
                        <a:pt x="261113" y="193030"/>
                      </a:cubicBezTo>
                      <a:cubicBezTo>
                        <a:pt x="268204" y="190268"/>
                        <a:pt x="276492" y="175178"/>
                        <a:pt x="283625" y="175178"/>
                      </a:cubicBezTo>
                      <a:cubicBezTo>
                        <a:pt x="290758" y="175178"/>
                        <a:pt x="312032" y="173817"/>
                        <a:pt x="316609" y="166932"/>
                      </a:cubicBezTo>
                      <a:cubicBezTo>
                        <a:pt x="321186" y="160046"/>
                        <a:pt x="329638" y="160046"/>
                        <a:pt x="327288" y="149120"/>
                      </a:cubicBezTo>
                      <a:cubicBezTo>
                        <a:pt x="327205" y="148831"/>
                        <a:pt x="327205" y="148543"/>
                        <a:pt x="327247" y="148254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49" name="Freeform: Shape 348">
                  <a:extLst>
                    <a:ext uri="{FF2B5EF4-FFF2-40B4-BE49-F238E27FC236}">
                      <a16:creationId xmlns:a16="http://schemas.microsoft.com/office/drawing/2014/main" id="{209D7324-5B16-1C46-09AA-C649632B97CB}"/>
                    </a:ext>
                  </a:extLst>
                </p:cNvPr>
                <p:cNvSpPr/>
                <p:nvPr>
                  <p:custDataLst>
                    <p:tags r:id="rId350"/>
                  </p:custDataLst>
                </p:nvPr>
              </p:nvSpPr>
              <p:spPr>
                <a:xfrm>
                  <a:off x="6733123" y="4702720"/>
                  <a:ext cx="529010" cy="479912"/>
                </a:xfrm>
                <a:custGeom>
                  <a:avLst/>
                  <a:gdLst>
                    <a:gd name="connsiteX0" fmla="*/ 593251 w 617715"/>
                    <a:gd name="connsiteY0" fmla="*/ 82086 h 560384"/>
                    <a:gd name="connsiteX1" fmla="*/ 590901 w 617715"/>
                    <a:gd name="connsiteY1" fmla="*/ 22508 h 560384"/>
                    <a:gd name="connsiteX2" fmla="*/ 559113 w 617715"/>
                    <a:gd name="connsiteY2" fmla="*/ 42422 h 560384"/>
                    <a:gd name="connsiteX3" fmla="*/ 533756 w 617715"/>
                    <a:gd name="connsiteY3" fmla="*/ 13066 h 560384"/>
                    <a:gd name="connsiteX4" fmla="*/ 474632 w 617715"/>
                    <a:gd name="connsiteY4" fmla="*/ -4 h 560384"/>
                    <a:gd name="connsiteX5" fmla="*/ 302824 w 617715"/>
                    <a:gd name="connsiteY5" fmla="*/ 123976 h 560384"/>
                    <a:gd name="connsiteX6" fmla="*/ 229640 w 617715"/>
                    <a:gd name="connsiteY6" fmla="*/ 192460 h 560384"/>
                    <a:gd name="connsiteX7" fmla="*/ 167794 w 617715"/>
                    <a:gd name="connsiteY7" fmla="*/ 215302 h 560384"/>
                    <a:gd name="connsiteX8" fmla="*/ 162476 w 617715"/>
                    <a:gd name="connsiteY8" fmla="*/ 216580 h 560384"/>
                    <a:gd name="connsiteX9" fmla="*/ 159919 w 617715"/>
                    <a:gd name="connsiteY9" fmla="*/ 340024 h 560384"/>
                    <a:gd name="connsiteX10" fmla="*/ 146850 w 617715"/>
                    <a:gd name="connsiteY10" fmla="*/ 374286 h 560384"/>
                    <a:gd name="connsiteX11" fmla="*/ 122111 w 617715"/>
                    <a:gd name="connsiteY11" fmla="*/ 394901 h 560384"/>
                    <a:gd name="connsiteX12" fmla="*/ 59317 w 617715"/>
                    <a:gd name="connsiteY12" fmla="*/ 401787 h 560384"/>
                    <a:gd name="connsiteX13" fmla="*/ 27363 w 617715"/>
                    <a:gd name="connsiteY13" fmla="*/ 414156 h 560384"/>
                    <a:gd name="connsiteX14" fmla="*/ 1306 w 617715"/>
                    <a:gd name="connsiteY14" fmla="*/ 416341 h 560384"/>
                    <a:gd name="connsiteX15" fmla="*/ 1594 w 617715"/>
                    <a:gd name="connsiteY15" fmla="*/ 441079 h 560384"/>
                    <a:gd name="connsiteX16" fmla="*/ 14912 w 617715"/>
                    <a:gd name="connsiteY16" fmla="*/ 467838 h 560384"/>
                    <a:gd name="connsiteX17" fmla="*/ 33548 w 617715"/>
                    <a:gd name="connsiteY17" fmla="*/ 492576 h 560384"/>
                    <a:gd name="connsiteX18" fmla="*/ 40640 w 617715"/>
                    <a:gd name="connsiteY18" fmla="*/ 510058 h 560384"/>
                    <a:gd name="connsiteX19" fmla="*/ 56637 w 617715"/>
                    <a:gd name="connsiteY19" fmla="*/ 526550 h 560384"/>
                    <a:gd name="connsiteX20" fmla="*/ 77253 w 617715"/>
                    <a:gd name="connsiteY20" fmla="*/ 523458 h 560384"/>
                    <a:gd name="connsiteX21" fmla="*/ 79932 w 617715"/>
                    <a:gd name="connsiteY21" fmla="*/ 549145 h 560384"/>
                    <a:gd name="connsiteX22" fmla="*/ 96177 w 617715"/>
                    <a:gd name="connsiteY22" fmla="*/ 557391 h 560384"/>
                    <a:gd name="connsiteX23" fmla="*/ 110443 w 617715"/>
                    <a:gd name="connsiteY23" fmla="*/ 535951 h 560384"/>
                    <a:gd name="connsiteX24" fmla="*/ 123472 w 617715"/>
                    <a:gd name="connsiteY24" fmla="*/ 557927 h 560384"/>
                    <a:gd name="connsiteX25" fmla="*/ 139964 w 617715"/>
                    <a:gd name="connsiteY25" fmla="*/ 549681 h 560384"/>
                    <a:gd name="connsiteX26" fmla="*/ 157734 w 617715"/>
                    <a:gd name="connsiteY26" fmla="*/ 516696 h 560384"/>
                    <a:gd name="connsiteX27" fmla="*/ 167217 w 617715"/>
                    <a:gd name="connsiteY27" fmla="*/ 479589 h 560384"/>
                    <a:gd name="connsiteX28" fmla="*/ 203954 w 617715"/>
                    <a:gd name="connsiteY28" fmla="*/ 479589 h 560384"/>
                    <a:gd name="connsiteX29" fmla="*/ 227620 w 617715"/>
                    <a:gd name="connsiteY29" fmla="*/ 469982 h 560384"/>
                    <a:gd name="connsiteX30" fmla="*/ 259615 w 617715"/>
                    <a:gd name="connsiteY30" fmla="*/ 480949 h 560384"/>
                    <a:gd name="connsiteX31" fmla="*/ 282085 w 617715"/>
                    <a:gd name="connsiteY31" fmla="*/ 505687 h 560384"/>
                    <a:gd name="connsiteX32" fmla="*/ 315070 w 617715"/>
                    <a:gd name="connsiteY32" fmla="*/ 494761 h 560384"/>
                    <a:gd name="connsiteX33" fmla="*/ 345910 w 617715"/>
                    <a:gd name="connsiteY33" fmla="*/ 513934 h 560384"/>
                    <a:gd name="connsiteX34" fmla="*/ 384997 w 617715"/>
                    <a:gd name="connsiteY34" fmla="*/ 513934 h 560384"/>
                    <a:gd name="connsiteX35" fmla="*/ 414600 w 617715"/>
                    <a:gd name="connsiteY35" fmla="*/ 491999 h 560384"/>
                    <a:gd name="connsiteX36" fmla="*/ 465519 w 617715"/>
                    <a:gd name="connsiteY36" fmla="*/ 493360 h 560384"/>
                    <a:gd name="connsiteX37" fmla="*/ 498504 w 617715"/>
                    <a:gd name="connsiteY37" fmla="*/ 502966 h 560384"/>
                    <a:gd name="connsiteX38" fmla="*/ 526912 w 617715"/>
                    <a:gd name="connsiteY38" fmla="*/ 472786 h 560384"/>
                    <a:gd name="connsiteX39" fmla="*/ 532643 w 617715"/>
                    <a:gd name="connsiteY39" fmla="*/ 472786 h 560384"/>
                    <a:gd name="connsiteX40" fmla="*/ 532643 w 617715"/>
                    <a:gd name="connsiteY40" fmla="*/ 457860 h 560384"/>
                    <a:gd name="connsiteX41" fmla="*/ 540889 w 617715"/>
                    <a:gd name="connsiteY41" fmla="*/ 418073 h 560384"/>
                    <a:gd name="connsiteX42" fmla="*/ 604879 w 617715"/>
                    <a:gd name="connsiteY42" fmla="*/ 324768 h 560384"/>
                    <a:gd name="connsiteX43" fmla="*/ 609579 w 617715"/>
                    <a:gd name="connsiteY43" fmla="*/ 209571 h 560384"/>
                    <a:gd name="connsiteX44" fmla="*/ 616671 w 617715"/>
                    <a:gd name="connsiteY44" fmla="*/ 160094 h 560384"/>
                    <a:gd name="connsiteX45" fmla="*/ 609579 w 617715"/>
                    <a:gd name="connsiteY45" fmla="*/ 124430 h 560384"/>
                    <a:gd name="connsiteX46" fmla="*/ 593251 w 617715"/>
                    <a:gd name="connsiteY46" fmla="*/ 82086 h 5603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</a:cxnLst>
                  <a:rect l="l" t="t" r="r" b="b"/>
                  <a:pathLst>
                    <a:path w="617715" h="560384">
                      <a:moveTo>
                        <a:pt x="593251" y="82086"/>
                      </a:moveTo>
                      <a:cubicBezTo>
                        <a:pt x="593251" y="75365"/>
                        <a:pt x="591932" y="44978"/>
                        <a:pt x="590901" y="22508"/>
                      </a:cubicBezTo>
                      <a:lnTo>
                        <a:pt x="559113" y="42422"/>
                      </a:lnTo>
                      <a:cubicBezTo>
                        <a:pt x="552681" y="31084"/>
                        <a:pt x="544064" y="21106"/>
                        <a:pt x="533756" y="13066"/>
                      </a:cubicBezTo>
                      <a:cubicBezTo>
                        <a:pt x="516893" y="-4"/>
                        <a:pt x="474632" y="-4"/>
                        <a:pt x="474632" y="-4"/>
                      </a:cubicBezTo>
                      <a:lnTo>
                        <a:pt x="302824" y="123976"/>
                      </a:lnTo>
                      <a:lnTo>
                        <a:pt x="229640" y="192460"/>
                      </a:lnTo>
                      <a:cubicBezTo>
                        <a:pt x="229640" y="192460"/>
                        <a:pt x="181772" y="212044"/>
                        <a:pt x="167794" y="215302"/>
                      </a:cubicBezTo>
                      <a:cubicBezTo>
                        <a:pt x="166186" y="215673"/>
                        <a:pt x="164331" y="216085"/>
                        <a:pt x="162476" y="216580"/>
                      </a:cubicBezTo>
                      <a:cubicBezTo>
                        <a:pt x="162929" y="250553"/>
                        <a:pt x="163713" y="336725"/>
                        <a:pt x="159919" y="340024"/>
                      </a:cubicBezTo>
                      <a:cubicBezTo>
                        <a:pt x="155137" y="344147"/>
                        <a:pt x="151673" y="368885"/>
                        <a:pt x="146850" y="374286"/>
                      </a:cubicBezTo>
                      <a:cubicBezTo>
                        <a:pt x="142025" y="379687"/>
                        <a:pt x="136171" y="394901"/>
                        <a:pt x="122111" y="394901"/>
                      </a:cubicBezTo>
                      <a:cubicBezTo>
                        <a:pt x="108052" y="394901"/>
                        <a:pt x="73542" y="404549"/>
                        <a:pt x="59317" y="401787"/>
                      </a:cubicBezTo>
                      <a:cubicBezTo>
                        <a:pt x="45093" y="399024"/>
                        <a:pt x="33259" y="411352"/>
                        <a:pt x="27363" y="414156"/>
                      </a:cubicBezTo>
                      <a:cubicBezTo>
                        <a:pt x="18829" y="416135"/>
                        <a:pt x="10047" y="416836"/>
                        <a:pt x="1306" y="416341"/>
                      </a:cubicBezTo>
                      <a:cubicBezTo>
                        <a:pt x="28" y="426855"/>
                        <a:pt x="-962" y="439472"/>
                        <a:pt x="1594" y="441079"/>
                      </a:cubicBezTo>
                      <a:cubicBezTo>
                        <a:pt x="6047" y="444171"/>
                        <a:pt x="7820" y="461694"/>
                        <a:pt x="14912" y="467838"/>
                      </a:cubicBezTo>
                      <a:cubicBezTo>
                        <a:pt x="22004" y="473982"/>
                        <a:pt x="33548" y="483258"/>
                        <a:pt x="33548" y="492576"/>
                      </a:cubicBezTo>
                      <a:cubicBezTo>
                        <a:pt x="33548" y="501894"/>
                        <a:pt x="34455" y="510058"/>
                        <a:pt x="40640" y="510058"/>
                      </a:cubicBezTo>
                      <a:cubicBezTo>
                        <a:pt x="46824" y="510058"/>
                        <a:pt x="49545" y="523458"/>
                        <a:pt x="56637" y="526550"/>
                      </a:cubicBezTo>
                      <a:cubicBezTo>
                        <a:pt x="63729" y="529643"/>
                        <a:pt x="75314" y="520366"/>
                        <a:pt x="77253" y="523458"/>
                      </a:cubicBezTo>
                      <a:cubicBezTo>
                        <a:pt x="79190" y="526550"/>
                        <a:pt x="76345" y="549145"/>
                        <a:pt x="79932" y="549145"/>
                      </a:cubicBezTo>
                      <a:cubicBezTo>
                        <a:pt x="86117" y="549969"/>
                        <a:pt x="91848" y="552855"/>
                        <a:pt x="96177" y="557391"/>
                      </a:cubicBezTo>
                      <a:cubicBezTo>
                        <a:pt x="94033" y="546465"/>
                        <a:pt x="98733" y="531869"/>
                        <a:pt x="110443" y="535951"/>
                      </a:cubicBezTo>
                      <a:cubicBezTo>
                        <a:pt x="122153" y="540032"/>
                        <a:pt x="112793" y="552443"/>
                        <a:pt x="123472" y="557927"/>
                      </a:cubicBezTo>
                      <a:cubicBezTo>
                        <a:pt x="134150" y="563410"/>
                        <a:pt x="139964" y="559287"/>
                        <a:pt x="139964" y="549681"/>
                      </a:cubicBezTo>
                      <a:cubicBezTo>
                        <a:pt x="139964" y="540074"/>
                        <a:pt x="154188" y="520819"/>
                        <a:pt x="157734" y="516696"/>
                      </a:cubicBezTo>
                      <a:cubicBezTo>
                        <a:pt x="161280" y="512573"/>
                        <a:pt x="160126" y="486515"/>
                        <a:pt x="167217" y="479589"/>
                      </a:cubicBezTo>
                      <a:cubicBezTo>
                        <a:pt x="174309" y="472662"/>
                        <a:pt x="195625" y="478187"/>
                        <a:pt x="203954" y="479589"/>
                      </a:cubicBezTo>
                      <a:cubicBezTo>
                        <a:pt x="212282" y="480990"/>
                        <a:pt x="218137" y="460334"/>
                        <a:pt x="227620" y="469982"/>
                      </a:cubicBezTo>
                      <a:cubicBezTo>
                        <a:pt x="237103" y="479630"/>
                        <a:pt x="252358" y="471343"/>
                        <a:pt x="259615" y="480949"/>
                      </a:cubicBezTo>
                      <a:cubicBezTo>
                        <a:pt x="266871" y="490556"/>
                        <a:pt x="270252" y="513934"/>
                        <a:pt x="282085" y="505687"/>
                      </a:cubicBezTo>
                      <a:cubicBezTo>
                        <a:pt x="291857" y="499049"/>
                        <a:pt x="303278" y="495297"/>
                        <a:pt x="315070" y="494761"/>
                      </a:cubicBezTo>
                      <a:cubicBezTo>
                        <a:pt x="322202" y="494761"/>
                        <a:pt x="338818" y="511254"/>
                        <a:pt x="345910" y="513934"/>
                      </a:cubicBezTo>
                      <a:cubicBezTo>
                        <a:pt x="353002" y="516614"/>
                        <a:pt x="376709" y="519417"/>
                        <a:pt x="384997" y="513934"/>
                      </a:cubicBezTo>
                      <a:cubicBezTo>
                        <a:pt x="393284" y="508450"/>
                        <a:pt x="403921" y="490638"/>
                        <a:pt x="414600" y="491999"/>
                      </a:cubicBezTo>
                      <a:cubicBezTo>
                        <a:pt x="425279" y="493360"/>
                        <a:pt x="458428" y="489237"/>
                        <a:pt x="465519" y="493360"/>
                      </a:cubicBezTo>
                      <a:cubicBezTo>
                        <a:pt x="472612" y="497483"/>
                        <a:pt x="488032" y="507089"/>
                        <a:pt x="498504" y="502966"/>
                      </a:cubicBezTo>
                      <a:cubicBezTo>
                        <a:pt x="508977" y="498843"/>
                        <a:pt x="518624" y="475548"/>
                        <a:pt x="526912" y="472786"/>
                      </a:cubicBezTo>
                      <a:cubicBezTo>
                        <a:pt x="528767" y="472085"/>
                        <a:pt x="530788" y="472085"/>
                        <a:pt x="532643" y="472786"/>
                      </a:cubicBezTo>
                      <a:cubicBezTo>
                        <a:pt x="532643" y="467467"/>
                        <a:pt x="532643" y="462396"/>
                        <a:pt x="532643" y="457860"/>
                      </a:cubicBezTo>
                      <a:cubicBezTo>
                        <a:pt x="532643" y="433122"/>
                        <a:pt x="537384" y="442770"/>
                        <a:pt x="540889" y="418073"/>
                      </a:cubicBezTo>
                      <a:cubicBezTo>
                        <a:pt x="544393" y="393376"/>
                        <a:pt x="600096" y="328891"/>
                        <a:pt x="604879" y="324768"/>
                      </a:cubicBezTo>
                      <a:cubicBezTo>
                        <a:pt x="609662" y="320645"/>
                        <a:pt x="609579" y="223259"/>
                        <a:pt x="609579" y="209571"/>
                      </a:cubicBezTo>
                      <a:cubicBezTo>
                        <a:pt x="609991" y="192872"/>
                        <a:pt x="612382" y="176256"/>
                        <a:pt x="616671" y="160094"/>
                      </a:cubicBezTo>
                      <a:cubicBezTo>
                        <a:pt x="621412" y="140880"/>
                        <a:pt x="608424" y="142241"/>
                        <a:pt x="609579" y="124430"/>
                      </a:cubicBezTo>
                      <a:cubicBezTo>
                        <a:pt x="610734" y="106618"/>
                        <a:pt x="593251" y="93094"/>
                        <a:pt x="593251" y="82086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50" name="Freeform: Shape 349">
                  <a:extLst>
                    <a:ext uri="{FF2B5EF4-FFF2-40B4-BE49-F238E27FC236}">
                      <a16:creationId xmlns:a16="http://schemas.microsoft.com/office/drawing/2014/main" id="{47BEB404-C39C-2B1B-CAF3-EFCFC1B00BC0}"/>
                    </a:ext>
                  </a:extLst>
                </p:cNvPr>
                <p:cNvSpPr/>
                <p:nvPr>
                  <p:custDataLst>
                    <p:tags r:id="rId351"/>
                  </p:custDataLst>
                </p:nvPr>
              </p:nvSpPr>
              <p:spPr>
                <a:xfrm>
                  <a:off x="7189419" y="4702720"/>
                  <a:ext cx="342290" cy="659752"/>
                </a:xfrm>
                <a:custGeom>
                  <a:avLst/>
                  <a:gdLst>
                    <a:gd name="connsiteX0" fmla="*/ 399688 w 399687"/>
                    <a:gd name="connsiteY0" fmla="*/ 190481 h 770378"/>
                    <a:gd name="connsiteX1" fmla="*/ 93882 w 399687"/>
                    <a:gd name="connsiteY1" fmla="*/ -4 h 770378"/>
                    <a:gd name="connsiteX2" fmla="*/ 58094 w 399687"/>
                    <a:gd name="connsiteY2" fmla="*/ 22508 h 770378"/>
                    <a:gd name="connsiteX3" fmla="*/ 60444 w 399687"/>
                    <a:gd name="connsiteY3" fmla="*/ 82086 h 770378"/>
                    <a:gd name="connsiteX4" fmla="*/ 76936 w 399687"/>
                    <a:gd name="connsiteY4" fmla="*/ 124635 h 770378"/>
                    <a:gd name="connsiteX5" fmla="*/ 84028 w 399687"/>
                    <a:gd name="connsiteY5" fmla="*/ 160300 h 770378"/>
                    <a:gd name="connsiteX6" fmla="*/ 76936 w 399687"/>
                    <a:gd name="connsiteY6" fmla="*/ 209776 h 770378"/>
                    <a:gd name="connsiteX7" fmla="*/ 72236 w 399687"/>
                    <a:gd name="connsiteY7" fmla="*/ 324975 h 770378"/>
                    <a:gd name="connsiteX8" fmla="*/ 8247 w 399687"/>
                    <a:gd name="connsiteY8" fmla="*/ 418279 h 770378"/>
                    <a:gd name="connsiteX9" fmla="*/ 1 w 399687"/>
                    <a:gd name="connsiteY9" fmla="*/ 458067 h 770378"/>
                    <a:gd name="connsiteX10" fmla="*/ 1 w 399687"/>
                    <a:gd name="connsiteY10" fmla="*/ 472992 h 770378"/>
                    <a:gd name="connsiteX11" fmla="*/ 8247 w 399687"/>
                    <a:gd name="connsiteY11" fmla="*/ 482764 h 770378"/>
                    <a:gd name="connsiteX12" fmla="*/ 26017 w 399687"/>
                    <a:gd name="connsiteY12" fmla="*/ 501977 h 770378"/>
                    <a:gd name="connsiteX13" fmla="*/ 50755 w 399687"/>
                    <a:gd name="connsiteY13" fmla="*/ 545887 h 770378"/>
                    <a:gd name="connsiteX14" fmla="*/ 55497 w 399687"/>
                    <a:gd name="connsiteY14" fmla="*/ 587118 h 770378"/>
                    <a:gd name="connsiteX15" fmla="*/ 71989 w 399687"/>
                    <a:gd name="connsiteY15" fmla="*/ 644840 h 770378"/>
                    <a:gd name="connsiteX16" fmla="*/ 55497 w 399687"/>
                    <a:gd name="connsiteY16" fmla="*/ 651643 h 770378"/>
                    <a:gd name="connsiteX17" fmla="*/ 21152 w 399687"/>
                    <a:gd name="connsiteY17" fmla="*/ 657168 h 770378"/>
                    <a:gd name="connsiteX18" fmla="*/ 30634 w 399687"/>
                    <a:gd name="connsiteY18" fmla="*/ 690153 h 770378"/>
                    <a:gd name="connsiteX19" fmla="*/ 63619 w 399687"/>
                    <a:gd name="connsiteY19" fmla="*/ 729899 h 770378"/>
                    <a:gd name="connsiteX20" fmla="*/ 79039 w 399687"/>
                    <a:gd name="connsiteY20" fmla="*/ 768326 h 770378"/>
                    <a:gd name="connsiteX21" fmla="*/ 101510 w 399687"/>
                    <a:gd name="connsiteY21" fmla="*/ 757358 h 770378"/>
                    <a:gd name="connsiteX22" fmla="*/ 127567 w 399687"/>
                    <a:gd name="connsiteY22" fmla="*/ 757358 h 770378"/>
                    <a:gd name="connsiteX23" fmla="*/ 171437 w 399687"/>
                    <a:gd name="connsiteY23" fmla="*/ 742268 h 770378"/>
                    <a:gd name="connsiteX24" fmla="*/ 206936 w 399687"/>
                    <a:gd name="connsiteY24" fmla="*/ 720292 h 770378"/>
                    <a:gd name="connsiteX25" fmla="*/ 209328 w 399687"/>
                    <a:gd name="connsiteY25" fmla="*/ 695554 h 770378"/>
                    <a:gd name="connsiteX26" fmla="*/ 266184 w 399687"/>
                    <a:gd name="connsiteY26" fmla="*/ 681865 h 770378"/>
                    <a:gd name="connsiteX27" fmla="*/ 305271 w 399687"/>
                    <a:gd name="connsiteY27" fmla="*/ 635193 h 770378"/>
                    <a:gd name="connsiteX28" fmla="*/ 313517 w 399687"/>
                    <a:gd name="connsiteY28" fmla="*/ 613258 h 770378"/>
                    <a:gd name="connsiteX29" fmla="*/ 346501 w 399687"/>
                    <a:gd name="connsiteY29" fmla="*/ 598168 h 770378"/>
                    <a:gd name="connsiteX30" fmla="*/ 353428 w 399687"/>
                    <a:gd name="connsiteY30" fmla="*/ 599982 h 770378"/>
                    <a:gd name="connsiteX31" fmla="*/ 352150 w 399687"/>
                    <a:gd name="connsiteY31" fmla="*/ 598209 h 770378"/>
                    <a:gd name="connsiteX32" fmla="*/ 357097 w 399687"/>
                    <a:gd name="connsiteY32" fmla="*/ 578170 h 770378"/>
                    <a:gd name="connsiteX33" fmla="*/ 337348 w 399687"/>
                    <a:gd name="connsiteY33" fmla="*/ 549557 h 770378"/>
                    <a:gd name="connsiteX34" fmla="*/ 329927 w 399687"/>
                    <a:gd name="connsiteY34" fmla="*/ 515253 h 770378"/>
                    <a:gd name="connsiteX35" fmla="*/ 324979 w 399687"/>
                    <a:gd name="connsiteY35" fmla="*/ 489484 h 770378"/>
                    <a:gd name="connsiteX36" fmla="*/ 327453 w 399687"/>
                    <a:gd name="connsiteY36" fmla="*/ 455139 h 770378"/>
                    <a:gd name="connsiteX37" fmla="*/ 344770 w 399687"/>
                    <a:gd name="connsiteY37" fmla="*/ 420794 h 770378"/>
                    <a:gd name="connsiteX38" fmla="*/ 359571 w 399687"/>
                    <a:gd name="connsiteY38" fmla="*/ 392180 h 770378"/>
                    <a:gd name="connsiteX39" fmla="*/ 394164 w 399687"/>
                    <a:gd name="connsiteY39" fmla="*/ 366452 h 770378"/>
                    <a:gd name="connsiteX40" fmla="*/ 399111 w 399687"/>
                    <a:gd name="connsiteY40" fmla="*/ 317801 h 7703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</a:cxnLst>
                  <a:rect l="l" t="t" r="r" b="b"/>
                  <a:pathLst>
                    <a:path w="399687" h="770378">
                      <a:moveTo>
                        <a:pt x="399688" y="190481"/>
                      </a:moveTo>
                      <a:lnTo>
                        <a:pt x="93882" y="-4"/>
                      </a:lnTo>
                      <a:lnTo>
                        <a:pt x="58094" y="22508"/>
                      </a:lnTo>
                      <a:cubicBezTo>
                        <a:pt x="59125" y="45061"/>
                        <a:pt x="60444" y="75365"/>
                        <a:pt x="60444" y="82086"/>
                      </a:cubicBezTo>
                      <a:cubicBezTo>
                        <a:pt x="60444" y="93094"/>
                        <a:pt x="78215" y="106824"/>
                        <a:pt x="76936" y="124635"/>
                      </a:cubicBezTo>
                      <a:cubicBezTo>
                        <a:pt x="75658" y="142447"/>
                        <a:pt x="88770" y="141128"/>
                        <a:pt x="84028" y="160300"/>
                      </a:cubicBezTo>
                      <a:cubicBezTo>
                        <a:pt x="79740" y="176462"/>
                        <a:pt x="77349" y="193078"/>
                        <a:pt x="76936" y="209776"/>
                      </a:cubicBezTo>
                      <a:cubicBezTo>
                        <a:pt x="76936" y="223465"/>
                        <a:pt x="76936" y="321099"/>
                        <a:pt x="72236" y="324975"/>
                      </a:cubicBezTo>
                      <a:cubicBezTo>
                        <a:pt x="67536" y="328850"/>
                        <a:pt x="11792" y="393582"/>
                        <a:pt x="8247" y="418279"/>
                      </a:cubicBezTo>
                      <a:cubicBezTo>
                        <a:pt x="4701" y="442976"/>
                        <a:pt x="1" y="433369"/>
                        <a:pt x="1" y="458067"/>
                      </a:cubicBezTo>
                      <a:cubicBezTo>
                        <a:pt x="1" y="462602"/>
                        <a:pt x="1" y="467673"/>
                        <a:pt x="1" y="472992"/>
                      </a:cubicBezTo>
                      <a:cubicBezTo>
                        <a:pt x="3052" y="474229"/>
                        <a:pt x="4412" y="478063"/>
                        <a:pt x="8247" y="482764"/>
                      </a:cubicBezTo>
                      <a:cubicBezTo>
                        <a:pt x="14225" y="489608"/>
                        <a:pt x="14225" y="501977"/>
                        <a:pt x="26017" y="501977"/>
                      </a:cubicBezTo>
                      <a:cubicBezTo>
                        <a:pt x="37809" y="501977"/>
                        <a:pt x="52116" y="533518"/>
                        <a:pt x="50755" y="545887"/>
                      </a:cubicBezTo>
                      <a:cubicBezTo>
                        <a:pt x="49395" y="558256"/>
                        <a:pt x="56692" y="565059"/>
                        <a:pt x="55497" y="587118"/>
                      </a:cubicBezTo>
                      <a:cubicBezTo>
                        <a:pt x="54301" y="609176"/>
                        <a:pt x="66134" y="640717"/>
                        <a:pt x="71989" y="644840"/>
                      </a:cubicBezTo>
                      <a:cubicBezTo>
                        <a:pt x="77844" y="648963"/>
                        <a:pt x="69556" y="653086"/>
                        <a:pt x="55497" y="651643"/>
                      </a:cubicBezTo>
                      <a:cubicBezTo>
                        <a:pt x="41437" y="650200"/>
                        <a:pt x="21152" y="650324"/>
                        <a:pt x="21152" y="657168"/>
                      </a:cubicBezTo>
                      <a:cubicBezTo>
                        <a:pt x="21152" y="664013"/>
                        <a:pt x="15214" y="673660"/>
                        <a:pt x="30634" y="690153"/>
                      </a:cubicBezTo>
                      <a:cubicBezTo>
                        <a:pt x="46055" y="706645"/>
                        <a:pt x="59042" y="712046"/>
                        <a:pt x="63619" y="729899"/>
                      </a:cubicBezTo>
                      <a:cubicBezTo>
                        <a:pt x="68195" y="747751"/>
                        <a:pt x="74257" y="764203"/>
                        <a:pt x="79039" y="768326"/>
                      </a:cubicBezTo>
                      <a:cubicBezTo>
                        <a:pt x="83822" y="772449"/>
                        <a:pt x="93223" y="771088"/>
                        <a:pt x="101510" y="757358"/>
                      </a:cubicBezTo>
                      <a:cubicBezTo>
                        <a:pt x="109797" y="743628"/>
                        <a:pt x="119321" y="769728"/>
                        <a:pt x="127567" y="757358"/>
                      </a:cubicBezTo>
                      <a:cubicBezTo>
                        <a:pt x="135813" y="744989"/>
                        <a:pt x="164304" y="746391"/>
                        <a:pt x="171437" y="742268"/>
                      </a:cubicBezTo>
                      <a:cubicBezTo>
                        <a:pt x="178569" y="738145"/>
                        <a:pt x="199844" y="727136"/>
                        <a:pt x="206936" y="720292"/>
                      </a:cubicBezTo>
                      <a:cubicBezTo>
                        <a:pt x="214027" y="713448"/>
                        <a:pt x="198690" y="702480"/>
                        <a:pt x="209328" y="695554"/>
                      </a:cubicBezTo>
                      <a:cubicBezTo>
                        <a:pt x="219965" y="688627"/>
                        <a:pt x="253156" y="701037"/>
                        <a:pt x="266184" y="681865"/>
                      </a:cubicBezTo>
                      <a:cubicBezTo>
                        <a:pt x="279213" y="662693"/>
                        <a:pt x="299168" y="642037"/>
                        <a:pt x="305271" y="635193"/>
                      </a:cubicBezTo>
                      <a:cubicBezTo>
                        <a:pt x="311373" y="628348"/>
                        <a:pt x="305271" y="622823"/>
                        <a:pt x="313517" y="613258"/>
                      </a:cubicBezTo>
                      <a:cubicBezTo>
                        <a:pt x="321763" y="603692"/>
                        <a:pt x="338255" y="592642"/>
                        <a:pt x="346501" y="598168"/>
                      </a:cubicBezTo>
                      <a:cubicBezTo>
                        <a:pt x="348604" y="599363"/>
                        <a:pt x="350995" y="599982"/>
                        <a:pt x="353428" y="599982"/>
                      </a:cubicBezTo>
                      <a:lnTo>
                        <a:pt x="352150" y="598209"/>
                      </a:lnTo>
                      <a:lnTo>
                        <a:pt x="357097" y="578170"/>
                      </a:lnTo>
                      <a:cubicBezTo>
                        <a:pt x="357097" y="578170"/>
                        <a:pt x="337348" y="566709"/>
                        <a:pt x="337348" y="549557"/>
                      </a:cubicBezTo>
                      <a:cubicBezTo>
                        <a:pt x="337348" y="532405"/>
                        <a:pt x="342255" y="515253"/>
                        <a:pt x="329927" y="515253"/>
                      </a:cubicBezTo>
                      <a:cubicBezTo>
                        <a:pt x="317599" y="515253"/>
                        <a:pt x="315083" y="500905"/>
                        <a:pt x="324979" y="489484"/>
                      </a:cubicBezTo>
                      <a:cubicBezTo>
                        <a:pt x="334874" y="478063"/>
                        <a:pt x="310177" y="455139"/>
                        <a:pt x="327453" y="455139"/>
                      </a:cubicBezTo>
                      <a:cubicBezTo>
                        <a:pt x="344728" y="455139"/>
                        <a:pt x="332400" y="423680"/>
                        <a:pt x="344770" y="420794"/>
                      </a:cubicBezTo>
                      <a:cubicBezTo>
                        <a:pt x="357139" y="417908"/>
                        <a:pt x="359571" y="406487"/>
                        <a:pt x="359571" y="392180"/>
                      </a:cubicBezTo>
                      <a:cubicBezTo>
                        <a:pt x="359571" y="377873"/>
                        <a:pt x="386742" y="369297"/>
                        <a:pt x="394164" y="366452"/>
                      </a:cubicBezTo>
                      <a:cubicBezTo>
                        <a:pt x="401585" y="363607"/>
                        <a:pt x="399111" y="317801"/>
                        <a:pt x="399111" y="317801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51" name="Freeform: Shape 350">
                  <a:extLst>
                    <a:ext uri="{FF2B5EF4-FFF2-40B4-BE49-F238E27FC236}">
                      <a16:creationId xmlns:a16="http://schemas.microsoft.com/office/drawing/2014/main" id="{40FC00FD-D52B-5D95-10D2-4A3A74FD3D00}"/>
                    </a:ext>
                  </a:extLst>
                </p:cNvPr>
                <p:cNvSpPr/>
                <p:nvPr>
                  <p:custDataLst>
                    <p:tags r:id="rId352"/>
                  </p:custDataLst>
                </p:nvPr>
              </p:nvSpPr>
              <p:spPr>
                <a:xfrm>
                  <a:off x="7054256" y="5567949"/>
                  <a:ext cx="165344" cy="238093"/>
                </a:xfrm>
                <a:custGeom>
                  <a:avLst/>
                  <a:gdLst>
                    <a:gd name="connsiteX0" fmla="*/ 183064 w 193069"/>
                    <a:gd name="connsiteY0" fmla="*/ 125006 h 278017"/>
                    <a:gd name="connsiteX1" fmla="*/ 175683 w 193069"/>
                    <a:gd name="connsiteY1" fmla="*/ 87899 h 278017"/>
                    <a:gd name="connsiteX2" fmla="*/ 180631 w 193069"/>
                    <a:gd name="connsiteY2" fmla="*/ 50791 h 278017"/>
                    <a:gd name="connsiteX3" fmla="*/ 140967 w 193069"/>
                    <a:gd name="connsiteY3" fmla="*/ 50791 h 278017"/>
                    <a:gd name="connsiteX4" fmla="*/ 145090 w 193069"/>
                    <a:gd name="connsiteY4" fmla="*/ 2964 h 278017"/>
                    <a:gd name="connsiteX5" fmla="*/ 85512 w 193069"/>
                    <a:gd name="connsiteY5" fmla="*/ -4 h 278017"/>
                    <a:gd name="connsiteX6" fmla="*/ 78132 w 193069"/>
                    <a:gd name="connsiteY6" fmla="*/ 2470 h 278017"/>
                    <a:gd name="connsiteX7" fmla="*/ 76483 w 193069"/>
                    <a:gd name="connsiteY7" fmla="*/ 62254 h 278017"/>
                    <a:gd name="connsiteX8" fmla="*/ 21976 w 193069"/>
                    <a:gd name="connsiteY8" fmla="*/ 65140 h 278017"/>
                    <a:gd name="connsiteX9" fmla="*/ 3464 w 193069"/>
                    <a:gd name="connsiteY9" fmla="*/ 67985 h 278017"/>
                    <a:gd name="connsiteX10" fmla="*/ 2103 w 193069"/>
                    <a:gd name="connsiteY10" fmla="*/ 70046 h 278017"/>
                    <a:gd name="connsiteX11" fmla="*/ 2103 w 193069"/>
                    <a:gd name="connsiteY11" fmla="*/ 86538 h 278017"/>
                    <a:gd name="connsiteX12" fmla="*/ 1856 w 193069"/>
                    <a:gd name="connsiteY12" fmla="*/ 88889 h 278017"/>
                    <a:gd name="connsiteX13" fmla="*/ 12081 w 193069"/>
                    <a:gd name="connsiteY13" fmla="*/ 101010 h 278017"/>
                    <a:gd name="connsiteX14" fmla="*/ 1 w 193069"/>
                    <a:gd name="connsiteY14" fmla="*/ 109834 h 278017"/>
                    <a:gd name="connsiteX15" fmla="*/ 2103 w 193069"/>
                    <a:gd name="connsiteY15" fmla="*/ 122615 h 278017"/>
                    <a:gd name="connsiteX16" fmla="*/ 2103 w 193069"/>
                    <a:gd name="connsiteY16" fmla="*/ 136098 h 278017"/>
                    <a:gd name="connsiteX17" fmla="*/ 1485 w 193069"/>
                    <a:gd name="connsiteY17" fmla="*/ 142777 h 278017"/>
                    <a:gd name="connsiteX18" fmla="*/ 5937 w 193069"/>
                    <a:gd name="connsiteY18" fmla="*/ 149992 h 278017"/>
                    <a:gd name="connsiteX19" fmla="*/ 10638 w 193069"/>
                    <a:gd name="connsiteY19" fmla="*/ 162361 h 278017"/>
                    <a:gd name="connsiteX20" fmla="*/ 22389 w 193069"/>
                    <a:gd name="connsiteY20" fmla="*/ 182606 h 278017"/>
                    <a:gd name="connsiteX21" fmla="*/ 24327 w 193069"/>
                    <a:gd name="connsiteY21" fmla="*/ 189780 h 278017"/>
                    <a:gd name="connsiteX22" fmla="*/ 26718 w 193069"/>
                    <a:gd name="connsiteY22" fmla="*/ 194356 h 278017"/>
                    <a:gd name="connsiteX23" fmla="*/ 32449 w 193069"/>
                    <a:gd name="connsiteY23" fmla="*/ 218517 h 278017"/>
                    <a:gd name="connsiteX24" fmla="*/ 65227 w 193069"/>
                    <a:gd name="connsiteY24" fmla="*/ 252903 h 278017"/>
                    <a:gd name="connsiteX25" fmla="*/ 76153 w 193069"/>
                    <a:gd name="connsiteY25" fmla="*/ 278013 h 278017"/>
                    <a:gd name="connsiteX26" fmla="*/ 81431 w 193069"/>
                    <a:gd name="connsiteY26" fmla="*/ 277188 h 278017"/>
                    <a:gd name="connsiteX27" fmla="*/ 86378 w 193069"/>
                    <a:gd name="connsiteY27" fmla="*/ 240081 h 278017"/>
                    <a:gd name="connsiteX28" fmla="*/ 111116 w 193069"/>
                    <a:gd name="connsiteY28" fmla="*/ 220043 h 278017"/>
                    <a:gd name="connsiteX29" fmla="*/ 128433 w 193069"/>
                    <a:gd name="connsiteY29" fmla="*/ 194232 h 278017"/>
                    <a:gd name="connsiteX30" fmla="*/ 150739 w 193069"/>
                    <a:gd name="connsiteY30" fmla="*/ 223094 h 278017"/>
                    <a:gd name="connsiteX31" fmla="*/ 180466 w 193069"/>
                    <a:gd name="connsiteY31" fmla="*/ 228825 h 278017"/>
                    <a:gd name="connsiteX32" fmla="*/ 192835 w 193069"/>
                    <a:gd name="connsiteY32" fmla="*/ 174318 h 278017"/>
                    <a:gd name="connsiteX33" fmla="*/ 183064 w 193069"/>
                    <a:gd name="connsiteY33" fmla="*/ 125006 h 2780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</a:cxnLst>
                  <a:rect l="l" t="t" r="r" b="b"/>
                  <a:pathLst>
                    <a:path w="193069" h="278017">
                      <a:moveTo>
                        <a:pt x="183064" y="125006"/>
                      </a:moveTo>
                      <a:cubicBezTo>
                        <a:pt x="170695" y="116348"/>
                        <a:pt x="160799" y="96145"/>
                        <a:pt x="175683" y="87899"/>
                      </a:cubicBezTo>
                      <a:cubicBezTo>
                        <a:pt x="190568" y="79653"/>
                        <a:pt x="193001" y="62048"/>
                        <a:pt x="180631" y="50791"/>
                      </a:cubicBezTo>
                      <a:cubicBezTo>
                        <a:pt x="168262" y="39536"/>
                        <a:pt x="140967" y="62212"/>
                        <a:pt x="140967" y="50791"/>
                      </a:cubicBezTo>
                      <a:cubicBezTo>
                        <a:pt x="140967" y="44525"/>
                        <a:pt x="143194" y="21930"/>
                        <a:pt x="145090" y="2964"/>
                      </a:cubicBezTo>
                      <a:cubicBezTo>
                        <a:pt x="116229" y="1892"/>
                        <a:pt x="85512" y="-4"/>
                        <a:pt x="85512" y="-4"/>
                      </a:cubicBezTo>
                      <a:lnTo>
                        <a:pt x="78132" y="2470"/>
                      </a:lnTo>
                      <a:cubicBezTo>
                        <a:pt x="79204" y="22425"/>
                        <a:pt x="78627" y="42422"/>
                        <a:pt x="76483" y="62254"/>
                      </a:cubicBezTo>
                      <a:cubicBezTo>
                        <a:pt x="76483" y="62254"/>
                        <a:pt x="31913" y="65140"/>
                        <a:pt x="21976" y="65140"/>
                      </a:cubicBezTo>
                      <a:cubicBezTo>
                        <a:pt x="15750" y="65758"/>
                        <a:pt x="9566" y="66707"/>
                        <a:pt x="3464" y="67985"/>
                      </a:cubicBezTo>
                      <a:cubicBezTo>
                        <a:pt x="3052" y="68686"/>
                        <a:pt x="2557" y="69304"/>
                        <a:pt x="2103" y="70046"/>
                      </a:cubicBezTo>
                      <a:lnTo>
                        <a:pt x="2103" y="86538"/>
                      </a:lnTo>
                      <a:cubicBezTo>
                        <a:pt x="2103" y="87363"/>
                        <a:pt x="2103" y="88105"/>
                        <a:pt x="1856" y="88889"/>
                      </a:cubicBezTo>
                      <a:cubicBezTo>
                        <a:pt x="6103" y="92146"/>
                        <a:pt x="9566" y="96269"/>
                        <a:pt x="12081" y="101010"/>
                      </a:cubicBezTo>
                      <a:cubicBezTo>
                        <a:pt x="13689" y="105958"/>
                        <a:pt x="6556" y="107360"/>
                        <a:pt x="1" y="109834"/>
                      </a:cubicBezTo>
                      <a:cubicBezTo>
                        <a:pt x="1320" y="113957"/>
                        <a:pt x="2021" y="118286"/>
                        <a:pt x="2103" y="122615"/>
                      </a:cubicBezTo>
                      <a:lnTo>
                        <a:pt x="2103" y="136098"/>
                      </a:lnTo>
                      <a:cubicBezTo>
                        <a:pt x="2103" y="138324"/>
                        <a:pt x="1897" y="140592"/>
                        <a:pt x="1485" y="142777"/>
                      </a:cubicBezTo>
                      <a:cubicBezTo>
                        <a:pt x="3175" y="145045"/>
                        <a:pt x="4701" y="147436"/>
                        <a:pt x="5937" y="149992"/>
                      </a:cubicBezTo>
                      <a:cubicBezTo>
                        <a:pt x="7917" y="153950"/>
                        <a:pt x="9484" y="158073"/>
                        <a:pt x="10638" y="162361"/>
                      </a:cubicBezTo>
                      <a:cubicBezTo>
                        <a:pt x="16245" y="167969"/>
                        <a:pt x="20327" y="174937"/>
                        <a:pt x="22389" y="182606"/>
                      </a:cubicBezTo>
                      <a:cubicBezTo>
                        <a:pt x="22966" y="184997"/>
                        <a:pt x="23584" y="187388"/>
                        <a:pt x="24327" y="189780"/>
                      </a:cubicBezTo>
                      <a:cubicBezTo>
                        <a:pt x="25027" y="191346"/>
                        <a:pt x="25852" y="192872"/>
                        <a:pt x="26718" y="194356"/>
                      </a:cubicBezTo>
                      <a:cubicBezTo>
                        <a:pt x="31006" y="201654"/>
                        <a:pt x="32985" y="210065"/>
                        <a:pt x="32449" y="218517"/>
                      </a:cubicBezTo>
                      <a:cubicBezTo>
                        <a:pt x="44406" y="228495"/>
                        <a:pt x="56981" y="237772"/>
                        <a:pt x="65227" y="252903"/>
                      </a:cubicBezTo>
                      <a:cubicBezTo>
                        <a:pt x="69515" y="260985"/>
                        <a:pt x="73143" y="269395"/>
                        <a:pt x="76153" y="278013"/>
                      </a:cubicBezTo>
                      <a:cubicBezTo>
                        <a:pt x="77844" y="277477"/>
                        <a:pt x="79658" y="277188"/>
                        <a:pt x="81431" y="277188"/>
                      </a:cubicBezTo>
                      <a:cubicBezTo>
                        <a:pt x="101221" y="277188"/>
                        <a:pt x="93800" y="262881"/>
                        <a:pt x="86378" y="240081"/>
                      </a:cubicBezTo>
                      <a:cubicBezTo>
                        <a:pt x="78957" y="217280"/>
                        <a:pt x="98747" y="220043"/>
                        <a:pt x="111116" y="220043"/>
                      </a:cubicBezTo>
                      <a:cubicBezTo>
                        <a:pt x="123486" y="220043"/>
                        <a:pt x="118538" y="194232"/>
                        <a:pt x="128433" y="194232"/>
                      </a:cubicBezTo>
                      <a:cubicBezTo>
                        <a:pt x="138329" y="194232"/>
                        <a:pt x="140803" y="225774"/>
                        <a:pt x="150739" y="223094"/>
                      </a:cubicBezTo>
                      <a:cubicBezTo>
                        <a:pt x="160675" y="220414"/>
                        <a:pt x="168056" y="231670"/>
                        <a:pt x="180466" y="228825"/>
                      </a:cubicBezTo>
                      <a:cubicBezTo>
                        <a:pt x="192877" y="225980"/>
                        <a:pt x="192835" y="197242"/>
                        <a:pt x="192835" y="174318"/>
                      </a:cubicBezTo>
                      <a:cubicBezTo>
                        <a:pt x="192835" y="151394"/>
                        <a:pt x="195474" y="133583"/>
                        <a:pt x="183064" y="125006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52" name="Freeform: Shape 351">
                  <a:extLst>
                    <a:ext uri="{FF2B5EF4-FFF2-40B4-BE49-F238E27FC236}">
                      <a16:creationId xmlns:a16="http://schemas.microsoft.com/office/drawing/2014/main" id="{79B496BE-7DD2-3414-A12B-75689A0428EE}"/>
                    </a:ext>
                  </a:extLst>
                </p:cNvPr>
                <p:cNvSpPr/>
                <p:nvPr>
                  <p:custDataLst>
                    <p:tags r:id="rId353"/>
                  </p:custDataLst>
                </p:nvPr>
              </p:nvSpPr>
              <p:spPr>
                <a:xfrm>
                  <a:off x="7054610" y="5569751"/>
                  <a:ext cx="67122" cy="56248"/>
                </a:xfrm>
                <a:custGeom>
                  <a:avLst/>
                  <a:gdLst>
                    <a:gd name="connsiteX0" fmla="*/ 77844 w 78377"/>
                    <a:gd name="connsiteY0" fmla="*/ -4 h 65679"/>
                    <a:gd name="connsiteX1" fmla="*/ 67948 w 78377"/>
                    <a:gd name="connsiteY1" fmla="*/ 3253 h 65679"/>
                    <a:gd name="connsiteX2" fmla="*/ 29645 w 78377"/>
                    <a:gd name="connsiteY2" fmla="*/ 3253 h 65679"/>
                    <a:gd name="connsiteX3" fmla="*/ 14431 w 78377"/>
                    <a:gd name="connsiteY3" fmla="*/ 23456 h 65679"/>
                    <a:gd name="connsiteX4" fmla="*/ 3464 w 78377"/>
                    <a:gd name="connsiteY4" fmla="*/ 34794 h 65679"/>
                    <a:gd name="connsiteX5" fmla="*/ 331 w 78377"/>
                    <a:gd name="connsiteY5" fmla="*/ 36443 h 65679"/>
                    <a:gd name="connsiteX6" fmla="*/ 1 w 78377"/>
                    <a:gd name="connsiteY6" fmla="*/ 51987 h 65679"/>
                    <a:gd name="connsiteX7" fmla="*/ 289 w 78377"/>
                    <a:gd name="connsiteY7" fmla="*/ 52977 h 65679"/>
                    <a:gd name="connsiteX8" fmla="*/ 1691 w 78377"/>
                    <a:gd name="connsiteY8" fmla="*/ 53306 h 65679"/>
                    <a:gd name="connsiteX9" fmla="*/ 3175 w 78377"/>
                    <a:gd name="connsiteY9" fmla="*/ 65676 h 65679"/>
                    <a:gd name="connsiteX10" fmla="*/ 21688 w 78377"/>
                    <a:gd name="connsiteY10" fmla="*/ 62831 h 65679"/>
                    <a:gd name="connsiteX11" fmla="*/ 76194 w 78377"/>
                    <a:gd name="connsiteY11" fmla="*/ 59945 h 65679"/>
                    <a:gd name="connsiteX12" fmla="*/ 77844 w 78377"/>
                    <a:gd name="connsiteY12" fmla="*/ -4 h 656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78377" h="65679">
                      <a:moveTo>
                        <a:pt x="77844" y="-4"/>
                      </a:moveTo>
                      <a:lnTo>
                        <a:pt x="67948" y="3253"/>
                      </a:lnTo>
                      <a:lnTo>
                        <a:pt x="29645" y="3253"/>
                      </a:lnTo>
                      <a:cubicBezTo>
                        <a:pt x="26594" y="11293"/>
                        <a:pt x="21317" y="18302"/>
                        <a:pt x="14431" y="23456"/>
                      </a:cubicBezTo>
                      <a:cubicBezTo>
                        <a:pt x="12617" y="28651"/>
                        <a:pt x="8618" y="32815"/>
                        <a:pt x="3464" y="34794"/>
                      </a:cubicBezTo>
                      <a:cubicBezTo>
                        <a:pt x="2351" y="35248"/>
                        <a:pt x="1320" y="35784"/>
                        <a:pt x="331" y="36443"/>
                      </a:cubicBezTo>
                      <a:cubicBezTo>
                        <a:pt x="331" y="41391"/>
                        <a:pt x="331" y="46627"/>
                        <a:pt x="1" y="51987"/>
                      </a:cubicBezTo>
                      <a:cubicBezTo>
                        <a:pt x="1" y="52317"/>
                        <a:pt x="207" y="52647"/>
                        <a:pt x="289" y="52977"/>
                      </a:cubicBezTo>
                      <a:cubicBezTo>
                        <a:pt x="743" y="53142"/>
                        <a:pt x="1196" y="53266"/>
                        <a:pt x="1691" y="53306"/>
                      </a:cubicBezTo>
                      <a:cubicBezTo>
                        <a:pt x="7876" y="53760"/>
                        <a:pt x="6433" y="59615"/>
                        <a:pt x="3175" y="65676"/>
                      </a:cubicBezTo>
                      <a:cubicBezTo>
                        <a:pt x="9277" y="64398"/>
                        <a:pt x="15462" y="63450"/>
                        <a:pt x="21688" y="62831"/>
                      </a:cubicBezTo>
                      <a:cubicBezTo>
                        <a:pt x="31624" y="62831"/>
                        <a:pt x="76194" y="59945"/>
                        <a:pt x="76194" y="59945"/>
                      </a:cubicBezTo>
                      <a:cubicBezTo>
                        <a:pt x="78380" y="40030"/>
                        <a:pt x="78916" y="19992"/>
                        <a:pt x="77844" y="-4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53" name="Freeform: Shape 352">
                  <a:extLst>
                    <a:ext uri="{FF2B5EF4-FFF2-40B4-BE49-F238E27FC236}">
                      <a16:creationId xmlns:a16="http://schemas.microsoft.com/office/drawing/2014/main" id="{51A3665D-38B8-B5F8-F72D-A0F7B1571479}"/>
                    </a:ext>
                  </a:extLst>
                </p:cNvPr>
                <p:cNvSpPr/>
                <p:nvPr>
                  <p:custDataLst>
                    <p:tags r:id="rId354"/>
                  </p:custDataLst>
                </p:nvPr>
              </p:nvSpPr>
              <p:spPr>
                <a:xfrm>
                  <a:off x="7119722" y="5511312"/>
                  <a:ext cx="228830" cy="349742"/>
                </a:xfrm>
                <a:custGeom>
                  <a:avLst/>
                  <a:gdLst>
                    <a:gd name="connsiteX0" fmla="*/ 266143 w 267200"/>
                    <a:gd name="connsiteY0" fmla="*/ 5356 h 408387"/>
                    <a:gd name="connsiteX1" fmla="*/ 266143 w 267200"/>
                    <a:gd name="connsiteY1" fmla="*/ 5686 h 408387"/>
                    <a:gd name="connsiteX2" fmla="*/ 231550 w 267200"/>
                    <a:gd name="connsiteY2" fmla="*/ -4 h 408387"/>
                    <a:gd name="connsiteX3" fmla="*/ 214275 w 267200"/>
                    <a:gd name="connsiteY3" fmla="*/ 5686 h 408387"/>
                    <a:gd name="connsiteX4" fmla="*/ 192052 w 267200"/>
                    <a:gd name="connsiteY4" fmla="*/ 11417 h 408387"/>
                    <a:gd name="connsiteX5" fmla="*/ 184630 w 267200"/>
                    <a:gd name="connsiteY5" fmla="*/ 45721 h 408387"/>
                    <a:gd name="connsiteX6" fmla="*/ 172261 w 267200"/>
                    <a:gd name="connsiteY6" fmla="*/ 91528 h 408387"/>
                    <a:gd name="connsiteX7" fmla="*/ 115487 w 267200"/>
                    <a:gd name="connsiteY7" fmla="*/ 68645 h 408387"/>
                    <a:gd name="connsiteX8" fmla="*/ 68773 w 267200"/>
                    <a:gd name="connsiteY8" fmla="*/ 68645 h 408387"/>
                    <a:gd name="connsiteX9" fmla="*/ 64650 w 267200"/>
                    <a:gd name="connsiteY9" fmla="*/ 116472 h 408387"/>
                    <a:gd name="connsiteX10" fmla="*/ 104313 w 267200"/>
                    <a:gd name="connsiteY10" fmla="*/ 116472 h 408387"/>
                    <a:gd name="connsiteX11" fmla="*/ 99366 w 267200"/>
                    <a:gd name="connsiteY11" fmla="*/ 153579 h 408387"/>
                    <a:gd name="connsiteX12" fmla="*/ 106746 w 267200"/>
                    <a:gd name="connsiteY12" fmla="*/ 190687 h 408387"/>
                    <a:gd name="connsiteX13" fmla="*/ 116682 w 267200"/>
                    <a:gd name="connsiteY13" fmla="*/ 239421 h 408387"/>
                    <a:gd name="connsiteX14" fmla="*/ 104313 w 267200"/>
                    <a:gd name="connsiteY14" fmla="*/ 293928 h 408387"/>
                    <a:gd name="connsiteX15" fmla="*/ 74586 w 267200"/>
                    <a:gd name="connsiteY15" fmla="*/ 288197 h 408387"/>
                    <a:gd name="connsiteX16" fmla="*/ 52280 w 267200"/>
                    <a:gd name="connsiteY16" fmla="*/ 259335 h 408387"/>
                    <a:gd name="connsiteX17" fmla="*/ 34964 w 267200"/>
                    <a:gd name="connsiteY17" fmla="*/ 285146 h 408387"/>
                    <a:gd name="connsiteX18" fmla="*/ 10226 w 267200"/>
                    <a:gd name="connsiteY18" fmla="*/ 305184 h 408387"/>
                    <a:gd name="connsiteX19" fmla="*/ 5278 w 267200"/>
                    <a:gd name="connsiteY19" fmla="*/ 342291 h 408387"/>
                    <a:gd name="connsiteX20" fmla="*/ 1 w 267200"/>
                    <a:gd name="connsiteY20" fmla="*/ 343116 h 408387"/>
                    <a:gd name="connsiteX21" fmla="*/ 12617 w 267200"/>
                    <a:gd name="connsiteY21" fmla="*/ 385459 h 408387"/>
                    <a:gd name="connsiteX22" fmla="*/ 24698 w 267200"/>
                    <a:gd name="connsiteY22" fmla="*/ 408384 h 408387"/>
                    <a:gd name="connsiteX23" fmla="*/ 62258 w 267200"/>
                    <a:gd name="connsiteY23" fmla="*/ 385295 h 408387"/>
                    <a:gd name="connsiteX24" fmla="*/ 89470 w 267200"/>
                    <a:gd name="connsiteY24" fmla="*/ 388181 h 408387"/>
                    <a:gd name="connsiteX25" fmla="*/ 121672 w 267200"/>
                    <a:gd name="connsiteY25" fmla="*/ 391067 h 408387"/>
                    <a:gd name="connsiteX26" fmla="*/ 138988 w 267200"/>
                    <a:gd name="connsiteY26" fmla="*/ 388181 h 408387"/>
                    <a:gd name="connsiteX27" fmla="*/ 163727 w 267200"/>
                    <a:gd name="connsiteY27" fmla="*/ 362370 h 408387"/>
                    <a:gd name="connsiteX28" fmla="*/ 178569 w 267200"/>
                    <a:gd name="connsiteY28" fmla="*/ 327984 h 408387"/>
                    <a:gd name="connsiteX29" fmla="*/ 181043 w 267200"/>
                    <a:gd name="connsiteY29" fmla="*/ 250512 h 408387"/>
                    <a:gd name="connsiteX30" fmla="*/ 215718 w 267200"/>
                    <a:gd name="connsiteY30" fmla="*/ 198891 h 408387"/>
                    <a:gd name="connsiteX31" fmla="*/ 245445 w 267200"/>
                    <a:gd name="connsiteY31" fmla="*/ 101382 h 408387"/>
                    <a:gd name="connsiteX32" fmla="*/ 260330 w 267200"/>
                    <a:gd name="connsiteY32" fmla="*/ 52606 h 408387"/>
                    <a:gd name="connsiteX33" fmla="*/ 266143 w 267200"/>
                    <a:gd name="connsiteY33" fmla="*/ 5356 h 4083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</a:cxnLst>
                  <a:rect l="l" t="t" r="r" b="b"/>
                  <a:pathLst>
                    <a:path w="267200" h="408387">
                      <a:moveTo>
                        <a:pt x="266143" y="5356"/>
                      </a:moveTo>
                      <a:lnTo>
                        <a:pt x="266143" y="5686"/>
                      </a:lnTo>
                      <a:lnTo>
                        <a:pt x="231550" y="-4"/>
                      </a:lnTo>
                      <a:lnTo>
                        <a:pt x="214275" y="5686"/>
                      </a:lnTo>
                      <a:lnTo>
                        <a:pt x="192052" y="11417"/>
                      </a:lnTo>
                      <a:cubicBezTo>
                        <a:pt x="192052" y="11417"/>
                        <a:pt x="194526" y="31455"/>
                        <a:pt x="184630" y="45721"/>
                      </a:cubicBezTo>
                      <a:cubicBezTo>
                        <a:pt x="174735" y="59986"/>
                        <a:pt x="172261" y="91528"/>
                        <a:pt x="172261" y="91528"/>
                      </a:cubicBezTo>
                      <a:cubicBezTo>
                        <a:pt x="172261" y="91528"/>
                        <a:pt x="127815" y="65759"/>
                        <a:pt x="115487" y="68645"/>
                      </a:cubicBezTo>
                      <a:cubicBezTo>
                        <a:pt x="110168" y="69840"/>
                        <a:pt x="90089" y="69510"/>
                        <a:pt x="68773" y="68645"/>
                      </a:cubicBezTo>
                      <a:cubicBezTo>
                        <a:pt x="66752" y="87817"/>
                        <a:pt x="64650" y="110205"/>
                        <a:pt x="64650" y="116472"/>
                      </a:cubicBezTo>
                      <a:cubicBezTo>
                        <a:pt x="64650" y="127893"/>
                        <a:pt x="91903" y="104969"/>
                        <a:pt x="104313" y="116472"/>
                      </a:cubicBezTo>
                      <a:cubicBezTo>
                        <a:pt x="116724" y="127975"/>
                        <a:pt x="114209" y="145333"/>
                        <a:pt x="99366" y="153579"/>
                      </a:cubicBezTo>
                      <a:cubicBezTo>
                        <a:pt x="84523" y="161825"/>
                        <a:pt x="94377" y="182441"/>
                        <a:pt x="106746" y="190687"/>
                      </a:cubicBezTo>
                      <a:cubicBezTo>
                        <a:pt x="119115" y="198933"/>
                        <a:pt x="116682" y="216456"/>
                        <a:pt x="116682" y="239421"/>
                      </a:cubicBezTo>
                      <a:cubicBezTo>
                        <a:pt x="116682" y="262387"/>
                        <a:pt x="116682" y="291042"/>
                        <a:pt x="104313" y="293928"/>
                      </a:cubicBezTo>
                      <a:cubicBezTo>
                        <a:pt x="91944" y="296814"/>
                        <a:pt x="84482" y="285311"/>
                        <a:pt x="74586" y="288197"/>
                      </a:cubicBezTo>
                      <a:cubicBezTo>
                        <a:pt x="64691" y="291083"/>
                        <a:pt x="62217" y="259335"/>
                        <a:pt x="52280" y="259335"/>
                      </a:cubicBezTo>
                      <a:cubicBezTo>
                        <a:pt x="42344" y="259335"/>
                        <a:pt x="47374" y="285146"/>
                        <a:pt x="34964" y="285146"/>
                      </a:cubicBezTo>
                      <a:cubicBezTo>
                        <a:pt x="22553" y="285146"/>
                        <a:pt x="2763" y="282301"/>
                        <a:pt x="10226" y="305184"/>
                      </a:cubicBezTo>
                      <a:cubicBezTo>
                        <a:pt x="17688" y="328067"/>
                        <a:pt x="25068" y="342291"/>
                        <a:pt x="5278" y="342291"/>
                      </a:cubicBezTo>
                      <a:cubicBezTo>
                        <a:pt x="3505" y="342291"/>
                        <a:pt x="1691" y="342580"/>
                        <a:pt x="1" y="343116"/>
                      </a:cubicBezTo>
                      <a:cubicBezTo>
                        <a:pt x="4948" y="356928"/>
                        <a:pt x="8741" y="371318"/>
                        <a:pt x="12617" y="385459"/>
                      </a:cubicBezTo>
                      <a:cubicBezTo>
                        <a:pt x="17317" y="392716"/>
                        <a:pt x="21358" y="400385"/>
                        <a:pt x="24698" y="408384"/>
                      </a:cubicBezTo>
                      <a:cubicBezTo>
                        <a:pt x="41190" y="395355"/>
                        <a:pt x="58135" y="383645"/>
                        <a:pt x="62258" y="385295"/>
                      </a:cubicBezTo>
                      <a:cubicBezTo>
                        <a:pt x="69680" y="388181"/>
                        <a:pt x="74628" y="402529"/>
                        <a:pt x="89470" y="388181"/>
                      </a:cubicBezTo>
                      <a:cubicBezTo>
                        <a:pt x="104313" y="373833"/>
                        <a:pt x="121672" y="376718"/>
                        <a:pt x="121672" y="391067"/>
                      </a:cubicBezTo>
                      <a:cubicBezTo>
                        <a:pt x="121672" y="405415"/>
                        <a:pt x="126619" y="402529"/>
                        <a:pt x="138988" y="388181"/>
                      </a:cubicBezTo>
                      <a:cubicBezTo>
                        <a:pt x="151357" y="373833"/>
                        <a:pt x="163727" y="391067"/>
                        <a:pt x="163727" y="362370"/>
                      </a:cubicBezTo>
                      <a:cubicBezTo>
                        <a:pt x="163727" y="333674"/>
                        <a:pt x="178569" y="359526"/>
                        <a:pt x="178569" y="327984"/>
                      </a:cubicBezTo>
                      <a:cubicBezTo>
                        <a:pt x="178569" y="296443"/>
                        <a:pt x="181043" y="264819"/>
                        <a:pt x="181043" y="250512"/>
                      </a:cubicBezTo>
                      <a:cubicBezTo>
                        <a:pt x="181043" y="236205"/>
                        <a:pt x="215718" y="221651"/>
                        <a:pt x="215718" y="198891"/>
                      </a:cubicBezTo>
                      <a:cubicBezTo>
                        <a:pt x="215718" y="176133"/>
                        <a:pt x="245445" y="130078"/>
                        <a:pt x="245445" y="101382"/>
                      </a:cubicBezTo>
                      <a:cubicBezTo>
                        <a:pt x="245445" y="72685"/>
                        <a:pt x="252908" y="66954"/>
                        <a:pt x="260330" y="52606"/>
                      </a:cubicBezTo>
                      <a:cubicBezTo>
                        <a:pt x="266679" y="37722"/>
                        <a:pt x="268658" y="21353"/>
                        <a:pt x="266143" y="5356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54" name="Freeform: Shape 353">
                  <a:extLst>
                    <a:ext uri="{FF2B5EF4-FFF2-40B4-BE49-F238E27FC236}">
                      <a16:creationId xmlns:a16="http://schemas.microsoft.com/office/drawing/2014/main" id="{60FFDDF4-AFED-2D91-D177-2CA20ED5E9B1}"/>
                    </a:ext>
                  </a:extLst>
                </p:cNvPr>
                <p:cNvSpPr/>
                <p:nvPr>
                  <p:custDataLst>
                    <p:tags r:id="rId355"/>
                  </p:custDataLst>
                </p:nvPr>
              </p:nvSpPr>
              <p:spPr>
                <a:xfrm>
                  <a:off x="7462964" y="4708157"/>
                  <a:ext cx="561145" cy="808068"/>
                </a:xfrm>
                <a:custGeom>
                  <a:avLst/>
                  <a:gdLst>
                    <a:gd name="connsiteX0" fmla="*/ 518065 w 655238"/>
                    <a:gd name="connsiteY0" fmla="*/ 18096 h 943565"/>
                    <a:gd name="connsiteX1" fmla="*/ 492007 w 655238"/>
                    <a:gd name="connsiteY1" fmla="*/ 51080 h 943565"/>
                    <a:gd name="connsiteX2" fmla="*/ 468300 w 655238"/>
                    <a:gd name="connsiteY2" fmla="*/ 73056 h 943565"/>
                    <a:gd name="connsiteX3" fmla="*/ 446984 w 655238"/>
                    <a:gd name="connsiteY3" fmla="*/ 59326 h 943565"/>
                    <a:gd name="connsiteX4" fmla="*/ 394868 w 655238"/>
                    <a:gd name="connsiteY4" fmla="*/ 59326 h 943565"/>
                    <a:gd name="connsiteX5" fmla="*/ 375903 w 655238"/>
                    <a:gd name="connsiteY5" fmla="*/ 51080 h 943565"/>
                    <a:gd name="connsiteX6" fmla="*/ 361678 w 655238"/>
                    <a:gd name="connsiteY6" fmla="*/ 62089 h 943565"/>
                    <a:gd name="connsiteX7" fmla="*/ 117346 w 655238"/>
                    <a:gd name="connsiteY7" fmla="*/ 62089 h 943565"/>
                    <a:gd name="connsiteX8" fmla="*/ 117346 w 655238"/>
                    <a:gd name="connsiteY8" fmla="*/ 159599 h 943565"/>
                    <a:gd name="connsiteX9" fmla="*/ 80239 w 655238"/>
                    <a:gd name="connsiteY9" fmla="*/ 159599 h 943565"/>
                    <a:gd name="connsiteX10" fmla="*/ 80239 w 655238"/>
                    <a:gd name="connsiteY10" fmla="*/ 311245 h 943565"/>
                    <a:gd name="connsiteX11" fmla="*/ 75291 w 655238"/>
                    <a:gd name="connsiteY11" fmla="*/ 359897 h 943565"/>
                    <a:gd name="connsiteX12" fmla="*/ 40699 w 655238"/>
                    <a:gd name="connsiteY12" fmla="*/ 385624 h 943565"/>
                    <a:gd name="connsiteX13" fmla="*/ 25897 w 655238"/>
                    <a:gd name="connsiteY13" fmla="*/ 414238 h 943565"/>
                    <a:gd name="connsiteX14" fmla="*/ 8580 w 655238"/>
                    <a:gd name="connsiteY14" fmla="*/ 448583 h 943565"/>
                    <a:gd name="connsiteX15" fmla="*/ 6106 w 655238"/>
                    <a:gd name="connsiteY15" fmla="*/ 482928 h 943565"/>
                    <a:gd name="connsiteX16" fmla="*/ 11054 w 655238"/>
                    <a:gd name="connsiteY16" fmla="*/ 508697 h 943565"/>
                    <a:gd name="connsiteX17" fmla="*/ 18475 w 655238"/>
                    <a:gd name="connsiteY17" fmla="*/ 543001 h 943565"/>
                    <a:gd name="connsiteX18" fmla="*/ 38225 w 655238"/>
                    <a:gd name="connsiteY18" fmla="*/ 571615 h 943565"/>
                    <a:gd name="connsiteX19" fmla="*/ 33277 w 655238"/>
                    <a:gd name="connsiteY19" fmla="*/ 591653 h 943565"/>
                    <a:gd name="connsiteX20" fmla="*/ 62963 w 655238"/>
                    <a:gd name="connsiteY20" fmla="*/ 637419 h 943565"/>
                    <a:gd name="connsiteX21" fmla="*/ 65437 w 655238"/>
                    <a:gd name="connsiteY21" fmla="*/ 677495 h 943565"/>
                    <a:gd name="connsiteX22" fmla="*/ 60448 w 655238"/>
                    <a:gd name="connsiteY22" fmla="*/ 694647 h 943565"/>
                    <a:gd name="connsiteX23" fmla="*/ 77765 w 655238"/>
                    <a:gd name="connsiteY23" fmla="*/ 697533 h 943565"/>
                    <a:gd name="connsiteX24" fmla="*/ 82713 w 655238"/>
                    <a:gd name="connsiteY24" fmla="*/ 711840 h 943565"/>
                    <a:gd name="connsiteX25" fmla="*/ 114831 w 655238"/>
                    <a:gd name="connsiteY25" fmla="*/ 728992 h 943565"/>
                    <a:gd name="connsiteX26" fmla="*/ 132148 w 655238"/>
                    <a:gd name="connsiteY26" fmla="*/ 757564 h 943565"/>
                    <a:gd name="connsiteX27" fmla="*/ 156886 w 655238"/>
                    <a:gd name="connsiteY27" fmla="*/ 783333 h 943565"/>
                    <a:gd name="connsiteX28" fmla="*/ 171647 w 655238"/>
                    <a:gd name="connsiteY28" fmla="*/ 814833 h 943565"/>
                    <a:gd name="connsiteX29" fmla="*/ 198859 w 655238"/>
                    <a:gd name="connsiteY29" fmla="*/ 837717 h 943565"/>
                    <a:gd name="connsiteX30" fmla="*/ 208094 w 655238"/>
                    <a:gd name="connsiteY30" fmla="*/ 864434 h 943565"/>
                    <a:gd name="connsiteX31" fmla="*/ 218484 w 655238"/>
                    <a:gd name="connsiteY31" fmla="*/ 876555 h 943565"/>
                    <a:gd name="connsiteX32" fmla="*/ 235801 w 655238"/>
                    <a:gd name="connsiteY32" fmla="*/ 899521 h 943565"/>
                    <a:gd name="connsiteX33" fmla="*/ 260539 w 655238"/>
                    <a:gd name="connsiteY33" fmla="*/ 899521 h 943565"/>
                    <a:gd name="connsiteX34" fmla="*/ 282804 w 655238"/>
                    <a:gd name="connsiteY34" fmla="*/ 902407 h 943565"/>
                    <a:gd name="connsiteX35" fmla="*/ 302636 w 655238"/>
                    <a:gd name="connsiteY35" fmla="*/ 896635 h 943565"/>
                    <a:gd name="connsiteX36" fmla="*/ 348938 w 655238"/>
                    <a:gd name="connsiteY36" fmla="*/ 941988 h 943565"/>
                    <a:gd name="connsiteX37" fmla="*/ 378541 w 655238"/>
                    <a:gd name="connsiteY37" fmla="*/ 931928 h 943565"/>
                    <a:gd name="connsiteX38" fmla="*/ 403280 w 655238"/>
                    <a:gd name="connsiteY38" fmla="*/ 942236 h 943565"/>
                    <a:gd name="connsiteX39" fmla="*/ 432594 w 655238"/>
                    <a:gd name="connsiteY39" fmla="*/ 930897 h 943565"/>
                    <a:gd name="connsiteX40" fmla="*/ 457333 w 655238"/>
                    <a:gd name="connsiteY40" fmla="*/ 928877 h 943565"/>
                    <a:gd name="connsiteX41" fmla="*/ 470897 w 655238"/>
                    <a:gd name="connsiteY41" fmla="*/ 913828 h 943565"/>
                    <a:gd name="connsiteX42" fmla="*/ 476010 w 655238"/>
                    <a:gd name="connsiteY42" fmla="*/ 906242 h 943565"/>
                    <a:gd name="connsiteX43" fmla="*/ 507963 w 655238"/>
                    <a:gd name="connsiteY43" fmla="*/ 881503 h 943565"/>
                    <a:gd name="connsiteX44" fmla="*/ 532001 w 655238"/>
                    <a:gd name="connsiteY44" fmla="*/ 884596 h 943565"/>
                    <a:gd name="connsiteX45" fmla="*/ 541978 w 655238"/>
                    <a:gd name="connsiteY45" fmla="*/ 891646 h 943565"/>
                    <a:gd name="connsiteX46" fmla="*/ 542638 w 655238"/>
                    <a:gd name="connsiteY46" fmla="*/ 850910 h 943565"/>
                    <a:gd name="connsiteX47" fmla="*/ 505531 w 655238"/>
                    <a:gd name="connsiteY47" fmla="*/ 816483 h 943565"/>
                    <a:gd name="connsiteX48" fmla="*/ 470856 w 655238"/>
                    <a:gd name="connsiteY48" fmla="*/ 764821 h 943565"/>
                    <a:gd name="connsiteX49" fmla="*/ 433749 w 655238"/>
                    <a:gd name="connsiteY49" fmla="*/ 741896 h 943565"/>
                    <a:gd name="connsiteX50" fmla="*/ 441170 w 655238"/>
                    <a:gd name="connsiteY50" fmla="*/ 716087 h 943565"/>
                    <a:gd name="connsiteX51" fmla="*/ 473371 w 655238"/>
                    <a:gd name="connsiteY51" fmla="*/ 707469 h 943565"/>
                    <a:gd name="connsiteX52" fmla="*/ 478319 w 655238"/>
                    <a:gd name="connsiteY52" fmla="*/ 655849 h 943565"/>
                    <a:gd name="connsiteX53" fmla="*/ 490688 w 655238"/>
                    <a:gd name="connsiteY53" fmla="*/ 612804 h 943565"/>
                    <a:gd name="connsiteX54" fmla="*/ 508046 w 655238"/>
                    <a:gd name="connsiteY54" fmla="*/ 592766 h 943565"/>
                    <a:gd name="connsiteX55" fmla="*/ 520415 w 655238"/>
                    <a:gd name="connsiteY55" fmla="*/ 546835 h 943565"/>
                    <a:gd name="connsiteX56" fmla="*/ 545153 w 655238"/>
                    <a:gd name="connsiteY56" fmla="*/ 512449 h 943565"/>
                    <a:gd name="connsiteX57" fmla="*/ 562470 w 655238"/>
                    <a:gd name="connsiteY57" fmla="*/ 489484 h 943565"/>
                    <a:gd name="connsiteX58" fmla="*/ 577355 w 655238"/>
                    <a:gd name="connsiteY58" fmla="*/ 434977 h 943565"/>
                    <a:gd name="connsiteX59" fmla="*/ 579828 w 655238"/>
                    <a:gd name="connsiteY59" fmla="*/ 371894 h 943565"/>
                    <a:gd name="connsiteX60" fmla="*/ 594671 w 655238"/>
                    <a:gd name="connsiteY60" fmla="*/ 326005 h 943565"/>
                    <a:gd name="connsiteX61" fmla="*/ 616977 w 655238"/>
                    <a:gd name="connsiteY61" fmla="*/ 300195 h 943565"/>
                    <a:gd name="connsiteX62" fmla="*/ 655239 w 655238"/>
                    <a:gd name="connsiteY62" fmla="*/ 258965 h 943565"/>
                    <a:gd name="connsiteX63" fmla="*/ 630501 w 655238"/>
                    <a:gd name="connsiteY63" fmla="*/ 232371 h 943565"/>
                    <a:gd name="connsiteX64" fmla="*/ 606834 w 655238"/>
                    <a:gd name="connsiteY64" fmla="*/ 159681 h 943565"/>
                    <a:gd name="connsiteX65" fmla="*/ 597929 w 655238"/>
                    <a:gd name="connsiteY65" fmla="*/ 82869 h 943565"/>
                    <a:gd name="connsiteX66" fmla="*/ 563006 w 655238"/>
                    <a:gd name="connsiteY66" fmla="*/ 34835 h 943565"/>
                    <a:gd name="connsiteX67" fmla="*/ 540618 w 655238"/>
                    <a:gd name="connsiteY67" fmla="*/ -4 h 943565"/>
                    <a:gd name="connsiteX68" fmla="*/ 539299 w 655238"/>
                    <a:gd name="connsiteY68" fmla="*/ 1933 h 943565"/>
                    <a:gd name="connsiteX69" fmla="*/ 518065 w 655238"/>
                    <a:gd name="connsiteY69" fmla="*/ 18096 h 9435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</a:cxnLst>
                  <a:rect l="l" t="t" r="r" b="b"/>
                  <a:pathLst>
                    <a:path w="655238" h="943564">
                      <a:moveTo>
                        <a:pt x="518065" y="18096"/>
                      </a:moveTo>
                      <a:cubicBezTo>
                        <a:pt x="506232" y="18096"/>
                        <a:pt x="510932" y="51080"/>
                        <a:pt x="492007" y="51080"/>
                      </a:cubicBezTo>
                      <a:cubicBezTo>
                        <a:pt x="473083" y="51080"/>
                        <a:pt x="480174" y="73056"/>
                        <a:pt x="468300" y="73056"/>
                      </a:cubicBezTo>
                      <a:cubicBezTo>
                        <a:pt x="456425" y="73056"/>
                        <a:pt x="446984" y="59326"/>
                        <a:pt x="446984" y="59326"/>
                      </a:cubicBezTo>
                      <a:lnTo>
                        <a:pt x="394868" y="59326"/>
                      </a:lnTo>
                      <a:cubicBezTo>
                        <a:pt x="394868" y="59326"/>
                        <a:pt x="383035" y="45638"/>
                        <a:pt x="375903" y="51080"/>
                      </a:cubicBezTo>
                      <a:lnTo>
                        <a:pt x="361678" y="62089"/>
                      </a:lnTo>
                      <a:lnTo>
                        <a:pt x="117346" y="62089"/>
                      </a:lnTo>
                      <a:lnTo>
                        <a:pt x="117346" y="159599"/>
                      </a:lnTo>
                      <a:lnTo>
                        <a:pt x="80239" y="159599"/>
                      </a:lnTo>
                      <a:lnTo>
                        <a:pt x="80239" y="311245"/>
                      </a:lnTo>
                      <a:cubicBezTo>
                        <a:pt x="80239" y="311245"/>
                        <a:pt x="82713" y="357051"/>
                        <a:pt x="75291" y="359897"/>
                      </a:cubicBezTo>
                      <a:cubicBezTo>
                        <a:pt x="67869" y="362741"/>
                        <a:pt x="40699" y="371318"/>
                        <a:pt x="40699" y="385624"/>
                      </a:cubicBezTo>
                      <a:cubicBezTo>
                        <a:pt x="40699" y="399931"/>
                        <a:pt x="38225" y="411393"/>
                        <a:pt x="25897" y="414238"/>
                      </a:cubicBezTo>
                      <a:cubicBezTo>
                        <a:pt x="13569" y="417083"/>
                        <a:pt x="25897" y="448583"/>
                        <a:pt x="8580" y="448583"/>
                      </a:cubicBezTo>
                      <a:cubicBezTo>
                        <a:pt x="-8737" y="448583"/>
                        <a:pt x="16002" y="471466"/>
                        <a:pt x="6106" y="482928"/>
                      </a:cubicBezTo>
                      <a:cubicBezTo>
                        <a:pt x="-3789" y="494390"/>
                        <a:pt x="-1315" y="508697"/>
                        <a:pt x="11054" y="508697"/>
                      </a:cubicBezTo>
                      <a:cubicBezTo>
                        <a:pt x="23423" y="508697"/>
                        <a:pt x="18475" y="525808"/>
                        <a:pt x="18475" y="543001"/>
                      </a:cubicBezTo>
                      <a:cubicBezTo>
                        <a:pt x="18475" y="560194"/>
                        <a:pt x="38225" y="571615"/>
                        <a:pt x="38225" y="571615"/>
                      </a:cubicBezTo>
                      <a:lnTo>
                        <a:pt x="33277" y="591653"/>
                      </a:lnTo>
                      <a:cubicBezTo>
                        <a:pt x="33277" y="591653"/>
                        <a:pt x="60448" y="628760"/>
                        <a:pt x="62963" y="637419"/>
                      </a:cubicBezTo>
                      <a:cubicBezTo>
                        <a:pt x="65478" y="646077"/>
                        <a:pt x="80239" y="668919"/>
                        <a:pt x="65437" y="677495"/>
                      </a:cubicBezTo>
                      <a:cubicBezTo>
                        <a:pt x="50635" y="686071"/>
                        <a:pt x="60448" y="694647"/>
                        <a:pt x="60448" y="694647"/>
                      </a:cubicBezTo>
                      <a:lnTo>
                        <a:pt x="77765" y="697533"/>
                      </a:lnTo>
                      <a:lnTo>
                        <a:pt x="82713" y="711840"/>
                      </a:lnTo>
                      <a:cubicBezTo>
                        <a:pt x="95453" y="712458"/>
                        <a:pt x="107245" y="718766"/>
                        <a:pt x="114831" y="728992"/>
                      </a:cubicBezTo>
                      <a:cubicBezTo>
                        <a:pt x="127200" y="746143"/>
                        <a:pt x="132148" y="748989"/>
                        <a:pt x="132148" y="757564"/>
                      </a:cubicBezTo>
                      <a:cubicBezTo>
                        <a:pt x="132148" y="766140"/>
                        <a:pt x="142002" y="769026"/>
                        <a:pt x="156886" y="783333"/>
                      </a:cubicBezTo>
                      <a:cubicBezTo>
                        <a:pt x="171771" y="797640"/>
                        <a:pt x="171647" y="806216"/>
                        <a:pt x="171647" y="814833"/>
                      </a:cubicBezTo>
                      <a:cubicBezTo>
                        <a:pt x="171647" y="823450"/>
                        <a:pt x="198859" y="837717"/>
                        <a:pt x="198859" y="837717"/>
                      </a:cubicBezTo>
                      <a:lnTo>
                        <a:pt x="208094" y="864434"/>
                      </a:lnTo>
                      <a:cubicBezTo>
                        <a:pt x="212918" y="867073"/>
                        <a:pt x="216629" y="871360"/>
                        <a:pt x="218484" y="876555"/>
                      </a:cubicBezTo>
                      <a:cubicBezTo>
                        <a:pt x="221948" y="885708"/>
                        <a:pt x="227968" y="893666"/>
                        <a:pt x="235801" y="899521"/>
                      </a:cubicBezTo>
                      <a:cubicBezTo>
                        <a:pt x="235801" y="899521"/>
                        <a:pt x="250686" y="910983"/>
                        <a:pt x="260539" y="899521"/>
                      </a:cubicBezTo>
                      <a:cubicBezTo>
                        <a:pt x="270393" y="888059"/>
                        <a:pt x="282804" y="902407"/>
                        <a:pt x="282804" y="902407"/>
                      </a:cubicBezTo>
                      <a:cubicBezTo>
                        <a:pt x="282804" y="902407"/>
                        <a:pt x="295173" y="890945"/>
                        <a:pt x="302636" y="896635"/>
                      </a:cubicBezTo>
                      <a:cubicBezTo>
                        <a:pt x="307666" y="900758"/>
                        <a:pt x="329765" y="921373"/>
                        <a:pt x="348938" y="941988"/>
                      </a:cubicBezTo>
                      <a:cubicBezTo>
                        <a:pt x="351782" y="940793"/>
                        <a:pt x="370336" y="932876"/>
                        <a:pt x="378541" y="931928"/>
                      </a:cubicBezTo>
                      <a:cubicBezTo>
                        <a:pt x="387406" y="930897"/>
                        <a:pt x="399857" y="948420"/>
                        <a:pt x="403280" y="942236"/>
                      </a:cubicBezTo>
                      <a:cubicBezTo>
                        <a:pt x="406702" y="936051"/>
                        <a:pt x="425502" y="926774"/>
                        <a:pt x="432594" y="930897"/>
                      </a:cubicBezTo>
                      <a:cubicBezTo>
                        <a:pt x="439686" y="935020"/>
                        <a:pt x="456590" y="936051"/>
                        <a:pt x="457333" y="928877"/>
                      </a:cubicBezTo>
                      <a:cubicBezTo>
                        <a:pt x="457951" y="923970"/>
                        <a:pt x="465579" y="919023"/>
                        <a:pt x="470897" y="913828"/>
                      </a:cubicBezTo>
                      <a:cubicBezTo>
                        <a:pt x="473248" y="911808"/>
                        <a:pt x="475020" y="909210"/>
                        <a:pt x="476010" y="906242"/>
                      </a:cubicBezTo>
                      <a:cubicBezTo>
                        <a:pt x="477783" y="897995"/>
                        <a:pt x="499099" y="883565"/>
                        <a:pt x="507963" y="881503"/>
                      </a:cubicBezTo>
                      <a:cubicBezTo>
                        <a:pt x="516828" y="879442"/>
                        <a:pt x="527548" y="878452"/>
                        <a:pt x="532001" y="884596"/>
                      </a:cubicBezTo>
                      <a:cubicBezTo>
                        <a:pt x="534722" y="887688"/>
                        <a:pt x="538144" y="890120"/>
                        <a:pt x="541978" y="891646"/>
                      </a:cubicBezTo>
                      <a:cubicBezTo>
                        <a:pt x="544989" y="865299"/>
                        <a:pt x="550225" y="850910"/>
                        <a:pt x="542638" y="850910"/>
                      </a:cubicBezTo>
                      <a:cubicBezTo>
                        <a:pt x="532743" y="850910"/>
                        <a:pt x="512911" y="839448"/>
                        <a:pt x="505531" y="816483"/>
                      </a:cubicBezTo>
                      <a:cubicBezTo>
                        <a:pt x="498150" y="793517"/>
                        <a:pt x="475804" y="779375"/>
                        <a:pt x="470856" y="764821"/>
                      </a:cubicBezTo>
                      <a:cubicBezTo>
                        <a:pt x="465908" y="750266"/>
                        <a:pt x="438655" y="753400"/>
                        <a:pt x="433749" y="741896"/>
                      </a:cubicBezTo>
                      <a:cubicBezTo>
                        <a:pt x="428842" y="730394"/>
                        <a:pt x="441170" y="730435"/>
                        <a:pt x="441170" y="716087"/>
                      </a:cubicBezTo>
                      <a:cubicBezTo>
                        <a:pt x="441170" y="701738"/>
                        <a:pt x="470897" y="710356"/>
                        <a:pt x="473371" y="707469"/>
                      </a:cubicBezTo>
                      <a:cubicBezTo>
                        <a:pt x="475845" y="704583"/>
                        <a:pt x="478319" y="673083"/>
                        <a:pt x="478319" y="655849"/>
                      </a:cubicBezTo>
                      <a:cubicBezTo>
                        <a:pt x="478319" y="638614"/>
                        <a:pt x="498150" y="621462"/>
                        <a:pt x="490688" y="612804"/>
                      </a:cubicBezTo>
                      <a:cubicBezTo>
                        <a:pt x="483225" y="604146"/>
                        <a:pt x="498150" y="601383"/>
                        <a:pt x="508046" y="592766"/>
                      </a:cubicBezTo>
                      <a:cubicBezTo>
                        <a:pt x="517941" y="584149"/>
                        <a:pt x="510520" y="558339"/>
                        <a:pt x="520415" y="546835"/>
                      </a:cubicBezTo>
                      <a:cubicBezTo>
                        <a:pt x="530310" y="535332"/>
                        <a:pt x="537773" y="512449"/>
                        <a:pt x="545153" y="512449"/>
                      </a:cubicBezTo>
                      <a:cubicBezTo>
                        <a:pt x="552534" y="512449"/>
                        <a:pt x="562470" y="500946"/>
                        <a:pt x="562470" y="489484"/>
                      </a:cubicBezTo>
                      <a:cubicBezTo>
                        <a:pt x="562470" y="478022"/>
                        <a:pt x="579828" y="455098"/>
                        <a:pt x="577355" y="434977"/>
                      </a:cubicBezTo>
                      <a:cubicBezTo>
                        <a:pt x="574881" y="414857"/>
                        <a:pt x="567459" y="389129"/>
                        <a:pt x="579828" y="371894"/>
                      </a:cubicBezTo>
                      <a:cubicBezTo>
                        <a:pt x="592197" y="354660"/>
                        <a:pt x="597145" y="340353"/>
                        <a:pt x="594671" y="326005"/>
                      </a:cubicBezTo>
                      <a:cubicBezTo>
                        <a:pt x="592197" y="311657"/>
                        <a:pt x="609514" y="308812"/>
                        <a:pt x="616977" y="300195"/>
                      </a:cubicBezTo>
                      <a:cubicBezTo>
                        <a:pt x="622213" y="294092"/>
                        <a:pt x="641138" y="285022"/>
                        <a:pt x="655239" y="258965"/>
                      </a:cubicBezTo>
                      <a:cubicBezTo>
                        <a:pt x="646209" y="246183"/>
                        <a:pt x="636561" y="235669"/>
                        <a:pt x="630501" y="232371"/>
                      </a:cubicBezTo>
                      <a:cubicBezTo>
                        <a:pt x="616276" y="224867"/>
                        <a:pt x="606834" y="196047"/>
                        <a:pt x="606834" y="159681"/>
                      </a:cubicBezTo>
                      <a:cubicBezTo>
                        <a:pt x="606834" y="123316"/>
                        <a:pt x="599124" y="94496"/>
                        <a:pt x="597929" y="82869"/>
                      </a:cubicBezTo>
                      <a:cubicBezTo>
                        <a:pt x="596733" y="71242"/>
                        <a:pt x="581436" y="46504"/>
                        <a:pt x="563006" y="34835"/>
                      </a:cubicBezTo>
                      <a:cubicBezTo>
                        <a:pt x="550719" y="27125"/>
                        <a:pt x="542515" y="14385"/>
                        <a:pt x="540618" y="-4"/>
                      </a:cubicBezTo>
                      <a:cubicBezTo>
                        <a:pt x="540247" y="573"/>
                        <a:pt x="539629" y="1315"/>
                        <a:pt x="539299" y="1933"/>
                      </a:cubicBezTo>
                      <a:cubicBezTo>
                        <a:pt x="527754" y="20899"/>
                        <a:pt x="529898" y="18096"/>
                        <a:pt x="518065" y="18096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55" name="Freeform: Shape 354">
                  <a:extLst>
                    <a:ext uri="{FF2B5EF4-FFF2-40B4-BE49-F238E27FC236}">
                      <a16:creationId xmlns:a16="http://schemas.microsoft.com/office/drawing/2014/main" id="{811EAE5F-3770-13F2-5DF0-A7DC3FFE4408}"/>
                    </a:ext>
                  </a:extLst>
                </p:cNvPr>
                <p:cNvSpPr/>
                <p:nvPr>
                  <p:custDataLst>
                    <p:tags r:id="rId356"/>
                  </p:custDataLst>
                </p:nvPr>
              </p:nvSpPr>
              <p:spPr>
                <a:xfrm>
                  <a:off x="8134944" y="5148258"/>
                  <a:ext cx="59555" cy="75209"/>
                </a:xfrm>
                <a:custGeom>
                  <a:avLst/>
                  <a:gdLst>
                    <a:gd name="connsiteX0" fmla="*/ 24410 w 69541"/>
                    <a:gd name="connsiteY0" fmla="*/ 10386 h 87820"/>
                    <a:gd name="connsiteX1" fmla="*/ 4949 w 69541"/>
                    <a:gd name="connsiteY1" fmla="*/ 42669 h 87820"/>
                    <a:gd name="connsiteX2" fmla="*/ 3712 w 69541"/>
                    <a:gd name="connsiteY2" fmla="*/ 81673 h 87820"/>
                    <a:gd name="connsiteX3" fmla="*/ 26183 w 69541"/>
                    <a:gd name="connsiteY3" fmla="*/ 80230 h 87820"/>
                    <a:gd name="connsiteX4" fmla="*/ 45066 w 69541"/>
                    <a:gd name="connsiteY4" fmla="*/ 87816 h 87820"/>
                    <a:gd name="connsiteX5" fmla="*/ 61559 w 69541"/>
                    <a:gd name="connsiteY5" fmla="*/ 64892 h 87820"/>
                    <a:gd name="connsiteX6" fmla="*/ 40119 w 69541"/>
                    <a:gd name="connsiteY6" fmla="*/ 54337 h 87820"/>
                    <a:gd name="connsiteX7" fmla="*/ 63207 w 69541"/>
                    <a:gd name="connsiteY7" fmla="*/ 33104 h 87820"/>
                    <a:gd name="connsiteX8" fmla="*/ 59662 w 69541"/>
                    <a:gd name="connsiteY8" fmla="*/ 5644 h 87820"/>
                    <a:gd name="connsiteX9" fmla="*/ 54343 w 69541"/>
                    <a:gd name="connsiteY9" fmla="*/ -4 h 87820"/>
                    <a:gd name="connsiteX10" fmla="*/ 43500 w 69541"/>
                    <a:gd name="connsiteY10" fmla="*/ 8778 h 87820"/>
                    <a:gd name="connsiteX11" fmla="*/ 24410 w 69541"/>
                    <a:gd name="connsiteY11" fmla="*/ 10386 h 878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69541" h="87820">
                      <a:moveTo>
                        <a:pt x="24410" y="10386"/>
                      </a:moveTo>
                      <a:cubicBezTo>
                        <a:pt x="18638" y="21559"/>
                        <a:pt x="12165" y="32362"/>
                        <a:pt x="4949" y="42669"/>
                      </a:cubicBezTo>
                      <a:cubicBezTo>
                        <a:pt x="-3792" y="54214"/>
                        <a:pt x="1197" y="75901"/>
                        <a:pt x="3712" y="81673"/>
                      </a:cubicBezTo>
                      <a:cubicBezTo>
                        <a:pt x="6227" y="87445"/>
                        <a:pt x="18679" y="86044"/>
                        <a:pt x="26183" y="80230"/>
                      </a:cubicBezTo>
                      <a:cubicBezTo>
                        <a:pt x="31997" y="75736"/>
                        <a:pt x="36366" y="78334"/>
                        <a:pt x="45066" y="87816"/>
                      </a:cubicBezTo>
                      <a:cubicBezTo>
                        <a:pt x="50014" y="79777"/>
                        <a:pt x="55498" y="72108"/>
                        <a:pt x="61559" y="64892"/>
                      </a:cubicBezTo>
                      <a:cubicBezTo>
                        <a:pt x="51664" y="58254"/>
                        <a:pt x="42511" y="57141"/>
                        <a:pt x="40119" y="54337"/>
                      </a:cubicBezTo>
                      <a:cubicBezTo>
                        <a:pt x="35996" y="49555"/>
                        <a:pt x="51952" y="35825"/>
                        <a:pt x="63207" y="33104"/>
                      </a:cubicBezTo>
                      <a:cubicBezTo>
                        <a:pt x="74464" y="30383"/>
                        <a:pt x="69104" y="15251"/>
                        <a:pt x="59662" y="5644"/>
                      </a:cubicBezTo>
                      <a:cubicBezTo>
                        <a:pt x="58095" y="4078"/>
                        <a:pt x="56281" y="2099"/>
                        <a:pt x="54343" y="-4"/>
                      </a:cubicBezTo>
                      <a:cubicBezTo>
                        <a:pt x="50344" y="2387"/>
                        <a:pt x="46674" y="5355"/>
                        <a:pt x="43500" y="8778"/>
                      </a:cubicBezTo>
                      <a:cubicBezTo>
                        <a:pt x="40613" y="13313"/>
                        <a:pt x="34058" y="11623"/>
                        <a:pt x="24410" y="10386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56" name="Freeform: Shape 355">
                  <a:extLst>
                    <a:ext uri="{FF2B5EF4-FFF2-40B4-BE49-F238E27FC236}">
                      <a16:creationId xmlns:a16="http://schemas.microsoft.com/office/drawing/2014/main" id="{E93514C0-AF4D-885D-E4BC-E3B10FBCA891}"/>
                    </a:ext>
                  </a:extLst>
                </p:cNvPr>
                <p:cNvSpPr/>
                <p:nvPr>
                  <p:custDataLst>
                    <p:tags r:id="rId357"/>
                  </p:custDataLst>
                </p:nvPr>
              </p:nvSpPr>
              <p:spPr>
                <a:xfrm>
                  <a:off x="7953766" y="4929727"/>
                  <a:ext cx="227506" cy="228595"/>
                </a:xfrm>
                <a:custGeom>
                  <a:avLst/>
                  <a:gdLst>
                    <a:gd name="connsiteX0" fmla="*/ 44124 w 265654"/>
                    <a:gd name="connsiteY0" fmla="*/ 41309 h 266926"/>
                    <a:gd name="connsiteX1" fmla="*/ 21819 w 265654"/>
                    <a:gd name="connsiteY1" fmla="*/ 67119 h 266926"/>
                    <a:gd name="connsiteX2" fmla="*/ 6975 w 265654"/>
                    <a:gd name="connsiteY2" fmla="*/ 113009 h 266926"/>
                    <a:gd name="connsiteX3" fmla="*/ 4460 w 265654"/>
                    <a:gd name="connsiteY3" fmla="*/ 175761 h 266926"/>
                    <a:gd name="connsiteX4" fmla="*/ 37939 w 265654"/>
                    <a:gd name="connsiteY4" fmla="*/ 177782 h 266926"/>
                    <a:gd name="connsiteX5" fmla="*/ 50308 w 265654"/>
                    <a:gd name="connsiteY5" fmla="*/ 163351 h 266926"/>
                    <a:gd name="connsiteX6" fmla="*/ 69068 w 265654"/>
                    <a:gd name="connsiteY6" fmla="*/ 157578 h 266926"/>
                    <a:gd name="connsiteX7" fmla="*/ 93807 w 265654"/>
                    <a:gd name="connsiteY7" fmla="*/ 169123 h 266926"/>
                    <a:gd name="connsiteX8" fmla="*/ 111288 w 265654"/>
                    <a:gd name="connsiteY8" fmla="*/ 169123 h 266926"/>
                    <a:gd name="connsiteX9" fmla="*/ 151241 w 265654"/>
                    <a:gd name="connsiteY9" fmla="*/ 169123 h 266926"/>
                    <a:gd name="connsiteX10" fmla="*/ 236176 w 265654"/>
                    <a:gd name="connsiteY10" fmla="*/ 264572 h 266926"/>
                    <a:gd name="connsiteX11" fmla="*/ 235639 w 265654"/>
                    <a:gd name="connsiteY11" fmla="*/ 265561 h 266926"/>
                    <a:gd name="connsiteX12" fmla="*/ 254812 w 265654"/>
                    <a:gd name="connsiteY12" fmla="*/ 263953 h 266926"/>
                    <a:gd name="connsiteX13" fmla="*/ 265655 w 265654"/>
                    <a:gd name="connsiteY13" fmla="*/ 255171 h 266926"/>
                    <a:gd name="connsiteX14" fmla="*/ 223023 w 265654"/>
                    <a:gd name="connsiteY14" fmla="*/ 199757 h 266926"/>
                    <a:gd name="connsiteX15" fmla="*/ 159610 w 265654"/>
                    <a:gd name="connsiteY15" fmla="*/ 149003 h 266926"/>
                    <a:gd name="connsiteX16" fmla="*/ 134172 w 265654"/>
                    <a:gd name="connsiteY16" fmla="*/ 119523 h 266926"/>
                    <a:gd name="connsiteX17" fmla="*/ 104527 w 265654"/>
                    <a:gd name="connsiteY17" fmla="*/ 51616 h 266926"/>
                    <a:gd name="connsiteX18" fmla="*/ 82056 w 265654"/>
                    <a:gd name="connsiteY18" fmla="*/ -4 h 266926"/>
                    <a:gd name="connsiteX19" fmla="*/ 44124 w 265654"/>
                    <a:gd name="connsiteY19" fmla="*/ 41309 h 2669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265654" h="266926">
                      <a:moveTo>
                        <a:pt x="44124" y="41309"/>
                      </a:moveTo>
                      <a:cubicBezTo>
                        <a:pt x="36661" y="49926"/>
                        <a:pt x="19386" y="52812"/>
                        <a:pt x="21819" y="67119"/>
                      </a:cubicBezTo>
                      <a:cubicBezTo>
                        <a:pt x="24251" y="81426"/>
                        <a:pt x="19344" y="95980"/>
                        <a:pt x="6975" y="113009"/>
                      </a:cubicBezTo>
                      <a:cubicBezTo>
                        <a:pt x="-5394" y="130037"/>
                        <a:pt x="1945" y="155723"/>
                        <a:pt x="4460" y="175761"/>
                      </a:cubicBezTo>
                      <a:cubicBezTo>
                        <a:pt x="19386" y="174524"/>
                        <a:pt x="34888" y="174236"/>
                        <a:pt x="37939" y="177782"/>
                      </a:cubicBezTo>
                      <a:cubicBezTo>
                        <a:pt x="44206" y="184997"/>
                        <a:pt x="46680" y="177782"/>
                        <a:pt x="50308" y="163351"/>
                      </a:cubicBezTo>
                      <a:cubicBezTo>
                        <a:pt x="53937" y="148920"/>
                        <a:pt x="61565" y="150322"/>
                        <a:pt x="69068" y="157578"/>
                      </a:cubicBezTo>
                      <a:cubicBezTo>
                        <a:pt x="76572" y="164835"/>
                        <a:pt x="81438" y="176339"/>
                        <a:pt x="93807" y="169123"/>
                      </a:cubicBezTo>
                      <a:cubicBezTo>
                        <a:pt x="106176" y="161908"/>
                        <a:pt x="105063" y="166196"/>
                        <a:pt x="111288" y="169123"/>
                      </a:cubicBezTo>
                      <a:cubicBezTo>
                        <a:pt x="117514" y="172050"/>
                        <a:pt x="142500" y="167680"/>
                        <a:pt x="151241" y="169123"/>
                      </a:cubicBezTo>
                      <a:cubicBezTo>
                        <a:pt x="159982" y="170566"/>
                        <a:pt x="236176" y="264572"/>
                        <a:pt x="236176" y="264572"/>
                      </a:cubicBezTo>
                      <a:cubicBezTo>
                        <a:pt x="236176" y="264572"/>
                        <a:pt x="235969" y="264902"/>
                        <a:pt x="235639" y="265561"/>
                      </a:cubicBezTo>
                      <a:cubicBezTo>
                        <a:pt x="245287" y="266798"/>
                        <a:pt x="251843" y="268489"/>
                        <a:pt x="254812" y="263953"/>
                      </a:cubicBezTo>
                      <a:cubicBezTo>
                        <a:pt x="257987" y="260531"/>
                        <a:pt x="261656" y="257562"/>
                        <a:pt x="265655" y="255171"/>
                      </a:cubicBezTo>
                      <a:cubicBezTo>
                        <a:pt x="250152" y="237731"/>
                        <a:pt x="235928" y="219218"/>
                        <a:pt x="223023" y="199757"/>
                      </a:cubicBezTo>
                      <a:cubicBezTo>
                        <a:pt x="200470" y="166773"/>
                        <a:pt x="173835" y="149003"/>
                        <a:pt x="159610" y="149003"/>
                      </a:cubicBezTo>
                      <a:cubicBezTo>
                        <a:pt x="145386" y="149003"/>
                        <a:pt x="143118" y="120883"/>
                        <a:pt x="134172" y="119523"/>
                      </a:cubicBezTo>
                      <a:cubicBezTo>
                        <a:pt x="125224" y="118162"/>
                        <a:pt x="105310" y="77674"/>
                        <a:pt x="104527" y="51616"/>
                      </a:cubicBezTo>
                      <a:cubicBezTo>
                        <a:pt x="104197" y="36938"/>
                        <a:pt x="93683" y="16529"/>
                        <a:pt x="82056" y="-4"/>
                      </a:cubicBezTo>
                      <a:cubicBezTo>
                        <a:pt x="68285" y="26136"/>
                        <a:pt x="49484" y="35042"/>
                        <a:pt x="44124" y="41309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57" name="Freeform: Shape 356">
                  <a:extLst>
                    <a:ext uri="{FF2B5EF4-FFF2-40B4-BE49-F238E27FC236}">
                      <a16:creationId xmlns:a16="http://schemas.microsoft.com/office/drawing/2014/main" id="{27DBAFDF-0B52-D3B3-58BC-360817421AF2}"/>
                    </a:ext>
                  </a:extLst>
                </p:cNvPr>
                <p:cNvSpPr/>
                <p:nvPr>
                  <p:custDataLst>
                    <p:tags r:id="rId358"/>
                  </p:custDataLst>
                </p:nvPr>
              </p:nvSpPr>
              <p:spPr>
                <a:xfrm>
                  <a:off x="7833986" y="5059762"/>
                  <a:ext cx="509114" cy="460038"/>
                </a:xfrm>
                <a:custGeom>
                  <a:avLst/>
                  <a:gdLst>
                    <a:gd name="connsiteX0" fmla="*/ 37864 w 594484"/>
                    <a:gd name="connsiteY0" fmla="*/ 354093 h 537178"/>
                    <a:gd name="connsiteX1" fmla="*/ 72539 w 594484"/>
                    <a:gd name="connsiteY1" fmla="*/ 405755 h 537178"/>
                    <a:gd name="connsiteX2" fmla="*/ 109646 w 594484"/>
                    <a:gd name="connsiteY2" fmla="*/ 440183 h 537178"/>
                    <a:gd name="connsiteX3" fmla="*/ 108986 w 594484"/>
                    <a:gd name="connsiteY3" fmla="*/ 480918 h 537178"/>
                    <a:gd name="connsiteX4" fmla="*/ 122057 w 594484"/>
                    <a:gd name="connsiteY4" fmla="*/ 487268 h 537178"/>
                    <a:gd name="connsiteX5" fmla="*/ 162957 w 594484"/>
                    <a:gd name="connsiteY5" fmla="*/ 496504 h 537178"/>
                    <a:gd name="connsiteX6" fmla="*/ 209135 w 594484"/>
                    <a:gd name="connsiteY6" fmla="*/ 527385 h 537178"/>
                    <a:gd name="connsiteX7" fmla="*/ 255355 w 594484"/>
                    <a:gd name="connsiteY7" fmla="*/ 536621 h 537178"/>
                    <a:gd name="connsiteX8" fmla="*/ 281989 w 594484"/>
                    <a:gd name="connsiteY8" fmla="*/ 511882 h 537178"/>
                    <a:gd name="connsiteX9" fmla="*/ 316664 w 594484"/>
                    <a:gd name="connsiteY9" fmla="*/ 503636 h 537178"/>
                    <a:gd name="connsiteX10" fmla="*/ 336166 w 594484"/>
                    <a:gd name="connsiteY10" fmla="*/ 512913 h 537178"/>
                    <a:gd name="connsiteX11" fmla="*/ 356163 w 594484"/>
                    <a:gd name="connsiteY11" fmla="*/ 506399 h 537178"/>
                    <a:gd name="connsiteX12" fmla="*/ 388612 w 594484"/>
                    <a:gd name="connsiteY12" fmla="*/ 500544 h 537178"/>
                    <a:gd name="connsiteX13" fmla="*/ 441015 w 594484"/>
                    <a:gd name="connsiteY13" fmla="*/ 468673 h 537178"/>
                    <a:gd name="connsiteX14" fmla="*/ 485421 w 594484"/>
                    <a:gd name="connsiteY14" fmla="*/ 459396 h 537178"/>
                    <a:gd name="connsiteX15" fmla="*/ 592042 w 594484"/>
                    <a:gd name="connsiteY15" fmla="*/ 335705 h 537178"/>
                    <a:gd name="connsiteX16" fmla="*/ 577859 w 594484"/>
                    <a:gd name="connsiteY16" fmla="*/ 325438 h 537178"/>
                    <a:gd name="connsiteX17" fmla="*/ 522776 w 594484"/>
                    <a:gd name="connsiteY17" fmla="*/ 311049 h 537178"/>
                    <a:gd name="connsiteX18" fmla="*/ 441881 w 594484"/>
                    <a:gd name="connsiteY18" fmla="*/ 278065 h 537178"/>
                    <a:gd name="connsiteX19" fmla="*/ 415246 w 594484"/>
                    <a:gd name="connsiteY19" fmla="*/ 250275 h 537178"/>
                    <a:gd name="connsiteX20" fmla="*/ 390508 w 594484"/>
                    <a:gd name="connsiteY20" fmla="*/ 208097 h 537178"/>
                    <a:gd name="connsiteX21" fmla="*/ 396610 w 594484"/>
                    <a:gd name="connsiteY21" fmla="*/ 190821 h 537178"/>
                    <a:gd name="connsiteX22" fmla="*/ 377726 w 594484"/>
                    <a:gd name="connsiteY22" fmla="*/ 183235 h 537178"/>
                    <a:gd name="connsiteX23" fmla="*/ 355256 w 594484"/>
                    <a:gd name="connsiteY23" fmla="*/ 184678 h 537178"/>
                    <a:gd name="connsiteX24" fmla="*/ 356493 w 594484"/>
                    <a:gd name="connsiteY24" fmla="*/ 145674 h 537178"/>
                    <a:gd name="connsiteX25" fmla="*/ 376489 w 594484"/>
                    <a:gd name="connsiteY25" fmla="*/ 112400 h 537178"/>
                    <a:gd name="connsiteX26" fmla="*/ 291555 w 594484"/>
                    <a:gd name="connsiteY26" fmla="*/ 16952 h 537178"/>
                    <a:gd name="connsiteX27" fmla="*/ 251602 w 594484"/>
                    <a:gd name="connsiteY27" fmla="*/ 16952 h 537178"/>
                    <a:gd name="connsiteX28" fmla="*/ 234121 w 594484"/>
                    <a:gd name="connsiteY28" fmla="*/ 16952 h 537178"/>
                    <a:gd name="connsiteX29" fmla="*/ 209382 w 594484"/>
                    <a:gd name="connsiteY29" fmla="*/ 5408 h 537178"/>
                    <a:gd name="connsiteX30" fmla="*/ 190623 w 594484"/>
                    <a:gd name="connsiteY30" fmla="*/ 11180 h 537178"/>
                    <a:gd name="connsiteX31" fmla="*/ 178254 w 594484"/>
                    <a:gd name="connsiteY31" fmla="*/ 25611 h 537178"/>
                    <a:gd name="connsiteX32" fmla="*/ 144774 w 594484"/>
                    <a:gd name="connsiteY32" fmla="*/ 23590 h 537178"/>
                    <a:gd name="connsiteX33" fmla="*/ 144774 w 594484"/>
                    <a:gd name="connsiteY33" fmla="*/ 23920 h 537178"/>
                    <a:gd name="connsiteX34" fmla="*/ 129890 w 594484"/>
                    <a:gd name="connsiteY34" fmla="*/ 78427 h 537178"/>
                    <a:gd name="connsiteX35" fmla="*/ 112573 w 594484"/>
                    <a:gd name="connsiteY35" fmla="*/ 101392 h 537178"/>
                    <a:gd name="connsiteX36" fmla="*/ 87835 w 594484"/>
                    <a:gd name="connsiteY36" fmla="*/ 135778 h 537178"/>
                    <a:gd name="connsiteX37" fmla="*/ 75466 w 594484"/>
                    <a:gd name="connsiteY37" fmla="*/ 181709 h 537178"/>
                    <a:gd name="connsiteX38" fmla="*/ 58108 w 594484"/>
                    <a:gd name="connsiteY38" fmla="*/ 201747 h 537178"/>
                    <a:gd name="connsiteX39" fmla="*/ 45739 w 594484"/>
                    <a:gd name="connsiteY39" fmla="*/ 244791 h 537178"/>
                    <a:gd name="connsiteX40" fmla="*/ 40791 w 594484"/>
                    <a:gd name="connsiteY40" fmla="*/ 296412 h 537178"/>
                    <a:gd name="connsiteX41" fmla="*/ 8590 w 594484"/>
                    <a:gd name="connsiteY41" fmla="*/ 305030 h 537178"/>
                    <a:gd name="connsiteX42" fmla="*/ 1169 w 594484"/>
                    <a:gd name="connsiteY42" fmla="*/ 330839 h 537178"/>
                    <a:gd name="connsiteX43" fmla="*/ 37864 w 594484"/>
                    <a:gd name="connsiteY43" fmla="*/ 354093 h 5371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</a:cxnLst>
                  <a:rect l="l" t="t" r="r" b="b"/>
                  <a:pathLst>
                    <a:path w="594484" h="537178">
                      <a:moveTo>
                        <a:pt x="37864" y="354093"/>
                      </a:moveTo>
                      <a:cubicBezTo>
                        <a:pt x="42811" y="368483"/>
                        <a:pt x="65117" y="382955"/>
                        <a:pt x="72539" y="405755"/>
                      </a:cubicBezTo>
                      <a:cubicBezTo>
                        <a:pt x="79960" y="428556"/>
                        <a:pt x="99792" y="440183"/>
                        <a:pt x="109646" y="440183"/>
                      </a:cubicBezTo>
                      <a:cubicBezTo>
                        <a:pt x="117026" y="440183"/>
                        <a:pt x="111996" y="454572"/>
                        <a:pt x="108986" y="480918"/>
                      </a:cubicBezTo>
                      <a:cubicBezTo>
                        <a:pt x="113480" y="482774"/>
                        <a:pt x="117851" y="484877"/>
                        <a:pt x="122057" y="487268"/>
                      </a:cubicBezTo>
                      <a:cubicBezTo>
                        <a:pt x="128282" y="491391"/>
                        <a:pt x="154051" y="487268"/>
                        <a:pt x="162957" y="496504"/>
                      </a:cubicBezTo>
                      <a:cubicBezTo>
                        <a:pt x="171863" y="505739"/>
                        <a:pt x="200271" y="527385"/>
                        <a:pt x="209135" y="527385"/>
                      </a:cubicBezTo>
                      <a:cubicBezTo>
                        <a:pt x="217999" y="527385"/>
                        <a:pt x="249994" y="532539"/>
                        <a:pt x="255355" y="536621"/>
                      </a:cubicBezTo>
                      <a:cubicBezTo>
                        <a:pt x="260715" y="540702"/>
                        <a:pt x="267724" y="521201"/>
                        <a:pt x="281989" y="511882"/>
                      </a:cubicBezTo>
                      <a:cubicBezTo>
                        <a:pt x="296255" y="502564"/>
                        <a:pt x="313984" y="496462"/>
                        <a:pt x="316664" y="503636"/>
                      </a:cubicBezTo>
                      <a:cubicBezTo>
                        <a:pt x="319344" y="510810"/>
                        <a:pt x="329033" y="516995"/>
                        <a:pt x="336166" y="512913"/>
                      </a:cubicBezTo>
                      <a:cubicBezTo>
                        <a:pt x="342598" y="510110"/>
                        <a:pt x="349319" y="507924"/>
                        <a:pt x="356163" y="506399"/>
                      </a:cubicBezTo>
                      <a:cubicBezTo>
                        <a:pt x="369233" y="502976"/>
                        <a:pt x="384365" y="499925"/>
                        <a:pt x="388612" y="500544"/>
                      </a:cubicBezTo>
                      <a:cubicBezTo>
                        <a:pt x="395703" y="501575"/>
                        <a:pt x="415246" y="468673"/>
                        <a:pt x="441015" y="468673"/>
                      </a:cubicBezTo>
                      <a:cubicBezTo>
                        <a:pt x="466784" y="468673"/>
                        <a:pt x="474000" y="473785"/>
                        <a:pt x="485421" y="459396"/>
                      </a:cubicBezTo>
                      <a:cubicBezTo>
                        <a:pt x="496842" y="445007"/>
                        <a:pt x="584085" y="343126"/>
                        <a:pt x="592042" y="335705"/>
                      </a:cubicBezTo>
                      <a:cubicBezTo>
                        <a:pt x="600000" y="328283"/>
                        <a:pt x="586723" y="325438"/>
                        <a:pt x="577859" y="325438"/>
                      </a:cubicBezTo>
                      <a:cubicBezTo>
                        <a:pt x="568995" y="325438"/>
                        <a:pt x="551183" y="324408"/>
                        <a:pt x="522776" y="311049"/>
                      </a:cubicBezTo>
                      <a:cubicBezTo>
                        <a:pt x="496388" y="298721"/>
                        <a:pt x="469381" y="287712"/>
                        <a:pt x="441881" y="278065"/>
                      </a:cubicBezTo>
                      <a:cubicBezTo>
                        <a:pt x="433924" y="276003"/>
                        <a:pt x="422338" y="254398"/>
                        <a:pt x="415246" y="250275"/>
                      </a:cubicBezTo>
                      <a:cubicBezTo>
                        <a:pt x="408155" y="246152"/>
                        <a:pt x="393931" y="217291"/>
                        <a:pt x="390508" y="208097"/>
                      </a:cubicBezTo>
                      <a:cubicBezTo>
                        <a:pt x="389312" y="204881"/>
                        <a:pt x="392116" y="198284"/>
                        <a:pt x="396610" y="190821"/>
                      </a:cubicBezTo>
                      <a:cubicBezTo>
                        <a:pt x="387910" y="181338"/>
                        <a:pt x="383540" y="178741"/>
                        <a:pt x="377726" y="183235"/>
                      </a:cubicBezTo>
                      <a:cubicBezTo>
                        <a:pt x="370223" y="189048"/>
                        <a:pt x="357771" y="190491"/>
                        <a:pt x="355256" y="184678"/>
                      </a:cubicBezTo>
                      <a:cubicBezTo>
                        <a:pt x="352741" y="178864"/>
                        <a:pt x="347752" y="157218"/>
                        <a:pt x="356493" y="145674"/>
                      </a:cubicBezTo>
                      <a:cubicBezTo>
                        <a:pt x="363873" y="135036"/>
                        <a:pt x="370552" y="123904"/>
                        <a:pt x="376489" y="112400"/>
                      </a:cubicBezTo>
                      <a:cubicBezTo>
                        <a:pt x="376489" y="112400"/>
                        <a:pt x="300337" y="18395"/>
                        <a:pt x="291555" y="16952"/>
                      </a:cubicBezTo>
                      <a:cubicBezTo>
                        <a:pt x="282773" y="15509"/>
                        <a:pt x="257870" y="19838"/>
                        <a:pt x="251602" y="16952"/>
                      </a:cubicBezTo>
                      <a:cubicBezTo>
                        <a:pt x="245335" y="14066"/>
                        <a:pt x="246614" y="9736"/>
                        <a:pt x="234121" y="16952"/>
                      </a:cubicBezTo>
                      <a:cubicBezTo>
                        <a:pt x="221628" y="24167"/>
                        <a:pt x="216639" y="12829"/>
                        <a:pt x="209382" y="5408"/>
                      </a:cubicBezTo>
                      <a:cubicBezTo>
                        <a:pt x="202126" y="-2014"/>
                        <a:pt x="194416" y="-3292"/>
                        <a:pt x="190623" y="11180"/>
                      </a:cubicBezTo>
                      <a:cubicBezTo>
                        <a:pt x="186830" y="25652"/>
                        <a:pt x="184397" y="32826"/>
                        <a:pt x="178254" y="25611"/>
                      </a:cubicBezTo>
                      <a:cubicBezTo>
                        <a:pt x="175202" y="22065"/>
                        <a:pt x="159700" y="22353"/>
                        <a:pt x="144774" y="23590"/>
                      </a:cubicBezTo>
                      <a:cubicBezTo>
                        <a:pt x="144774" y="23714"/>
                        <a:pt x="144774" y="23796"/>
                        <a:pt x="144774" y="23920"/>
                      </a:cubicBezTo>
                      <a:cubicBezTo>
                        <a:pt x="147248" y="44040"/>
                        <a:pt x="129890" y="66964"/>
                        <a:pt x="129890" y="78427"/>
                      </a:cubicBezTo>
                      <a:cubicBezTo>
                        <a:pt x="129890" y="89889"/>
                        <a:pt x="119995" y="101392"/>
                        <a:pt x="112573" y="101392"/>
                      </a:cubicBezTo>
                      <a:cubicBezTo>
                        <a:pt x="105152" y="101392"/>
                        <a:pt x="97731" y="124316"/>
                        <a:pt x="87835" y="135778"/>
                      </a:cubicBezTo>
                      <a:cubicBezTo>
                        <a:pt x="77940" y="147240"/>
                        <a:pt x="85361" y="173092"/>
                        <a:pt x="75466" y="181709"/>
                      </a:cubicBezTo>
                      <a:cubicBezTo>
                        <a:pt x="65571" y="190326"/>
                        <a:pt x="50728" y="193171"/>
                        <a:pt x="58108" y="201747"/>
                      </a:cubicBezTo>
                      <a:cubicBezTo>
                        <a:pt x="65488" y="210323"/>
                        <a:pt x="45739" y="227599"/>
                        <a:pt x="45739" y="244791"/>
                      </a:cubicBezTo>
                      <a:cubicBezTo>
                        <a:pt x="45739" y="261985"/>
                        <a:pt x="43265" y="293567"/>
                        <a:pt x="40791" y="296412"/>
                      </a:cubicBezTo>
                      <a:cubicBezTo>
                        <a:pt x="38317" y="299257"/>
                        <a:pt x="8590" y="290722"/>
                        <a:pt x="8590" y="305030"/>
                      </a:cubicBezTo>
                      <a:cubicBezTo>
                        <a:pt x="8590" y="319336"/>
                        <a:pt x="-3779" y="319378"/>
                        <a:pt x="1169" y="330839"/>
                      </a:cubicBezTo>
                      <a:cubicBezTo>
                        <a:pt x="6117" y="342301"/>
                        <a:pt x="32875" y="339745"/>
                        <a:pt x="37864" y="354093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58" name="Freeform: Shape 357">
                  <a:extLst>
                    <a:ext uri="{FF2B5EF4-FFF2-40B4-BE49-F238E27FC236}">
                      <a16:creationId xmlns:a16="http://schemas.microsoft.com/office/drawing/2014/main" id="{3B6230CA-301C-07B3-4667-7829EE8209AB}"/>
                    </a:ext>
                  </a:extLst>
                </p:cNvPr>
                <p:cNvSpPr/>
                <p:nvPr>
                  <p:custDataLst>
                    <p:tags r:id="rId359"/>
                  </p:custDataLst>
                </p:nvPr>
              </p:nvSpPr>
              <p:spPr>
                <a:xfrm>
                  <a:off x="7911574" y="4207340"/>
                  <a:ext cx="47156" cy="72758"/>
                </a:xfrm>
                <a:custGeom>
                  <a:avLst/>
                  <a:gdLst>
                    <a:gd name="connsiteX0" fmla="*/ 49559 w 55064"/>
                    <a:gd name="connsiteY0" fmla="*/ 36138 h 84958"/>
                    <a:gd name="connsiteX1" fmla="*/ 30181 w 55064"/>
                    <a:gd name="connsiteY1" fmla="*/ 61 h 84958"/>
                    <a:gd name="connsiteX2" fmla="*/ 29769 w 55064"/>
                    <a:gd name="connsiteY2" fmla="*/ 6122 h 84958"/>
                    <a:gd name="connsiteX3" fmla="*/ 1 w 55064"/>
                    <a:gd name="connsiteY3" fmla="*/ 75678 h 84958"/>
                    <a:gd name="connsiteX4" fmla="*/ 18884 w 55064"/>
                    <a:gd name="connsiteY4" fmla="*/ 84955 h 84958"/>
                    <a:gd name="connsiteX5" fmla="*/ 49559 w 55064"/>
                    <a:gd name="connsiteY5" fmla="*/ 36138 h 849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55064" h="84958">
                      <a:moveTo>
                        <a:pt x="49559" y="36138"/>
                      </a:moveTo>
                      <a:cubicBezTo>
                        <a:pt x="57146" y="28469"/>
                        <a:pt x="61599" y="-1588"/>
                        <a:pt x="30181" y="61"/>
                      </a:cubicBezTo>
                      <a:cubicBezTo>
                        <a:pt x="29893" y="2069"/>
                        <a:pt x="29769" y="4094"/>
                        <a:pt x="29769" y="6122"/>
                      </a:cubicBezTo>
                      <a:cubicBezTo>
                        <a:pt x="29769" y="20017"/>
                        <a:pt x="10555" y="49167"/>
                        <a:pt x="1" y="75678"/>
                      </a:cubicBezTo>
                      <a:lnTo>
                        <a:pt x="18884" y="84955"/>
                      </a:lnTo>
                      <a:cubicBezTo>
                        <a:pt x="28655" y="64669"/>
                        <a:pt x="43581" y="42240"/>
                        <a:pt x="49559" y="36138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59" name="Freeform: Shape 358">
                  <a:extLst>
                    <a:ext uri="{FF2B5EF4-FFF2-40B4-BE49-F238E27FC236}">
                      <a16:creationId xmlns:a16="http://schemas.microsoft.com/office/drawing/2014/main" id="{E7C19D21-BD09-8D07-C05F-5E1F48D3558B}"/>
                    </a:ext>
                  </a:extLst>
                </p:cNvPr>
                <p:cNvSpPr/>
                <p:nvPr>
                  <p:custDataLst>
                    <p:tags r:id="rId360"/>
                  </p:custDataLst>
                </p:nvPr>
              </p:nvSpPr>
              <p:spPr>
                <a:xfrm>
                  <a:off x="7927746" y="4095886"/>
                  <a:ext cx="236116" cy="218036"/>
                </a:xfrm>
                <a:custGeom>
                  <a:avLst/>
                  <a:gdLst>
                    <a:gd name="connsiteX0" fmla="*/ 30676 w 275708"/>
                    <a:gd name="connsiteY0" fmla="*/ 166278 h 254598"/>
                    <a:gd name="connsiteX1" fmla="*/ 1 w 275708"/>
                    <a:gd name="connsiteY1" fmla="*/ 215095 h 254598"/>
                    <a:gd name="connsiteX2" fmla="*/ 2103 w 275708"/>
                    <a:gd name="connsiteY2" fmla="*/ 216126 h 254598"/>
                    <a:gd name="connsiteX3" fmla="*/ 5278 w 275708"/>
                    <a:gd name="connsiteY3" fmla="*/ 232618 h 254598"/>
                    <a:gd name="connsiteX4" fmla="*/ 41643 w 275708"/>
                    <a:gd name="connsiteY4" fmla="*/ 254594 h 254598"/>
                    <a:gd name="connsiteX5" fmla="*/ 79616 w 275708"/>
                    <a:gd name="connsiteY5" fmla="*/ 230804 h 254598"/>
                    <a:gd name="connsiteX6" fmla="*/ 217162 w 275708"/>
                    <a:gd name="connsiteY6" fmla="*/ 150157 h 254598"/>
                    <a:gd name="connsiteX7" fmla="*/ 226686 w 275708"/>
                    <a:gd name="connsiteY7" fmla="*/ 122698 h 254598"/>
                    <a:gd name="connsiteX8" fmla="*/ 229860 w 275708"/>
                    <a:gd name="connsiteY8" fmla="*/ 86044 h 254598"/>
                    <a:gd name="connsiteX9" fmla="*/ 226686 w 275708"/>
                    <a:gd name="connsiteY9" fmla="*/ 47576 h 254598"/>
                    <a:gd name="connsiteX10" fmla="*/ 252001 w 275708"/>
                    <a:gd name="connsiteY10" fmla="*/ 25641 h 254598"/>
                    <a:gd name="connsiteX11" fmla="*/ 275709 w 275708"/>
                    <a:gd name="connsiteY11" fmla="*/ 5480 h 254598"/>
                    <a:gd name="connsiteX12" fmla="*/ 259917 w 275708"/>
                    <a:gd name="connsiteY12" fmla="*/ -4 h 254598"/>
                    <a:gd name="connsiteX13" fmla="*/ 215595 w 275708"/>
                    <a:gd name="connsiteY13" fmla="*/ 7294 h 254598"/>
                    <a:gd name="connsiteX14" fmla="*/ 161995 w 275708"/>
                    <a:gd name="connsiteY14" fmla="*/ 25641 h 254598"/>
                    <a:gd name="connsiteX15" fmla="*/ 116147 w 275708"/>
                    <a:gd name="connsiteY15" fmla="*/ 23827 h 254598"/>
                    <a:gd name="connsiteX16" fmla="*/ 90831 w 275708"/>
                    <a:gd name="connsiteY16" fmla="*/ 29270 h 254598"/>
                    <a:gd name="connsiteX17" fmla="*/ 54466 w 275708"/>
                    <a:gd name="connsiteY17" fmla="*/ 29270 h 254598"/>
                    <a:gd name="connsiteX18" fmla="*/ 38633 w 275708"/>
                    <a:gd name="connsiteY18" fmla="*/ 40278 h 254598"/>
                    <a:gd name="connsiteX19" fmla="*/ 14926 w 275708"/>
                    <a:gd name="connsiteY19" fmla="*/ 72479 h 254598"/>
                    <a:gd name="connsiteX20" fmla="*/ 14596 w 275708"/>
                    <a:gd name="connsiteY20" fmla="*/ 95857 h 254598"/>
                    <a:gd name="connsiteX21" fmla="*/ 11463 w 275708"/>
                    <a:gd name="connsiteY21" fmla="*/ 130202 h 254598"/>
                    <a:gd name="connsiteX22" fmla="*/ 30676 w 275708"/>
                    <a:gd name="connsiteY22" fmla="*/ 166278 h 2545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275708" h="254598">
                      <a:moveTo>
                        <a:pt x="30676" y="166278"/>
                      </a:moveTo>
                      <a:cubicBezTo>
                        <a:pt x="24698" y="172380"/>
                        <a:pt x="10060" y="194810"/>
                        <a:pt x="1" y="215095"/>
                      </a:cubicBezTo>
                      <a:lnTo>
                        <a:pt x="2103" y="216126"/>
                      </a:lnTo>
                      <a:lnTo>
                        <a:pt x="5278" y="232618"/>
                      </a:lnTo>
                      <a:lnTo>
                        <a:pt x="41643" y="254594"/>
                      </a:lnTo>
                      <a:cubicBezTo>
                        <a:pt x="41643" y="254594"/>
                        <a:pt x="68526" y="232618"/>
                        <a:pt x="79616" y="230804"/>
                      </a:cubicBezTo>
                      <a:cubicBezTo>
                        <a:pt x="90708" y="228990"/>
                        <a:pt x="217162" y="150157"/>
                        <a:pt x="217162" y="150157"/>
                      </a:cubicBezTo>
                      <a:cubicBezTo>
                        <a:pt x="217162" y="150157"/>
                        <a:pt x="228252" y="130037"/>
                        <a:pt x="226686" y="122698"/>
                      </a:cubicBezTo>
                      <a:cubicBezTo>
                        <a:pt x="225119" y="115359"/>
                        <a:pt x="223511" y="95197"/>
                        <a:pt x="229860" y="86044"/>
                      </a:cubicBezTo>
                      <a:cubicBezTo>
                        <a:pt x="236210" y="76891"/>
                        <a:pt x="221944" y="62254"/>
                        <a:pt x="226686" y="47576"/>
                      </a:cubicBezTo>
                      <a:cubicBezTo>
                        <a:pt x="231427" y="32898"/>
                        <a:pt x="252001" y="25641"/>
                        <a:pt x="252001" y="25641"/>
                      </a:cubicBezTo>
                      <a:lnTo>
                        <a:pt x="275709" y="5480"/>
                      </a:lnTo>
                      <a:lnTo>
                        <a:pt x="259917" y="-4"/>
                      </a:lnTo>
                      <a:cubicBezTo>
                        <a:pt x="245858" y="5690"/>
                        <a:pt x="230726" y="8184"/>
                        <a:pt x="215595" y="7294"/>
                      </a:cubicBezTo>
                      <a:cubicBezTo>
                        <a:pt x="191887" y="5480"/>
                        <a:pt x="187146" y="25641"/>
                        <a:pt x="161995" y="25641"/>
                      </a:cubicBezTo>
                      <a:cubicBezTo>
                        <a:pt x="136844" y="25641"/>
                        <a:pt x="122455" y="32898"/>
                        <a:pt x="116147" y="23827"/>
                      </a:cubicBezTo>
                      <a:cubicBezTo>
                        <a:pt x="109839" y="14756"/>
                        <a:pt x="108230" y="20116"/>
                        <a:pt x="90831" y="29270"/>
                      </a:cubicBezTo>
                      <a:cubicBezTo>
                        <a:pt x="73432" y="38423"/>
                        <a:pt x="62341" y="36650"/>
                        <a:pt x="54466" y="29270"/>
                      </a:cubicBezTo>
                      <a:cubicBezTo>
                        <a:pt x="46591" y="21889"/>
                        <a:pt x="40200" y="31125"/>
                        <a:pt x="38633" y="40278"/>
                      </a:cubicBezTo>
                      <a:cubicBezTo>
                        <a:pt x="37067" y="49431"/>
                        <a:pt x="39458" y="68562"/>
                        <a:pt x="14926" y="72479"/>
                      </a:cubicBezTo>
                      <a:cubicBezTo>
                        <a:pt x="13235" y="80931"/>
                        <a:pt x="10349" y="89713"/>
                        <a:pt x="14596" y="95857"/>
                      </a:cubicBezTo>
                      <a:cubicBezTo>
                        <a:pt x="20863" y="104886"/>
                        <a:pt x="13318" y="115565"/>
                        <a:pt x="11463" y="130202"/>
                      </a:cubicBezTo>
                      <a:cubicBezTo>
                        <a:pt x="42756" y="128553"/>
                        <a:pt x="38262" y="158610"/>
                        <a:pt x="30676" y="166278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60" name="Freeform: Shape 359">
                  <a:extLst>
                    <a:ext uri="{FF2B5EF4-FFF2-40B4-BE49-F238E27FC236}">
                      <a16:creationId xmlns:a16="http://schemas.microsoft.com/office/drawing/2014/main" id="{D8A501BC-DD10-39CD-7D6D-11AA703968E1}"/>
                    </a:ext>
                  </a:extLst>
                </p:cNvPr>
                <p:cNvSpPr/>
                <p:nvPr>
                  <p:custDataLst>
                    <p:tags r:id="rId361"/>
                  </p:custDataLst>
                </p:nvPr>
              </p:nvSpPr>
              <p:spPr>
                <a:xfrm>
                  <a:off x="7908612" y="4306762"/>
                  <a:ext cx="17654" cy="54583"/>
                </a:xfrm>
                <a:custGeom>
                  <a:avLst/>
                  <a:gdLst>
                    <a:gd name="connsiteX0" fmla="*/ 8247 w 20615"/>
                    <a:gd name="connsiteY0" fmla="*/ 731 h 63735"/>
                    <a:gd name="connsiteX1" fmla="*/ 1 w 20615"/>
                    <a:gd name="connsiteY1" fmla="*/ 34252 h 63735"/>
                    <a:gd name="connsiteX2" fmla="*/ 14844 w 20615"/>
                    <a:gd name="connsiteY2" fmla="*/ 63731 h 63735"/>
                    <a:gd name="connsiteX3" fmla="*/ 19214 w 20615"/>
                    <a:gd name="connsiteY3" fmla="*/ 9389 h 63735"/>
                    <a:gd name="connsiteX4" fmla="*/ 20616 w 20615"/>
                    <a:gd name="connsiteY4" fmla="*/ 360 h 63735"/>
                    <a:gd name="connsiteX5" fmla="*/ 8247 w 20615"/>
                    <a:gd name="connsiteY5" fmla="*/ 731 h 637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0615" h="63735">
                      <a:moveTo>
                        <a:pt x="8247" y="731"/>
                      </a:moveTo>
                      <a:cubicBezTo>
                        <a:pt x="2186" y="3535"/>
                        <a:pt x="1" y="30087"/>
                        <a:pt x="1" y="34252"/>
                      </a:cubicBezTo>
                      <a:cubicBezTo>
                        <a:pt x="2227" y="45235"/>
                        <a:pt x="7340" y="55415"/>
                        <a:pt x="14844" y="63731"/>
                      </a:cubicBezTo>
                      <a:cubicBezTo>
                        <a:pt x="17070" y="43405"/>
                        <a:pt x="17647" y="16729"/>
                        <a:pt x="19214" y="9389"/>
                      </a:cubicBezTo>
                      <a:cubicBezTo>
                        <a:pt x="19626" y="7534"/>
                        <a:pt x="20080" y="4318"/>
                        <a:pt x="20616" y="360"/>
                      </a:cubicBezTo>
                      <a:cubicBezTo>
                        <a:pt x="16493" y="-229"/>
                        <a:pt x="12328" y="-102"/>
                        <a:pt x="8247" y="731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61" name="Freeform: Shape 360">
                  <a:extLst>
                    <a:ext uri="{FF2B5EF4-FFF2-40B4-BE49-F238E27FC236}">
                      <a16:creationId xmlns:a16="http://schemas.microsoft.com/office/drawing/2014/main" id="{CA25B95C-20B3-1DE0-4CD9-CCE93492B5A4}"/>
                    </a:ext>
                  </a:extLst>
                </p:cNvPr>
                <p:cNvSpPr/>
                <p:nvPr>
                  <p:custDataLst>
                    <p:tags r:id="rId362"/>
                  </p:custDataLst>
                </p:nvPr>
              </p:nvSpPr>
              <p:spPr>
                <a:xfrm>
                  <a:off x="7879020" y="4272154"/>
                  <a:ext cx="49858" cy="166096"/>
                </a:xfrm>
                <a:custGeom>
                  <a:avLst/>
                  <a:gdLst>
                    <a:gd name="connsiteX0" fmla="*/ 27089 w 58217"/>
                    <a:gd name="connsiteY0" fmla="*/ 191305 h 193947"/>
                    <a:gd name="connsiteX1" fmla="*/ 31212 w 58217"/>
                    <a:gd name="connsiteY1" fmla="*/ 193944 h 193947"/>
                    <a:gd name="connsiteX2" fmla="*/ 44035 w 58217"/>
                    <a:gd name="connsiteY2" fmla="*/ 126656 h 193947"/>
                    <a:gd name="connsiteX3" fmla="*/ 49147 w 58217"/>
                    <a:gd name="connsiteY3" fmla="*/ 104144 h 193947"/>
                    <a:gd name="connsiteX4" fmla="*/ 34305 w 58217"/>
                    <a:gd name="connsiteY4" fmla="*/ 74664 h 193947"/>
                    <a:gd name="connsiteX5" fmla="*/ 42551 w 58217"/>
                    <a:gd name="connsiteY5" fmla="*/ 41144 h 193947"/>
                    <a:gd name="connsiteX6" fmla="*/ 54920 w 58217"/>
                    <a:gd name="connsiteY6" fmla="*/ 40773 h 193947"/>
                    <a:gd name="connsiteX7" fmla="*/ 58218 w 58217"/>
                    <a:gd name="connsiteY7" fmla="*/ 9973 h 193947"/>
                    <a:gd name="connsiteX8" fmla="*/ 37974 w 58217"/>
                    <a:gd name="connsiteY8" fmla="*/ -4 h 193947"/>
                    <a:gd name="connsiteX9" fmla="*/ 31624 w 58217"/>
                    <a:gd name="connsiteY9" fmla="*/ 21724 h 193947"/>
                    <a:gd name="connsiteX10" fmla="*/ 1 w 58217"/>
                    <a:gd name="connsiteY10" fmla="*/ 104185 h 193947"/>
                    <a:gd name="connsiteX11" fmla="*/ 28862 w 58217"/>
                    <a:gd name="connsiteY11" fmla="*/ 185863 h 193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58217" h="193947">
                      <a:moveTo>
                        <a:pt x="27089" y="191305"/>
                      </a:moveTo>
                      <a:cubicBezTo>
                        <a:pt x="28408" y="192171"/>
                        <a:pt x="29811" y="193078"/>
                        <a:pt x="31212" y="193944"/>
                      </a:cubicBezTo>
                      <a:cubicBezTo>
                        <a:pt x="34552" y="166072"/>
                        <a:pt x="39747" y="133294"/>
                        <a:pt x="44035" y="126656"/>
                      </a:cubicBezTo>
                      <a:cubicBezTo>
                        <a:pt x="46426" y="122986"/>
                        <a:pt x="48158" y="114287"/>
                        <a:pt x="49147" y="104144"/>
                      </a:cubicBezTo>
                      <a:cubicBezTo>
                        <a:pt x="41644" y="95828"/>
                        <a:pt x="36531" y="85648"/>
                        <a:pt x="34305" y="74664"/>
                      </a:cubicBezTo>
                      <a:cubicBezTo>
                        <a:pt x="34305" y="70541"/>
                        <a:pt x="36696" y="43947"/>
                        <a:pt x="42551" y="41144"/>
                      </a:cubicBezTo>
                      <a:cubicBezTo>
                        <a:pt x="46632" y="40311"/>
                        <a:pt x="50797" y="40183"/>
                        <a:pt x="54920" y="40773"/>
                      </a:cubicBezTo>
                      <a:cubicBezTo>
                        <a:pt x="55992" y="32526"/>
                        <a:pt x="57228" y="20693"/>
                        <a:pt x="58218" y="9973"/>
                      </a:cubicBezTo>
                      <a:lnTo>
                        <a:pt x="37974" y="-4"/>
                      </a:lnTo>
                      <a:cubicBezTo>
                        <a:pt x="35005" y="6964"/>
                        <a:pt x="32862" y="14257"/>
                        <a:pt x="31624" y="21724"/>
                      </a:cubicBezTo>
                      <a:cubicBezTo>
                        <a:pt x="28202" y="46462"/>
                        <a:pt x="9277" y="87322"/>
                        <a:pt x="1" y="104185"/>
                      </a:cubicBezTo>
                      <a:lnTo>
                        <a:pt x="28862" y="185863"/>
                      </a:lnTo>
                      <a:close/>
                    </a:path>
                  </a:pathLst>
                </a:custGeom>
                <a:solidFill>
                  <a:srgbClr val="5F249F"/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62" name="Freeform: Shape 361">
                  <a:extLst>
                    <a:ext uri="{FF2B5EF4-FFF2-40B4-BE49-F238E27FC236}">
                      <a16:creationId xmlns:a16="http://schemas.microsoft.com/office/drawing/2014/main" id="{0BEA6C1C-3F31-F481-6EFB-63487C0BBBDE}"/>
                    </a:ext>
                  </a:extLst>
                </p:cNvPr>
                <p:cNvSpPr/>
                <p:nvPr>
                  <p:custDataLst>
                    <p:tags r:id="rId363"/>
                  </p:custDataLst>
                </p:nvPr>
              </p:nvSpPr>
              <p:spPr>
                <a:xfrm>
                  <a:off x="7905787" y="4269541"/>
                  <a:ext cx="144946" cy="184106"/>
                </a:xfrm>
                <a:custGeom>
                  <a:avLst/>
                  <a:gdLst>
                    <a:gd name="connsiteX0" fmla="*/ 156511 w 169250"/>
                    <a:gd name="connsiteY0" fmla="*/ -4 h 214977"/>
                    <a:gd name="connsiteX1" fmla="*/ 105261 w 169250"/>
                    <a:gd name="connsiteY1" fmla="*/ 28032 h 214977"/>
                    <a:gd name="connsiteX2" fmla="*/ 67288 w 169250"/>
                    <a:gd name="connsiteY2" fmla="*/ 51822 h 214977"/>
                    <a:gd name="connsiteX3" fmla="*/ 30923 w 169250"/>
                    <a:gd name="connsiteY3" fmla="*/ 29847 h 214977"/>
                    <a:gd name="connsiteX4" fmla="*/ 27749 w 169250"/>
                    <a:gd name="connsiteY4" fmla="*/ 13354 h 214977"/>
                    <a:gd name="connsiteX5" fmla="*/ 27006 w 169250"/>
                    <a:gd name="connsiteY5" fmla="*/ 13024 h 214977"/>
                    <a:gd name="connsiteX6" fmla="*/ 22306 w 169250"/>
                    <a:gd name="connsiteY6" fmla="*/ 52853 h 214977"/>
                    <a:gd name="connsiteX7" fmla="*/ 12823 w 169250"/>
                    <a:gd name="connsiteY7" fmla="*/ 129707 h 214977"/>
                    <a:gd name="connsiteX8" fmla="*/ 1 w 169250"/>
                    <a:gd name="connsiteY8" fmla="*/ 196995 h 214977"/>
                    <a:gd name="connsiteX9" fmla="*/ 35665 w 169250"/>
                    <a:gd name="connsiteY9" fmla="*/ 214848 h 214977"/>
                    <a:gd name="connsiteX10" fmla="*/ 67288 w 169250"/>
                    <a:gd name="connsiteY10" fmla="*/ 187388 h 214977"/>
                    <a:gd name="connsiteX11" fmla="*/ 92604 w 169250"/>
                    <a:gd name="connsiteY11" fmla="*/ 174524 h 214977"/>
                    <a:gd name="connsiteX12" fmla="*/ 116311 w 169250"/>
                    <a:gd name="connsiteY12" fmla="*/ 152548 h 214977"/>
                    <a:gd name="connsiteX13" fmla="*/ 86254 w 169250"/>
                    <a:gd name="connsiteY13" fmla="*/ 112266 h 214977"/>
                    <a:gd name="connsiteX14" fmla="*/ 125795 w 169250"/>
                    <a:gd name="connsiteY14" fmla="*/ 82951 h 214977"/>
                    <a:gd name="connsiteX15" fmla="*/ 167025 w 169250"/>
                    <a:gd name="connsiteY15" fmla="*/ 68314 h 214977"/>
                    <a:gd name="connsiteX16" fmla="*/ 169251 w 169250"/>
                    <a:gd name="connsiteY16" fmla="*/ 68314 h 214977"/>
                    <a:gd name="connsiteX17" fmla="*/ 159851 w 169250"/>
                    <a:gd name="connsiteY17" fmla="*/ 22755 h 214977"/>
                    <a:gd name="connsiteX18" fmla="*/ 156511 w 169250"/>
                    <a:gd name="connsiteY18" fmla="*/ -4 h 2149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169250" h="214977">
                      <a:moveTo>
                        <a:pt x="156511" y="-4"/>
                      </a:moveTo>
                      <a:cubicBezTo>
                        <a:pt x="131443" y="14880"/>
                        <a:pt x="109550" y="27290"/>
                        <a:pt x="105261" y="28032"/>
                      </a:cubicBezTo>
                      <a:cubicBezTo>
                        <a:pt x="94171" y="29847"/>
                        <a:pt x="67288" y="51822"/>
                        <a:pt x="67288" y="51822"/>
                      </a:cubicBezTo>
                      <a:lnTo>
                        <a:pt x="30923" y="29847"/>
                      </a:lnTo>
                      <a:lnTo>
                        <a:pt x="27749" y="13354"/>
                      </a:lnTo>
                      <a:lnTo>
                        <a:pt x="27006" y="13024"/>
                      </a:lnTo>
                      <a:cubicBezTo>
                        <a:pt x="25481" y="28816"/>
                        <a:pt x="23584" y="47081"/>
                        <a:pt x="22306" y="52853"/>
                      </a:cubicBezTo>
                      <a:cubicBezTo>
                        <a:pt x="19915" y="63862"/>
                        <a:pt x="19915" y="118822"/>
                        <a:pt x="12823" y="129707"/>
                      </a:cubicBezTo>
                      <a:cubicBezTo>
                        <a:pt x="8700" y="136345"/>
                        <a:pt x="3340" y="169123"/>
                        <a:pt x="1" y="196995"/>
                      </a:cubicBezTo>
                      <a:cubicBezTo>
                        <a:pt x="13070" y="205241"/>
                        <a:pt x="28326" y="213899"/>
                        <a:pt x="35665" y="214848"/>
                      </a:cubicBezTo>
                      <a:cubicBezTo>
                        <a:pt x="49889" y="216662"/>
                        <a:pt x="67288" y="198355"/>
                        <a:pt x="67288" y="187388"/>
                      </a:cubicBezTo>
                      <a:cubicBezTo>
                        <a:pt x="67288" y="176421"/>
                        <a:pt x="79946" y="174524"/>
                        <a:pt x="92604" y="174524"/>
                      </a:cubicBezTo>
                      <a:cubicBezTo>
                        <a:pt x="105261" y="174524"/>
                        <a:pt x="106828" y="158032"/>
                        <a:pt x="116311" y="152548"/>
                      </a:cubicBezTo>
                      <a:cubicBezTo>
                        <a:pt x="125795" y="147065"/>
                        <a:pt x="95696" y="115936"/>
                        <a:pt x="86254" y="112266"/>
                      </a:cubicBezTo>
                      <a:cubicBezTo>
                        <a:pt x="76813" y="108597"/>
                        <a:pt x="94171" y="84807"/>
                        <a:pt x="125795" y="82951"/>
                      </a:cubicBezTo>
                      <a:cubicBezTo>
                        <a:pt x="157418" y="81096"/>
                        <a:pt x="149502" y="68314"/>
                        <a:pt x="167025" y="68314"/>
                      </a:cubicBezTo>
                      <a:lnTo>
                        <a:pt x="169251" y="68314"/>
                      </a:lnTo>
                      <a:cubicBezTo>
                        <a:pt x="166200" y="52317"/>
                        <a:pt x="162366" y="32939"/>
                        <a:pt x="159851" y="22755"/>
                      </a:cubicBezTo>
                      <a:cubicBezTo>
                        <a:pt x="158160" y="15263"/>
                        <a:pt x="157047" y="7656"/>
                        <a:pt x="156511" y="-4"/>
                      </a:cubicBezTo>
                      <a:close/>
                    </a:path>
                  </a:pathLst>
                </a:custGeom>
                <a:solidFill>
                  <a:srgbClr val="D9D9D9"/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63" name="Freeform: Shape 362">
                  <a:extLst>
                    <a:ext uri="{FF2B5EF4-FFF2-40B4-BE49-F238E27FC236}">
                      <a16:creationId xmlns:a16="http://schemas.microsoft.com/office/drawing/2014/main" id="{7A58C4B4-A72C-2A2E-13B8-E22B6A1F2618}"/>
                    </a:ext>
                  </a:extLst>
                </p:cNvPr>
                <p:cNvSpPr/>
                <p:nvPr>
                  <p:custDataLst>
                    <p:tags r:id="rId364"/>
                  </p:custDataLst>
                </p:nvPr>
              </p:nvSpPr>
              <p:spPr>
                <a:xfrm>
                  <a:off x="7897275" y="4327355"/>
                  <a:ext cx="722401" cy="670657"/>
                </a:xfrm>
                <a:custGeom>
                  <a:avLst/>
                  <a:gdLst>
                    <a:gd name="connsiteX0" fmla="*/ 504291 w 843534"/>
                    <a:gd name="connsiteY0" fmla="*/ 163827 h 783113"/>
                    <a:gd name="connsiteX1" fmla="*/ 433085 w 843534"/>
                    <a:gd name="connsiteY1" fmla="*/ 154715 h 783113"/>
                    <a:gd name="connsiteX2" fmla="*/ 385670 w 843534"/>
                    <a:gd name="connsiteY2" fmla="*/ 136368 h 783113"/>
                    <a:gd name="connsiteX3" fmla="*/ 289191 w 843534"/>
                    <a:gd name="connsiteY3" fmla="*/ 53907 h 783113"/>
                    <a:gd name="connsiteX4" fmla="*/ 210070 w 843534"/>
                    <a:gd name="connsiteY4" fmla="*/ 802 h 783113"/>
                    <a:gd name="connsiteX5" fmla="*/ 176838 w 843534"/>
                    <a:gd name="connsiteY5" fmla="*/ 802 h 783113"/>
                    <a:gd name="connsiteX6" fmla="*/ 135608 w 843534"/>
                    <a:gd name="connsiteY6" fmla="*/ 15439 h 783113"/>
                    <a:gd name="connsiteX7" fmla="*/ 96068 w 843534"/>
                    <a:gd name="connsiteY7" fmla="*/ 44754 h 783113"/>
                    <a:gd name="connsiteX8" fmla="*/ 126124 w 843534"/>
                    <a:gd name="connsiteY8" fmla="*/ 85036 h 783113"/>
                    <a:gd name="connsiteX9" fmla="*/ 102417 w 843534"/>
                    <a:gd name="connsiteY9" fmla="*/ 107012 h 783113"/>
                    <a:gd name="connsiteX10" fmla="*/ 77101 w 843534"/>
                    <a:gd name="connsiteY10" fmla="*/ 119876 h 783113"/>
                    <a:gd name="connsiteX11" fmla="*/ 45478 w 843534"/>
                    <a:gd name="connsiteY11" fmla="*/ 147335 h 783113"/>
                    <a:gd name="connsiteX12" fmla="*/ 5649 w 843534"/>
                    <a:gd name="connsiteY12" fmla="*/ 126720 h 783113"/>
                    <a:gd name="connsiteX13" fmla="*/ 1526 w 843534"/>
                    <a:gd name="connsiteY13" fmla="*/ 140037 h 783113"/>
                    <a:gd name="connsiteX14" fmla="*/ 1 w 843534"/>
                    <a:gd name="connsiteY14" fmla="*/ 152407 h 783113"/>
                    <a:gd name="connsiteX15" fmla="*/ 6721 w 843534"/>
                    <a:gd name="connsiteY15" fmla="*/ 205264 h 783113"/>
                    <a:gd name="connsiteX16" fmla="*/ 39252 w 843534"/>
                    <a:gd name="connsiteY16" fmla="*/ 251236 h 783113"/>
                    <a:gd name="connsiteX17" fmla="*/ 97304 w 843534"/>
                    <a:gd name="connsiteY17" fmla="*/ 355467 h 783113"/>
                    <a:gd name="connsiteX18" fmla="*/ 128103 w 843534"/>
                    <a:gd name="connsiteY18" fmla="*/ 406922 h 783113"/>
                    <a:gd name="connsiteX19" fmla="*/ 164221 w 843534"/>
                    <a:gd name="connsiteY19" fmla="*/ 459079 h 783113"/>
                    <a:gd name="connsiteX20" fmla="*/ 174282 w 843534"/>
                    <a:gd name="connsiteY20" fmla="*/ 510493 h 783113"/>
                    <a:gd name="connsiteX21" fmla="*/ 206895 w 843534"/>
                    <a:gd name="connsiteY21" fmla="*/ 588831 h 783113"/>
                    <a:gd name="connsiteX22" fmla="*/ 253073 w 843534"/>
                    <a:gd name="connsiteY22" fmla="*/ 649852 h 783113"/>
                    <a:gd name="connsiteX23" fmla="*/ 289768 w 843534"/>
                    <a:gd name="connsiteY23" fmla="*/ 720521 h 783113"/>
                    <a:gd name="connsiteX24" fmla="*/ 303416 w 843534"/>
                    <a:gd name="connsiteY24" fmla="*/ 756144 h 783113"/>
                    <a:gd name="connsiteX25" fmla="*/ 316609 w 843534"/>
                    <a:gd name="connsiteY25" fmla="*/ 783109 h 783113"/>
                    <a:gd name="connsiteX26" fmla="*/ 335081 w 843534"/>
                    <a:gd name="connsiteY26" fmla="*/ 771400 h 783113"/>
                    <a:gd name="connsiteX27" fmla="*/ 333967 w 843534"/>
                    <a:gd name="connsiteY27" fmla="*/ 746166 h 783113"/>
                    <a:gd name="connsiteX28" fmla="*/ 351119 w 843534"/>
                    <a:gd name="connsiteY28" fmla="*/ 728973 h 783113"/>
                    <a:gd name="connsiteX29" fmla="*/ 380847 w 843534"/>
                    <a:gd name="connsiteY29" fmla="*/ 734251 h 783113"/>
                    <a:gd name="connsiteX30" fmla="*/ 430323 w 843534"/>
                    <a:gd name="connsiteY30" fmla="*/ 739570 h 783113"/>
                    <a:gd name="connsiteX31" fmla="*/ 486396 w 843534"/>
                    <a:gd name="connsiteY31" fmla="*/ 750166 h 783113"/>
                    <a:gd name="connsiteX32" fmla="*/ 513855 w 843534"/>
                    <a:gd name="connsiteY32" fmla="*/ 738250 h 783113"/>
                    <a:gd name="connsiteX33" fmla="*/ 575701 w 843534"/>
                    <a:gd name="connsiteY33" fmla="*/ 675910 h 783113"/>
                    <a:gd name="connsiteX34" fmla="*/ 654699 w 843534"/>
                    <a:gd name="connsiteY34" fmla="*/ 670633 h 783113"/>
                    <a:gd name="connsiteX35" fmla="*/ 816075 w 843534"/>
                    <a:gd name="connsiteY35" fmla="*/ 609652 h 783113"/>
                    <a:gd name="connsiteX36" fmla="*/ 843535 w 843534"/>
                    <a:gd name="connsiteY36" fmla="*/ 512885 h 783113"/>
                    <a:gd name="connsiteX37" fmla="*/ 822920 w 843534"/>
                    <a:gd name="connsiteY37" fmla="*/ 479900 h 783113"/>
                    <a:gd name="connsiteX38" fmla="*/ 722193 w 843534"/>
                    <a:gd name="connsiteY38" fmla="*/ 466665 h 783113"/>
                    <a:gd name="connsiteX39" fmla="*/ 691972 w 843534"/>
                    <a:gd name="connsiteY39" fmla="*/ 416818 h 783113"/>
                    <a:gd name="connsiteX40" fmla="*/ 675480 w 843534"/>
                    <a:gd name="connsiteY40" fmla="*/ 387173 h 783113"/>
                    <a:gd name="connsiteX41" fmla="*/ 641959 w 843534"/>
                    <a:gd name="connsiteY41" fmla="*/ 360456 h 783113"/>
                    <a:gd name="connsiteX42" fmla="*/ 620560 w 843534"/>
                    <a:gd name="connsiteY42" fmla="*/ 310443 h 783113"/>
                    <a:gd name="connsiteX43" fmla="*/ 602790 w 843534"/>
                    <a:gd name="connsiteY43" fmla="*/ 260389 h 783113"/>
                    <a:gd name="connsiteX44" fmla="*/ 561931 w 843534"/>
                    <a:gd name="connsiteY44" fmla="*/ 205511 h 783113"/>
                    <a:gd name="connsiteX45" fmla="*/ 556612 w 843534"/>
                    <a:gd name="connsiteY45" fmla="*/ 185927 h 783113"/>
                    <a:gd name="connsiteX46" fmla="*/ 524699 w 843534"/>
                    <a:gd name="connsiteY46" fmla="*/ 184072 h 7831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</a:cxnLst>
                  <a:rect l="l" t="t" r="r" b="b"/>
                  <a:pathLst>
                    <a:path w="843534" h="783113">
                      <a:moveTo>
                        <a:pt x="504291" y="163827"/>
                      </a:moveTo>
                      <a:cubicBezTo>
                        <a:pt x="504291" y="163827"/>
                        <a:pt x="442445" y="154715"/>
                        <a:pt x="433085" y="154715"/>
                      </a:cubicBezTo>
                      <a:cubicBezTo>
                        <a:pt x="423726" y="154715"/>
                        <a:pt x="399895" y="151005"/>
                        <a:pt x="385670" y="136368"/>
                      </a:cubicBezTo>
                      <a:cubicBezTo>
                        <a:pt x="371446" y="121731"/>
                        <a:pt x="301849" y="61246"/>
                        <a:pt x="289191" y="53907"/>
                      </a:cubicBezTo>
                      <a:cubicBezTo>
                        <a:pt x="276533" y="46568"/>
                        <a:pt x="224336" y="2616"/>
                        <a:pt x="210070" y="802"/>
                      </a:cubicBezTo>
                      <a:cubicBezTo>
                        <a:pt x="195804" y="-1012"/>
                        <a:pt x="194278" y="802"/>
                        <a:pt x="176838" y="802"/>
                      </a:cubicBezTo>
                      <a:cubicBezTo>
                        <a:pt x="159398" y="802"/>
                        <a:pt x="167396" y="13625"/>
                        <a:pt x="135608" y="15439"/>
                      </a:cubicBezTo>
                      <a:cubicBezTo>
                        <a:pt x="103819" y="17253"/>
                        <a:pt x="86584" y="41126"/>
                        <a:pt x="96068" y="44754"/>
                      </a:cubicBezTo>
                      <a:cubicBezTo>
                        <a:pt x="105550" y="48382"/>
                        <a:pt x="135608" y="79552"/>
                        <a:pt x="126124" y="85036"/>
                      </a:cubicBezTo>
                      <a:cubicBezTo>
                        <a:pt x="116642" y="90520"/>
                        <a:pt x="115075" y="107012"/>
                        <a:pt x="102417" y="107012"/>
                      </a:cubicBezTo>
                      <a:cubicBezTo>
                        <a:pt x="89759" y="107012"/>
                        <a:pt x="77101" y="108867"/>
                        <a:pt x="77101" y="119876"/>
                      </a:cubicBezTo>
                      <a:cubicBezTo>
                        <a:pt x="77101" y="130884"/>
                        <a:pt x="59702" y="149149"/>
                        <a:pt x="45478" y="147335"/>
                      </a:cubicBezTo>
                      <a:cubicBezTo>
                        <a:pt x="37232" y="146305"/>
                        <a:pt x="19502" y="135750"/>
                        <a:pt x="5649" y="126720"/>
                      </a:cubicBezTo>
                      <a:lnTo>
                        <a:pt x="1526" y="140037"/>
                      </a:lnTo>
                      <a:lnTo>
                        <a:pt x="1" y="152407"/>
                      </a:lnTo>
                      <a:cubicBezTo>
                        <a:pt x="2763" y="162137"/>
                        <a:pt x="-1401" y="202130"/>
                        <a:pt x="6721" y="205264"/>
                      </a:cubicBezTo>
                      <a:cubicBezTo>
                        <a:pt x="15586" y="208686"/>
                        <a:pt x="20327" y="227199"/>
                        <a:pt x="39252" y="251236"/>
                      </a:cubicBezTo>
                      <a:cubicBezTo>
                        <a:pt x="58177" y="275273"/>
                        <a:pt x="96686" y="339717"/>
                        <a:pt x="97304" y="355467"/>
                      </a:cubicBezTo>
                      <a:cubicBezTo>
                        <a:pt x="97923" y="371217"/>
                        <a:pt x="104396" y="388451"/>
                        <a:pt x="128103" y="406922"/>
                      </a:cubicBezTo>
                      <a:cubicBezTo>
                        <a:pt x="151811" y="425394"/>
                        <a:pt x="151811" y="448153"/>
                        <a:pt x="164221" y="459079"/>
                      </a:cubicBezTo>
                      <a:cubicBezTo>
                        <a:pt x="176632" y="470005"/>
                        <a:pt x="173704" y="483075"/>
                        <a:pt x="174282" y="510493"/>
                      </a:cubicBezTo>
                      <a:cubicBezTo>
                        <a:pt x="174859" y="537911"/>
                        <a:pt x="185579" y="573576"/>
                        <a:pt x="206895" y="588831"/>
                      </a:cubicBezTo>
                      <a:cubicBezTo>
                        <a:pt x="228912" y="603220"/>
                        <a:pt x="245239" y="624784"/>
                        <a:pt x="253073" y="649852"/>
                      </a:cubicBezTo>
                      <a:cubicBezTo>
                        <a:pt x="263133" y="679332"/>
                        <a:pt x="276162" y="704730"/>
                        <a:pt x="289768" y="720521"/>
                      </a:cubicBezTo>
                      <a:cubicBezTo>
                        <a:pt x="303375" y="736312"/>
                        <a:pt x="295705" y="744476"/>
                        <a:pt x="303416" y="756144"/>
                      </a:cubicBezTo>
                      <a:cubicBezTo>
                        <a:pt x="308816" y="764638"/>
                        <a:pt x="313228" y="773667"/>
                        <a:pt x="316609" y="783109"/>
                      </a:cubicBezTo>
                      <a:cubicBezTo>
                        <a:pt x="327123" y="777254"/>
                        <a:pt x="334463" y="772760"/>
                        <a:pt x="335081" y="771400"/>
                      </a:cubicBezTo>
                      <a:cubicBezTo>
                        <a:pt x="337348" y="766081"/>
                        <a:pt x="330504" y="751485"/>
                        <a:pt x="333967" y="746166"/>
                      </a:cubicBezTo>
                      <a:cubicBezTo>
                        <a:pt x="337431" y="740848"/>
                        <a:pt x="344234" y="731571"/>
                        <a:pt x="351119" y="728973"/>
                      </a:cubicBezTo>
                      <a:cubicBezTo>
                        <a:pt x="358005" y="726376"/>
                        <a:pt x="365962" y="736890"/>
                        <a:pt x="380847" y="734251"/>
                      </a:cubicBezTo>
                      <a:cubicBezTo>
                        <a:pt x="395730" y="731612"/>
                        <a:pt x="426653" y="735570"/>
                        <a:pt x="430323" y="739570"/>
                      </a:cubicBezTo>
                      <a:cubicBezTo>
                        <a:pt x="433992" y="743569"/>
                        <a:pt x="476089" y="740889"/>
                        <a:pt x="486396" y="750166"/>
                      </a:cubicBezTo>
                      <a:cubicBezTo>
                        <a:pt x="496704" y="759443"/>
                        <a:pt x="507011" y="756804"/>
                        <a:pt x="513855" y="738250"/>
                      </a:cubicBezTo>
                      <a:cubicBezTo>
                        <a:pt x="520700" y="719696"/>
                        <a:pt x="568775" y="679909"/>
                        <a:pt x="575701" y="675910"/>
                      </a:cubicBezTo>
                      <a:cubicBezTo>
                        <a:pt x="582628" y="671910"/>
                        <a:pt x="634084" y="675910"/>
                        <a:pt x="654699" y="670633"/>
                      </a:cubicBezTo>
                      <a:cubicBezTo>
                        <a:pt x="675314" y="665355"/>
                        <a:pt x="810344" y="614971"/>
                        <a:pt x="816075" y="609652"/>
                      </a:cubicBezTo>
                      <a:cubicBezTo>
                        <a:pt x="821806" y="604334"/>
                        <a:pt x="843535" y="522162"/>
                        <a:pt x="843535" y="512885"/>
                      </a:cubicBezTo>
                      <a:cubicBezTo>
                        <a:pt x="843535" y="503608"/>
                        <a:pt x="833227" y="478416"/>
                        <a:pt x="822920" y="479900"/>
                      </a:cubicBezTo>
                      <a:cubicBezTo>
                        <a:pt x="812612" y="481385"/>
                        <a:pt x="728090" y="470623"/>
                        <a:pt x="722193" y="466665"/>
                      </a:cubicBezTo>
                      <a:cubicBezTo>
                        <a:pt x="717576" y="463449"/>
                        <a:pt x="695105" y="443824"/>
                        <a:pt x="691972" y="416818"/>
                      </a:cubicBezTo>
                      <a:cubicBezTo>
                        <a:pt x="683808" y="408654"/>
                        <a:pt x="678118" y="398388"/>
                        <a:pt x="675480" y="387173"/>
                      </a:cubicBezTo>
                      <a:cubicBezTo>
                        <a:pt x="665707" y="388616"/>
                        <a:pt x="650452" y="386019"/>
                        <a:pt x="641959" y="360456"/>
                      </a:cubicBezTo>
                      <a:cubicBezTo>
                        <a:pt x="634125" y="354230"/>
                        <a:pt x="613345" y="320008"/>
                        <a:pt x="620560" y="310443"/>
                      </a:cubicBezTo>
                      <a:cubicBezTo>
                        <a:pt x="629466" y="298816"/>
                        <a:pt x="615860" y="274119"/>
                        <a:pt x="602790" y="260389"/>
                      </a:cubicBezTo>
                      <a:cubicBezTo>
                        <a:pt x="589720" y="246659"/>
                        <a:pt x="563126" y="221303"/>
                        <a:pt x="561931" y="205511"/>
                      </a:cubicBezTo>
                      <a:cubicBezTo>
                        <a:pt x="560817" y="198815"/>
                        <a:pt x="559045" y="192256"/>
                        <a:pt x="556612" y="185927"/>
                      </a:cubicBezTo>
                      <a:lnTo>
                        <a:pt x="524699" y="184072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64" name="Freeform: Shape 363">
                  <a:extLst>
                    <a:ext uri="{FF2B5EF4-FFF2-40B4-BE49-F238E27FC236}">
                      <a16:creationId xmlns:a16="http://schemas.microsoft.com/office/drawing/2014/main" id="{6E524B93-211B-488F-1BC4-7729307027C5}"/>
                    </a:ext>
                  </a:extLst>
                </p:cNvPr>
                <p:cNvSpPr/>
                <p:nvPr>
                  <p:custDataLst>
                    <p:tags r:id="rId365"/>
                  </p:custDataLst>
                </p:nvPr>
              </p:nvSpPr>
              <p:spPr>
                <a:xfrm>
                  <a:off x="8491041" y="4635031"/>
                  <a:ext cx="271108" cy="355816"/>
                </a:xfrm>
                <a:custGeom>
                  <a:avLst/>
                  <a:gdLst>
                    <a:gd name="connsiteX0" fmla="*/ 231139 w 316567"/>
                    <a:gd name="connsiteY0" fmla="*/ 240081 h 415479"/>
                    <a:gd name="connsiteX1" fmla="*/ 298592 w 316567"/>
                    <a:gd name="connsiteY1" fmla="*/ 145539 h 415479"/>
                    <a:gd name="connsiteX2" fmla="*/ 316568 w 316567"/>
                    <a:gd name="connsiteY2" fmla="*/ 129047 h 415479"/>
                    <a:gd name="connsiteX3" fmla="*/ 311414 w 316567"/>
                    <a:gd name="connsiteY3" fmla="*/ 127068 h 415479"/>
                    <a:gd name="connsiteX4" fmla="*/ 277688 w 316567"/>
                    <a:gd name="connsiteY4" fmla="*/ 78334 h 415479"/>
                    <a:gd name="connsiteX5" fmla="*/ 210730 w 316567"/>
                    <a:gd name="connsiteY5" fmla="*/ 49472 h 415479"/>
                    <a:gd name="connsiteX6" fmla="*/ 189166 w 316567"/>
                    <a:gd name="connsiteY6" fmla="*/ -4 h 415479"/>
                    <a:gd name="connsiteX7" fmla="*/ 175271 w 316567"/>
                    <a:gd name="connsiteY7" fmla="*/ 9190 h 415479"/>
                    <a:gd name="connsiteX8" fmla="*/ 160140 w 316567"/>
                    <a:gd name="connsiteY8" fmla="*/ 9190 h 415479"/>
                    <a:gd name="connsiteX9" fmla="*/ 160140 w 316567"/>
                    <a:gd name="connsiteY9" fmla="*/ 44319 h 415479"/>
                    <a:gd name="connsiteX10" fmla="*/ 134825 w 316567"/>
                    <a:gd name="connsiteY10" fmla="*/ 81426 h 415479"/>
                    <a:gd name="connsiteX11" fmla="*/ 121342 w 316567"/>
                    <a:gd name="connsiteY11" fmla="*/ 120513 h 415479"/>
                    <a:gd name="connsiteX12" fmla="*/ 129589 w 316567"/>
                    <a:gd name="connsiteY12" fmla="*/ 120513 h 415479"/>
                    <a:gd name="connsiteX13" fmla="*/ 150204 w 316567"/>
                    <a:gd name="connsiteY13" fmla="*/ 153497 h 415479"/>
                    <a:gd name="connsiteX14" fmla="*/ 122744 w 316567"/>
                    <a:gd name="connsiteY14" fmla="*/ 250265 h 415479"/>
                    <a:gd name="connsiteX15" fmla="*/ 1 w 316567"/>
                    <a:gd name="connsiteY15" fmla="*/ 298257 h 415479"/>
                    <a:gd name="connsiteX16" fmla="*/ 49065 w 316567"/>
                    <a:gd name="connsiteY16" fmla="*/ 415475 h 415479"/>
                    <a:gd name="connsiteX17" fmla="*/ 59208 w 316567"/>
                    <a:gd name="connsiteY17" fmla="*/ 409786 h 415479"/>
                    <a:gd name="connsiteX18" fmla="*/ 72071 w 316567"/>
                    <a:gd name="connsiteY18" fmla="*/ 403477 h 415479"/>
                    <a:gd name="connsiteX19" fmla="*/ 80317 w 316567"/>
                    <a:gd name="connsiteY19" fmla="*/ 399354 h 415479"/>
                    <a:gd name="connsiteX20" fmla="*/ 133175 w 316567"/>
                    <a:gd name="connsiteY20" fmla="*/ 375482 h 415479"/>
                    <a:gd name="connsiteX21" fmla="*/ 139979 w 316567"/>
                    <a:gd name="connsiteY21" fmla="*/ 360350 h 415479"/>
                    <a:gd name="connsiteX22" fmla="*/ 159481 w 316567"/>
                    <a:gd name="connsiteY22" fmla="*/ 352640 h 415479"/>
                    <a:gd name="connsiteX23" fmla="*/ 171850 w 316567"/>
                    <a:gd name="connsiteY23" fmla="*/ 342332 h 415479"/>
                    <a:gd name="connsiteX24" fmla="*/ 180920 w 316567"/>
                    <a:gd name="connsiteY24" fmla="*/ 337467 h 415479"/>
                    <a:gd name="connsiteX25" fmla="*/ 189784 w 316567"/>
                    <a:gd name="connsiteY25" fmla="*/ 332066 h 415479"/>
                    <a:gd name="connsiteX26" fmla="*/ 196547 w 316567"/>
                    <a:gd name="connsiteY26" fmla="*/ 327448 h 415479"/>
                    <a:gd name="connsiteX27" fmla="*/ 209823 w 316567"/>
                    <a:gd name="connsiteY27" fmla="*/ 309637 h 415479"/>
                    <a:gd name="connsiteX28" fmla="*/ 217327 w 316567"/>
                    <a:gd name="connsiteY28" fmla="*/ 307080 h 415479"/>
                    <a:gd name="connsiteX29" fmla="*/ 226191 w 316567"/>
                    <a:gd name="connsiteY29" fmla="*/ 294134 h 415479"/>
                    <a:gd name="connsiteX30" fmla="*/ 231139 w 316567"/>
                    <a:gd name="connsiteY30" fmla="*/ 240081 h 4154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316567" h="415479">
                      <a:moveTo>
                        <a:pt x="231139" y="240081"/>
                      </a:moveTo>
                      <a:cubicBezTo>
                        <a:pt x="257815" y="211756"/>
                        <a:pt x="276492" y="177617"/>
                        <a:pt x="298592" y="145539"/>
                      </a:cubicBezTo>
                      <a:cubicBezTo>
                        <a:pt x="303209" y="138736"/>
                        <a:pt x="309394" y="133088"/>
                        <a:pt x="316568" y="129047"/>
                      </a:cubicBezTo>
                      <a:cubicBezTo>
                        <a:pt x="315002" y="128058"/>
                        <a:pt x="313269" y="127357"/>
                        <a:pt x="311414" y="127068"/>
                      </a:cubicBezTo>
                      <a:cubicBezTo>
                        <a:pt x="300158" y="125007"/>
                        <a:pt x="282553" y="88642"/>
                        <a:pt x="277688" y="78334"/>
                      </a:cubicBezTo>
                      <a:cubicBezTo>
                        <a:pt x="272823" y="68026"/>
                        <a:pt x="238560" y="74912"/>
                        <a:pt x="210730" y="49472"/>
                      </a:cubicBezTo>
                      <a:cubicBezTo>
                        <a:pt x="199433" y="39165"/>
                        <a:pt x="193166" y="19663"/>
                        <a:pt x="189166" y="-4"/>
                      </a:cubicBezTo>
                      <a:lnTo>
                        <a:pt x="175271" y="9190"/>
                      </a:lnTo>
                      <a:lnTo>
                        <a:pt x="160140" y="9190"/>
                      </a:lnTo>
                      <a:lnTo>
                        <a:pt x="160140" y="44319"/>
                      </a:lnTo>
                      <a:lnTo>
                        <a:pt x="134825" y="81426"/>
                      </a:lnTo>
                      <a:lnTo>
                        <a:pt x="121342" y="120513"/>
                      </a:lnTo>
                      <a:cubicBezTo>
                        <a:pt x="124105" y="120718"/>
                        <a:pt x="126825" y="120718"/>
                        <a:pt x="129589" y="120513"/>
                      </a:cubicBezTo>
                      <a:cubicBezTo>
                        <a:pt x="139896" y="119193"/>
                        <a:pt x="150204" y="144344"/>
                        <a:pt x="150204" y="153497"/>
                      </a:cubicBezTo>
                      <a:cubicBezTo>
                        <a:pt x="150204" y="162650"/>
                        <a:pt x="128475" y="244987"/>
                        <a:pt x="122744" y="250265"/>
                      </a:cubicBezTo>
                      <a:cubicBezTo>
                        <a:pt x="118621" y="254099"/>
                        <a:pt x="47210" y="281353"/>
                        <a:pt x="1" y="298257"/>
                      </a:cubicBezTo>
                      <a:cubicBezTo>
                        <a:pt x="10226" y="322995"/>
                        <a:pt x="30677" y="371771"/>
                        <a:pt x="49065" y="415475"/>
                      </a:cubicBezTo>
                      <a:cubicBezTo>
                        <a:pt x="52611" y="413867"/>
                        <a:pt x="55992" y="411970"/>
                        <a:pt x="59208" y="409786"/>
                      </a:cubicBezTo>
                      <a:cubicBezTo>
                        <a:pt x="63207" y="407147"/>
                        <a:pt x="67537" y="405003"/>
                        <a:pt x="72071" y="403477"/>
                      </a:cubicBezTo>
                      <a:cubicBezTo>
                        <a:pt x="74711" y="401869"/>
                        <a:pt x="77473" y="400509"/>
                        <a:pt x="80317" y="399354"/>
                      </a:cubicBezTo>
                      <a:cubicBezTo>
                        <a:pt x="98377" y="392427"/>
                        <a:pt x="116024" y="384470"/>
                        <a:pt x="133175" y="375482"/>
                      </a:cubicBezTo>
                      <a:cubicBezTo>
                        <a:pt x="133340" y="369751"/>
                        <a:pt x="135773" y="364308"/>
                        <a:pt x="139979" y="360350"/>
                      </a:cubicBezTo>
                      <a:cubicBezTo>
                        <a:pt x="145255" y="355402"/>
                        <a:pt x="152224" y="352640"/>
                        <a:pt x="159481" y="352640"/>
                      </a:cubicBezTo>
                      <a:cubicBezTo>
                        <a:pt x="162697" y="348228"/>
                        <a:pt x="166943" y="344683"/>
                        <a:pt x="171850" y="342332"/>
                      </a:cubicBezTo>
                      <a:cubicBezTo>
                        <a:pt x="175066" y="340807"/>
                        <a:pt x="177993" y="339117"/>
                        <a:pt x="180920" y="337467"/>
                      </a:cubicBezTo>
                      <a:cubicBezTo>
                        <a:pt x="183641" y="335282"/>
                        <a:pt x="186610" y="333468"/>
                        <a:pt x="189784" y="332066"/>
                      </a:cubicBezTo>
                      <a:cubicBezTo>
                        <a:pt x="192052" y="330540"/>
                        <a:pt x="194444" y="329056"/>
                        <a:pt x="196547" y="327448"/>
                      </a:cubicBezTo>
                      <a:cubicBezTo>
                        <a:pt x="200092" y="319573"/>
                        <a:pt x="204256" y="312276"/>
                        <a:pt x="209823" y="309637"/>
                      </a:cubicBezTo>
                      <a:cubicBezTo>
                        <a:pt x="212214" y="308523"/>
                        <a:pt x="214729" y="307658"/>
                        <a:pt x="217327" y="307080"/>
                      </a:cubicBezTo>
                      <a:cubicBezTo>
                        <a:pt x="220542" y="302957"/>
                        <a:pt x="223512" y="298628"/>
                        <a:pt x="226191" y="294134"/>
                      </a:cubicBezTo>
                      <a:cubicBezTo>
                        <a:pt x="214894" y="277188"/>
                        <a:pt x="216956" y="254677"/>
                        <a:pt x="231139" y="240081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65" name="Freeform: Shape 364">
                  <a:extLst>
                    <a:ext uri="{FF2B5EF4-FFF2-40B4-BE49-F238E27FC236}">
                      <a16:creationId xmlns:a16="http://schemas.microsoft.com/office/drawing/2014/main" id="{805B79CC-6DF4-69BC-930A-DA3B900989EE}"/>
                    </a:ext>
                  </a:extLst>
                </p:cNvPr>
                <p:cNvSpPr/>
                <p:nvPr>
                  <p:custDataLst>
                    <p:tags r:id="rId366"/>
                  </p:custDataLst>
                </p:nvPr>
              </p:nvSpPr>
              <p:spPr>
                <a:xfrm>
                  <a:off x="8489948" y="4585662"/>
                  <a:ext cx="163096" cy="152651"/>
                </a:xfrm>
                <a:custGeom>
                  <a:avLst/>
                  <a:gdLst>
                    <a:gd name="connsiteX0" fmla="*/ 30015 w 190443"/>
                    <a:gd name="connsiteY0" fmla="*/ 165091 h 178248"/>
                    <a:gd name="connsiteX1" fmla="*/ 122579 w 190443"/>
                    <a:gd name="connsiteY1" fmla="*/ 178244 h 178248"/>
                    <a:gd name="connsiteX2" fmla="*/ 136061 w 190443"/>
                    <a:gd name="connsiteY2" fmla="*/ 139158 h 178248"/>
                    <a:gd name="connsiteX3" fmla="*/ 161376 w 190443"/>
                    <a:gd name="connsiteY3" fmla="*/ 102050 h 178248"/>
                    <a:gd name="connsiteX4" fmla="*/ 161376 w 190443"/>
                    <a:gd name="connsiteY4" fmla="*/ 66922 h 178248"/>
                    <a:gd name="connsiteX5" fmla="*/ 176549 w 190443"/>
                    <a:gd name="connsiteY5" fmla="*/ 66922 h 178248"/>
                    <a:gd name="connsiteX6" fmla="*/ 190444 w 190443"/>
                    <a:gd name="connsiteY6" fmla="*/ 57727 h 178248"/>
                    <a:gd name="connsiteX7" fmla="*/ 179476 w 190443"/>
                    <a:gd name="connsiteY7" fmla="*/ 5 h 178248"/>
                    <a:gd name="connsiteX8" fmla="*/ 131484 w 190443"/>
                    <a:gd name="connsiteY8" fmla="*/ 62428 h 178248"/>
                    <a:gd name="connsiteX9" fmla="*/ 55662 w 190443"/>
                    <a:gd name="connsiteY9" fmla="*/ 103658 h 178248"/>
                    <a:gd name="connsiteX10" fmla="*/ 8247 w 190443"/>
                    <a:gd name="connsiteY10" fmla="*/ 118047 h 178248"/>
                    <a:gd name="connsiteX11" fmla="*/ 1 w 190443"/>
                    <a:gd name="connsiteY11" fmla="*/ 115367 h 178248"/>
                    <a:gd name="connsiteX12" fmla="*/ 30015 w 190443"/>
                    <a:gd name="connsiteY12" fmla="*/ 165091 h 1782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90443" h="178248">
                      <a:moveTo>
                        <a:pt x="30015" y="165091"/>
                      </a:moveTo>
                      <a:cubicBezTo>
                        <a:pt x="34964" y="168514"/>
                        <a:pt x="98541" y="176842"/>
                        <a:pt x="122579" y="178244"/>
                      </a:cubicBezTo>
                      <a:lnTo>
                        <a:pt x="136061" y="139158"/>
                      </a:lnTo>
                      <a:lnTo>
                        <a:pt x="161376" y="102050"/>
                      </a:lnTo>
                      <a:lnTo>
                        <a:pt x="161376" y="66922"/>
                      </a:lnTo>
                      <a:lnTo>
                        <a:pt x="176549" y="66922"/>
                      </a:lnTo>
                      <a:lnTo>
                        <a:pt x="190444" y="57727"/>
                      </a:lnTo>
                      <a:cubicBezTo>
                        <a:pt x="184589" y="29155"/>
                        <a:pt x="183681" y="458"/>
                        <a:pt x="179476" y="5"/>
                      </a:cubicBezTo>
                      <a:cubicBezTo>
                        <a:pt x="172343" y="-655"/>
                        <a:pt x="143318" y="35669"/>
                        <a:pt x="131484" y="62428"/>
                      </a:cubicBezTo>
                      <a:cubicBezTo>
                        <a:pt x="119651" y="89186"/>
                        <a:pt x="85306" y="109719"/>
                        <a:pt x="55662" y="103658"/>
                      </a:cubicBezTo>
                      <a:cubicBezTo>
                        <a:pt x="26016" y="97597"/>
                        <a:pt x="15997" y="111904"/>
                        <a:pt x="8247" y="118047"/>
                      </a:cubicBezTo>
                      <a:cubicBezTo>
                        <a:pt x="6308" y="119656"/>
                        <a:pt x="3175" y="118377"/>
                        <a:pt x="1" y="115367"/>
                      </a:cubicBezTo>
                      <a:cubicBezTo>
                        <a:pt x="2928" y="142250"/>
                        <a:pt x="25357" y="161875"/>
                        <a:pt x="30015" y="165091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66" name="Freeform: Shape 365">
                  <a:extLst>
                    <a:ext uri="{FF2B5EF4-FFF2-40B4-BE49-F238E27FC236}">
                      <a16:creationId xmlns:a16="http://schemas.microsoft.com/office/drawing/2014/main" id="{576A6558-9AF5-E6E7-5847-3CD52D9DC810}"/>
                    </a:ext>
                  </a:extLst>
                </p:cNvPr>
                <p:cNvSpPr/>
                <p:nvPr>
                  <p:custDataLst>
                    <p:tags r:id="rId367"/>
                  </p:custDataLst>
                </p:nvPr>
              </p:nvSpPr>
              <p:spPr>
                <a:xfrm>
                  <a:off x="8039817" y="4086593"/>
                  <a:ext cx="335760" cy="377928"/>
                </a:xfrm>
                <a:custGeom>
                  <a:avLst/>
                  <a:gdLst>
                    <a:gd name="connsiteX0" fmla="*/ 329762 w 392060"/>
                    <a:gd name="connsiteY0" fmla="*/ 400559 h 441299"/>
                    <a:gd name="connsiteX1" fmla="*/ 348068 w 392060"/>
                    <a:gd name="connsiteY1" fmla="*/ 383490 h 441299"/>
                    <a:gd name="connsiteX2" fmla="*/ 374579 w 392060"/>
                    <a:gd name="connsiteY2" fmla="*/ 400766 h 441299"/>
                    <a:gd name="connsiteX3" fmla="*/ 392061 w 392060"/>
                    <a:gd name="connsiteY3" fmla="*/ 389881 h 441299"/>
                    <a:gd name="connsiteX4" fmla="*/ 369467 w 392060"/>
                    <a:gd name="connsiteY4" fmla="*/ 353392 h 441299"/>
                    <a:gd name="connsiteX5" fmla="*/ 355201 w 392060"/>
                    <a:gd name="connsiteY5" fmla="*/ 322222 h 441299"/>
                    <a:gd name="connsiteX6" fmla="*/ 358376 w 392060"/>
                    <a:gd name="connsiteY6" fmla="*/ 291093 h 441299"/>
                    <a:gd name="connsiteX7" fmla="*/ 339451 w 392060"/>
                    <a:gd name="connsiteY7" fmla="*/ 263633 h 441299"/>
                    <a:gd name="connsiteX8" fmla="*/ 295087 w 392060"/>
                    <a:gd name="connsiteY8" fmla="*/ 228834 h 441299"/>
                    <a:gd name="connsiteX9" fmla="*/ 276163 w 392060"/>
                    <a:gd name="connsiteY9" fmla="*/ 203189 h 441299"/>
                    <a:gd name="connsiteX10" fmla="*/ 271420 w 392060"/>
                    <a:gd name="connsiteY10" fmla="*/ 161011 h 441299"/>
                    <a:gd name="connsiteX11" fmla="*/ 287212 w 392060"/>
                    <a:gd name="connsiteY11" fmla="*/ 124398 h 441299"/>
                    <a:gd name="connsiteX12" fmla="*/ 291953 w 392060"/>
                    <a:gd name="connsiteY12" fmla="*/ 96897 h 441299"/>
                    <a:gd name="connsiteX13" fmla="*/ 276163 w 392060"/>
                    <a:gd name="connsiteY13" fmla="*/ 80405 h 441299"/>
                    <a:gd name="connsiteX14" fmla="*/ 253980 w 392060"/>
                    <a:gd name="connsiteY14" fmla="*/ 52904 h 441299"/>
                    <a:gd name="connsiteX15" fmla="*/ 239756 w 392060"/>
                    <a:gd name="connsiteY15" fmla="*/ 16291 h 441299"/>
                    <a:gd name="connsiteX16" fmla="*/ 197453 w 392060"/>
                    <a:gd name="connsiteY16" fmla="*/ 8540 h 441299"/>
                    <a:gd name="connsiteX17" fmla="*/ 161912 w 392060"/>
                    <a:gd name="connsiteY17" fmla="*/ 294 h 441299"/>
                    <a:gd name="connsiteX18" fmla="*/ 144060 w 392060"/>
                    <a:gd name="connsiteY18" fmla="*/ 15962 h 441299"/>
                    <a:gd name="connsiteX19" fmla="*/ 144843 w 392060"/>
                    <a:gd name="connsiteY19" fmla="*/ 16250 h 441299"/>
                    <a:gd name="connsiteX20" fmla="*/ 121136 w 392060"/>
                    <a:gd name="connsiteY20" fmla="*/ 36412 h 441299"/>
                    <a:gd name="connsiteX21" fmla="*/ 95820 w 392060"/>
                    <a:gd name="connsiteY21" fmla="*/ 58347 h 441299"/>
                    <a:gd name="connsiteX22" fmla="*/ 98995 w 392060"/>
                    <a:gd name="connsiteY22" fmla="*/ 96815 h 441299"/>
                    <a:gd name="connsiteX23" fmla="*/ 95820 w 392060"/>
                    <a:gd name="connsiteY23" fmla="*/ 133469 h 441299"/>
                    <a:gd name="connsiteX24" fmla="*/ 86296 w 392060"/>
                    <a:gd name="connsiteY24" fmla="*/ 160928 h 441299"/>
                    <a:gd name="connsiteX25" fmla="*/ 1 w 392060"/>
                    <a:gd name="connsiteY25" fmla="*/ 213538 h 441299"/>
                    <a:gd name="connsiteX26" fmla="*/ 3217 w 392060"/>
                    <a:gd name="connsiteY26" fmla="*/ 236256 h 441299"/>
                    <a:gd name="connsiteX27" fmla="*/ 12617 w 392060"/>
                    <a:gd name="connsiteY27" fmla="*/ 281816 h 441299"/>
                    <a:gd name="connsiteX28" fmla="*/ 43622 w 392060"/>
                    <a:gd name="connsiteY28" fmla="*/ 281816 h 441299"/>
                    <a:gd name="connsiteX29" fmla="*/ 122744 w 392060"/>
                    <a:gd name="connsiteY29" fmla="*/ 334921 h 441299"/>
                    <a:gd name="connsiteX30" fmla="*/ 219223 w 392060"/>
                    <a:gd name="connsiteY30" fmla="*/ 417381 h 441299"/>
                    <a:gd name="connsiteX31" fmla="*/ 266638 w 392060"/>
                    <a:gd name="connsiteY31" fmla="*/ 435729 h 441299"/>
                    <a:gd name="connsiteX32" fmla="*/ 313105 w 392060"/>
                    <a:gd name="connsiteY32" fmla="*/ 441295 h 441299"/>
                    <a:gd name="connsiteX33" fmla="*/ 329762 w 392060"/>
                    <a:gd name="connsiteY33" fmla="*/ 400559 h 4412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</a:cxnLst>
                  <a:rect l="l" t="t" r="r" b="b"/>
                  <a:pathLst>
                    <a:path w="392060" h="441298">
                      <a:moveTo>
                        <a:pt x="329762" y="400559"/>
                      </a:moveTo>
                      <a:cubicBezTo>
                        <a:pt x="334875" y="394292"/>
                        <a:pt x="335782" y="385593"/>
                        <a:pt x="348068" y="383490"/>
                      </a:cubicBezTo>
                      <a:cubicBezTo>
                        <a:pt x="357798" y="381841"/>
                        <a:pt x="363860" y="389221"/>
                        <a:pt x="374579" y="400766"/>
                      </a:cubicBezTo>
                      <a:cubicBezTo>
                        <a:pt x="379444" y="395764"/>
                        <a:pt x="385423" y="392029"/>
                        <a:pt x="392061" y="389881"/>
                      </a:cubicBezTo>
                      <a:cubicBezTo>
                        <a:pt x="381383" y="377058"/>
                        <a:pt x="368518" y="362215"/>
                        <a:pt x="369467" y="353392"/>
                      </a:cubicBezTo>
                      <a:cubicBezTo>
                        <a:pt x="371034" y="338714"/>
                        <a:pt x="356809" y="331416"/>
                        <a:pt x="355201" y="322222"/>
                      </a:cubicBezTo>
                      <a:cubicBezTo>
                        <a:pt x="353592" y="313027"/>
                        <a:pt x="364726" y="298431"/>
                        <a:pt x="358376" y="291093"/>
                      </a:cubicBezTo>
                      <a:cubicBezTo>
                        <a:pt x="352026" y="283753"/>
                        <a:pt x="350460" y="265447"/>
                        <a:pt x="339451" y="263633"/>
                      </a:cubicBezTo>
                      <a:cubicBezTo>
                        <a:pt x="328443" y="261819"/>
                        <a:pt x="293520" y="241657"/>
                        <a:pt x="295087" y="228834"/>
                      </a:cubicBezTo>
                      <a:cubicBezTo>
                        <a:pt x="296654" y="216012"/>
                        <a:pt x="282470" y="206817"/>
                        <a:pt x="276163" y="203189"/>
                      </a:cubicBezTo>
                      <a:cubicBezTo>
                        <a:pt x="269854" y="199561"/>
                        <a:pt x="263463" y="166535"/>
                        <a:pt x="271420" y="161011"/>
                      </a:cubicBezTo>
                      <a:cubicBezTo>
                        <a:pt x="279378" y="155486"/>
                        <a:pt x="277729" y="124398"/>
                        <a:pt x="287212" y="124398"/>
                      </a:cubicBezTo>
                      <a:cubicBezTo>
                        <a:pt x="296695" y="124398"/>
                        <a:pt x="288778" y="107906"/>
                        <a:pt x="291953" y="96897"/>
                      </a:cubicBezTo>
                      <a:cubicBezTo>
                        <a:pt x="295128" y="85888"/>
                        <a:pt x="284078" y="80405"/>
                        <a:pt x="276163" y="80405"/>
                      </a:cubicBezTo>
                      <a:cubicBezTo>
                        <a:pt x="268246" y="80405"/>
                        <a:pt x="253980" y="65727"/>
                        <a:pt x="253980" y="52904"/>
                      </a:cubicBezTo>
                      <a:cubicBezTo>
                        <a:pt x="253980" y="40081"/>
                        <a:pt x="238147" y="21775"/>
                        <a:pt x="239756" y="16291"/>
                      </a:cubicBezTo>
                      <a:cubicBezTo>
                        <a:pt x="237035" y="40453"/>
                        <a:pt x="206771" y="3057"/>
                        <a:pt x="197453" y="8540"/>
                      </a:cubicBezTo>
                      <a:cubicBezTo>
                        <a:pt x="188135" y="14024"/>
                        <a:pt x="180961" y="-2386"/>
                        <a:pt x="161912" y="294"/>
                      </a:cubicBezTo>
                      <a:cubicBezTo>
                        <a:pt x="149791" y="2067"/>
                        <a:pt x="150203" y="9447"/>
                        <a:pt x="144060" y="15962"/>
                      </a:cubicBezTo>
                      <a:lnTo>
                        <a:pt x="144843" y="16250"/>
                      </a:lnTo>
                      <a:lnTo>
                        <a:pt x="121136" y="36412"/>
                      </a:lnTo>
                      <a:cubicBezTo>
                        <a:pt x="121136" y="36412"/>
                        <a:pt x="100520" y="43669"/>
                        <a:pt x="95820" y="58347"/>
                      </a:cubicBezTo>
                      <a:cubicBezTo>
                        <a:pt x="91120" y="73025"/>
                        <a:pt x="105303" y="87703"/>
                        <a:pt x="98995" y="96815"/>
                      </a:cubicBezTo>
                      <a:cubicBezTo>
                        <a:pt x="92687" y="105926"/>
                        <a:pt x="94212" y="126129"/>
                        <a:pt x="95820" y="133469"/>
                      </a:cubicBezTo>
                      <a:cubicBezTo>
                        <a:pt x="97428" y="140807"/>
                        <a:pt x="86296" y="160928"/>
                        <a:pt x="86296" y="160928"/>
                      </a:cubicBezTo>
                      <a:cubicBezTo>
                        <a:pt x="86296" y="160928"/>
                        <a:pt x="39252" y="190243"/>
                        <a:pt x="1" y="213538"/>
                      </a:cubicBezTo>
                      <a:cubicBezTo>
                        <a:pt x="495" y="221182"/>
                        <a:pt x="1567" y="228777"/>
                        <a:pt x="3217" y="236256"/>
                      </a:cubicBezTo>
                      <a:cubicBezTo>
                        <a:pt x="5732" y="246440"/>
                        <a:pt x="9566" y="265818"/>
                        <a:pt x="12617" y="281816"/>
                      </a:cubicBezTo>
                      <a:cubicBezTo>
                        <a:pt x="27831" y="281816"/>
                        <a:pt x="30058" y="280125"/>
                        <a:pt x="43622" y="281816"/>
                      </a:cubicBezTo>
                      <a:cubicBezTo>
                        <a:pt x="57888" y="283630"/>
                        <a:pt x="110086" y="327581"/>
                        <a:pt x="122744" y="334921"/>
                      </a:cubicBezTo>
                      <a:cubicBezTo>
                        <a:pt x="135401" y="342259"/>
                        <a:pt x="204957" y="402703"/>
                        <a:pt x="219223" y="417381"/>
                      </a:cubicBezTo>
                      <a:cubicBezTo>
                        <a:pt x="233489" y="432060"/>
                        <a:pt x="257155" y="435729"/>
                        <a:pt x="266638" y="435729"/>
                      </a:cubicBezTo>
                      <a:cubicBezTo>
                        <a:pt x="272122" y="435729"/>
                        <a:pt x="294799" y="438739"/>
                        <a:pt x="313105" y="441295"/>
                      </a:cubicBezTo>
                      <a:cubicBezTo>
                        <a:pt x="318670" y="425834"/>
                        <a:pt x="326587" y="404435"/>
                        <a:pt x="329762" y="400559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67" name="Freeform: Shape 366">
                  <a:extLst>
                    <a:ext uri="{FF2B5EF4-FFF2-40B4-BE49-F238E27FC236}">
                      <a16:creationId xmlns:a16="http://schemas.microsoft.com/office/drawing/2014/main" id="{169F1135-072A-FF43-CDDA-FE04E60594F7}"/>
                    </a:ext>
                  </a:extLst>
                </p:cNvPr>
                <p:cNvSpPr/>
                <p:nvPr>
                  <p:custDataLst>
                    <p:tags r:id="rId368"/>
                  </p:custDataLst>
                </p:nvPr>
              </p:nvSpPr>
              <p:spPr>
                <a:xfrm>
                  <a:off x="8308176" y="4414820"/>
                  <a:ext cx="65958" cy="71699"/>
                </a:xfrm>
                <a:custGeom>
                  <a:avLst/>
                  <a:gdLst>
                    <a:gd name="connsiteX0" fmla="*/ 24491 w 77018"/>
                    <a:gd name="connsiteY0" fmla="*/ 61700 h 83721"/>
                    <a:gd name="connsiteX1" fmla="*/ 45106 w 77018"/>
                    <a:gd name="connsiteY1" fmla="*/ 81862 h 83721"/>
                    <a:gd name="connsiteX2" fmla="*/ 77019 w 77018"/>
                    <a:gd name="connsiteY2" fmla="*/ 83717 h 83721"/>
                    <a:gd name="connsiteX3" fmla="*/ 57763 w 77018"/>
                    <a:gd name="connsiteY3" fmla="*/ 25252 h 83721"/>
                    <a:gd name="connsiteX4" fmla="*/ 61310 w 77018"/>
                    <a:gd name="connsiteY4" fmla="*/ 17501 h 83721"/>
                    <a:gd name="connsiteX5" fmla="*/ 34799 w 77018"/>
                    <a:gd name="connsiteY5" fmla="*/ 226 h 83721"/>
                    <a:gd name="connsiteX6" fmla="*/ 16493 w 77018"/>
                    <a:gd name="connsiteY6" fmla="*/ 17295 h 83721"/>
                    <a:gd name="connsiteX7" fmla="*/ 1 w 77018"/>
                    <a:gd name="connsiteY7" fmla="*/ 58155 h 83721"/>
                    <a:gd name="connsiteX8" fmla="*/ 24491 w 77018"/>
                    <a:gd name="connsiteY8" fmla="*/ 61700 h 837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77018" h="83721">
                      <a:moveTo>
                        <a:pt x="24491" y="61700"/>
                      </a:moveTo>
                      <a:lnTo>
                        <a:pt x="45106" y="81862"/>
                      </a:lnTo>
                      <a:lnTo>
                        <a:pt x="77019" y="83717"/>
                      </a:lnTo>
                      <a:cubicBezTo>
                        <a:pt x="69845" y="62112"/>
                        <a:pt x="57763" y="32674"/>
                        <a:pt x="57763" y="25252"/>
                      </a:cubicBezTo>
                      <a:cubicBezTo>
                        <a:pt x="57970" y="22321"/>
                        <a:pt x="59207" y="19567"/>
                        <a:pt x="61310" y="17501"/>
                      </a:cubicBezTo>
                      <a:cubicBezTo>
                        <a:pt x="50589" y="5957"/>
                        <a:pt x="44529" y="-1424"/>
                        <a:pt x="34799" y="226"/>
                      </a:cubicBezTo>
                      <a:cubicBezTo>
                        <a:pt x="22430" y="2328"/>
                        <a:pt x="21605" y="11028"/>
                        <a:pt x="16493" y="17295"/>
                      </a:cubicBezTo>
                      <a:cubicBezTo>
                        <a:pt x="13318" y="21171"/>
                        <a:pt x="5401" y="42528"/>
                        <a:pt x="1" y="58155"/>
                      </a:cubicBezTo>
                      <a:cubicBezTo>
                        <a:pt x="13318" y="60051"/>
                        <a:pt x="24491" y="61700"/>
                        <a:pt x="24491" y="61700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68" name="Freeform: Shape 367">
                  <a:extLst>
                    <a:ext uri="{FF2B5EF4-FFF2-40B4-BE49-F238E27FC236}">
                      <a16:creationId xmlns:a16="http://schemas.microsoft.com/office/drawing/2014/main" id="{0338BA5D-DC9F-70FA-8EDC-0337CF49EAC5}"/>
                    </a:ext>
                  </a:extLst>
                </p:cNvPr>
                <p:cNvSpPr/>
                <p:nvPr>
                  <p:custDataLst>
                    <p:tags r:id="rId369"/>
                  </p:custDataLst>
                </p:nvPr>
              </p:nvSpPr>
              <p:spPr>
                <a:xfrm>
                  <a:off x="7816610" y="4158755"/>
                  <a:ext cx="79338" cy="52205"/>
                </a:xfrm>
                <a:custGeom>
                  <a:avLst/>
                  <a:gdLst>
                    <a:gd name="connsiteX0" fmla="*/ 63060 w 92641"/>
                    <a:gd name="connsiteY0" fmla="*/ 41620 h 60959"/>
                    <a:gd name="connsiteX1" fmla="*/ 84376 w 92641"/>
                    <a:gd name="connsiteY1" fmla="*/ 12140 h 60959"/>
                    <a:gd name="connsiteX2" fmla="*/ 83799 w 92641"/>
                    <a:gd name="connsiteY2" fmla="*/ 3235 h 60959"/>
                    <a:gd name="connsiteX3" fmla="*/ 26942 w 92641"/>
                    <a:gd name="connsiteY3" fmla="*/ 23108 h 60959"/>
                    <a:gd name="connsiteX4" fmla="*/ 8553 w 92641"/>
                    <a:gd name="connsiteY4" fmla="*/ 56092 h 60959"/>
                    <a:gd name="connsiteX5" fmla="*/ 63060 w 92641"/>
                    <a:gd name="connsiteY5" fmla="*/ 41620 h 609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2641" h="60957">
                      <a:moveTo>
                        <a:pt x="63060" y="41620"/>
                      </a:moveTo>
                      <a:cubicBezTo>
                        <a:pt x="61864" y="34075"/>
                        <a:pt x="70770" y="18325"/>
                        <a:pt x="84376" y="12140"/>
                      </a:cubicBezTo>
                      <a:cubicBezTo>
                        <a:pt x="97982" y="5956"/>
                        <a:pt x="92622" y="-5671"/>
                        <a:pt x="83799" y="3235"/>
                      </a:cubicBezTo>
                      <a:cubicBezTo>
                        <a:pt x="74975" y="12140"/>
                        <a:pt x="53577" y="21706"/>
                        <a:pt x="26942" y="23108"/>
                      </a:cubicBezTo>
                      <a:cubicBezTo>
                        <a:pt x="307" y="24510"/>
                        <a:pt x="-8063" y="44836"/>
                        <a:pt x="8553" y="56092"/>
                      </a:cubicBezTo>
                      <a:cubicBezTo>
                        <a:pt x="29911" y="70440"/>
                        <a:pt x="64256" y="49207"/>
                        <a:pt x="63060" y="41620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69" name="Freeform: Shape 368">
                  <a:extLst>
                    <a:ext uri="{FF2B5EF4-FFF2-40B4-BE49-F238E27FC236}">
                      <a16:creationId xmlns:a16="http://schemas.microsoft.com/office/drawing/2014/main" id="{9E0E0C3C-EA0C-CA97-FD20-936825398312}"/>
                    </a:ext>
                  </a:extLst>
                </p:cNvPr>
                <p:cNvSpPr/>
                <p:nvPr>
                  <p:custDataLst>
                    <p:tags r:id="rId370"/>
                  </p:custDataLst>
                </p:nvPr>
              </p:nvSpPr>
              <p:spPr>
                <a:xfrm>
                  <a:off x="7863413" y="5461657"/>
                  <a:ext cx="275627" cy="381355"/>
                </a:xfrm>
                <a:custGeom>
                  <a:avLst/>
                  <a:gdLst>
                    <a:gd name="connsiteX0" fmla="*/ 206977 w 321844"/>
                    <a:gd name="connsiteY0" fmla="*/ 445297 h 445301"/>
                    <a:gd name="connsiteX1" fmla="*/ 231427 w 321844"/>
                    <a:gd name="connsiteY1" fmla="*/ 410003 h 445301"/>
                    <a:gd name="connsiteX2" fmla="*/ 255382 w 321844"/>
                    <a:gd name="connsiteY2" fmla="*/ 351703 h 445301"/>
                    <a:gd name="connsiteX3" fmla="*/ 280821 w 321844"/>
                    <a:gd name="connsiteY3" fmla="*/ 327708 h 445301"/>
                    <a:gd name="connsiteX4" fmla="*/ 302756 w 321844"/>
                    <a:gd name="connsiteY4" fmla="*/ 311215 h 445301"/>
                    <a:gd name="connsiteX5" fmla="*/ 306178 w 321844"/>
                    <a:gd name="connsiteY5" fmla="*/ 305567 h 445301"/>
                    <a:gd name="connsiteX6" fmla="*/ 286346 w 321844"/>
                    <a:gd name="connsiteY6" fmla="*/ 269119 h 445301"/>
                    <a:gd name="connsiteX7" fmla="*/ 284243 w 321844"/>
                    <a:gd name="connsiteY7" fmla="*/ 102878 h 445301"/>
                    <a:gd name="connsiteX8" fmla="*/ 302714 w 321844"/>
                    <a:gd name="connsiteY8" fmla="*/ 69646 h 445301"/>
                    <a:gd name="connsiteX9" fmla="*/ 321845 w 321844"/>
                    <a:gd name="connsiteY9" fmla="*/ 37198 h 445301"/>
                    <a:gd name="connsiteX10" fmla="*/ 301849 w 321844"/>
                    <a:gd name="connsiteY10" fmla="*/ 43712 h 445301"/>
                    <a:gd name="connsiteX11" fmla="*/ 282347 w 321844"/>
                    <a:gd name="connsiteY11" fmla="*/ 34435 h 445301"/>
                    <a:gd name="connsiteX12" fmla="*/ 247672 w 321844"/>
                    <a:gd name="connsiteY12" fmla="*/ 42681 h 445301"/>
                    <a:gd name="connsiteX13" fmla="*/ 221037 w 321844"/>
                    <a:gd name="connsiteY13" fmla="*/ 67420 h 445301"/>
                    <a:gd name="connsiteX14" fmla="*/ 174818 w 321844"/>
                    <a:gd name="connsiteY14" fmla="*/ 58184 h 445301"/>
                    <a:gd name="connsiteX15" fmla="*/ 128639 w 321844"/>
                    <a:gd name="connsiteY15" fmla="*/ 27302 h 445301"/>
                    <a:gd name="connsiteX16" fmla="*/ 87739 w 321844"/>
                    <a:gd name="connsiteY16" fmla="*/ 18067 h 445301"/>
                    <a:gd name="connsiteX17" fmla="*/ 64691 w 321844"/>
                    <a:gd name="connsiteY17" fmla="*/ 4667 h 445301"/>
                    <a:gd name="connsiteX18" fmla="*/ 40654 w 321844"/>
                    <a:gd name="connsiteY18" fmla="*/ 1575 h 445301"/>
                    <a:gd name="connsiteX19" fmla="*/ 8700 w 321844"/>
                    <a:gd name="connsiteY19" fmla="*/ 26313 h 445301"/>
                    <a:gd name="connsiteX20" fmla="*/ 3588 w 321844"/>
                    <a:gd name="connsiteY20" fmla="*/ 33899 h 445301"/>
                    <a:gd name="connsiteX21" fmla="*/ 21852 w 321844"/>
                    <a:gd name="connsiteY21" fmla="*/ 53113 h 445301"/>
                    <a:gd name="connsiteX22" fmla="*/ 25975 w 321844"/>
                    <a:gd name="connsiteY22" fmla="*/ 86344 h 445301"/>
                    <a:gd name="connsiteX23" fmla="*/ 42468 w 321844"/>
                    <a:gd name="connsiteY23" fmla="*/ 102836 h 445301"/>
                    <a:gd name="connsiteX24" fmla="*/ 40447 w 321844"/>
                    <a:gd name="connsiteY24" fmla="*/ 140851 h 445301"/>
                    <a:gd name="connsiteX25" fmla="*/ 13771 w 321844"/>
                    <a:gd name="connsiteY25" fmla="*/ 195482 h 445301"/>
                    <a:gd name="connsiteX26" fmla="*/ 1897 w 321844"/>
                    <a:gd name="connsiteY26" fmla="*/ 224343 h 445301"/>
                    <a:gd name="connsiteX27" fmla="*/ 28408 w 321844"/>
                    <a:gd name="connsiteY27" fmla="*/ 241247 h 445301"/>
                    <a:gd name="connsiteX28" fmla="*/ 1 w 321844"/>
                    <a:gd name="connsiteY28" fmla="*/ 271098 h 445301"/>
                    <a:gd name="connsiteX29" fmla="*/ 1 w 321844"/>
                    <a:gd name="connsiteY29" fmla="*/ 275799 h 445301"/>
                    <a:gd name="connsiteX30" fmla="*/ 150863 w 321844"/>
                    <a:gd name="connsiteY30" fmla="*/ 368814 h 445301"/>
                    <a:gd name="connsiteX31" fmla="*/ 148842 w 321844"/>
                    <a:gd name="connsiteY31" fmla="*/ 397346 h 445301"/>
                    <a:gd name="connsiteX32" fmla="*/ 206977 w 321844"/>
                    <a:gd name="connsiteY32" fmla="*/ 445297 h 4453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</a:cxnLst>
                  <a:rect l="l" t="t" r="r" b="b"/>
                  <a:pathLst>
                    <a:path w="321844" h="445300">
                      <a:moveTo>
                        <a:pt x="206977" y="445297"/>
                      </a:moveTo>
                      <a:cubicBezTo>
                        <a:pt x="214316" y="432969"/>
                        <a:pt x="222480" y="421177"/>
                        <a:pt x="231427" y="410003"/>
                      </a:cubicBezTo>
                      <a:cubicBezTo>
                        <a:pt x="242064" y="381761"/>
                        <a:pt x="252042" y="357806"/>
                        <a:pt x="255382" y="351703"/>
                      </a:cubicBezTo>
                      <a:cubicBezTo>
                        <a:pt x="264246" y="335912"/>
                        <a:pt x="273152" y="338675"/>
                        <a:pt x="280821" y="327708"/>
                      </a:cubicBezTo>
                      <a:cubicBezTo>
                        <a:pt x="288490" y="316740"/>
                        <a:pt x="290881" y="333191"/>
                        <a:pt x="302756" y="311215"/>
                      </a:cubicBezTo>
                      <a:cubicBezTo>
                        <a:pt x="303663" y="309525"/>
                        <a:pt x="304858" y="307587"/>
                        <a:pt x="306178" y="305567"/>
                      </a:cubicBezTo>
                      <a:lnTo>
                        <a:pt x="286346" y="269119"/>
                      </a:lnTo>
                      <a:lnTo>
                        <a:pt x="284243" y="102878"/>
                      </a:lnTo>
                      <a:lnTo>
                        <a:pt x="302714" y="69646"/>
                      </a:lnTo>
                      <a:lnTo>
                        <a:pt x="321845" y="37198"/>
                      </a:lnTo>
                      <a:cubicBezTo>
                        <a:pt x="315001" y="38723"/>
                        <a:pt x="308281" y="40908"/>
                        <a:pt x="301849" y="43712"/>
                      </a:cubicBezTo>
                      <a:cubicBezTo>
                        <a:pt x="294757" y="47835"/>
                        <a:pt x="284985" y="41651"/>
                        <a:pt x="282347" y="34435"/>
                      </a:cubicBezTo>
                      <a:cubicBezTo>
                        <a:pt x="279708" y="27220"/>
                        <a:pt x="261731" y="33404"/>
                        <a:pt x="247672" y="42681"/>
                      </a:cubicBezTo>
                      <a:cubicBezTo>
                        <a:pt x="233612" y="51958"/>
                        <a:pt x="226356" y="71543"/>
                        <a:pt x="221037" y="67420"/>
                      </a:cubicBezTo>
                      <a:cubicBezTo>
                        <a:pt x="215718" y="63297"/>
                        <a:pt x="183930" y="58184"/>
                        <a:pt x="174818" y="58184"/>
                      </a:cubicBezTo>
                      <a:cubicBezTo>
                        <a:pt x="165705" y="58184"/>
                        <a:pt x="137710" y="36579"/>
                        <a:pt x="128639" y="27302"/>
                      </a:cubicBezTo>
                      <a:cubicBezTo>
                        <a:pt x="119569" y="18026"/>
                        <a:pt x="93964" y="22149"/>
                        <a:pt x="87739" y="18067"/>
                      </a:cubicBezTo>
                      <a:cubicBezTo>
                        <a:pt x="81513" y="13985"/>
                        <a:pt x="69103" y="10852"/>
                        <a:pt x="64691" y="4667"/>
                      </a:cubicBezTo>
                      <a:cubicBezTo>
                        <a:pt x="60279" y="-1518"/>
                        <a:pt x="49600" y="-446"/>
                        <a:pt x="40654" y="1575"/>
                      </a:cubicBezTo>
                      <a:cubicBezTo>
                        <a:pt x="31706" y="3595"/>
                        <a:pt x="10473" y="18067"/>
                        <a:pt x="8700" y="26313"/>
                      </a:cubicBezTo>
                      <a:cubicBezTo>
                        <a:pt x="7711" y="29281"/>
                        <a:pt x="5937" y="31879"/>
                        <a:pt x="3588" y="33899"/>
                      </a:cubicBezTo>
                      <a:lnTo>
                        <a:pt x="21852" y="53113"/>
                      </a:lnTo>
                      <a:lnTo>
                        <a:pt x="25975" y="86344"/>
                      </a:lnTo>
                      <a:lnTo>
                        <a:pt x="42468" y="102836"/>
                      </a:lnTo>
                      <a:cubicBezTo>
                        <a:pt x="42468" y="102836"/>
                        <a:pt x="42468" y="121844"/>
                        <a:pt x="40447" y="140851"/>
                      </a:cubicBezTo>
                      <a:cubicBezTo>
                        <a:pt x="38427" y="159858"/>
                        <a:pt x="23955" y="183607"/>
                        <a:pt x="13771" y="195482"/>
                      </a:cubicBezTo>
                      <a:cubicBezTo>
                        <a:pt x="10762" y="198986"/>
                        <a:pt x="6473" y="210242"/>
                        <a:pt x="1897" y="224343"/>
                      </a:cubicBezTo>
                      <a:cubicBezTo>
                        <a:pt x="17606" y="228878"/>
                        <a:pt x="29274" y="235763"/>
                        <a:pt x="28408" y="241247"/>
                      </a:cubicBezTo>
                      <a:cubicBezTo>
                        <a:pt x="26635" y="252586"/>
                        <a:pt x="1" y="247432"/>
                        <a:pt x="1" y="271098"/>
                      </a:cubicBezTo>
                      <a:cubicBezTo>
                        <a:pt x="1" y="272706"/>
                        <a:pt x="1" y="274232"/>
                        <a:pt x="1" y="275799"/>
                      </a:cubicBezTo>
                      <a:lnTo>
                        <a:pt x="150863" y="368814"/>
                      </a:lnTo>
                      <a:lnTo>
                        <a:pt x="148842" y="397346"/>
                      </a:lnTo>
                      <a:cubicBezTo>
                        <a:pt x="148842" y="397346"/>
                        <a:pt x="177003" y="421095"/>
                        <a:pt x="206977" y="445297"/>
                      </a:cubicBezTo>
                      <a:close/>
                    </a:path>
                  </a:pathLst>
                </a:custGeom>
                <a:solidFill>
                  <a:srgbClr val="D9D9D9"/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70" name="Freeform: Shape 369">
                  <a:extLst>
                    <a:ext uri="{FF2B5EF4-FFF2-40B4-BE49-F238E27FC236}">
                      <a16:creationId xmlns:a16="http://schemas.microsoft.com/office/drawing/2014/main" id="{349A20F3-DDA9-1F98-7325-10F3D2458149}"/>
                    </a:ext>
                  </a:extLst>
                </p:cNvPr>
                <p:cNvSpPr/>
                <p:nvPr>
                  <p:custDataLst>
                    <p:tags r:id="rId371"/>
                  </p:custDataLst>
                </p:nvPr>
              </p:nvSpPr>
              <p:spPr>
                <a:xfrm>
                  <a:off x="7712426" y="5490621"/>
                  <a:ext cx="187706" cy="223643"/>
                </a:xfrm>
                <a:custGeom>
                  <a:avLst/>
                  <a:gdLst>
                    <a:gd name="connsiteX0" fmla="*/ 202236 w 219181"/>
                    <a:gd name="connsiteY0" fmla="*/ 52441 h 261144"/>
                    <a:gd name="connsiteX1" fmla="*/ 198113 w 219181"/>
                    <a:gd name="connsiteY1" fmla="*/ 19209 h 261144"/>
                    <a:gd name="connsiteX2" fmla="*/ 179848 w 219181"/>
                    <a:gd name="connsiteY2" fmla="*/ -4 h 261144"/>
                    <a:gd name="connsiteX3" fmla="*/ 166283 w 219181"/>
                    <a:gd name="connsiteY3" fmla="*/ 15045 h 261144"/>
                    <a:gd name="connsiteX4" fmla="*/ 141545 w 219181"/>
                    <a:gd name="connsiteY4" fmla="*/ 17065 h 261144"/>
                    <a:gd name="connsiteX5" fmla="*/ 112230 w 219181"/>
                    <a:gd name="connsiteY5" fmla="*/ 28404 h 261144"/>
                    <a:gd name="connsiteX6" fmla="*/ 87491 w 219181"/>
                    <a:gd name="connsiteY6" fmla="*/ 18096 h 261144"/>
                    <a:gd name="connsiteX7" fmla="*/ 57270 w 219181"/>
                    <a:gd name="connsiteY7" fmla="*/ 28404 h 261144"/>
                    <a:gd name="connsiteX8" fmla="*/ 53724 w 219181"/>
                    <a:gd name="connsiteY8" fmla="*/ 68521 h 261144"/>
                    <a:gd name="connsiteX9" fmla="*/ 67083 w 219181"/>
                    <a:gd name="connsiteY9" fmla="*/ 91156 h 261144"/>
                    <a:gd name="connsiteX10" fmla="*/ 55497 w 219181"/>
                    <a:gd name="connsiteY10" fmla="*/ 114823 h 261144"/>
                    <a:gd name="connsiteX11" fmla="*/ 38633 w 219181"/>
                    <a:gd name="connsiteY11" fmla="*/ 128222 h 261144"/>
                    <a:gd name="connsiteX12" fmla="*/ 23543 w 219181"/>
                    <a:gd name="connsiteY12" fmla="*/ 153909 h 261144"/>
                    <a:gd name="connsiteX13" fmla="*/ 13730 w 219181"/>
                    <a:gd name="connsiteY13" fmla="*/ 186894 h 261144"/>
                    <a:gd name="connsiteX14" fmla="*/ 6639 w 219181"/>
                    <a:gd name="connsiteY14" fmla="*/ 227011 h 261144"/>
                    <a:gd name="connsiteX15" fmla="*/ 1 w 219181"/>
                    <a:gd name="connsiteY15" fmla="*/ 260737 h 261144"/>
                    <a:gd name="connsiteX16" fmla="*/ 19956 w 219181"/>
                    <a:gd name="connsiteY16" fmla="*/ 256614 h 261144"/>
                    <a:gd name="connsiteX17" fmla="*/ 61186 w 219181"/>
                    <a:gd name="connsiteY17" fmla="*/ 242431 h 261144"/>
                    <a:gd name="connsiteX18" fmla="*/ 94583 w 219181"/>
                    <a:gd name="connsiteY18" fmla="*/ 239256 h 261144"/>
                    <a:gd name="connsiteX19" fmla="*/ 125011 w 219181"/>
                    <a:gd name="connsiteY19" fmla="*/ 188914 h 261144"/>
                    <a:gd name="connsiteX20" fmla="*/ 178611 w 219181"/>
                    <a:gd name="connsiteY20" fmla="*/ 190522 h 261144"/>
                    <a:gd name="connsiteX21" fmla="*/ 190485 w 219181"/>
                    <a:gd name="connsiteY21" fmla="*/ 161661 h 261144"/>
                    <a:gd name="connsiteX22" fmla="*/ 217161 w 219181"/>
                    <a:gd name="connsiteY22" fmla="*/ 107030 h 261144"/>
                    <a:gd name="connsiteX23" fmla="*/ 219182 w 219181"/>
                    <a:gd name="connsiteY23" fmla="*/ 69016 h 261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219181" h="261144">
                      <a:moveTo>
                        <a:pt x="202236" y="52441"/>
                      </a:moveTo>
                      <a:lnTo>
                        <a:pt x="198113" y="19209"/>
                      </a:lnTo>
                      <a:lnTo>
                        <a:pt x="179848" y="-4"/>
                      </a:lnTo>
                      <a:cubicBezTo>
                        <a:pt x="174488" y="5191"/>
                        <a:pt x="166901" y="10139"/>
                        <a:pt x="166283" y="15045"/>
                      </a:cubicBezTo>
                      <a:cubicBezTo>
                        <a:pt x="165417" y="22219"/>
                        <a:pt x="148554" y="21188"/>
                        <a:pt x="141545" y="17065"/>
                      </a:cubicBezTo>
                      <a:cubicBezTo>
                        <a:pt x="134536" y="12942"/>
                        <a:pt x="115775" y="22219"/>
                        <a:pt x="112230" y="28404"/>
                      </a:cubicBezTo>
                      <a:cubicBezTo>
                        <a:pt x="108684" y="34588"/>
                        <a:pt x="96232" y="17065"/>
                        <a:pt x="87491" y="18096"/>
                      </a:cubicBezTo>
                      <a:cubicBezTo>
                        <a:pt x="78751" y="19127"/>
                        <a:pt x="57270" y="28404"/>
                        <a:pt x="57270" y="28404"/>
                      </a:cubicBezTo>
                      <a:cubicBezTo>
                        <a:pt x="57270" y="28404"/>
                        <a:pt x="53724" y="57265"/>
                        <a:pt x="53724" y="68521"/>
                      </a:cubicBezTo>
                      <a:cubicBezTo>
                        <a:pt x="53724" y="79777"/>
                        <a:pt x="67083" y="81921"/>
                        <a:pt x="67083" y="91156"/>
                      </a:cubicBezTo>
                      <a:cubicBezTo>
                        <a:pt x="67083" y="100392"/>
                        <a:pt x="56403" y="108638"/>
                        <a:pt x="55497" y="114823"/>
                      </a:cubicBezTo>
                      <a:cubicBezTo>
                        <a:pt x="54590" y="121007"/>
                        <a:pt x="47498" y="125130"/>
                        <a:pt x="38633" y="128222"/>
                      </a:cubicBezTo>
                      <a:cubicBezTo>
                        <a:pt x="29769" y="131315"/>
                        <a:pt x="30634" y="147766"/>
                        <a:pt x="23543" y="153909"/>
                      </a:cubicBezTo>
                      <a:cubicBezTo>
                        <a:pt x="16451" y="160053"/>
                        <a:pt x="18183" y="175555"/>
                        <a:pt x="13730" y="186894"/>
                      </a:cubicBezTo>
                      <a:cubicBezTo>
                        <a:pt x="9071" y="199758"/>
                        <a:pt x="6680" y="213322"/>
                        <a:pt x="6639" y="227011"/>
                      </a:cubicBezTo>
                      <a:cubicBezTo>
                        <a:pt x="6639" y="237772"/>
                        <a:pt x="5443" y="252903"/>
                        <a:pt x="1" y="260737"/>
                      </a:cubicBezTo>
                      <a:cubicBezTo>
                        <a:pt x="11339" y="262057"/>
                        <a:pt x="14266" y="259995"/>
                        <a:pt x="19956" y="256614"/>
                      </a:cubicBezTo>
                      <a:cubicBezTo>
                        <a:pt x="28202" y="251914"/>
                        <a:pt x="61186" y="242431"/>
                        <a:pt x="61186" y="242431"/>
                      </a:cubicBezTo>
                      <a:lnTo>
                        <a:pt x="94583" y="239256"/>
                      </a:lnTo>
                      <a:cubicBezTo>
                        <a:pt x="102005" y="215013"/>
                        <a:pt x="112972" y="193037"/>
                        <a:pt x="125011" y="188914"/>
                      </a:cubicBezTo>
                      <a:cubicBezTo>
                        <a:pt x="140596" y="183595"/>
                        <a:pt x="161789" y="185739"/>
                        <a:pt x="178611" y="190522"/>
                      </a:cubicBezTo>
                      <a:cubicBezTo>
                        <a:pt x="183187" y="176462"/>
                        <a:pt x="187475" y="165207"/>
                        <a:pt x="190485" y="161661"/>
                      </a:cubicBezTo>
                      <a:cubicBezTo>
                        <a:pt x="200751" y="149786"/>
                        <a:pt x="215223" y="125996"/>
                        <a:pt x="217161" y="107030"/>
                      </a:cubicBezTo>
                      <a:cubicBezTo>
                        <a:pt x="219099" y="88064"/>
                        <a:pt x="219182" y="69016"/>
                        <a:pt x="219182" y="69016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71" name="Freeform: Shape 370">
                  <a:extLst>
                    <a:ext uri="{FF2B5EF4-FFF2-40B4-BE49-F238E27FC236}">
                      <a16:creationId xmlns:a16="http://schemas.microsoft.com/office/drawing/2014/main" id="{4BAD0803-48F8-38A1-50CB-3A520AFBCA7C}"/>
                    </a:ext>
                  </a:extLst>
                </p:cNvPr>
                <p:cNvSpPr/>
                <p:nvPr>
                  <p:custDataLst>
                    <p:tags r:id="rId372"/>
                  </p:custDataLst>
                </p:nvPr>
              </p:nvSpPr>
              <p:spPr>
                <a:xfrm>
                  <a:off x="8191578" y="6139495"/>
                  <a:ext cx="238890" cy="564695"/>
                </a:xfrm>
                <a:custGeom>
                  <a:avLst/>
                  <a:gdLst>
                    <a:gd name="connsiteX0" fmla="*/ 263133 w 278947"/>
                    <a:gd name="connsiteY0" fmla="*/ 84904 h 659384"/>
                    <a:gd name="connsiteX1" fmla="*/ 234684 w 278947"/>
                    <a:gd name="connsiteY1" fmla="*/ 8133 h 659384"/>
                    <a:gd name="connsiteX2" fmla="*/ 220460 w 278947"/>
                    <a:gd name="connsiteY2" fmla="*/ 21822 h 659384"/>
                    <a:gd name="connsiteX3" fmla="*/ 214522 w 278947"/>
                    <a:gd name="connsiteY3" fmla="*/ 54807 h 659384"/>
                    <a:gd name="connsiteX4" fmla="*/ 190855 w 278947"/>
                    <a:gd name="connsiteY4" fmla="*/ 75422 h 659384"/>
                    <a:gd name="connsiteX5" fmla="*/ 170735 w 278947"/>
                    <a:gd name="connsiteY5" fmla="*/ 96037 h 659384"/>
                    <a:gd name="connsiteX6" fmla="*/ 169540 w 278947"/>
                    <a:gd name="connsiteY6" fmla="*/ 120775 h 659384"/>
                    <a:gd name="connsiteX7" fmla="*/ 139895 w 278947"/>
                    <a:gd name="connsiteY7" fmla="*/ 149637 h 659384"/>
                    <a:gd name="connsiteX8" fmla="*/ 84234 w 278947"/>
                    <a:gd name="connsiteY8" fmla="*/ 182621 h 659384"/>
                    <a:gd name="connsiteX9" fmla="*/ 33273 w 278947"/>
                    <a:gd name="connsiteY9" fmla="*/ 193629 h 659384"/>
                    <a:gd name="connsiteX10" fmla="*/ 16781 w 278947"/>
                    <a:gd name="connsiteY10" fmla="*/ 255475 h 659384"/>
                    <a:gd name="connsiteX11" fmla="*/ 21481 w 278947"/>
                    <a:gd name="connsiteY11" fmla="*/ 339132 h 659384"/>
                    <a:gd name="connsiteX12" fmla="*/ 11998 w 278947"/>
                    <a:gd name="connsiteY12" fmla="*/ 433962 h 659384"/>
                    <a:gd name="connsiteX13" fmla="*/ 1 w 278947"/>
                    <a:gd name="connsiteY13" fmla="*/ 454865 h 659384"/>
                    <a:gd name="connsiteX14" fmla="*/ 4124 w 278947"/>
                    <a:gd name="connsiteY14" fmla="*/ 572826 h 659384"/>
                    <a:gd name="connsiteX15" fmla="*/ 6020 w 278947"/>
                    <a:gd name="connsiteY15" fmla="*/ 582598 h 659384"/>
                    <a:gd name="connsiteX16" fmla="*/ 6514 w 278947"/>
                    <a:gd name="connsiteY16" fmla="*/ 584948 h 659384"/>
                    <a:gd name="connsiteX17" fmla="*/ 28119 w 278947"/>
                    <a:gd name="connsiteY17" fmla="*/ 638547 h 659384"/>
                    <a:gd name="connsiteX18" fmla="*/ 93759 w 278947"/>
                    <a:gd name="connsiteY18" fmla="*/ 653514 h 659384"/>
                    <a:gd name="connsiteX19" fmla="*/ 95655 w 278947"/>
                    <a:gd name="connsiteY19" fmla="*/ 651576 h 659384"/>
                    <a:gd name="connsiteX20" fmla="*/ 144430 w 278947"/>
                    <a:gd name="connsiteY20" fmla="*/ 575753 h 659384"/>
                    <a:gd name="connsiteX21" fmla="*/ 166943 w 278947"/>
                    <a:gd name="connsiteY21" fmla="*/ 539058 h 659384"/>
                    <a:gd name="connsiteX22" fmla="*/ 173663 w 278947"/>
                    <a:gd name="connsiteY22" fmla="*/ 513454 h 659384"/>
                    <a:gd name="connsiteX23" fmla="*/ 173663 w 278947"/>
                    <a:gd name="connsiteY23" fmla="*/ 487067 h 659384"/>
                    <a:gd name="connsiteX24" fmla="*/ 173333 w 278947"/>
                    <a:gd name="connsiteY24" fmla="*/ 485335 h 659384"/>
                    <a:gd name="connsiteX25" fmla="*/ 195680 w 278947"/>
                    <a:gd name="connsiteY25" fmla="*/ 406379 h 659384"/>
                    <a:gd name="connsiteX26" fmla="*/ 209574 w 278947"/>
                    <a:gd name="connsiteY26" fmla="*/ 383001 h 659384"/>
                    <a:gd name="connsiteX27" fmla="*/ 236993 w 278947"/>
                    <a:gd name="connsiteY27" fmla="*/ 259804 h 659384"/>
                    <a:gd name="connsiteX28" fmla="*/ 244126 w 278947"/>
                    <a:gd name="connsiteY28" fmla="*/ 207606 h 659384"/>
                    <a:gd name="connsiteX29" fmla="*/ 254763 w 278947"/>
                    <a:gd name="connsiteY29" fmla="*/ 178745 h 659384"/>
                    <a:gd name="connsiteX30" fmla="*/ 278470 w 278947"/>
                    <a:gd name="connsiteY30" fmla="*/ 173262 h 659384"/>
                    <a:gd name="connsiteX31" fmla="*/ 263133 w 278947"/>
                    <a:gd name="connsiteY31" fmla="*/ 84904 h 6593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</a:cxnLst>
                  <a:rect l="l" t="t" r="r" b="b"/>
                  <a:pathLst>
                    <a:path w="278947" h="659384">
                      <a:moveTo>
                        <a:pt x="263133" y="84904"/>
                      </a:moveTo>
                      <a:cubicBezTo>
                        <a:pt x="261937" y="53364"/>
                        <a:pt x="238394" y="23059"/>
                        <a:pt x="234684" y="8133"/>
                      </a:cubicBezTo>
                      <a:cubicBezTo>
                        <a:pt x="229365" y="-14378"/>
                        <a:pt x="225201" y="16379"/>
                        <a:pt x="220460" y="21822"/>
                      </a:cubicBezTo>
                      <a:cubicBezTo>
                        <a:pt x="215718" y="27264"/>
                        <a:pt x="213368" y="43757"/>
                        <a:pt x="214522" y="54807"/>
                      </a:cubicBezTo>
                      <a:cubicBezTo>
                        <a:pt x="215676" y="65856"/>
                        <a:pt x="200297" y="76782"/>
                        <a:pt x="190855" y="75422"/>
                      </a:cubicBezTo>
                      <a:cubicBezTo>
                        <a:pt x="181415" y="74061"/>
                        <a:pt x="166117" y="80905"/>
                        <a:pt x="170735" y="96037"/>
                      </a:cubicBezTo>
                      <a:cubicBezTo>
                        <a:pt x="175353" y="111168"/>
                        <a:pt x="163603" y="108406"/>
                        <a:pt x="169540" y="120775"/>
                      </a:cubicBezTo>
                      <a:cubicBezTo>
                        <a:pt x="175477" y="133144"/>
                        <a:pt x="156511" y="148276"/>
                        <a:pt x="139895" y="149637"/>
                      </a:cubicBezTo>
                      <a:cubicBezTo>
                        <a:pt x="123279" y="150997"/>
                        <a:pt x="102005" y="185342"/>
                        <a:pt x="84234" y="182621"/>
                      </a:cubicBezTo>
                      <a:cubicBezTo>
                        <a:pt x="66463" y="179900"/>
                        <a:pt x="48693" y="196351"/>
                        <a:pt x="33273" y="193629"/>
                      </a:cubicBezTo>
                      <a:cubicBezTo>
                        <a:pt x="17853" y="190908"/>
                        <a:pt x="28532" y="230737"/>
                        <a:pt x="16781" y="255475"/>
                      </a:cubicBezTo>
                      <a:cubicBezTo>
                        <a:pt x="5030" y="280213"/>
                        <a:pt x="10844" y="309075"/>
                        <a:pt x="21481" y="339132"/>
                      </a:cubicBezTo>
                      <a:cubicBezTo>
                        <a:pt x="32118" y="369189"/>
                        <a:pt x="40447" y="394010"/>
                        <a:pt x="11998" y="433962"/>
                      </a:cubicBezTo>
                      <a:cubicBezTo>
                        <a:pt x="7339" y="440517"/>
                        <a:pt x="3298" y="447527"/>
                        <a:pt x="1" y="454865"/>
                      </a:cubicBezTo>
                      <a:cubicBezTo>
                        <a:pt x="5937" y="494241"/>
                        <a:pt x="-2144" y="534317"/>
                        <a:pt x="4124" y="572826"/>
                      </a:cubicBezTo>
                      <a:cubicBezTo>
                        <a:pt x="4783" y="576083"/>
                        <a:pt x="5401" y="579340"/>
                        <a:pt x="6020" y="582598"/>
                      </a:cubicBezTo>
                      <a:cubicBezTo>
                        <a:pt x="6226" y="583381"/>
                        <a:pt x="6349" y="584165"/>
                        <a:pt x="6514" y="584948"/>
                      </a:cubicBezTo>
                      <a:cubicBezTo>
                        <a:pt x="11709" y="603584"/>
                        <a:pt x="18925" y="621560"/>
                        <a:pt x="28119" y="638547"/>
                      </a:cubicBezTo>
                      <a:cubicBezTo>
                        <a:pt x="46385" y="655039"/>
                        <a:pt x="82049" y="667079"/>
                        <a:pt x="93759" y="653514"/>
                      </a:cubicBezTo>
                      <a:cubicBezTo>
                        <a:pt x="94418" y="652772"/>
                        <a:pt x="95036" y="652195"/>
                        <a:pt x="95655" y="651576"/>
                      </a:cubicBezTo>
                      <a:cubicBezTo>
                        <a:pt x="114662" y="628198"/>
                        <a:pt x="130041" y="599914"/>
                        <a:pt x="144430" y="575753"/>
                      </a:cubicBezTo>
                      <a:cubicBezTo>
                        <a:pt x="151769" y="563384"/>
                        <a:pt x="159315" y="551015"/>
                        <a:pt x="166943" y="539058"/>
                      </a:cubicBezTo>
                      <a:cubicBezTo>
                        <a:pt x="169168" y="530812"/>
                        <a:pt x="171395" y="522071"/>
                        <a:pt x="173663" y="513454"/>
                      </a:cubicBezTo>
                      <a:cubicBezTo>
                        <a:pt x="171477" y="504796"/>
                        <a:pt x="171477" y="495725"/>
                        <a:pt x="173663" y="487067"/>
                      </a:cubicBezTo>
                      <a:cubicBezTo>
                        <a:pt x="173663" y="486489"/>
                        <a:pt x="173415" y="485912"/>
                        <a:pt x="173333" y="485335"/>
                      </a:cubicBezTo>
                      <a:cubicBezTo>
                        <a:pt x="170076" y="454989"/>
                        <a:pt x="178445" y="430499"/>
                        <a:pt x="195680" y="406379"/>
                      </a:cubicBezTo>
                      <a:cubicBezTo>
                        <a:pt x="200916" y="398957"/>
                        <a:pt x="205575" y="391164"/>
                        <a:pt x="209574" y="383001"/>
                      </a:cubicBezTo>
                      <a:cubicBezTo>
                        <a:pt x="224994" y="327711"/>
                        <a:pt x="238766" y="273947"/>
                        <a:pt x="236993" y="259804"/>
                      </a:cubicBezTo>
                      <a:cubicBezTo>
                        <a:pt x="234643" y="240549"/>
                        <a:pt x="251217" y="228222"/>
                        <a:pt x="244126" y="207606"/>
                      </a:cubicBezTo>
                      <a:cubicBezTo>
                        <a:pt x="237034" y="186991"/>
                        <a:pt x="246475" y="162253"/>
                        <a:pt x="254763" y="178745"/>
                      </a:cubicBezTo>
                      <a:cubicBezTo>
                        <a:pt x="263050" y="195237"/>
                        <a:pt x="274884" y="195237"/>
                        <a:pt x="278470" y="173262"/>
                      </a:cubicBezTo>
                      <a:cubicBezTo>
                        <a:pt x="282058" y="151286"/>
                        <a:pt x="264287" y="116487"/>
                        <a:pt x="263133" y="84904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72" name="Freeform: Shape 371">
                  <a:extLst>
                    <a:ext uri="{FF2B5EF4-FFF2-40B4-BE49-F238E27FC236}">
                      <a16:creationId xmlns:a16="http://schemas.microsoft.com/office/drawing/2014/main" id="{9065E45D-90AB-CC15-36CB-558225C0944A}"/>
                    </a:ext>
                  </a:extLst>
                </p:cNvPr>
                <p:cNvSpPr/>
                <p:nvPr>
                  <p:custDataLst>
                    <p:tags r:id="rId373"/>
                  </p:custDataLst>
                </p:nvPr>
              </p:nvSpPr>
              <p:spPr>
                <a:xfrm>
                  <a:off x="8168312" y="4890992"/>
                  <a:ext cx="364714" cy="257260"/>
                </a:xfrm>
                <a:custGeom>
                  <a:avLst/>
                  <a:gdLst>
                    <a:gd name="connsiteX0" fmla="*/ 338090 w 425869"/>
                    <a:gd name="connsiteY0" fmla="*/ 12695 h 300397"/>
                    <a:gd name="connsiteX1" fmla="*/ 259093 w 425869"/>
                    <a:gd name="connsiteY1" fmla="*/ 17972 h 300397"/>
                    <a:gd name="connsiteX2" fmla="*/ 197247 w 425869"/>
                    <a:gd name="connsiteY2" fmla="*/ 80313 h 300397"/>
                    <a:gd name="connsiteX3" fmla="*/ 169787 w 425869"/>
                    <a:gd name="connsiteY3" fmla="*/ 92228 h 300397"/>
                    <a:gd name="connsiteX4" fmla="*/ 113714 w 425869"/>
                    <a:gd name="connsiteY4" fmla="*/ 81632 h 300397"/>
                    <a:gd name="connsiteX5" fmla="*/ 64238 w 425869"/>
                    <a:gd name="connsiteY5" fmla="*/ 76313 h 300397"/>
                    <a:gd name="connsiteX6" fmla="*/ 34510 w 425869"/>
                    <a:gd name="connsiteY6" fmla="*/ 71036 h 300397"/>
                    <a:gd name="connsiteX7" fmla="*/ 17358 w 425869"/>
                    <a:gd name="connsiteY7" fmla="*/ 88229 h 300397"/>
                    <a:gd name="connsiteX8" fmla="*/ 18472 w 425869"/>
                    <a:gd name="connsiteY8" fmla="*/ 113462 h 300397"/>
                    <a:gd name="connsiteX9" fmla="*/ 1 w 425869"/>
                    <a:gd name="connsiteY9" fmla="*/ 125171 h 300397"/>
                    <a:gd name="connsiteX10" fmla="*/ 3382 w 425869"/>
                    <a:gd name="connsiteY10" fmla="*/ 153785 h 300397"/>
                    <a:gd name="connsiteX11" fmla="*/ 15256 w 425869"/>
                    <a:gd name="connsiteY11" fmla="*/ 228000 h 300397"/>
                    <a:gd name="connsiteX12" fmla="*/ 28862 w 425869"/>
                    <a:gd name="connsiteY12" fmla="*/ 295948 h 300397"/>
                    <a:gd name="connsiteX13" fmla="*/ 101674 w 425869"/>
                    <a:gd name="connsiteY13" fmla="*/ 286300 h 300397"/>
                    <a:gd name="connsiteX14" fmla="*/ 153254 w 425869"/>
                    <a:gd name="connsiteY14" fmla="*/ 267787 h 300397"/>
                    <a:gd name="connsiteX15" fmla="*/ 197041 w 425869"/>
                    <a:gd name="connsiteY15" fmla="*/ 243049 h 300397"/>
                    <a:gd name="connsiteX16" fmla="*/ 236745 w 425869"/>
                    <a:gd name="connsiteY16" fmla="*/ 235545 h 300397"/>
                    <a:gd name="connsiteX17" fmla="*/ 268122 w 425869"/>
                    <a:gd name="connsiteY17" fmla="*/ 210807 h 300397"/>
                    <a:gd name="connsiteX18" fmla="*/ 280944 w 425869"/>
                    <a:gd name="connsiteY18" fmla="*/ 202108 h 300397"/>
                    <a:gd name="connsiteX19" fmla="*/ 282016 w 425869"/>
                    <a:gd name="connsiteY19" fmla="*/ 195510 h 300397"/>
                    <a:gd name="connsiteX20" fmla="*/ 302096 w 425869"/>
                    <a:gd name="connsiteY20" fmla="*/ 168587 h 300397"/>
                    <a:gd name="connsiteX21" fmla="*/ 325639 w 425869"/>
                    <a:gd name="connsiteY21" fmla="*/ 160093 h 300397"/>
                    <a:gd name="connsiteX22" fmla="*/ 350377 w 425869"/>
                    <a:gd name="connsiteY22" fmla="*/ 157908 h 300397"/>
                    <a:gd name="connsiteX23" fmla="*/ 375115 w 425869"/>
                    <a:gd name="connsiteY23" fmla="*/ 166154 h 300397"/>
                    <a:gd name="connsiteX24" fmla="*/ 391607 w 425869"/>
                    <a:gd name="connsiteY24" fmla="*/ 132098 h 300397"/>
                    <a:gd name="connsiteX25" fmla="*/ 425870 w 425869"/>
                    <a:gd name="connsiteY25" fmla="*/ 117214 h 300397"/>
                    <a:gd name="connsiteX26" fmla="*/ 376805 w 425869"/>
                    <a:gd name="connsiteY26" fmla="*/ -4 h 300397"/>
                    <a:gd name="connsiteX27" fmla="*/ 338090 w 425869"/>
                    <a:gd name="connsiteY27" fmla="*/ 12695 h 3003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425869" h="300397">
                      <a:moveTo>
                        <a:pt x="338090" y="12695"/>
                      </a:moveTo>
                      <a:cubicBezTo>
                        <a:pt x="317475" y="17972"/>
                        <a:pt x="265937" y="14014"/>
                        <a:pt x="259093" y="17972"/>
                      </a:cubicBezTo>
                      <a:cubicBezTo>
                        <a:pt x="252248" y="21930"/>
                        <a:pt x="204133" y="61759"/>
                        <a:pt x="197247" y="80313"/>
                      </a:cubicBezTo>
                      <a:cubicBezTo>
                        <a:pt x="190361" y="98866"/>
                        <a:pt x="180095" y="101505"/>
                        <a:pt x="169787" y="92228"/>
                      </a:cubicBezTo>
                      <a:cubicBezTo>
                        <a:pt x="159480" y="82951"/>
                        <a:pt x="117095" y="85590"/>
                        <a:pt x="113714" y="81632"/>
                      </a:cubicBezTo>
                      <a:cubicBezTo>
                        <a:pt x="110333" y="77674"/>
                        <a:pt x="79369" y="73675"/>
                        <a:pt x="64238" y="76313"/>
                      </a:cubicBezTo>
                      <a:cubicBezTo>
                        <a:pt x="49106" y="78952"/>
                        <a:pt x="41355" y="68356"/>
                        <a:pt x="34510" y="71036"/>
                      </a:cubicBezTo>
                      <a:cubicBezTo>
                        <a:pt x="27666" y="73716"/>
                        <a:pt x="20740" y="82951"/>
                        <a:pt x="17358" y="88229"/>
                      </a:cubicBezTo>
                      <a:cubicBezTo>
                        <a:pt x="13977" y="93506"/>
                        <a:pt x="20740" y="108143"/>
                        <a:pt x="18472" y="113462"/>
                      </a:cubicBezTo>
                      <a:cubicBezTo>
                        <a:pt x="17854" y="114823"/>
                        <a:pt x="10514" y="119316"/>
                        <a:pt x="1" y="125171"/>
                      </a:cubicBezTo>
                      <a:cubicBezTo>
                        <a:pt x="3587" y="135396"/>
                        <a:pt x="5690" y="146075"/>
                        <a:pt x="3382" y="153785"/>
                      </a:cubicBezTo>
                      <a:cubicBezTo>
                        <a:pt x="-1360" y="169577"/>
                        <a:pt x="2804" y="206602"/>
                        <a:pt x="15256" y="228000"/>
                      </a:cubicBezTo>
                      <a:cubicBezTo>
                        <a:pt x="27707" y="249399"/>
                        <a:pt x="22925" y="288361"/>
                        <a:pt x="28862" y="295948"/>
                      </a:cubicBezTo>
                      <a:cubicBezTo>
                        <a:pt x="34799" y="303534"/>
                        <a:pt x="80977" y="302091"/>
                        <a:pt x="101674" y="286300"/>
                      </a:cubicBezTo>
                      <a:cubicBezTo>
                        <a:pt x="122372" y="270509"/>
                        <a:pt x="136638" y="267787"/>
                        <a:pt x="153254" y="267787"/>
                      </a:cubicBezTo>
                      <a:cubicBezTo>
                        <a:pt x="169870" y="267787"/>
                        <a:pt x="191763" y="251295"/>
                        <a:pt x="197041" y="243049"/>
                      </a:cubicBezTo>
                      <a:cubicBezTo>
                        <a:pt x="202319" y="234803"/>
                        <a:pt x="226686" y="234143"/>
                        <a:pt x="236745" y="235545"/>
                      </a:cubicBezTo>
                      <a:cubicBezTo>
                        <a:pt x="246806" y="236947"/>
                        <a:pt x="256908" y="223877"/>
                        <a:pt x="268122" y="210807"/>
                      </a:cubicBezTo>
                      <a:cubicBezTo>
                        <a:pt x="271750" y="207055"/>
                        <a:pt x="276121" y="204087"/>
                        <a:pt x="280944" y="202108"/>
                      </a:cubicBezTo>
                      <a:cubicBezTo>
                        <a:pt x="281110" y="199881"/>
                        <a:pt x="281481" y="197696"/>
                        <a:pt x="282016" y="195510"/>
                      </a:cubicBezTo>
                      <a:cubicBezTo>
                        <a:pt x="284656" y="185615"/>
                        <a:pt x="292696" y="173081"/>
                        <a:pt x="302096" y="168587"/>
                      </a:cubicBezTo>
                      <a:cubicBezTo>
                        <a:pt x="309477" y="164629"/>
                        <a:pt x="317434" y="161743"/>
                        <a:pt x="325639" y="160093"/>
                      </a:cubicBezTo>
                      <a:cubicBezTo>
                        <a:pt x="333802" y="158651"/>
                        <a:pt x="342090" y="157949"/>
                        <a:pt x="350377" y="157908"/>
                      </a:cubicBezTo>
                      <a:cubicBezTo>
                        <a:pt x="359282" y="157908"/>
                        <a:pt x="367982" y="160795"/>
                        <a:pt x="375115" y="166154"/>
                      </a:cubicBezTo>
                      <a:cubicBezTo>
                        <a:pt x="387484" y="154321"/>
                        <a:pt x="385093" y="141045"/>
                        <a:pt x="391607" y="132098"/>
                      </a:cubicBezTo>
                      <a:cubicBezTo>
                        <a:pt x="399070" y="121790"/>
                        <a:pt x="409502" y="124759"/>
                        <a:pt x="425870" y="117214"/>
                      </a:cubicBezTo>
                      <a:cubicBezTo>
                        <a:pt x="407481" y="73510"/>
                        <a:pt x="387030" y="24569"/>
                        <a:pt x="376805" y="-4"/>
                      </a:cubicBezTo>
                      <a:cubicBezTo>
                        <a:pt x="358499" y="6057"/>
                        <a:pt x="343780" y="11210"/>
                        <a:pt x="338090" y="12695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73" name="Freeform: Shape 372">
                  <a:extLst>
                    <a:ext uri="{FF2B5EF4-FFF2-40B4-BE49-F238E27FC236}">
                      <a16:creationId xmlns:a16="http://schemas.microsoft.com/office/drawing/2014/main" id="{000B9723-AFBA-F9BC-F3D0-B2952A1C1383}"/>
                    </a:ext>
                  </a:extLst>
                </p:cNvPr>
                <p:cNvSpPr/>
                <p:nvPr>
                  <p:custDataLst>
                    <p:tags r:id="rId374"/>
                  </p:custDataLst>
                </p:nvPr>
              </p:nvSpPr>
              <p:spPr>
                <a:xfrm>
                  <a:off x="7140800" y="5444449"/>
                  <a:ext cx="628901" cy="752045"/>
                </a:xfrm>
                <a:custGeom>
                  <a:avLst/>
                  <a:gdLst>
                    <a:gd name="connsiteX0" fmla="*/ 672140 w 734355"/>
                    <a:gd name="connsiteY0" fmla="*/ 579269 h 878148"/>
                    <a:gd name="connsiteX1" fmla="*/ 654369 w 734355"/>
                    <a:gd name="connsiteY1" fmla="*/ 407462 h 878148"/>
                    <a:gd name="connsiteX2" fmla="*/ 658080 w 734355"/>
                    <a:gd name="connsiteY2" fmla="*/ 411791 h 878148"/>
                    <a:gd name="connsiteX3" fmla="*/ 656142 w 734355"/>
                    <a:gd name="connsiteY3" fmla="*/ 376580 h 878148"/>
                    <a:gd name="connsiteX4" fmla="*/ 653503 w 734355"/>
                    <a:gd name="connsiteY4" fmla="*/ 375591 h 878148"/>
                    <a:gd name="connsiteX5" fmla="*/ 645504 w 734355"/>
                    <a:gd name="connsiteY5" fmla="*/ 362191 h 878148"/>
                    <a:gd name="connsiteX6" fmla="*/ 654369 w 734355"/>
                    <a:gd name="connsiteY6" fmla="*/ 348791 h 878148"/>
                    <a:gd name="connsiteX7" fmla="*/ 662368 w 734355"/>
                    <a:gd name="connsiteY7" fmla="*/ 318940 h 878148"/>
                    <a:gd name="connsiteX8" fmla="*/ 667274 w 734355"/>
                    <a:gd name="connsiteY8" fmla="*/ 314611 h 878148"/>
                    <a:gd name="connsiteX9" fmla="*/ 673912 w 734355"/>
                    <a:gd name="connsiteY9" fmla="*/ 280885 h 878148"/>
                    <a:gd name="connsiteX10" fmla="*/ 681004 w 734355"/>
                    <a:gd name="connsiteY10" fmla="*/ 240767 h 878148"/>
                    <a:gd name="connsiteX11" fmla="*/ 690817 w 734355"/>
                    <a:gd name="connsiteY11" fmla="*/ 207783 h 878148"/>
                    <a:gd name="connsiteX12" fmla="*/ 705907 w 734355"/>
                    <a:gd name="connsiteY12" fmla="*/ 182096 h 878148"/>
                    <a:gd name="connsiteX13" fmla="*/ 722771 w 734355"/>
                    <a:gd name="connsiteY13" fmla="*/ 168696 h 878148"/>
                    <a:gd name="connsiteX14" fmla="*/ 734356 w 734355"/>
                    <a:gd name="connsiteY14" fmla="*/ 145030 h 878148"/>
                    <a:gd name="connsiteX15" fmla="*/ 720998 w 734355"/>
                    <a:gd name="connsiteY15" fmla="*/ 122394 h 878148"/>
                    <a:gd name="connsiteX16" fmla="*/ 724543 w 734355"/>
                    <a:gd name="connsiteY16" fmla="*/ 82277 h 878148"/>
                    <a:gd name="connsiteX17" fmla="*/ 725162 w 734355"/>
                    <a:gd name="connsiteY17" fmla="*/ 82030 h 878148"/>
                    <a:gd name="connsiteX18" fmla="*/ 678860 w 734355"/>
                    <a:gd name="connsiteY18" fmla="*/ 36677 h 878148"/>
                    <a:gd name="connsiteX19" fmla="*/ 659028 w 734355"/>
                    <a:gd name="connsiteY19" fmla="*/ 42449 h 878148"/>
                    <a:gd name="connsiteX20" fmla="*/ 636764 w 734355"/>
                    <a:gd name="connsiteY20" fmla="*/ 39563 h 878148"/>
                    <a:gd name="connsiteX21" fmla="*/ 612025 w 734355"/>
                    <a:gd name="connsiteY21" fmla="*/ 39563 h 878148"/>
                    <a:gd name="connsiteX22" fmla="*/ 594709 w 734355"/>
                    <a:gd name="connsiteY22" fmla="*/ 16597 h 878148"/>
                    <a:gd name="connsiteX23" fmla="*/ 584319 w 734355"/>
                    <a:gd name="connsiteY23" fmla="*/ 4475 h 878148"/>
                    <a:gd name="connsiteX24" fmla="*/ 584937 w 734355"/>
                    <a:gd name="connsiteY24" fmla="*/ 6372 h 878148"/>
                    <a:gd name="connsiteX25" fmla="*/ 555292 w 734355"/>
                    <a:gd name="connsiteY25" fmla="*/ 12103 h 878148"/>
                    <a:gd name="connsiteX26" fmla="*/ 510846 w 734355"/>
                    <a:gd name="connsiteY26" fmla="*/ 6372 h 878148"/>
                    <a:gd name="connsiteX27" fmla="*/ 478727 w 734355"/>
                    <a:gd name="connsiteY27" fmla="*/ 12103 h 878148"/>
                    <a:gd name="connsiteX28" fmla="*/ 436714 w 734355"/>
                    <a:gd name="connsiteY28" fmla="*/ 26410 h 878148"/>
                    <a:gd name="connsiteX29" fmla="*/ 404636 w 734355"/>
                    <a:gd name="connsiteY29" fmla="*/ 26410 h 878148"/>
                    <a:gd name="connsiteX30" fmla="*/ 392267 w 734355"/>
                    <a:gd name="connsiteY30" fmla="*/ 57869 h 878148"/>
                    <a:gd name="connsiteX31" fmla="*/ 315702 w 734355"/>
                    <a:gd name="connsiteY31" fmla="*/ 40717 h 878148"/>
                    <a:gd name="connsiteX32" fmla="*/ 283584 w 734355"/>
                    <a:gd name="connsiteY32" fmla="*/ 14948 h 878148"/>
                    <a:gd name="connsiteX33" fmla="*/ 241570 w 734355"/>
                    <a:gd name="connsiteY33" fmla="*/ 52056 h 878148"/>
                    <a:gd name="connsiteX34" fmla="*/ 241570 w 734355"/>
                    <a:gd name="connsiteY34" fmla="*/ 83143 h 878148"/>
                    <a:gd name="connsiteX35" fmla="*/ 235633 w 734355"/>
                    <a:gd name="connsiteY35" fmla="*/ 131218 h 878148"/>
                    <a:gd name="connsiteX36" fmla="*/ 220749 w 734355"/>
                    <a:gd name="connsiteY36" fmla="*/ 179994 h 878148"/>
                    <a:gd name="connsiteX37" fmla="*/ 191021 w 734355"/>
                    <a:gd name="connsiteY37" fmla="*/ 277503 h 878148"/>
                    <a:gd name="connsiteX38" fmla="*/ 156347 w 734355"/>
                    <a:gd name="connsiteY38" fmla="*/ 329124 h 878148"/>
                    <a:gd name="connsiteX39" fmla="*/ 153872 w 734355"/>
                    <a:gd name="connsiteY39" fmla="*/ 406596 h 878148"/>
                    <a:gd name="connsiteX40" fmla="*/ 139030 w 734355"/>
                    <a:gd name="connsiteY40" fmla="*/ 440982 h 878148"/>
                    <a:gd name="connsiteX41" fmla="*/ 114291 w 734355"/>
                    <a:gd name="connsiteY41" fmla="*/ 466793 h 878148"/>
                    <a:gd name="connsiteX42" fmla="*/ 96975 w 734355"/>
                    <a:gd name="connsiteY42" fmla="*/ 469679 h 878148"/>
                    <a:gd name="connsiteX43" fmla="*/ 64773 w 734355"/>
                    <a:gd name="connsiteY43" fmla="*/ 466793 h 878148"/>
                    <a:gd name="connsiteX44" fmla="*/ 37561 w 734355"/>
                    <a:gd name="connsiteY44" fmla="*/ 463907 h 878148"/>
                    <a:gd name="connsiteX45" fmla="*/ 1 w 734355"/>
                    <a:gd name="connsiteY45" fmla="*/ 486996 h 878148"/>
                    <a:gd name="connsiteX46" fmla="*/ 14266 w 734355"/>
                    <a:gd name="connsiteY46" fmla="*/ 538163 h 878148"/>
                    <a:gd name="connsiteX47" fmla="*/ 15297 w 734355"/>
                    <a:gd name="connsiteY47" fmla="*/ 542822 h 878148"/>
                    <a:gd name="connsiteX48" fmla="*/ 37932 w 734355"/>
                    <a:gd name="connsiteY48" fmla="*/ 528556 h 878148"/>
                    <a:gd name="connsiteX49" fmla="*/ 167644 w 734355"/>
                    <a:gd name="connsiteY49" fmla="*/ 528556 h 878148"/>
                    <a:gd name="connsiteX50" fmla="*/ 174735 w 734355"/>
                    <a:gd name="connsiteY50" fmla="*/ 567683 h 878148"/>
                    <a:gd name="connsiteX51" fmla="*/ 190733 w 734355"/>
                    <a:gd name="connsiteY51" fmla="*/ 602647 h 878148"/>
                    <a:gd name="connsiteX52" fmla="*/ 224500 w 734355"/>
                    <a:gd name="connsiteY52" fmla="*/ 631508 h 878148"/>
                    <a:gd name="connsiteX53" fmla="*/ 270679 w 734355"/>
                    <a:gd name="connsiteY53" fmla="*/ 623262 h 878148"/>
                    <a:gd name="connsiteX54" fmla="*/ 286676 w 734355"/>
                    <a:gd name="connsiteY54" fmla="*/ 582032 h 878148"/>
                    <a:gd name="connsiteX55" fmla="*/ 318671 w 734355"/>
                    <a:gd name="connsiteY55" fmla="*/ 582032 h 878148"/>
                    <a:gd name="connsiteX56" fmla="*/ 338173 w 734355"/>
                    <a:gd name="connsiteY56" fmla="*/ 592298 h 878148"/>
                    <a:gd name="connsiteX57" fmla="*/ 364849 w 734355"/>
                    <a:gd name="connsiteY57" fmla="*/ 598483 h 878148"/>
                    <a:gd name="connsiteX58" fmla="*/ 371940 w 734355"/>
                    <a:gd name="connsiteY58" fmla="*/ 635590 h 878148"/>
                    <a:gd name="connsiteX59" fmla="*/ 366622 w 734355"/>
                    <a:gd name="connsiteY59" fmla="*/ 701559 h 878148"/>
                    <a:gd name="connsiteX60" fmla="*/ 386165 w 734355"/>
                    <a:gd name="connsiteY60" fmla="*/ 738667 h 878148"/>
                    <a:gd name="connsiteX61" fmla="*/ 386165 w 734355"/>
                    <a:gd name="connsiteY61" fmla="*/ 775774 h 878148"/>
                    <a:gd name="connsiteX62" fmla="*/ 407481 w 734355"/>
                    <a:gd name="connsiteY62" fmla="*/ 763405 h 878148"/>
                    <a:gd name="connsiteX63" fmla="*/ 443022 w 734355"/>
                    <a:gd name="connsiteY63" fmla="*/ 759282 h 878148"/>
                    <a:gd name="connsiteX64" fmla="*/ 453865 w 734355"/>
                    <a:gd name="connsiteY64" fmla="*/ 759735 h 878148"/>
                    <a:gd name="connsiteX65" fmla="*/ 464379 w 734355"/>
                    <a:gd name="connsiteY65" fmla="*/ 771651 h 878148"/>
                    <a:gd name="connsiteX66" fmla="*/ 475017 w 734355"/>
                    <a:gd name="connsiteY66" fmla="*/ 781917 h 878148"/>
                    <a:gd name="connsiteX67" fmla="*/ 499755 w 734355"/>
                    <a:gd name="connsiteY67" fmla="*/ 779856 h 878148"/>
                    <a:gd name="connsiteX68" fmla="*/ 512124 w 734355"/>
                    <a:gd name="connsiteY68" fmla="*/ 802491 h 878148"/>
                    <a:gd name="connsiteX69" fmla="*/ 545892 w 734355"/>
                    <a:gd name="connsiteY69" fmla="*/ 814860 h 878148"/>
                    <a:gd name="connsiteX70" fmla="*/ 563621 w 734355"/>
                    <a:gd name="connsiteY70" fmla="*/ 808635 h 878148"/>
                    <a:gd name="connsiteX71" fmla="*/ 577846 w 734355"/>
                    <a:gd name="connsiteY71" fmla="*/ 800388 h 878148"/>
                    <a:gd name="connsiteX72" fmla="*/ 599161 w 734355"/>
                    <a:gd name="connsiteY72" fmla="*/ 827147 h 878148"/>
                    <a:gd name="connsiteX73" fmla="*/ 629384 w 734355"/>
                    <a:gd name="connsiteY73" fmla="*/ 835393 h 878148"/>
                    <a:gd name="connsiteX74" fmla="*/ 645381 w 734355"/>
                    <a:gd name="connsiteY74" fmla="*/ 874479 h 878148"/>
                    <a:gd name="connsiteX75" fmla="*/ 673789 w 734355"/>
                    <a:gd name="connsiteY75" fmla="*/ 874479 h 878148"/>
                    <a:gd name="connsiteX76" fmla="*/ 680880 w 734355"/>
                    <a:gd name="connsiteY76" fmla="*/ 853864 h 878148"/>
                    <a:gd name="connsiteX77" fmla="*/ 675562 w 734355"/>
                    <a:gd name="connsiteY77" fmla="*/ 820880 h 878148"/>
                    <a:gd name="connsiteX78" fmla="*/ 648927 w 734355"/>
                    <a:gd name="connsiteY78" fmla="*/ 831146 h 878148"/>
                    <a:gd name="connsiteX79" fmla="*/ 622251 w 734355"/>
                    <a:gd name="connsiteY79" fmla="*/ 794039 h 878148"/>
                    <a:gd name="connsiteX80" fmla="*/ 631156 w 734355"/>
                    <a:gd name="connsiteY80" fmla="*/ 750829 h 878148"/>
                    <a:gd name="connsiteX81" fmla="*/ 632929 w 734355"/>
                    <a:gd name="connsiteY81" fmla="*/ 699415 h 878148"/>
                    <a:gd name="connsiteX82" fmla="*/ 638248 w 734355"/>
                    <a:gd name="connsiteY82" fmla="*/ 674677 h 878148"/>
                    <a:gd name="connsiteX83" fmla="*/ 648927 w 734355"/>
                    <a:gd name="connsiteY83" fmla="*/ 643795 h 878148"/>
                    <a:gd name="connsiteX84" fmla="*/ 697125 w 734355"/>
                    <a:gd name="connsiteY84" fmla="*/ 635549 h 878148"/>
                    <a:gd name="connsiteX85" fmla="*/ 698650 w 734355"/>
                    <a:gd name="connsiteY85" fmla="*/ 633529 h 878148"/>
                    <a:gd name="connsiteX86" fmla="*/ 701248 w 734355"/>
                    <a:gd name="connsiteY86" fmla="*/ 626396 h 878148"/>
                    <a:gd name="connsiteX87" fmla="*/ 672140 w 734355"/>
                    <a:gd name="connsiteY87" fmla="*/ 579269 h 8781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</a:cxnLst>
                  <a:rect l="l" t="t" r="r" b="b"/>
                  <a:pathLst>
                    <a:path w="734355" h="878148">
                      <a:moveTo>
                        <a:pt x="672140" y="579269"/>
                      </a:moveTo>
                      <a:cubicBezTo>
                        <a:pt x="652596" y="566900"/>
                        <a:pt x="644597" y="411544"/>
                        <a:pt x="654369" y="407462"/>
                      </a:cubicBezTo>
                      <a:cubicBezTo>
                        <a:pt x="655647" y="406926"/>
                        <a:pt x="656884" y="408534"/>
                        <a:pt x="658080" y="411791"/>
                      </a:cubicBezTo>
                      <a:lnTo>
                        <a:pt x="656142" y="376580"/>
                      </a:lnTo>
                      <a:cubicBezTo>
                        <a:pt x="655235" y="376333"/>
                        <a:pt x="654328" y="376003"/>
                        <a:pt x="653503" y="375591"/>
                      </a:cubicBezTo>
                      <a:cubicBezTo>
                        <a:pt x="648308" y="373241"/>
                        <a:pt x="645092" y="367881"/>
                        <a:pt x="645504" y="362191"/>
                      </a:cubicBezTo>
                      <a:cubicBezTo>
                        <a:pt x="645504" y="349822"/>
                        <a:pt x="654369" y="348791"/>
                        <a:pt x="654369" y="348791"/>
                      </a:cubicBezTo>
                      <a:cubicBezTo>
                        <a:pt x="654369" y="348791"/>
                        <a:pt x="652596" y="323063"/>
                        <a:pt x="662368" y="318940"/>
                      </a:cubicBezTo>
                      <a:cubicBezTo>
                        <a:pt x="664388" y="317992"/>
                        <a:pt x="666079" y="316467"/>
                        <a:pt x="667274" y="314611"/>
                      </a:cubicBezTo>
                      <a:cubicBezTo>
                        <a:pt x="672717" y="306777"/>
                        <a:pt x="673912" y="291646"/>
                        <a:pt x="673912" y="280885"/>
                      </a:cubicBezTo>
                      <a:cubicBezTo>
                        <a:pt x="673953" y="267196"/>
                        <a:pt x="676345" y="253631"/>
                        <a:pt x="681004" y="240767"/>
                      </a:cubicBezTo>
                      <a:cubicBezTo>
                        <a:pt x="685457" y="229470"/>
                        <a:pt x="683684" y="214009"/>
                        <a:pt x="690817" y="207783"/>
                      </a:cubicBezTo>
                      <a:cubicBezTo>
                        <a:pt x="697950" y="201557"/>
                        <a:pt x="697042" y="185148"/>
                        <a:pt x="705907" y="182096"/>
                      </a:cubicBezTo>
                      <a:cubicBezTo>
                        <a:pt x="714772" y="179045"/>
                        <a:pt x="721905" y="174881"/>
                        <a:pt x="722771" y="168696"/>
                      </a:cubicBezTo>
                      <a:cubicBezTo>
                        <a:pt x="723636" y="162512"/>
                        <a:pt x="734356" y="154266"/>
                        <a:pt x="734356" y="145030"/>
                      </a:cubicBezTo>
                      <a:cubicBezTo>
                        <a:pt x="734356" y="135794"/>
                        <a:pt x="720998" y="133692"/>
                        <a:pt x="720998" y="122394"/>
                      </a:cubicBezTo>
                      <a:cubicBezTo>
                        <a:pt x="720998" y="111097"/>
                        <a:pt x="724543" y="82277"/>
                        <a:pt x="724543" y="82277"/>
                      </a:cubicBezTo>
                      <a:lnTo>
                        <a:pt x="725162" y="82030"/>
                      </a:lnTo>
                      <a:cubicBezTo>
                        <a:pt x="705990" y="61745"/>
                        <a:pt x="683931" y="40800"/>
                        <a:pt x="678860" y="36677"/>
                      </a:cubicBezTo>
                      <a:cubicBezTo>
                        <a:pt x="671438" y="30987"/>
                        <a:pt x="659028" y="42449"/>
                        <a:pt x="659028" y="42449"/>
                      </a:cubicBezTo>
                      <a:cubicBezTo>
                        <a:pt x="659028" y="42449"/>
                        <a:pt x="646659" y="28100"/>
                        <a:pt x="636764" y="39563"/>
                      </a:cubicBezTo>
                      <a:cubicBezTo>
                        <a:pt x="626869" y="51025"/>
                        <a:pt x="612025" y="39563"/>
                        <a:pt x="612025" y="39563"/>
                      </a:cubicBezTo>
                      <a:cubicBezTo>
                        <a:pt x="604192" y="33708"/>
                        <a:pt x="598172" y="25751"/>
                        <a:pt x="594709" y="16597"/>
                      </a:cubicBezTo>
                      <a:cubicBezTo>
                        <a:pt x="592853" y="11402"/>
                        <a:pt x="589143" y="7114"/>
                        <a:pt x="584319" y="4475"/>
                      </a:cubicBezTo>
                      <a:lnTo>
                        <a:pt x="584937" y="6372"/>
                      </a:lnTo>
                      <a:lnTo>
                        <a:pt x="555292" y="12103"/>
                      </a:lnTo>
                      <a:cubicBezTo>
                        <a:pt x="555292" y="12103"/>
                        <a:pt x="518185" y="-10780"/>
                        <a:pt x="510846" y="6372"/>
                      </a:cubicBezTo>
                      <a:cubicBezTo>
                        <a:pt x="503507" y="23524"/>
                        <a:pt x="496044" y="12103"/>
                        <a:pt x="478727" y="12103"/>
                      </a:cubicBezTo>
                      <a:cubicBezTo>
                        <a:pt x="461411" y="12103"/>
                        <a:pt x="446609" y="20679"/>
                        <a:pt x="436714" y="26410"/>
                      </a:cubicBezTo>
                      <a:cubicBezTo>
                        <a:pt x="426818" y="32141"/>
                        <a:pt x="411975" y="20679"/>
                        <a:pt x="404636" y="26410"/>
                      </a:cubicBezTo>
                      <a:cubicBezTo>
                        <a:pt x="397297" y="32141"/>
                        <a:pt x="392267" y="57869"/>
                        <a:pt x="392267" y="57869"/>
                      </a:cubicBezTo>
                      <a:lnTo>
                        <a:pt x="315702" y="40717"/>
                      </a:lnTo>
                      <a:cubicBezTo>
                        <a:pt x="315702" y="40717"/>
                        <a:pt x="300859" y="14948"/>
                        <a:pt x="283584" y="14948"/>
                      </a:cubicBezTo>
                      <a:cubicBezTo>
                        <a:pt x="266308" y="14948"/>
                        <a:pt x="241570" y="52056"/>
                        <a:pt x="241570" y="52056"/>
                      </a:cubicBezTo>
                      <a:lnTo>
                        <a:pt x="241570" y="83143"/>
                      </a:lnTo>
                      <a:cubicBezTo>
                        <a:pt x="244208" y="99388"/>
                        <a:pt x="242147" y="116087"/>
                        <a:pt x="235633" y="131218"/>
                      </a:cubicBezTo>
                      <a:cubicBezTo>
                        <a:pt x="228211" y="145566"/>
                        <a:pt x="220749" y="151297"/>
                        <a:pt x="220749" y="179994"/>
                      </a:cubicBezTo>
                      <a:cubicBezTo>
                        <a:pt x="220749" y="208690"/>
                        <a:pt x="191021" y="254580"/>
                        <a:pt x="191021" y="277503"/>
                      </a:cubicBezTo>
                      <a:cubicBezTo>
                        <a:pt x="191021" y="300428"/>
                        <a:pt x="156347" y="314611"/>
                        <a:pt x="156347" y="329124"/>
                      </a:cubicBezTo>
                      <a:cubicBezTo>
                        <a:pt x="156347" y="343637"/>
                        <a:pt x="153872" y="375014"/>
                        <a:pt x="153872" y="406596"/>
                      </a:cubicBezTo>
                      <a:cubicBezTo>
                        <a:pt x="153872" y="438179"/>
                        <a:pt x="139030" y="412286"/>
                        <a:pt x="139030" y="440982"/>
                      </a:cubicBezTo>
                      <a:cubicBezTo>
                        <a:pt x="139030" y="469679"/>
                        <a:pt x="126660" y="452445"/>
                        <a:pt x="114291" y="466793"/>
                      </a:cubicBezTo>
                      <a:cubicBezTo>
                        <a:pt x="101922" y="481141"/>
                        <a:pt x="96975" y="484027"/>
                        <a:pt x="96975" y="469679"/>
                      </a:cubicBezTo>
                      <a:cubicBezTo>
                        <a:pt x="96975" y="455330"/>
                        <a:pt x="79658" y="452445"/>
                        <a:pt x="64773" y="466793"/>
                      </a:cubicBezTo>
                      <a:cubicBezTo>
                        <a:pt x="49889" y="481141"/>
                        <a:pt x="44983" y="466793"/>
                        <a:pt x="37561" y="463907"/>
                      </a:cubicBezTo>
                      <a:cubicBezTo>
                        <a:pt x="33438" y="462381"/>
                        <a:pt x="16493" y="473967"/>
                        <a:pt x="1" y="486996"/>
                      </a:cubicBezTo>
                      <a:cubicBezTo>
                        <a:pt x="6515" y="503488"/>
                        <a:pt x="11298" y="520640"/>
                        <a:pt x="14266" y="538163"/>
                      </a:cubicBezTo>
                      <a:cubicBezTo>
                        <a:pt x="14555" y="539647"/>
                        <a:pt x="14885" y="541255"/>
                        <a:pt x="15297" y="542822"/>
                      </a:cubicBezTo>
                      <a:cubicBezTo>
                        <a:pt x="24038" y="535689"/>
                        <a:pt x="32861" y="529381"/>
                        <a:pt x="37932" y="528556"/>
                      </a:cubicBezTo>
                      <a:cubicBezTo>
                        <a:pt x="50301" y="526494"/>
                        <a:pt x="167644" y="528556"/>
                        <a:pt x="167644" y="528556"/>
                      </a:cubicBezTo>
                      <a:cubicBezTo>
                        <a:pt x="167644" y="528556"/>
                        <a:pt x="178281" y="549171"/>
                        <a:pt x="174735" y="567683"/>
                      </a:cubicBezTo>
                      <a:cubicBezTo>
                        <a:pt x="171189" y="586196"/>
                        <a:pt x="181827" y="577950"/>
                        <a:pt x="190733" y="602647"/>
                      </a:cubicBezTo>
                      <a:cubicBezTo>
                        <a:pt x="199639" y="627344"/>
                        <a:pt x="206730" y="637652"/>
                        <a:pt x="224500" y="631508"/>
                      </a:cubicBezTo>
                      <a:cubicBezTo>
                        <a:pt x="242271" y="625365"/>
                        <a:pt x="263587" y="621201"/>
                        <a:pt x="270679" y="623262"/>
                      </a:cubicBezTo>
                      <a:cubicBezTo>
                        <a:pt x="277770" y="625324"/>
                        <a:pt x="275997" y="588299"/>
                        <a:pt x="286676" y="582032"/>
                      </a:cubicBezTo>
                      <a:cubicBezTo>
                        <a:pt x="297355" y="575765"/>
                        <a:pt x="318671" y="582032"/>
                        <a:pt x="318671" y="582032"/>
                      </a:cubicBezTo>
                      <a:cubicBezTo>
                        <a:pt x="318671" y="582032"/>
                        <a:pt x="320444" y="592298"/>
                        <a:pt x="338173" y="592298"/>
                      </a:cubicBezTo>
                      <a:cubicBezTo>
                        <a:pt x="355902" y="592298"/>
                        <a:pt x="364849" y="584052"/>
                        <a:pt x="364849" y="598483"/>
                      </a:cubicBezTo>
                      <a:cubicBezTo>
                        <a:pt x="364849" y="612914"/>
                        <a:pt x="366622" y="629365"/>
                        <a:pt x="371940" y="635590"/>
                      </a:cubicBezTo>
                      <a:cubicBezTo>
                        <a:pt x="377259" y="641816"/>
                        <a:pt x="357757" y="693313"/>
                        <a:pt x="366622" y="701559"/>
                      </a:cubicBezTo>
                      <a:cubicBezTo>
                        <a:pt x="375486" y="709805"/>
                        <a:pt x="387938" y="728318"/>
                        <a:pt x="386165" y="738667"/>
                      </a:cubicBezTo>
                      <a:cubicBezTo>
                        <a:pt x="384392" y="749015"/>
                        <a:pt x="379073" y="773630"/>
                        <a:pt x="386165" y="775774"/>
                      </a:cubicBezTo>
                      <a:cubicBezTo>
                        <a:pt x="393257" y="777918"/>
                        <a:pt x="395071" y="763405"/>
                        <a:pt x="407481" y="763405"/>
                      </a:cubicBezTo>
                      <a:cubicBezTo>
                        <a:pt x="419891" y="763405"/>
                        <a:pt x="430570" y="765425"/>
                        <a:pt x="443022" y="759282"/>
                      </a:cubicBezTo>
                      <a:cubicBezTo>
                        <a:pt x="446485" y="757509"/>
                        <a:pt x="450567" y="757715"/>
                        <a:pt x="453865" y="759735"/>
                      </a:cubicBezTo>
                      <a:cubicBezTo>
                        <a:pt x="458318" y="762745"/>
                        <a:pt x="461947" y="766868"/>
                        <a:pt x="464379" y="771651"/>
                      </a:cubicBezTo>
                      <a:cubicBezTo>
                        <a:pt x="464379" y="771651"/>
                        <a:pt x="467884" y="786040"/>
                        <a:pt x="475017" y="781917"/>
                      </a:cubicBezTo>
                      <a:cubicBezTo>
                        <a:pt x="482149" y="777794"/>
                        <a:pt x="501652" y="771651"/>
                        <a:pt x="499755" y="779856"/>
                      </a:cubicBezTo>
                      <a:cubicBezTo>
                        <a:pt x="497858" y="788061"/>
                        <a:pt x="505074" y="806614"/>
                        <a:pt x="512124" y="802491"/>
                      </a:cubicBezTo>
                      <a:cubicBezTo>
                        <a:pt x="519175" y="798368"/>
                        <a:pt x="536862" y="814860"/>
                        <a:pt x="545892" y="814860"/>
                      </a:cubicBezTo>
                      <a:cubicBezTo>
                        <a:pt x="554921" y="814860"/>
                        <a:pt x="563621" y="814860"/>
                        <a:pt x="563621" y="808635"/>
                      </a:cubicBezTo>
                      <a:cubicBezTo>
                        <a:pt x="563621" y="802409"/>
                        <a:pt x="574300" y="792142"/>
                        <a:pt x="577846" y="800388"/>
                      </a:cubicBezTo>
                      <a:cubicBezTo>
                        <a:pt x="581391" y="808635"/>
                        <a:pt x="590215" y="827147"/>
                        <a:pt x="599161" y="827147"/>
                      </a:cubicBezTo>
                      <a:cubicBezTo>
                        <a:pt x="608109" y="827147"/>
                        <a:pt x="629384" y="827147"/>
                        <a:pt x="629384" y="835393"/>
                      </a:cubicBezTo>
                      <a:cubicBezTo>
                        <a:pt x="629384" y="843639"/>
                        <a:pt x="636475" y="866233"/>
                        <a:pt x="645381" y="874479"/>
                      </a:cubicBezTo>
                      <a:cubicBezTo>
                        <a:pt x="654286" y="882726"/>
                        <a:pt x="673789" y="874479"/>
                        <a:pt x="673789" y="874479"/>
                      </a:cubicBezTo>
                      <a:cubicBezTo>
                        <a:pt x="673789" y="874479"/>
                        <a:pt x="680880" y="868295"/>
                        <a:pt x="680880" y="853864"/>
                      </a:cubicBezTo>
                      <a:cubicBezTo>
                        <a:pt x="680880" y="839434"/>
                        <a:pt x="680880" y="820880"/>
                        <a:pt x="675562" y="820880"/>
                      </a:cubicBezTo>
                      <a:cubicBezTo>
                        <a:pt x="670243" y="820880"/>
                        <a:pt x="661337" y="835269"/>
                        <a:pt x="648927" y="831146"/>
                      </a:cubicBezTo>
                      <a:cubicBezTo>
                        <a:pt x="636516" y="827023"/>
                        <a:pt x="627610" y="798162"/>
                        <a:pt x="622251" y="794039"/>
                      </a:cubicBezTo>
                      <a:cubicBezTo>
                        <a:pt x="616891" y="789916"/>
                        <a:pt x="631156" y="763199"/>
                        <a:pt x="631156" y="750829"/>
                      </a:cubicBezTo>
                      <a:cubicBezTo>
                        <a:pt x="631156" y="738460"/>
                        <a:pt x="640062" y="703538"/>
                        <a:pt x="632929" y="699415"/>
                      </a:cubicBezTo>
                      <a:cubicBezTo>
                        <a:pt x="625797" y="695292"/>
                        <a:pt x="629384" y="682923"/>
                        <a:pt x="638248" y="674677"/>
                      </a:cubicBezTo>
                      <a:cubicBezTo>
                        <a:pt x="647112" y="666431"/>
                        <a:pt x="634702" y="643795"/>
                        <a:pt x="648927" y="643795"/>
                      </a:cubicBezTo>
                      <a:cubicBezTo>
                        <a:pt x="662285" y="643795"/>
                        <a:pt x="689415" y="645485"/>
                        <a:pt x="697125" y="635549"/>
                      </a:cubicBezTo>
                      <a:cubicBezTo>
                        <a:pt x="697744" y="634972"/>
                        <a:pt x="698238" y="634271"/>
                        <a:pt x="698650" y="633529"/>
                      </a:cubicBezTo>
                      <a:cubicBezTo>
                        <a:pt x="699681" y="631220"/>
                        <a:pt x="700547" y="628829"/>
                        <a:pt x="701248" y="626396"/>
                      </a:cubicBezTo>
                      <a:cubicBezTo>
                        <a:pt x="692260" y="609327"/>
                        <a:pt x="683148" y="586237"/>
                        <a:pt x="672140" y="579269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74" name="Freeform: Shape 373">
                  <a:extLst>
                    <a:ext uri="{FF2B5EF4-FFF2-40B4-BE49-F238E27FC236}">
                      <a16:creationId xmlns:a16="http://schemas.microsoft.com/office/drawing/2014/main" id="{6B7AB891-ADA5-DE19-C269-B3E34E414716}"/>
                    </a:ext>
                  </a:extLst>
                </p:cNvPr>
                <p:cNvSpPr/>
                <p:nvPr>
                  <p:custDataLst>
                    <p:tags r:id="rId375"/>
                  </p:custDataLst>
                </p:nvPr>
              </p:nvSpPr>
              <p:spPr>
                <a:xfrm>
                  <a:off x="7700494" y="5754631"/>
                  <a:ext cx="55328" cy="83754"/>
                </a:xfrm>
                <a:custGeom>
                  <a:avLst/>
                  <a:gdLst>
                    <a:gd name="connsiteX0" fmla="*/ 4536 w 64607"/>
                    <a:gd name="connsiteY0" fmla="*/ 49596 h 97798"/>
                    <a:gd name="connsiteX1" fmla="*/ 14514 w 64607"/>
                    <a:gd name="connsiteY1" fmla="*/ 97794 h 97798"/>
                    <a:gd name="connsiteX2" fmla="*/ 31624 w 64607"/>
                    <a:gd name="connsiteY2" fmla="*/ 86085 h 97798"/>
                    <a:gd name="connsiteX3" fmla="*/ 64608 w 64607"/>
                    <a:gd name="connsiteY3" fmla="*/ 31496 h 97798"/>
                    <a:gd name="connsiteX4" fmla="*/ 54342 w 64607"/>
                    <a:gd name="connsiteY4" fmla="*/ 24363 h 97798"/>
                    <a:gd name="connsiteX5" fmla="*/ 52734 w 64607"/>
                    <a:gd name="connsiteY5" fmla="*/ -4 h 97798"/>
                    <a:gd name="connsiteX6" fmla="*/ 33851 w 64607"/>
                    <a:gd name="connsiteY6" fmla="*/ 614 h 97798"/>
                    <a:gd name="connsiteX7" fmla="*/ 13235 w 64607"/>
                    <a:gd name="connsiteY7" fmla="*/ 14839 h 97798"/>
                    <a:gd name="connsiteX8" fmla="*/ 1 w 64607"/>
                    <a:gd name="connsiteY8" fmla="*/ 13396 h 97798"/>
                    <a:gd name="connsiteX9" fmla="*/ 2639 w 64607"/>
                    <a:gd name="connsiteY9" fmla="*/ 14385 h 97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4607" h="97798">
                      <a:moveTo>
                        <a:pt x="4536" y="49596"/>
                      </a:moveTo>
                      <a:cubicBezTo>
                        <a:pt x="7669" y="57842"/>
                        <a:pt x="10844" y="76561"/>
                        <a:pt x="14514" y="97794"/>
                      </a:cubicBezTo>
                      <a:cubicBezTo>
                        <a:pt x="19956" y="93507"/>
                        <a:pt x="25646" y="89589"/>
                        <a:pt x="31624" y="86085"/>
                      </a:cubicBezTo>
                      <a:cubicBezTo>
                        <a:pt x="41891" y="81343"/>
                        <a:pt x="64608" y="31496"/>
                        <a:pt x="64608" y="31496"/>
                      </a:cubicBezTo>
                      <a:lnTo>
                        <a:pt x="54342" y="24363"/>
                      </a:lnTo>
                      <a:cubicBezTo>
                        <a:pt x="54919" y="16200"/>
                        <a:pt x="54383" y="7995"/>
                        <a:pt x="52734" y="-4"/>
                      </a:cubicBezTo>
                      <a:cubicBezTo>
                        <a:pt x="46467" y="738"/>
                        <a:pt x="40159" y="944"/>
                        <a:pt x="33851" y="614"/>
                      </a:cubicBezTo>
                      <a:cubicBezTo>
                        <a:pt x="33851" y="614"/>
                        <a:pt x="35912" y="19622"/>
                        <a:pt x="13235" y="14839"/>
                      </a:cubicBezTo>
                      <a:cubicBezTo>
                        <a:pt x="8865" y="14014"/>
                        <a:pt x="4453" y="13561"/>
                        <a:pt x="1" y="13396"/>
                      </a:cubicBezTo>
                      <a:cubicBezTo>
                        <a:pt x="825" y="13808"/>
                        <a:pt x="1732" y="14138"/>
                        <a:pt x="2639" y="14385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75" name="Freeform: Shape 374">
                  <a:extLst>
                    <a:ext uri="{FF2B5EF4-FFF2-40B4-BE49-F238E27FC236}">
                      <a16:creationId xmlns:a16="http://schemas.microsoft.com/office/drawing/2014/main" id="{7598CDB6-FAB3-D9DC-DC46-8A0EAB7BDB4A}"/>
                    </a:ext>
                  </a:extLst>
                </p:cNvPr>
                <p:cNvSpPr/>
                <p:nvPr>
                  <p:custDataLst>
                    <p:tags r:id="rId376"/>
                  </p:custDataLst>
                </p:nvPr>
              </p:nvSpPr>
              <p:spPr>
                <a:xfrm>
                  <a:off x="7734991" y="6102256"/>
                  <a:ext cx="343244" cy="661492"/>
                </a:xfrm>
                <a:custGeom>
                  <a:avLst/>
                  <a:gdLst>
                    <a:gd name="connsiteX0" fmla="*/ 338173 w 400801"/>
                    <a:gd name="connsiteY0" fmla="*/ 257810 h 772411"/>
                    <a:gd name="connsiteX1" fmla="*/ 358252 w 400801"/>
                    <a:gd name="connsiteY1" fmla="*/ 230886 h 772411"/>
                    <a:gd name="connsiteX2" fmla="*/ 372353 w 400801"/>
                    <a:gd name="connsiteY2" fmla="*/ 224125 h 772411"/>
                    <a:gd name="connsiteX3" fmla="*/ 376063 w 400801"/>
                    <a:gd name="connsiteY3" fmla="*/ 203510 h 772411"/>
                    <a:gd name="connsiteX4" fmla="*/ 400802 w 400801"/>
                    <a:gd name="connsiteY4" fmla="*/ 174401 h 772411"/>
                    <a:gd name="connsiteX5" fmla="*/ 397586 w 400801"/>
                    <a:gd name="connsiteY5" fmla="*/ 158445 h 772411"/>
                    <a:gd name="connsiteX6" fmla="*/ 377424 w 400801"/>
                    <a:gd name="connsiteY6" fmla="*/ 36403 h 772411"/>
                    <a:gd name="connsiteX7" fmla="*/ 370497 w 400801"/>
                    <a:gd name="connsiteY7" fmla="*/ -4 h 772411"/>
                    <a:gd name="connsiteX8" fmla="*/ 367240 w 400801"/>
                    <a:gd name="connsiteY8" fmla="*/ 3377 h 772411"/>
                    <a:gd name="connsiteX9" fmla="*/ 338791 w 400801"/>
                    <a:gd name="connsiteY9" fmla="*/ 11623 h 772411"/>
                    <a:gd name="connsiteX10" fmla="*/ 315125 w 400801"/>
                    <a:gd name="connsiteY10" fmla="*/ 10263 h 772411"/>
                    <a:gd name="connsiteX11" fmla="*/ 302096 w 400801"/>
                    <a:gd name="connsiteY11" fmla="*/ 28115 h 772411"/>
                    <a:gd name="connsiteX12" fmla="*/ 278389 w 400801"/>
                    <a:gd name="connsiteY12" fmla="*/ 30837 h 772411"/>
                    <a:gd name="connsiteX13" fmla="*/ 244043 w 400801"/>
                    <a:gd name="connsiteY13" fmla="*/ 36320 h 772411"/>
                    <a:gd name="connsiteX14" fmla="*/ 231014 w 400801"/>
                    <a:gd name="connsiteY14" fmla="*/ 22632 h 772411"/>
                    <a:gd name="connsiteX15" fmla="*/ 207307 w 400801"/>
                    <a:gd name="connsiteY15" fmla="*/ 28115 h 772411"/>
                    <a:gd name="connsiteX16" fmla="*/ 184589 w 400801"/>
                    <a:gd name="connsiteY16" fmla="*/ 25394 h 772411"/>
                    <a:gd name="connsiteX17" fmla="*/ 182445 w 400801"/>
                    <a:gd name="connsiteY17" fmla="*/ 41474 h 772411"/>
                    <a:gd name="connsiteX18" fmla="*/ 199638 w 400801"/>
                    <a:gd name="connsiteY18" fmla="*/ 139603 h 772411"/>
                    <a:gd name="connsiteX19" fmla="*/ 223882 w 400801"/>
                    <a:gd name="connsiteY19" fmla="*/ 166691 h 772411"/>
                    <a:gd name="connsiteX20" fmla="*/ 225077 w 400801"/>
                    <a:gd name="connsiteY20" fmla="*/ 213323 h 772411"/>
                    <a:gd name="connsiteX21" fmla="*/ 202566 w 400801"/>
                    <a:gd name="connsiteY21" fmla="*/ 243462 h 772411"/>
                    <a:gd name="connsiteX22" fmla="*/ 199020 w 400801"/>
                    <a:gd name="connsiteY22" fmla="*/ 286011 h 772411"/>
                    <a:gd name="connsiteX23" fmla="*/ 162325 w 400801"/>
                    <a:gd name="connsiteY23" fmla="*/ 229732 h 772411"/>
                    <a:gd name="connsiteX24" fmla="*/ 170571 w 400801"/>
                    <a:gd name="connsiteY24" fmla="*/ 169412 h 772411"/>
                    <a:gd name="connsiteX25" fmla="*/ 138617 w 400801"/>
                    <a:gd name="connsiteY25" fmla="*/ 163887 h 772411"/>
                    <a:gd name="connsiteX26" fmla="*/ 111323 w 400801"/>
                    <a:gd name="connsiteY26" fmla="*/ 141952 h 772411"/>
                    <a:gd name="connsiteX27" fmla="*/ 1 w 400801"/>
                    <a:gd name="connsiteY27" fmla="*/ 188584 h 772411"/>
                    <a:gd name="connsiteX28" fmla="*/ 8247 w 400801"/>
                    <a:gd name="connsiteY28" fmla="*/ 222929 h 772411"/>
                    <a:gd name="connsiteX29" fmla="*/ 5937 w 400801"/>
                    <a:gd name="connsiteY29" fmla="*/ 222929 h 772411"/>
                    <a:gd name="connsiteX30" fmla="*/ 11834 w 400801"/>
                    <a:gd name="connsiteY30" fmla="*/ 237937 h 772411"/>
                    <a:gd name="connsiteX31" fmla="*/ 63372 w 400801"/>
                    <a:gd name="connsiteY31" fmla="*/ 252368 h 772411"/>
                    <a:gd name="connsiteX32" fmla="*/ 109550 w 400801"/>
                    <a:gd name="connsiteY32" fmla="*/ 270880 h 772411"/>
                    <a:gd name="connsiteX33" fmla="*/ 111323 w 400801"/>
                    <a:gd name="connsiteY33" fmla="*/ 342910 h 772411"/>
                    <a:gd name="connsiteX34" fmla="*/ 100644 w 400801"/>
                    <a:gd name="connsiteY34" fmla="*/ 384140 h 772411"/>
                    <a:gd name="connsiteX35" fmla="*/ 113013 w 400801"/>
                    <a:gd name="connsiteY35" fmla="*/ 419104 h 772411"/>
                    <a:gd name="connsiteX36" fmla="*/ 91697 w 400801"/>
                    <a:gd name="connsiteY36" fmla="*/ 454108 h 772411"/>
                    <a:gd name="connsiteX37" fmla="*/ 81018 w 400801"/>
                    <a:gd name="connsiteY37" fmla="*/ 499462 h 772411"/>
                    <a:gd name="connsiteX38" fmla="*/ 40406 w 400801"/>
                    <a:gd name="connsiteY38" fmla="*/ 546341 h 772411"/>
                    <a:gd name="connsiteX39" fmla="*/ 41932 w 400801"/>
                    <a:gd name="connsiteY39" fmla="*/ 547825 h 772411"/>
                    <a:gd name="connsiteX40" fmla="*/ 66670 w 400801"/>
                    <a:gd name="connsiteY40" fmla="*/ 634409 h 772411"/>
                    <a:gd name="connsiteX41" fmla="*/ 70216 w 400801"/>
                    <a:gd name="connsiteY41" fmla="*/ 718808 h 772411"/>
                    <a:gd name="connsiteX42" fmla="*/ 74669 w 400801"/>
                    <a:gd name="connsiteY42" fmla="*/ 772408 h 772411"/>
                    <a:gd name="connsiteX43" fmla="*/ 104520 w 400801"/>
                    <a:gd name="connsiteY43" fmla="*/ 769810 h 772411"/>
                    <a:gd name="connsiteX44" fmla="*/ 106375 w 400801"/>
                    <a:gd name="connsiteY44" fmla="*/ 746721 h 772411"/>
                    <a:gd name="connsiteX45" fmla="*/ 90377 w 400801"/>
                    <a:gd name="connsiteY45" fmla="*/ 728868 h 772411"/>
                    <a:gd name="connsiteX46" fmla="*/ 153131 w 400801"/>
                    <a:gd name="connsiteY46" fmla="*/ 675268 h 772411"/>
                    <a:gd name="connsiteX47" fmla="*/ 203473 w 400801"/>
                    <a:gd name="connsiteY47" fmla="*/ 638903 h 772411"/>
                    <a:gd name="connsiteX48" fmla="*/ 205122 w 400801"/>
                    <a:gd name="connsiteY48" fmla="*/ 607774 h 772411"/>
                    <a:gd name="connsiteX49" fmla="*/ 184507 w 400801"/>
                    <a:gd name="connsiteY49" fmla="*/ 573429 h 772411"/>
                    <a:gd name="connsiteX50" fmla="*/ 181043 w 400801"/>
                    <a:gd name="connsiteY50" fmla="*/ 455221 h 772411"/>
                    <a:gd name="connsiteX51" fmla="*/ 181043 w 400801"/>
                    <a:gd name="connsiteY51" fmla="*/ 454397 h 772411"/>
                    <a:gd name="connsiteX52" fmla="*/ 187517 w 400801"/>
                    <a:gd name="connsiteY52" fmla="*/ 419392 h 772411"/>
                    <a:gd name="connsiteX53" fmla="*/ 189372 w 400801"/>
                    <a:gd name="connsiteY53" fmla="*/ 419104 h 772411"/>
                    <a:gd name="connsiteX54" fmla="*/ 223758 w 400801"/>
                    <a:gd name="connsiteY54" fmla="*/ 364267 h 772411"/>
                    <a:gd name="connsiteX55" fmla="*/ 237282 w 400801"/>
                    <a:gd name="connsiteY55" fmla="*/ 355485 h 772411"/>
                    <a:gd name="connsiteX56" fmla="*/ 243136 w 400801"/>
                    <a:gd name="connsiteY56" fmla="*/ 328355 h 772411"/>
                    <a:gd name="connsiteX57" fmla="*/ 269235 w 400801"/>
                    <a:gd name="connsiteY57" fmla="*/ 307740 h 772411"/>
                    <a:gd name="connsiteX58" fmla="*/ 286635 w 400801"/>
                    <a:gd name="connsiteY58" fmla="*/ 306957 h 772411"/>
                    <a:gd name="connsiteX59" fmla="*/ 293314 w 400801"/>
                    <a:gd name="connsiteY59" fmla="*/ 308029 h 772411"/>
                    <a:gd name="connsiteX60" fmla="*/ 339945 w 400801"/>
                    <a:gd name="connsiteY60" fmla="*/ 288032 h 772411"/>
                    <a:gd name="connsiteX61" fmla="*/ 338173 w 400801"/>
                    <a:gd name="connsiteY61" fmla="*/ 257810 h 7724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</a:cxnLst>
                  <a:rect l="l" t="t" r="r" b="b"/>
                  <a:pathLst>
                    <a:path w="400801" h="772411">
                      <a:moveTo>
                        <a:pt x="338173" y="257810"/>
                      </a:moveTo>
                      <a:cubicBezTo>
                        <a:pt x="341306" y="246678"/>
                        <a:pt x="348480" y="237071"/>
                        <a:pt x="358252" y="230886"/>
                      </a:cubicBezTo>
                      <a:cubicBezTo>
                        <a:pt x="362705" y="228124"/>
                        <a:pt x="367405" y="225856"/>
                        <a:pt x="372353" y="224125"/>
                      </a:cubicBezTo>
                      <a:cubicBezTo>
                        <a:pt x="373672" y="217404"/>
                        <a:pt x="374909" y="210519"/>
                        <a:pt x="376063" y="203510"/>
                      </a:cubicBezTo>
                      <a:cubicBezTo>
                        <a:pt x="378785" y="190192"/>
                        <a:pt x="388103" y="179225"/>
                        <a:pt x="400802" y="174401"/>
                      </a:cubicBezTo>
                      <a:cubicBezTo>
                        <a:pt x="398864" y="169288"/>
                        <a:pt x="397751" y="163887"/>
                        <a:pt x="397586" y="158445"/>
                      </a:cubicBezTo>
                      <a:cubicBezTo>
                        <a:pt x="396225" y="116637"/>
                        <a:pt x="385918" y="77056"/>
                        <a:pt x="377424" y="36403"/>
                      </a:cubicBezTo>
                      <a:cubicBezTo>
                        <a:pt x="374868" y="24322"/>
                        <a:pt x="372765" y="12118"/>
                        <a:pt x="370497" y="-4"/>
                      </a:cubicBezTo>
                      <a:cubicBezTo>
                        <a:pt x="369178" y="862"/>
                        <a:pt x="368065" y="2017"/>
                        <a:pt x="367240" y="3377"/>
                      </a:cubicBezTo>
                      <a:cubicBezTo>
                        <a:pt x="363653" y="11623"/>
                        <a:pt x="348274" y="2017"/>
                        <a:pt x="338791" y="11623"/>
                      </a:cubicBezTo>
                      <a:cubicBezTo>
                        <a:pt x="329308" y="21230"/>
                        <a:pt x="323412" y="13025"/>
                        <a:pt x="315125" y="10263"/>
                      </a:cubicBezTo>
                      <a:cubicBezTo>
                        <a:pt x="306837" y="7500"/>
                        <a:pt x="303250" y="19869"/>
                        <a:pt x="302096" y="28115"/>
                      </a:cubicBezTo>
                      <a:cubicBezTo>
                        <a:pt x="300942" y="36361"/>
                        <a:pt x="284326" y="32238"/>
                        <a:pt x="278389" y="30837"/>
                      </a:cubicBezTo>
                      <a:cubicBezTo>
                        <a:pt x="272451" y="29434"/>
                        <a:pt x="253650" y="36320"/>
                        <a:pt x="244043" y="36320"/>
                      </a:cubicBezTo>
                      <a:cubicBezTo>
                        <a:pt x="234437" y="36320"/>
                        <a:pt x="241693" y="26755"/>
                        <a:pt x="231014" y="22632"/>
                      </a:cubicBezTo>
                      <a:cubicBezTo>
                        <a:pt x="220336" y="18509"/>
                        <a:pt x="213244" y="28115"/>
                        <a:pt x="207307" y="28115"/>
                      </a:cubicBezTo>
                      <a:cubicBezTo>
                        <a:pt x="203720" y="28115"/>
                        <a:pt x="192670" y="26590"/>
                        <a:pt x="184589" y="25394"/>
                      </a:cubicBezTo>
                      <a:cubicBezTo>
                        <a:pt x="184630" y="30837"/>
                        <a:pt x="183888" y="36238"/>
                        <a:pt x="182445" y="41474"/>
                      </a:cubicBezTo>
                      <a:cubicBezTo>
                        <a:pt x="174776" y="64728"/>
                        <a:pt x="198443" y="117338"/>
                        <a:pt x="199638" y="139603"/>
                      </a:cubicBezTo>
                      <a:cubicBezTo>
                        <a:pt x="208379" y="148055"/>
                        <a:pt x="216460" y="157084"/>
                        <a:pt x="223882" y="166691"/>
                      </a:cubicBezTo>
                      <a:cubicBezTo>
                        <a:pt x="234561" y="181740"/>
                        <a:pt x="223882" y="180379"/>
                        <a:pt x="225077" y="213323"/>
                      </a:cubicBezTo>
                      <a:cubicBezTo>
                        <a:pt x="226273" y="246266"/>
                        <a:pt x="213244" y="232536"/>
                        <a:pt x="202566" y="243462"/>
                      </a:cubicBezTo>
                      <a:cubicBezTo>
                        <a:pt x="191887" y="254388"/>
                        <a:pt x="201411" y="279126"/>
                        <a:pt x="199020" y="286011"/>
                      </a:cubicBezTo>
                      <a:cubicBezTo>
                        <a:pt x="196628" y="292897"/>
                        <a:pt x="164675" y="237978"/>
                        <a:pt x="162325" y="229732"/>
                      </a:cubicBezTo>
                      <a:cubicBezTo>
                        <a:pt x="159974" y="221486"/>
                        <a:pt x="174158" y="188502"/>
                        <a:pt x="170571" y="169412"/>
                      </a:cubicBezTo>
                      <a:cubicBezTo>
                        <a:pt x="166984" y="150322"/>
                        <a:pt x="145833" y="162526"/>
                        <a:pt x="138617" y="163887"/>
                      </a:cubicBezTo>
                      <a:cubicBezTo>
                        <a:pt x="131402" y="165248"/>
                        <a:pt x="114869" y="141952"/>
                        <a:pt x="111323" y="141952"/>
                      </a:cubicBezTo>
                      <a:cubicBezTo>
                        <a:pt x="107777" y="141952"/>
                        <a:pt x="1" y="188584"/>
                        <a:pt x="1" y="188584"/>
                      </a:cubicBezTo>
                      <a:lnTo>
                        <a:pt x="8247" y="222929"/>
                      </a:lnTo>
                      <a:lnTo>
                        <a:pt x="5937" y="222929"/>
                      </a:lnTo>
                      <a:lnTo>
                        <a:pt x="11834" y="237937"/>
                      </a:lnTo>
                      <a:cubicBezTo>
                        <a:pt x="11834" y="237937"/>
                        <a:pt x="47374" y="239999"/>
                        <a:pt x="63372" y="252368"/>
                      </a:cubicBezTo>
                      <a:cubicBezTo>
                        <a:pt x="79369" y="264737"/>
                        <a:pt x="104231" y="266757"/>
                        <a:pt x="109550" y="270880"/>
                      </a:cubicBezTo>
                      <a:cubicBezTo>
                        <a:pt x="114869" y="275003"/>
                        <a:pt x="109550" y="320357"/>
                        <a:pt x="111323" y="342910"/>
                      </a:cubicBezTo>
                      <a:cubicBezTo>
                        <a:pt x="113095" y="365463"/>
                        <a:pt x="90006" y="371771"/>
                        <a:pt x="100644" y="384140"/>
                      </a:cubicBezTo>
                      <a:cubicBezTo>
                        <a:pt x="111281" y="396509"/>
                        <a:pt x="106004" y="417125"/>
                        <a:pt x="113013" y="419104"/>
                      </a:cubicBezTo>
                      <a:cubicBezTo>
                        <a:pt x="120022" y="421083"/>
                        <a:pt x="100644" y="447965"/>
                        <a:pt x="91697" y="454108"/>
                      </a:cubicBezTo>
                      <a:cubicBezTo>
                        <a:pt x="82750" y="460251"/>
                        <a:pt x="91697" y="482969"/>
                        <a:pt x="81018" y="499462"/>
                      </a:cubicBezTo>
                      <a:cubicBezTo>
                        <a:pt x="74215" y="510058"/>
                        <a:pt x="54301" y="530673"/>
                        <a:pt x="40406" y="546341"/>
                      </a:cubicBezTo>
                      <a:cubicBezTo>
                        <a:pt x="41025" y="546712"/>
                        <a:pt x="41561" y="547207"/>
                        <a:pt x="41932" y="547825"/>
                      </a:cubicBezTo>
                      <a:cubicBezTo>
                        <a:pt x="45519" y="555040"/>
                        <a:pt x="56156" y="627070"/>
                        <a:pt x="66670" y="634409"/>
                      </a:cubicBezTo>
                      <a:cubicBezTo>
                        <a:pt x="77184" y="641748"/>
                        <a:pt x="71082" y="712747"/>
                        <a:pt x="70216" y="718808"/>
                      </a:cubicBezTo>
                      <a:cubicBezTo>
                        <a:pt x="69350" y="724869"/>
                        <a:pt x="74669" y="772408"/>
                        <a:pt x="74669" y="772408"/>
                      </a:cubicBezTo>
                      <a:cubicBezTo>
                        <a:pt x="84523" y="770758"/>
                        <a:pt x="94500" y="769851"/>
                        <a:pt x="104520" y="769810"/>
                      </a:cubicBezTo>
                      <a:cubicBezTo>
                        <a:pt x="105427" y="760451"/>
                        <a:pt x="106045" y="752287"/>
                        <a:pt x="106375" y="746721"/>
                      </a:cubicBezTo>
                      <a:cubicBezTo>
                        <a:pt x="107529" y="724786"/>
                        <a:pt x="94500" y="742598"/>
                        <a:pt x="90377" y="728868"/>
                      </a:cubicBezTo>
                      <a:cubicBezTo>
                        <a:pt x="86254" y="715138"/>
                        <a:pt x="119239" y="689823"/>
                        <a:pt x="153131" y="675268"/>
                      </a:cubicBezTo>
                      <a:cubicBezTo>
                        <a:pt x="187022" y="660714"/>
                        <a:pt x="199927" y="652633"/>
                        <a:pt x="203473" y="638903"/>
                      </a:cubicBezTo>
                      <a:cubicBezTo>
                        <a:pt x="205040" y="628596"/>
                        <a:pt x="205617" y="618164"/>
                        <a:pt x="205122" y="607774"/>
                      </a:cubicBezTo>
                      <a:cubicBezTo>
                        <a:pt x="193412" y="600023"/>
                        <a:pt x="185867" y="587407"/>
                        <a:pt x="184507" y="573429"/>
                      </a:cubicBezTo>
                      <a:cubicBezTo>
                        <a:pt x="180384" y="536322"/>
                        <a:pt x="175889" y="494390"/>
                        <a:pt x="181043" y="455221"/>
                      </a:cubicBezTo>
                      <a:cubicBezTo>
                        <a:pt x="181043" y="454933"/>
                        <a:pt x="181043" y="454685"/>
                        <a:pt x="181043" y="454397"/>
                      </a:cubicBezTo>
                      <a:cubicBezTo>
                        <a:pt x="176302" y="435184"/>
                        <a:pt x="177456" y="420134"/>
                        <a:pt x="187517" y="419392"/>
                      </a:cubicBezTo>
                      <a:cubicBezTo>
                        <a:pt x="188135" y="419351"/>
                        <a:pt x="188753" y="419227"/>
                        <a:pt x="189372" y="419104"/>
                      </a:cubicBezTo>
                      <a:cubicBezTo>
                        <a:pt x="196051" y="398241"/>
                        <a:pt x="207843" y="379357"/>
                        <a:pt x="223758" y="364267"/>
                      </a:cubicBezTo>
                      <a:cubicBezTo>
                        <a:pt x="227716" y="360556"/>
                        <a:pt x="232293" y="357588"/>
                        <a:pt x="237282" y="355485"/>
                      </a:cubicBezTo>
                      <a:cubicBezTo>
                        <a:pt x="236663" y="346085"/>
                        <a:pt x="238684" y="336684"/>
                        <a:pt x="243136" y="328355"/>
                      </a:cubicBezTo>
                      <a:cubicBezTo>
                        <a:pt x="248868" y="318378"/>
                        <a:pt x="258227" y="310997"/>
                        <a:pt x="269235" y="307740"/>
                      </a:cubicBezTo>
                      <a:cubicBezTo>
                        <a:pt x="274842" y="305885"/>
                        <a:pt x="280862" y="305596"/>
                        <a:pt x="286635" y="306957"/>
                      </a:cubicBezTo>
                      <a:cubicBezTo>
                        <a:pt x="288902" y="307039"/>
                        <a:pt x="291129" y="307410"/>
                        <a:pt x="293314" y="308029"/>
                      </a:cubicBezTo>
                      <a:cubicBezTo>
                        <a:pt x="308693" y="298257"/>
                        <a:pt x="324608" y="294340"/>
                        <a:pt x="339945" y="288032"/>
                      </a:cubicBezTo>
                      <a:cubicBezTo>
                        <a:pt x="336193" y="278384"/>
                        <a:pt x="335575" y="267829"/>
                        <a:pt x="338173" y="257810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76" name="Freeform: Shape 375">
                  <a:extLst>
                    <a:ext uri="{FF2B5EF4-FFF2-40B4-BE49-F238E27FC236}">
                      <a16:creationId xmlns:a16="http://schemas.microsoft.com/office/drawing/2014/main" id="{6320459C-748A-5D4D-C84A-12621908ADAC}"/>
                    </a:ext>
                  </a:extLst>
                </p:cNvPr>
                <p:cNvSpPr/>
                <p:nvPr>
                  <p:custDataLst>
                    <p:tags r:id="rId377"/>
                  </p:custDataLst>
                </p:nvPr>
              </p:nvSpPr>
              <p:spPr>
                <a:xfrm>
                  <a:off x="7712956" y="5695454"/>
                  <a:ext cx="339678" cy="437875"/>
                </a:xfrm>
                <a:custGeom>
                  <a:avLst/>
                  <a:gdLst>
                    <a:gd name="connsiteX0" fmla="*/ 374167 w 396636"/>
                    <a:gd name="connsiteY0" fmla="*/ 401003 h 511298"/>
                    <a:gd name="connsiteX1" fmla="*/ 393009 w 396636"/>
                    <a:gd name="connsiteY1" fmla="*/ 339158 h 511298"/>
                    <a:gd name="connsiteX2" fmla="*/ 388433 w 396636"/>
                    <a:gd name="connsiteY2" fmla="*/ 324067 h 511298"/>
                    <a:gd name="connsiteX3" fmla="*/ 385918 w 396636"/>
                    <a:gd name="connsiteY3" fmla="*/ 313801 h 511298"/>
                    <a:gd name="connsiteX4" fmla="*/ 356520 w 396636"/>
                    <a:gd name="connsiteY4" fmla="*/ 272942 h 511298"/>
                    <a:gd name="connsiteX5" fmla="*/ 382660 w 396636"/>
                    <a:gd name="connsiteY5" fmla="*/ 172133 h 511298"/>
                    <a:gd name="connsiteX6" fmla="*/ 324649 w 396636"/>
                    <a:gd name="connsiteY6" fmla="*/ 124182 h 511298"/>
                    <a:gd name="connsiteX7" fmla="*/ 326669 w 396636"/>
                    <a:gd name="connsiteY7" fmla="*/ 95651 h 511298"/>
                    <a:gd name="connsiteX8" fmla="*/ 175312 w 396636"/>
                    <a:gd name="connsiteY8" fmla="*/ 2635 h 511298"/>
                    <a:gd name="connsiteX9" fmla="*/ 155975 w 396636"/>
                    <a:gd name="connsiteY9" fmla="*/ 46298 h 511298"/>
                    <a:gd name="connsiteX10" fmla="*/ 158614 w 396636"/>
                    <a:gd name="connsiteY10" fmla="*/ 75159 h 511298"/>
                    <a:gd name="connsiteX11" fmla="*/ 93759 w 396636"/>
                    <a:gd name="connsiteY11" fmla="*/ 71036 h 511298"/>
                    <a:gd name="connsiteX12" fmla="*/ 93759 w 396636"/>
                    <a:gd name="connsiteY12" fmla="*/ -4 h 511298"/>
                    <a:gd name="connsiteX13" fmla="*/ 60361 w 396636"/>
                    <a:gd name="connsiteY13" fmla="*/ 3171 h 511298"/>
                    <a:gd name="connsiteX14" fmla="*/ 41478 w 396636"/>
                    <a:gd name="connsiteY14" fmla="*/ 8943 h 511298"/>
                    <a:gd name="connsiteX15" fmla="*/ 48034 w 396636"/>
                    <a:gd name="connsiteY15" fmla="*/ 29269 h 511298"/>
                    <a:gd name="connsiteX16" fmla="*/ 54218 w 396636"/>
                    <a:gd name="connsiteY16" fmla="*/ 60110 h 511298"/>
                    <a:gd name="connsiteX17" fmla="*/ 38221 w 396636"/>
                    <a:gd name="connsiteY17" fmla="*/ 69016 h 511298"/>
                    <a:gd name="connsiteX18" fmla="*/ 39829 w 396636"/>
                    <a:gd name="connsiteY18" fmla="*/ 93383 h 511298"/>
                    <a:gd name="connsiteX19" fmla="*/ 50095 w 396636"/>
                    <a:gd name="connsiteY19" fmla="*/ 100516 h 511298"/>
                    <a:gd name="connsiteX20" fmla="*/ 17111 w 396636"/>
                    <a:gd name="connsiteY20" fmla="*/ 155105 h 511298"/>
                    <a:gd name="connsiteX21" fmla="*/ 1 w 396636"/>
                    <a:gd name="connsiteY21" fmla="*/ 166814 h 511298"/>
                    <a:gd name="connsiteX22" fmla="*/ 24739 w 396636"/>
                    <a:gd name="connsiteY22" fmla="*/ 255254 h 511298"/>
                    <a:gd name="connsiteX23" fmla="*/ 46013 w 396636"/>
                    <a:gd name="connsiteY23" fmla="*/ 315945 h 511298"/>
                    <a:gd name="connsiteX24" fmla="*/ 55826 w 396636"/>
                    <a:gd name="connsiteY24" fmla="*/ 353052 h 511298"/>
                    <a:gd name="connsiteX25" fmla="*/ 33521 w 396636"/>
                    <a:gd name="connsiteY25" fmla="*/ 333550 h 511298"/>
                    <a:gd name="connsiteX26" fmla="*/ 30923 w 396636"/>
                    <a:gd name="connsiteY26" fmla="*/ 340683 h 511298"/>
                    <a:gd name="connsiteX27" fmla="*/ 29398 w 396636"/>
                    <a:gd name="connsiteY27" fmla="*/ 342703 h 511298"/>
                    <a:gd name="connsiteX28" fmla="*/ 58259 w 396636"/>
                    <a:gd name="connsiteY28" fmla="*/ 361793 h 511298"/>
                    <a:gd name="connsiteX29" fmla="*/ 95160 w 396636"/>
                    <a:gd name="connsiteY29" fmla="*/ 378285 h 511298"/>
                    <a:gd name="connsiteX30" fmla="*/ 146451 w 396636"/>
                    <a:gd name="connsiteY30" fmla="*/ 404384 h 511298"/>
                    <a:gd name="connsiteX31" fmla="*/ 149007 w 396636"/>
                    <a:gd name="connsiteY31" fmla="*/ 408961 h 511298"/>
                    <a:gd name="connsiteX32" fmla="*/ 176013 w 396636"/>
                    <a:gd name="connsiteY32" fmla="*/ 408961 h 511298"/>
                    <a:gd name="connsiteX33" fmla="*/ 181868 w 396636"/>
                    <a:gd name="connsiteY33" fmla="*/ 406363 h 511298"/>
                    <a:gd name="connsiteX34" fmla="*/ 210729 w 396636"/>
                    <a:gd name="connsiteY34" fmla="*/ 500369 h 511298"/>
                    <a:gd name="connsiteX35" fmla="*/ 233447 w 396636"/>
                    <a:gd name="connsiteY35" fmla="*/ 503090 h 511298"/>
                    <a:gd name="connsiteX36" fmla="*/ 257155 w 396636"/>
                    <a:gd name="connsiteY36" fmla="*/ 497606 h 511298"/>
                    <a:gd name="connsiteX37" fmla="*/ 270183 w 396636"/>
                    <a:gd name="connsiteY37" fmla="*/ 511295 h 511298"/>
                    <a:gd name="connsiteX38" fmla="*/ 304529 w 396636"/>
                    <a:gd name="connsiteY38" fmla="*/ 505811 h 511298"/>
                    <a:gd name="connsiteX39" fmla="*/ 328236 w 396636"/>
                    <a:gd name="connsiteY39" fmla="*/ 503090 h 511298"/>
                    <a:gd name="connsiteX40" fmla="*/ 341265 w 396636"/>
                    <a:gd name="connsiteY40" fmla="*/ 485237 h 511298"/>
                    <a:gd name="connsiteX41" fmla="*/ 364931 w 396636"/>
                    <a:gd name="connsiteY41" fmla="*/ 486598 h 511298"/>
                    <a:gd name="connsiteX42" fmla="*/ 393380 w 396636"/>
                    <a:gd name="connsiteY42" fmla="*/ 478352 h 511298"/>
                    <a:gd name="connsiteX43" fmla="*/ 396637 w 396636"/>
                    <a:gd name="connsiteY43" fmla="*/ 474971 h 511298"/>
                    <a:gd name="connsiteX44" fmla="*/ 374167 w 396636"/>
                    <a:gd name="connsiteY44" fmla="*/ 401003 h 511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</a:cxnLst>
                  <a:rect l="l" t="t" r="r" b="b"/>
                  <a:pathLst>
                    <a:path w="396636" h="511297">
                      <a:moveTo>
                        <a:pt x="374167" y="401003"/>
                      </a:moveTo>
                      <a:cubicBezTo>
                        <a:pt x="360726" y="374946"/>
                        <a:pt x="373631" y="350455"/>
                        <a:pt x="393009" y="339158"/>
                      </a:cubicBezTo>
                      <a:cubicBezTo>
                        <a:pt x="392762" y="330912"/>
                        <a:pt x="391690" y="325222"/>
                        <a:pt x="388433" y="324067"/>
                      </a:cubicBezTo>
                      <a:cubicBezTo>
                        <a:pt x="385175" y="322913"/>
                        <a:pt x="385093" y="319243"/>
                        <a:pt x="385918" y="313801"/>
                      </a:cubicBezTo>
                      <a:cubicBezTo>
                        <a:pt x="368271" y="308028"/>
                        <a:pt x="356396" y="291495"/>
                        <a:pt x="356520" y="272942"/>
                      </a:cubicBezTo>
                      <a:cubicBezTo>
                        <a:pt x="355119" y="237483"/>
                        <a:pt x="364189" y="202437"/>
                        <a:pt x="382660" y="172133"/>
                      </a:cubicBezTo>
                      <a:cubicBezTo>
                        <a:pt x="352686" y="147931"/>
                        <a:pt x="324649" y="124182"/>
                        <a:pt x="324649" y="124182"/>
                      </a:cubicBezTo>
                      <a:lnTo>
                        <a:pt x="326669" y="95651"/>
                      </a:lnTo>
                      <a:lnTo>
                        <a:pt x="175312" y="2635"/>
                      </a:lnTo>
                      <a:cubicBezTo>
                        <a:pt x="174323" y="23992"/>
                        <a:pt x="166736" y="40525"/>
                        <a:pt x="155975" y="46298"/>
                      </a:cubicBezTo>
                      <a:cubicBezTo>
                        <a:pt x="144389" y="52441"/>
                        <a:pt x="171973" y="71984"/>
                        <a:pt x="158614" y="75159"/>
                      </a:cubicBezTo>
                      <a:cubicBezTo>
                        <a:pt x="145255" y="78334"/>
                        <a:pt x="115074" y="60769"/>
                        <a:pt x="93759" y="71036"/>
                      </a:cubicBezTo>
                      <a:cubicBezTo>
                        <a:pt x="79451" y="77963"/>
                        <a:pt x="82420" y="36443"/>
                        <a:pt x="93759" y="-4"/>
                      </a:cubicBezTo>
                      <a:lnTo>
                        <a:pt x="60361" y="3171"/>
                      </a:lnTo>
                      <a:cubicBezTo>
                        <a:pt x="60361" y="3171"/>
                        <a:pt x="51291" y="5809"/>
                        <a:pt x="41478" y="8943"/>
                      </a:cubicBezTo>
                      <a:lnTo>
                        <a:pt x="48034" y="29269"/>
                      </a:lnTo>
                      <a:cubicBezTo>
                        <a:pt x="48034" y="29269"/>
                        <a:pt x="56280" y="48236"/>
                        <a:pt x="54218" y="60110"/>
                      </a:cubicBezTo>
                      <a:cubicBezTo>
                        <a:pt x="53270" y="65511"/>
                        <a:pt x="45972" y="67902"/>
                        <a:pt x="38221" y="69016"/>
                      </a:cubicBezTo>
                      <a:cubicBezTo>
                        <a:pt x="39870" y="77015"/>
                        <a:pt x="40406" y="85219"/>
                        <a:pt x="39829" y="93383"/>
                      </a:cubicBezTo>
                      <a:lnTo>
                        <a:pt x="50095" y="100516"/>
                      </a:lnTo>
                      <a:cubicBezTo>
                        <a:pt x="50095" y="100516"/>
                        <a:pt x="27542" y="150363"/>
                        <a:pt x="17111" y="155105"/>
                      </a:cubicBezTo>
                      <a:cubicBezTo>
                        <a:pt x="11133" y="158609"/>
                        <a:pt x="5443" y="162526"/>
                        <a:pt x="1" y="166814"/>
                      </a:cubicBezTo>
                      <a:cubicBezTo>
                        <a:pt x="6020" y="201860"/>
                        <a:pt x="13442" y="243503"/>
                        <a:pt x="24739" y="255254"/>
                      </a:cubicBezTo>
                      <a:cubicBezTo>
                        <a:pt x="45354" y="276817"/>
                        <a:pt x="41602" y="301514"/>
                        <a:pt x="46013" y="315945"/>
                      </a:cubicBezTo>
                      <a:cubicBezTo>
                        <a:pt x="50425" y="330375"/>
                        <a:pt x="68237" y="346826"/>
                        <a:pt x="55826" y="353052"/>
                      </a:cubicBezTo>
                      <a:cubicBezTo>
                        <a:pt x="47580" y="357175"/>
                        <a:pt x="40654" y="347074"/>
                        <a:pt x="33521" y="333550"/>
                      </a:cubicBezTo>
                      <a:cubicBezTo>
                        <a:pt x="32820" y="335983"/>
                        <a:pt x="31954" y="338374"/>
                        <a:pt x="30923" y="340683"/>
                      </a:cubicBezTo>
                      <a:cubicBezTo>
                        <a:pt x="30511" y="341425"/>
                        <a:pt x="30016" y="342126"/>
                        <a:pt x="29398" y="342703"/>
                      </a:cubicBezTo>
                      <a:cubicBezTo>
                        <a:pt x="40282" y="351980"/>
                        <a:pt x="52982" y="361793"/>
                        <a:pt x="58259" y="361793"/>
                      </a:cubicBezTo>
                      <a:cubicBezTo>
                        <a:pt x="68484" y="361793"/>
                        <a:pt x="84935" y="376059"/>
                        <a:pt x="95160" y="378285"/>
                      </a:cubicBezTo>
                      <a:cubicBezTo>
                        <a:pt x="105385" y="380512"/>
                        <a:pt x="141998" y="397581"/>
                        <a:pt x="146451" y="404384"/>
                      </a:cubicBezTo>
                      <a:cubicBezTo>
                        <a:pt x="147193" y="405580"/>
                        <a:pt x="148100" y="407188"/>
                        <a:pt x="149007" y="408961"/>
                      </a:cubicBezTo>
                      <a:cubicBezTo>
                        <a:pt x="157995" y="408219"/>
                        <a:pt x="167025" y="408219"/>
                        <a:pt x="176013" y="408961"/>
                      </a:cubicBezTo>
                      <a:cubicBezTo>
                        <a:pt x="177497" y="407270"/>
                        <a:pt x="179641" y="406322"/>
                        <a:pt x="181868" y="406363"/>
                      </a:cubicBezTo>
                      <a:cubicBezTo>
                        <a:pt x="195391" y="406363"/>
                        <a:pt x="211389" y="465776"/>
                        <a:pt x="210729" y="500369"/>
                      </a:cubicBezTo>
                      <a:cubicBezTo>
                        <a:pt x="218975" y="501564"/>
                        <a:pt x="229860" y="503090"/>
                        <a:pt x="233447" y="503090"/>
                      </a:cubicBezTo>
                      <a:cubicBezTo>
                        <a:pt x="239384" y="503090"/>
                        <a:pt x="246517" y="493483"/>
                        <a:pt x="257155" y="497606"/>
                      </a:cubicBezTo>
                      <a:cubicBezTo>
                        <a:pt x="267792" y="501730"/>
                        <a:pt x="260701" y="511295"/>
                        <a:pt x="270183" y="511295"/>
                      </a:cubicBezTo>
                      <a:cubicBezTo>
                        <a:pt x="279667" y="511295"/>
                        <a:pt x="298591" y="504450"/>
                        <a:pt x="304529" y="505811"/>
                      </a:cubicBezTo>
                      <a:cubicBezTo>
                        <a:pt x="310466" y="507172"/>
                        <a:pt x="327040" y="511295"/>
                        <a:pt x="328236" y="503090"/>
                      </a:cubicBezTo>
                      <a:cubicBezTo>
                        <a:pt x="329431" y="494885"/>
                        <a:pt x="332978" y="482475"/>
                        <a:pt x="341265" y="485237"/>
                      </a:cubicBezTo>
                      <a:cubicBezTo>
                        <a:pt x="349552" y="487999"/>
                        <a:pt x="355448" y="496204"/>
                        <a:pt x="364931" y="486598"/>
                      </a:cubicBezTo>
                      <a:cubicBezTo>
                        <a:pt x="374414" y="476991"/>
                        <a:pt x="389670" y="486598"/>
                        <a:pt x="393380" y="478352"/>
                      </a:cubicBezTo>
                      <a:cubicBezTo>
                        <a:pt x="394205" y="476991"/>
                        <a:pt x="395318" y="475837"/>
                        <a:pt x="396637" y="474971"/>
                      </a:cubicBezTo>
                      <a:cubicBezTo>
                        <a:pt x="391690" y="449614"/>
                        <a:pt x="386165" y="424299"/>
                        <a:pt x="374167" y="401003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77" name="Freeform: Shape 376">
                  <a:extLst>
                    <a:ext uri="{FF2B5EF4-FFF2-40B4-BE49-F238E27FC236}">
                      <a16:creationId xmlns:a16="http://schemas.microsoft.com/office/drawing/2014/main" id="{EB388771-CFBA-17EB-61BD-A4CE3480B7FD}"/>
                    </a:ext>
                  </a:extLst>
                </p:cNvPr>
                <p:cNvSpPr/>
                <p:nvPr>
                  <p:custDataLst>
                    <p:tags r:id="rId378"/>
                  </p:custDataLst>
                </p:nvPr>
              </p:nvSpPr>
              <p:spPr>
                <a:xfrm>
                  <a:off x="7823596" y="6045108"/>
                  <a:ext cx="107428" cy="302632"/>
                </a:xfrm>
                <a:custGeom>
                  <a:avLst/>
                  <a:gdLst>
                    <a:gd name="connsiteX0" fmla="*/ 120626 w 125442"/>
                    <a:gd name="connsiteY0" fmla="*/ 233422 h 353377"/>
                    <a:gd name="connsiteX1" fmla="*/ 96382 w 125442"/>
                    <a:gd name="connsiteY1" fmla="*/ 206334 h 353377"/>
                    <a:gd name="connsiteX2" fmla="*/ 95145 w 125442"/>
                    <a:gd name="connsiteY2" fmla="*/ 214167 h 353377"/>
                    <a:gd name="connsiteX3" fmla="*/ 51647 w 125442"/>
                    <a:gd name="connsiteY3" fmla="*/ 143169 h 353377"/>
                    <a:gd name="connsiteX4" fmla="*/ 56100 w 125442"/>
                    <a:gd name="connsiteY4" fmla="*/ 60708 h 353377"/>
                    <a:gd name="connsiteX5" fmla="*/ 46658 w 125442"/>
                    <a:gd name="connsiteY5" fmla="*/ 553 h 353377"/>
                    <a:gd name="connsiteX6" fmla="*/ 19652 w 125442"/>
                    <a:gd name="connsiteY6" fmla="*/ 553 h 353377"/>
                    <a:gd name="connsiteX7" fmla="*/ 35526 w 125442"/>
                    <a:gd name="connsiteY7" fmla="*/ 45906 h 353377"/>
                    <a:gd name="connsiteX8" fmla="*/ 21137 w 125442"/>
                    <a:gd name="connsiteY8" fmla="*/ 55348 h 353377"/>
                    <a:gd name="connsiteX9" fmla="*/ 23198 w 125442"/>
                    <a:gd name="connsiteY9" fmla="*/ 131294 h 353377"/>
                    <a:gd name="connsiteX10" fmla="*/ 6706 w 125442"/>
                    <a:gd name="connsiteY10" fmla="*/ 143251 h 353377"/>
                    <a:gd name="connsiteX11" fmla="*/ 604 w 125442"/>
                    <a:gd name="connsiteY11" fmla="*/ 188357 h 353377"/>
                    <a:gd name="connsiteX12" fmla="*/ 7654 w 125442"/>
                    <a:gd name="connsiteY12" fmla="*/ 208725 h 353377"/>
                    <a:gd name="connsiteX13" fmla="*/ 8025 w 125442"/>
                    <a:gd name="connsiteY13" fmla="*/ 208725 h 353377"/>
                    <a:gd name="connsiteX14" fmla="*/ 35320 w 125442"/>
                    <a:gd name="connsiteY14" fmla="*/ 230660 h 353377"/>
                    <a:gd name="connsiteX15" fmla="*/ 67273 w 125442"/>
                    <a:gd name="connsiteY15" fmla="*/ 236185 h 353377"/>
                    <a:gd name="connsiteX16" fmla="*/ 59027 w 125442"/>
                    <a:gd name="connsiteY16" fmla="*/ 296505 h 353377"/>
                    <a:gd name="connsiteX17" fmla="*/ 95722 w 125442"/>
                    <a:gd name="connsiteY17" fmla="*/ 352784 h 353377"/>
                    <a:gd name="connsiteX18" fmla="*/ 99268 w 125442"/>
                    <a:gd name="connsiteY18" fmla="*/ 310235 h 353377"/>
                    <a:gd name="connsiteX19" fmla="*/ 121780 w 125442"/>
                    <a:gd name="connsiteY19" fmla="*/ 280095 h 353377"/>
                    <a:gd name="connsiteX20" fmla="*/ 120626 w 125442"/>
                    <a:gd name="connsiteY20" fmla="*/ 233422 h 3533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125442" h="353377">
                      <a:moveTo>
                        <a:pt x="120626" y="233422"/>
                      </a:moveTo>
                      <a:cubicBezTo>
                        <a:pt x="113204" y="223816"/>
                        <a:pt x="105123" y="214786"/>
                        <a:pt x="96382" y="206334"/>
                      </a:cubicBezTo>
                      <a:cubicBezTo>
                        <a:pt x="96712" y="209014"/>
                        <a:pt x="96300" y="211735"/>
                        <a:pt x="95145" y="214167"/>
                      </a:cubicBezTo>
                      <a:cubicBezTo>
                        <a:pt x="84755" y="231649"/>
                        <a:pt x="55193" y="177060"/>
                        <a:pt x="51647" y="143169"/>
                      </a:cubicBezTo>
                      <a:cubicBezTo>
                        <a:pt x="48102" y="109277"/>
                        <a:pt x="68510" y="92744"/>
                        <a:pt x="56100" y="60708"/>
                      </a:cubicBezTo>
                      <a:cubicBezTo>
                        <a:pt x="45710" y="34032"/>
                        <a:pt x="39237" y="8386"/>
                        <a:pt x="46658" y="553"/>
                      </a:cubicBezTo>
                      <a:cubicBezTo>
                        <a:pt x="37670" y="-190"/>
                        <a:pt x="28640" y="-190"/>
                        <a:pt x="19652" y="553"/>
                      </a:cubicBezTo>
                      <a:cubicBezTo>
                        <a:pt x="26125" y="12922"/>
                        <a:pt x="35526" y="37660"/>
                        <a:pt x="35526" y="45906"/>
                      </a:cubicBezTo>
                      <a:cubicBezTo>
                        <a:pt x="35526" y="55348"/>
                        <a:pt x="25260" y="43514"/>
                        <a:pt x="21137" y="55348"/>
                      </a:cubicBezTo>
                      <a:cubicBezTo>
                        <a:pt x="17014" y="67181"/>
                        <a:pt x="15035" y="121852"/>
                        <a:pt x="23198" y="131294"/>
                      </a:cubicBezTo>
                      <a:cubicBezTo>
                        <a:pt x="31362" y="140736"/>
                        <a:pt x="6706" y="133727"/>
                        <a:pt x="6706" y="143251"/>
                      </a:cubicBezTo>
                      <a:cubicBezTo>
                        <a:pt x="6706" y="152775"/>
                        <a:pt x="4686" y="185966"/>
                        <a:pt x="604" y="188357"/>
                      </a:cubicBezTo>
                      <a:cubicBezTo>
                        <a:pt x="-1705" y="189677"/>
                        <a:pt x="3036" y="197758"/>
                        <a:pt x="7654" y="208725"/>
                      </a:cubicBezTo>
                      <a:lnTo>
                        <a:pt x="8025" y="208725"/>
                      </a:lnTo>
                      <a:cubicBezTo>
                        <a:pt x="11571" y="208725"/>
                        <a:pt x="28187" y="232062"/>
                        <a:pt x="35320" y="230660"/>
                      </a:cubicBezTo>
                      <a:cubicBezTo>
                        <a:pt x="42453" y="229258"/>
                        <a:pt x="63728" y="217012"/>
                        <a:pt x="67273" y="236185"/>
                      </a:cubicBezTo>
                      <a:cubicBezTo>
                        <a:pt x="70820" y="255357"/>
                        <a:pt x="56595" y="288300"/>
                        <a:pt x="59027" y="296505"/>
                      </a:cubicBezTo>
                      <a:cubicBezTo>
                        <a:pt x="61460" y="304710"/>
                        <a:pt x="93372" y="359629"/>
                        <a:pt x="95722" y="352784"/>
                      </a:cubicBezTo>
                      <a:cubicBezTo>
                        <a:pt x="98073" y="345940"/>
                        <a:pt x="88631" y="321202"/>
                        <a:pt x="99268" y="310235"/>
                      </a:cubicBezTo>
                      <a:cubicBezTo>
                        <a:pt x="109906" y="299267"/>
                        <a:pt x="122976" y="312997"/>
                        <a:pt x="121780" y="280095"/>
                      </a:cubicBezTo>
                      <a:cubicBezTo>
                        <a:pt x="120584" y="247193"/>
                        <a:pt x="131387" y="248636"/>
                        <a:pt x="120626" y="233422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78" name="Egypt">
                  <a:extLst>
                    <a:ext uri="{FF2B5EF4-FFF2-40B4-BE49-F238E27FC236}">
                      <a16:creationId xmlns:a16="http://schemas.microsoft.com/office/drawing/2014/main" id="{2BB9D8BC-1266-AD7D-848F-6F38FF30164B}"/>
                    </a:ext>
                  </a:extLst>
                </p:cNvPr>
                <p:cNvSpPr/>
                <p:nvPr>
                  <p:custDataLst>
                    <p:tags r:id="rId379"/>
                  </p:custDataLst>
                </p:nvPr>
              </p:nvSpPr>
              <p:spPr>
                <a:xfrm>
                  <a:off x="7558641" y="4337298"/>
                  <a:ext cx="367636" cy="433178"/>
                </a:xfrm>
                <a:custGeom>
                  <a:avLst/>
                  <a:gdLst>
                    <a:gd name="connsiteX0" fmla="*/ 428852 w 429281"/>
                    <a:gd name="connsiteY0" fmla="*/ 414156 h 505815"/>
                    <a:gd name="connsiteX1" fmla="*/ 410505 w 429281"/>
                    <a:gd name="connsiteY1" fmla="*/ 362700 h 505815"/>
                    <a:gd name="connsiteX2" fmla="*/ 367872 w 429281"/>
                    <a:gd name="connsiteY2" fmla="*/ 267870 h 505815"/>
                    <a:gd name="connsiteX3" fmla="*/ 348906 w 429281"/>
                    <a:gd name="connsiteY3" fmla="*/ 220538 h 505815"/>
                    <a:gd name="connsiteX4" fmla="*/ 321653 w 429281"/>
                    <a:gd name="connsiteY4" fmla="*/ 169082 h 505815"/>
                    <a:gd name="connsiteX5" fmla="*/ 303305 w 429281"/>
                    <a:gd name="connsiteY5" fmla="*/ 84023 h 505815"/>
                    <a:gd name="connsiteX6" fmla="*/ 329899 w 429281"/>
                    <a:gd name="connsiteY6" fmla="*/ 143725 h 505815"/>
                    <a:gd name="connsiteX7" fmla="*/ 370222 w 429281"/>
                    <a:gd name="connsiteY7" fmla="*/ 204788 h 505815"/>
                    <a:gd name="connsiteX8" fmla="*/ 394507 w 429281"/>
                    <a:gd name="connsiteY8" fmla="*/ 138819 h 505815"/>
                    <a:gd name="connsiteX9" fmla="*/ 395497 w 429281"/>
                    <a:gd name="connsiteY9" fmla="*/ 140798 h 505815"/>
                    <a:gd name="connsiteX10" fmla="*/ 397022 w 429281"/>
                    <a:gd name="connsiteY10" fmla="*/ 128429 h 505815"/>
                    <a:gd name="connsiteX11" fmla="*/ 402877 w 429281"/>
                    <a:gd name="connsiteY11" fmla="*/ 109752 h 505815"/>
                    <a:gd name="connsiteX12" fmla="*/ 374016 w 429281"/>
                    <a:gd name="connsiteY12" fmla="*/ 28074 h 505815"/>
                    <a:gd name="connsiteX13" fmla="*/ 369521 w 429281"/>
                    <a:gd name="connsiteY13" fmla="*/ 35372 h 505815"/>
                    <a:gd name="connsiteX14" fmla="*/ 326848 w 429281"/>
                    <a:gd name="connsiteY14" fmla="*/ 32609 h 505815"/>
                    <a:gd name="connsiteX15" fmla="*/ 276506 w 429281"/>
                    <a:gd name="connsiteY15" fmla="*/ 20240 h 505815"/>
                    <a:gd name="connsiteX16" fmla="*/ 273826 w 429281"/>
                    <a:gd name="connsiteY16" fmla="*/ 19086 h 505815"/>
                    <a:gd name="connsiteX17" fmla="*/ 259890 w 429281"/>
                    <a:gd name="connsiteY17" fmla="*/ 27332 h 505815"/>
                    <a:gd name="connsiteX18" fmla="*/ 82228 w 429281"/>
                    <a:gd name="connsiteY18" fmla="*/ 69387 h 505815"/>
                    <a:gd name="connsiteX19" fmla="*/ 29659 w 429281"/>
                    <a:gd name="connsiteY19" fmla="*/ 8778 h 505815"/>
                    <a:gd name="connsiteX20" fmla="*/ 14074 w 429281"/>
                    <a:gd name="connsiteY20" fmla="*/ -4 h 505815"/>
                    <a:gd name="connsiteX21" fmla="*/ 10445 w 429281"/>
                    <a:gd name="connsiteY21" fmla="*/ 11541 h 505815"/>
                    <a:gd name="connsiteX22" fmla="*/ 5498 w 429281"/>
                    <a:gd name="connsiteY22" fmla="*/ 68768 h 505815"/>
                    <a:gd name="connsiteX23" fmla="*/ 5498 w 429281"/>
                    <a:gd name="connsiteY23" fmla="*/ 137417 h 505815"/>
                    <a:gd name="connsiteX24" fmla="*/ 5498 w 429281"/>
                    <a:gd name="connsiteY24" fmla="*/ 494844 h 505815"/>
                    <a:gd name="connsiteX25" fmla="*/ 249829 w 429281"/>
                    <a:gd name="connsiteY25" fmla="*/ 494844 h 505815"/>
                    <a:gd name="connsiteX26" fmla="*/ 264054 w 429281"/>
                    <a:gd name="connsiteY26" fmla="*/ 483835 h 505815"/>
                    <a:gd name="connsiteX27" fmla="*/ 283020 w 429281"/>
                    <a:gd name="connsiteY27" fmla="*/ 492081 h 505815"/>
                    <a:gd name="connsiteX28" fmla="*/ 335135 w 429281"/>
                    <a:gd name="connsiteY28" fmla="*/ 492081 h 505815"/>
                    <a:gd name="connsiteX29" fmla="*/ 356452 w 429281"/>
                    <a:gd name="connsiteY29" fmla="*/ 505811 h 505815"/>
                    <a:gd name="connsiteX30" fmla="*/ 380159 w 429281"/>
                    <a:gd name="connsiteY30" fmla="*/ 483835 h 505815"/>
                    <a:gd name="connsiteX31" fmla="*/ 406217 w 429281"/>
                    <a:gd name="connsiteY31" fmla="*/ 450851 h 505815"/>
                    <a:gd name="connsiteX32" fmla="*/ 427533 w 429281"/>
                    <a:gd name="connsiteY32" fmla="*/ 434359 h 505815"/>
                    <a:gd name="connsiteX33" fmla="*/ 428852 w 429281"/>
                    <a:gd name="connsiteY33" fmla="*/ 432421 h 505815"/>
                    <a:gd name="connsiteX34" fmla="*/ 428852 w 429281"/>
                    <a:gd name="connsiteY34" fmla="*/ 414156 h 5058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</a:cxnLst>
                  <a:rect l="l" t="t" r="r" b="b"/>
                  <a:pathLst>
                    <a:path w="429281" h="505815">
                      <a:moveTo>
                        <a:pt x="428852" y="414156"/>
                      </a:moveTo>
                      <a:cubicBezTo>
                        <a:pt x="431820" y="392180"/>
                        <a:pt x="418751" y="393541"/>
                        <a:pt x="410505" y="362700"/>
                      </a:cubicBezTo>
                      <a:cubicBezTo>
                        <a:pt x="402259" y="331860"/>
                        <a:pt x="369027" y="285888"/>
                        <a:pt x="367872" y="267870"/>
                      </a:cubicBezTo>
                      <a:cubicBezTo>
                        <a:pt x="366718" y="249853"/>
                        <a:pt x="348288" y="239751"/>
                        <a:pt x="348906" y="220538"/>
                      </a:cubicBezTo>
                      <a:cubicBezTo>
                        <a:pt x="349525" y="201324"/>
                        <a:pt x="340001" y="199304"/>
                        <a:pt x="321653" y="169082"/>
                      </a:cubicBezTo>
                      <a:cubicBezTo>
                        <a:pt x="303305" y="138860"/>
                        <a:pt x="297945" y="86085"/>
                        <a:pt x="303305" y="84023"/>
                      </a:cubicBezTo>
                      <a:cubicBezTo>
                        <a:pt x="308665" y="81962"/>
                        <a:pt x="323921" y="128635"/>
                        <a:pt x="329899" y="143725"/>
                      </a:cubicBezTo>
                      <a:cubicBezTo>
                        <a:pt x="335878" y="158816"/>
                        <a:pt x="355998" y="204788"/>
                        <a:pt x="370222" y="204788"/>
                      </a:cubicBezTo>
                      <a:cubicBezTo>
                        <a:pt x="384447" y="204788"/>
                        <a:pt x="389766" y="135479"/>
                        <a:pt x="394507" y="138819"/>
                      </a:cubicBezTo>
                      <a:cubicBezTo>
                        <a:pt x="395043" y="139367"/>
                        <a:pt x="395373" y="140056"/>
                        <a:pt x="395497" y="140798"/>
                      </a:cubicBezTo>
                      <a:lnTo>
                        <a:pt x="397022" y="128429"/>
                      </a:lnTo>
                      <a:lnTo>
                        <a:pt x="402877" y="109752"/>
                      </a:lnTo>
                      <a:lnTo>
                        <a:pt x="374016" y="28074"/>
                      </a:lnTo>
                      <a:cubicBezTo>
                        <a:pt x="372696" y="30622"/>
                        <a:pt x="371212" y="33063"/>
                        <a:pt x="369521" y="35372"/>
                      </a:cubicBezTo>
                      <a:cubicBezTo>
                        <a:pt x="364780" y="40855"/>
                        <a:pt x="345237" y="27125"/>
                        <a:pt x="326848" y="32609"/>
                      </a:cubicBezTo>
                      <a:cubicBezTo>
                        <a:pt x="308459" y="38093"/>
                        <a:pt x="294276" y="30589"/>
                        <a:pt x="276506" y="20240"/>
                      </a:cubicBezTo>
                      <a:cubicBezTo>
                        <a:pt x="275639" y="19791"/>
                        <a:pt x="274733" y="19403"/>
                        <a:pt x="273826" y="19086"/>
                      </a:cubicBezTo>
                      <a:cubicBezTo>
                        <a:pt x="269537" y="22417"/>
                        <a:pt x="264878" y="25188"/>
                        <a:pt x="259890" y="27332"/>
                      </a:cubicBezTo>
                      <a:cubicBezTo>
                        <a:pt x="202991" y="52070"/>
                        <a:pt x="141888" y="55616"/>
                        <a:pt x="82228" y="69387"/>
                      </a:cubicBezTo>
                      <a:cubicBezTo>
                        <a:pt x="43636" y="78293"/>
                        <a:pt x="20712" y="37928"/>
                        <a:pt x="29659" y="8778"/>
                      </a:cubicBezTo>
                      <a:cubicBezTo>
                        <a:pt x="21908" y="6345"/>
                        <a:pt x="16342" y="3459"/>
                        <a:pt x="14074" y="-4"/>
                      </a:cubicBezTo>
                      <a:cubicBezTo>
                        <a:pt x="12795" y="4119"/>
                        <a:pt x="11600" y="7871"/>
                        <a:pt x="10445" y="11541"/>
                      </a:cubicBezTo>
                      <a:cubicBezTo>
                        <a:pt x="550" y="43040"/>
                        <a:pt x="17867" y="51616"/>
                        <a:pt x="5498" y="68768"/>
                      </a:cubicBezTo>
                      <a:cubicBezTo>
                        <a:pt x="-6871" y="85920"/>
                        <a:pt x="5498" y="105876"/>
                        <a:pt x="5498" y="137417"/>
                      </a:cubicBezTo>
                      <a:lnTo>
                        <a:pt x="5498" y="494844"/>
                      </a:lnTo>
                      <a:lnTo>
                        <a:pt x="249829" y="494844"/>
                      </a:lnTo>
                      <a:lnTo>
                        <a:pt x="264054" y="483835"/>
                      </a:lnTo>
                      <a:cubicBezTo>
                        <a:pt x="271187" y="478393"/>
                        <a:pt x="283020" y="492081"/>
                        <a:pt x="283020" y="492081"/>
                      </a:cubicBezTo>
                      <a:lnTo>
                        <a:pt x="335135" y="492081"/>
                      </a:lnTo>
                      <a:cubicBezTo>
                        <a:pt x="335135" y="492081"/>
                        <a:pt x="344659" y="505811"/>
                        <a:pt x="356452" y="505811"/>
                      </a:cubicBezTo>
                      <a:cubicBezTo>
                        <a:pt x="368243" y="505811"/>
                        <a:pt x="361193" y="483835"/>
                        <a:pt x="380159" y="483835"/>
                      </a:cubicBezTo>
                      <a:cubicBezTo>
                        <a:pt x="399125" y="483835"/>
                        <a:pt x="394383" y="450851"/>
                        <a:pt x="406217" y="450851"/>
                      </a:cubicBezTo>
                      <a:cubicBezTo>
                        <a:pt x="418050" y="450851"/>
                        <a:pt x="415700" y="453655"/>
                        <a:pt x="427533" y="434359"/>
                      </a:cubicBezTo>
                      <a:cubicBezTo>
                        <a:pt x="427863" y="433741"/>
                        <a:pt x="428481" y="432998"/>
                        <a:pt x="428852" y="432421"/>
                      </a:cubicBezTo>
                      <a:cubicBezTo>
                        <a:pt x="427986" y="426360"/>
                        <a:pt x="427986" y="420217"/>
                        <a:pt x="428852" y="414156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  <p:sp>
            <p:nvSpPr>
              <p:cNvPr id="305" name="Oval 304">
                <a:extLst>
                  <a:ext uri="{FF2B5EF4-FFF2-40B4-BE49-F238E27FC236}">
                    <a16:creationId xmlns:a16="http://schemas.microsoft.com/office/drawing/2014/main" id="{ECB14509-97E0-3020-0981-DB568ABAC6DA}"/>
                  </a:ext>
                </a:extLst>
              </p:cNvPr>
              <p:cNvSpPr/>
              <p:nvPr>
                <p:custDataLst>
                  <p:tags r:id="rId306"/>
                </p:custDataLst>
              </p:nvPr>
            </p:nvSpPr>
            <p:spPr>
              <a:xfrm>
                <a:off x="7394793" y="6868663"/>
                <a:ext cx="163848" cy="167474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1pPr>
                <a:lvl2pPr marL="5486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2pPr>
                <a:lvl3pPr marL="10972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3pPr>
                <a:lvl4pPr marL="16459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4pPr>
                <a:lvl5pPr marL="219456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5pPr>
                <a:lvl6pPr marL="274320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6pPr>
                <a:lvl7pPr marL="32918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7pPr>
                <a:lvl8pPr marL="38404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8pPr>
                <a:lvl9pPr marL="43891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9pPr>
              </a:lstStyle>
              <a:p>
                <a:pPr marL="0" marR="0" lvl="0" indent="0" algn="ctr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cap="none" spc="0" normalizeH="0" baseline="0" noProof="0">
                    <a:solidFill>
                      <a:srgbClr val="FFFFFF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  <a:sym typeface="Wingdings" charset="2"/>
                </a:endParaRPr>
              </a:p>
            </p:txBody>
          </p:sp>
          <p:sp>
            <p:nvSpPr>
              <p:cNvPr id="306" name="pole tekstowe 293">
                <a:extLst>
                  <a:ext uri="{FF2B5EF4-FFF2-40B4-BE49-F238E27FC236}">
                    <a16:creationId xmlns:a16="http://schemas.microsoft.com/office/drawing/2014/main" id="{E120EA90-FEEA-D0D9-EC20-4933FFDCBA28}"/>
                  </a:ext>
                </a:extLst>
              </p:cNvPr>
              <p:cNvSpPr txBox="1"/>
              <p:nvPr>
                <p:custDataLst>
                  <p:tags r:id="rId307"/>
                </p:custDataLst>
              </p:nvPr>
            </p:nvSpPr>
            <p:spPr>
              <a:xfrm>
                <a:off x="6805334" y="6945679"/>
                <a:ext cx="560568" cy="107722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>
                <a:defPPr>
                  <a:defRPr lang="en-US"/>
                </a:defPPr>
                <a:lvl1pPr marL="0" algn="l" defTabSz="1097280" rtl="0" eaLnBrk="1" latinLnBrk="0" hangingPunct="1">
                  <a:defRPr sz="700" kern="1200" spc="30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lvl1pPr>
              </a:lstStyle>
              <a:p>
                <a:pPr marL="0" marR="0" lvl="0" indent="0" algn="l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700" b="0" i="0" spc="300" normalizeH="0" noProof="0">
                    <a:solidFill>
                      <a:srgbClr val="FFFFFF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rPr>
                  <a:t>South Africa</a:t>
                </a:r>
              </a:p>
            </p:txBody>
          </p:sp>
          <p:sp>
            <p:nvSpPr>
              <p:cNvPr id="307" name="Oval 306">
                <a:extLst>
                  <a:ext uri="{FF2B5EF4-FFF2-40B4-BE49-F238E27FC236}">
                    <a16:creationId xmlns:a16="http://schemas.microsoft.com/office/drawing/2014/main" id="{A45F1EB2-3890-EAB1-65B5-AE5EC8B6227E}"/>
                  </a:ext>
                </a:extLst>
              </p:cNvPr>
              <p:cNvSpPr/>
              <p:nvPr>
                <p:custDataLst>
                  <p:tags r:id="rId308"/>
                </p:custDataLst>
              </p:nvPr>
            </p:nvSpPr>
            <p:spPr>
              <a:xfrm>
                <a:off x="8464324" y="4575508"/>
                <a:ext cx="227363" cy="191341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1pPr>
                <a:lvl2pPr marL="5486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2pPr>
                <a:lvl3pPr marL="10972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3pPr>
                <a:lvl4pPr marL="16459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4pPr>
                <a:lvl5pPr marL="219456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5pPr>
                <a:lvl6pPr marL="274320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6pPr>
                <a:lvl7pPr marL="32918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7pPr>
                <a:lvl8pPr marL="38404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8pPr>
                <a:lvl9pPr marL="43891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9pPr>
              </a:lstStyle>
              <a:p>
                <a:pPr marL="0" marR="0" lvl="0" indent="0" algn="ctr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cap="none" spc="0" normalizeH="0" baseline="0" noProof="0">
                    <a:solidFill>
                      <a:srgbClr val="FFFFFF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  <a:sym typeface="Wingdings" charset="2"/>
                </a:endParaRPr>
              </a:p>
            </p:txBody>
          </p:sp>
          <p:sp>
            <p:nvSpPr>
              <p:cNvPr id="308" name="Oval 307">
                <a:extLst>
                  <a:ext uri="{FF2B5EF4-FFF2-40B4-BE49-F238E27FC236}">
                    <a16:creationId xmlns:a16="http://schemas.microsoft.com/office/drawing/2014/main" id="{9921F80A-1829-1645-8037-BC04D2E509D7}"/>
                  </a:ext>
                </a:extLst>
              </p:cNvPr>
              <p:cNvSpPr/>
              <p:nvPr>
                <p:custDataLst>
                  <p:tags r:id="rId309"/>
                </p:custDataLst>
              </p:nvPr>
            </p:nvSpPr>
            <p:spPr>
              <a:xfrm>
                <a:off x="6965920" y="4249591"/>
                <a:ext cx="193666" cy="1936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1pPr>
                <a:lvl2pPr marL="5486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2pPr>
                <a:lvl3pPr marL="10972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3pPr>
                <a:lvl4pPr marL="16459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4pPr>
                <a:lvl5pPr marL="219456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5pPr>
                <a:lvl6pPr marL="274320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6pPr>
                <a:lvl7pPr marL="32918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7pPr>
                <a:lvl8pPr marL="38404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8pPr>
                <a:lvl9pPr marL="43891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9pPr>
              </a:lstStyle>
              <a:p>
                <a:pPr marL="0" marR="0" lvl="0" indent="0" algn="ctr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cap="none" spc="0" normalizeH="0" baseline="0" noProof="0">
                    <a:solidFill>
                      <a:srgbClr val="FFFFFF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  <a:sym typeface="Wingdings" charset="2"/>
                </a:endParaRPr>
              </a:p>
            </p:txBody>
          </p:sp>
          <p:sp>
            <p:nvSpPr>
              <p:cNvPr id="309" name="pole tekstowe 293">
                <a:extLst>
                  <a:ext uri="{FF2B5EF4-FFF2-40B4-BE49-F238E27FC236}">
                    <a16:creationId xmlns:a16="http://schemas.microsoft.com/office/drawing/2014/main" id="{B2189B6C-79F8-2B97-F2DC-3FE339F393EC}"/>
                  </a:ext>
                </a:extLst>
              </p:cNvPr>
              <p:cNvSpPr txBox="1"/>
              <p:nvPr>
                <p:custDataLst>
                  <p:tags r:id="rId310"/>
                </p:custDataLst>
              </p:nvPr>
            </p:nvSpPr>
            <p:spPr>
              <a:xfrm>
                <a:off x="6786848" y="4272350"/>
                <a:ext cx="407162" cy="107722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>
                <a:defPPr>
                  <a:defRPr lang="en-US"/>
                </a:defPPr>
                <a:lvl1pPr marL="0" algn="l" defTabSz="1097280" rtl="0" eaLnBrk="1" latinLnBrk="0" hangingPunct="1">
                  <a:defRPr sz="700" kern="1200" spc="30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lvl1pPr>
              </a:lstStyle>
              <a:p>
                <a:pPr marL="0" marR="0" lvl="0" indent="0" algn="l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700" b="0" i="0" spc="300" normalizeH="0" noProof="0">
                    <a:solidFill>
                      <a:srgbClr val="FFFFFF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rPr>
                  <a:t>Tunisia</a:t>
                </a:r>
              </a:p>
            </p:txBody>
          </p:sp>
          <p:sp>
            <p:nvSpPr>
              <p:cNvPr id="310" name="Oval 309">
                <a:extLst>
                  <a:ext uri="{FF2B5EF4-FFF2-40B4-BE49-F238E27FC236}">
                    <a16:creationId xmlns:a16="http://schemas.microsoft.com/office/drawing/2014/main" id="{5DA2D688-4DEE-5CC7-084E-CB676BFA347B}"/>
                  </a:ext>
                </a:extLst>
              </p:cNvPr>
              <p:cNvSpPr/>
              <p:nvPr>
                <p:custDataLst>
                  <p:tags r:id="rId311"/>
                </p:custDataLst>
              </p:nvPr>
            </p:nvSpPr>
            <p:spPr>
              <a:xfrm>
                <a:off x="8141338" y="4575268"/>
                <a:ext cx="210182" cy="19739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1pPr>
                <a:lvl2pPr marL="5486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2pPr>
                <a:lvl3pPr marL="10972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3pPr>
                <a:lvl4pPr marL="16459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4pPr>
                <a:lvl5pPr marL="219456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5pPr>
                <a:lvl6pPr marL="274320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6pPr>
                <a:lvl7pPr marL="32918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7pPr>
                <a:lvl8pPr marL="38404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8pPr>
                <a:lvl9pPr marL="43891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9pPr>
              </a:lstStyle>
              <a:p>
                <a:pPr marL="0" marR="0" lvl="0" indent="0" algn="ctr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cap="none" spc="0" normalizeH="0" baseline="0" noProof="0">
                    <a:solidFill>
                      <a:srgbClr val="FFFFFF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  <a:sym typeface="Wingdings" charset="2"/>
                </a:endParaRPr>
              </a:p>
            </p:txBody>
          </p:sp>
          <p:sp>
            <p:nvSpPr>
              <p:cNvPr id="311" name="pole tekstowe 293">
                <a:extLst>
                  <a:ext uri="{FF2B5EF4-FFF2-40B4-BE49-F238E27FC236}">
                    <a16:creationId xmlns:a16="http://schemas.microsoft.com/office/drawing/2014/main" id="{ED7754DE-0F98-ECD6-BACB-B8C3DCE1B872}"/>
                  </a:ext>
                </a:extLst>
              </p:cNvPr>
              <p:cNvSpPr txBox="1"/>
              <p:nvPr>
                <p:custDataLst>
                  <p:tags r:id="rId312"/>
                </p:custDataLst>
              </p:nvPr>
            </p:nvSpPr>
            <p:spPr>
              <a:xfrm>
                <a:off x="8094030" y="4760018"/>
                <a:ext cx="557589" cy="107722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>
                <a:defPPr>
                  <a:defRPr lang="en-US"/>
                </a:defPPr>
                <a:lvl1pPr marL="0" algn="l" defTabSz="1097280" rtl="0" eaLnBrk="1" latinLnBrk="0" hangingPunct="1">
                  <a:defRPr sz="700" kern="1200" spc="30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lvl1pPr>
              </a:lstStyle>
              <a:p>
                <a:pPr marL="0" marR="0" lvl="0" indent="0" algn="l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700" b="0" i="0" spc="300" normalizeH="0" noProof="0">
                    <a:solidFill>
                      <a:srgbClr val="FFFFFF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rPr>
                  <a:t>Saudi Arabia</a:t>
                </a:r>
              </a:p>
            </p:txBody>
          </p:sp>
          <p:grpSp>
            <p:nvGrpSpPr>
              <p:cNvPr id="312" name="Group 311">
                <a:extLst>
                  <a:ext uri="{FF2B5EF4-FFF2-40B4-BE49-F238E27FC236}">
                    <a16:creationId xmlns:a16="http://schemas.microsoft.com/office/drawing/2014/main" id="{CB044F2D-8066-3FC6-3732-C579E26A9427}"/>
                  </a:ext>
                </a:extLst>
              </p:cNvPr>
              <p:cNvGrpSpPr/>
              <p:nvPr>
                <p:custDataLst>
                  <p:tags r:id="rId313"/>
                </p:custDataLst>
              </p:nvPr>
            </p:nvGrpSpPr>
            <p:grpSpPr>
              <a:xfrm>
                <a:off x="6181323" y="4191521"/>
                <a:ext cx="402675" cy="317839"/>
                <a:chOff x="486668" y="1845052"/>
                <a:chExt cx="693946" cy="547744"/>
              </a:xfrm>
            </p:grpSpPr>
            <p:sp>
              <p:nvSpPr>
                <p:cNvPr id="316" name="Oval 315">
                  <a:extLst>
                    <a:ext uri="{FF2B5EF4-FFF2-40B4-BE49-F238E27FC236}">
                      <a16:creationId xmlns:a16="http://schemas.microsoft.com/office/drawing/2014/main" id="{63293284-C77C-DD25-34B4-71B8A6AA6481}"/>
                    </a:ext>
                  </a:extLst>
                </p:cNvPr>
                <p:cNvSpPr/>
                <p:nvPr>
                  <p:custDataLst>
                    <p:tags r:id="rId317"/>
                  </p:custDataLst>
                </p:nvPr>
              </p:nvSpPr>
              <p:spPr>
                <a:xfrm>
                  <a:off x="561111" y="1845052"/>
                  <a:ext cx="547744" cy="547744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1pPr>
                  <a:lvl2pPr marL="54864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2pPr>
                  <a:lvl3pPr marL="109728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3pPr>
                  <a:lvl4pPr marL="164592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4pPr>
                  <a:lvl5pPr marL="219456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5pPr>
                  <a:lvl6pPr marL="274320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6pPr>
                  <a:lvl7pPr marL="329184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7pPr>
                  <a:lvl8pPr marL="384048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8pPr>
                  <a:lvl9pPr marL="438912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9pPr>
                </a:lstStyle>
                <a:p>
                  <a:pPr marL="0" marR="0" lvl="0" indent="0" algn="ctr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cap="none" spc="0" normalizeH="0" baseline="0" noProof="0">
                      <a:solidFill>
                        <a:srgbClr val="FFFFFF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  <a:sym typeface="Wingdings" charset="2"/>
                  </a:endParaRPr>
                </a:p>
              </p:txBody>
            </p:sp>
            <p:sp>
              <p:nvSpPr>
                <p:cNvPr id="317" name="TextBox 316">
                  <a:extLst>
                    <a:ext uri="{FF2B5EF4-FFF2-40B4-BE49-F238E27FC236}">
                      <a16:creationId xmlns:a16="http://schemas.microsoft.com/office/drawing/2014/main" id="{681B73D5-D736-4EEF-33A4-AD791F8CCE0C}"/>
                    </a:ext>
                  </a:extLst>
                </p:cNvPr>
                <p:cNvSpPr txBox="1"/>
                <p:nvPr>
                  <p:custDataLst>
                    <p:tags r:id="rId318"/>
                  </p:custDataLst>
                </p:nvPr>
              </p:nvSpPr>
              <p:spPr>
                <a:xfrm>
                  <a:off x="486668" y="1943480"/>
                  <a:ext cx="693946" cy="373933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>
                  <a:defPPr>
                    <a:defRPr lang="en-US"/>
                  </a:defPPr>
                </a:lstStyle>
                <a:p>
                  <a:pPr marL="0" marR="0" lvl="0" indent="0" algn="ctr" defTabSz="1462923" rtl="0" eaLnBrk="1" fontAlgn="auto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ts val="40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r>
                    <a:rPr kumimoji="0" lang="en-US" sz="9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itchFamily="34" charset="0"/>
                      <a:cs typeface="Arial" pitchFamily="34" charset="0"/>
                    </a:rPr>
                    <a:t>1.3k</a:t>
                  </a:r>
                </a:p>
              </p:txBody>
            </p:sp>
          </p:grpSp>
          <p:sp>
            <p:nvSpPr>
              <p:cNvPr id="313" name="pole tekstowe 293">
                <a:extLst>
                  <a:ext uri="{FF2B5EF4-FFF2-40B4-BE49-F238E27FC236}">
                    <a16:creationId xmlns:a16="http://schemas.microsoft.com/office/drawing/2014/main" id="{BD961438-AEFF-CCC3-9E72-7B460BBB6AB2}"/>
                  </a:ext>
                </a:extLst>
              </p:cNvPr>
              <p:cNvSpPr txBox="1"/>
              <p:nvPr>
                <p:custDataLst>
                  <p:tags r:id="rId314"/>
                </p:custDataLst>
              </p:nvPr>
            </p:nvSpPr>
            <p:spPr>
              <a:xfrm>
                <a:off x="5817358" y="4267909"/>
                <a:ext cx="407162" cy="107722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>
                <a:defPPr>
                  <a:defRPr lang="en-US"/>
                </a:defPPr>
                <a:lvl1pPr marL="0" algn="l" defTabSz="1097280" rtl="0" eaLnBrk="1" latinLnBrk="0" hangingPunct="1">
                  <a:defRPr sz="700" kern="1200" spc="30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lvl1pPr>
              </a:lstStyle>
              <a:p>
                <a:pPr marL="0" marR="0" lvl="0" indent="0" algn="l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700" b="0" i="0" spc="300" normalizeH="0" noProof="0">
                    <a:solidFill>
                      <a:srgbClr val="FFFFFF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r>
                  <a:rPr kumimoji="0" lang="en-US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rPr>
                  <a:t>Morocco</a:t>
                </a:r>
              </a:p>
            </p:txBody>
          </p:sp>
          <p:sp>
            <p:nvSpPr>
              <p:cNvPr id="314" name="Oval 313">
                <a:extLst>
                  <a:ext uri="{FF2B5EF4-FFF2-40B4-BE49-F238E27FC236}">
                    <a16:creationId xmlns:a16="http://schemas.microsoft.com/office/drawing/2014/main" id="{CAF11D97-A385-07F5-2380-1317708A063C}"/>
                  </a:ext>
                </a:extLst>
              </p:cNvPr>
              <p:cNvSpPr/>
              <p:nvPr>
                <p:custDataLst>
                  <p:tags r:id="rId315"/>
                </p:custDataLst>
              </p:nvPr>
            </p:nvSpPr>
            <p:spPr>
              <a:xfrm>
                <a:off x="7527854" y="4502814"/>
                <a:ext cx="262232" cy="262232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1pPr>
                <a:lvl2pPr marL="5486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2pPr>
                <a:lvl3pPr marL="10972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3pPr>
                <a:lvl4pPr marL="16459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4pPr>
                <a:lvl5pPr marL="219456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5pPr>
                <a:lvl6pPr marL="274320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6pPr>
                <a:lvl7pPr marL="32918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7pPr>
                <a:lvl8pPr marL="38404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8pPr>
                <a:lvl9pPr marL="43891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9pPr>
              </a:lstStyle>
              <a:p>
                <a:pPr marL="0" marR="0" lvl="0" indent="0" algn="ctr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cap="none" spc="0" normalizeH="0" baseline="0" noProof="0">
                    <a:solidFill>
                      <a:srgbClr val="FFFFFF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  <a:sym typeface="Wingdings" charset="2"/>
                </a:endParaRPr>
              </a:p>
            </p:txBody>
          </p:sp>
          <p:sp>
            <p:nvSpPr>
              <p:cNvPr id="315" name="pole tekstowe 293">
                <a:extLst>
                  <a:ext uri="{FF2B5EF4-FFF2-40B4-BE49-F238E27FC236}">
                    <a16:creationId xmlns:a16="http://schemas.microsoft.com/office/drawing/2014/main" id="{BF303383-1CED-C1E9-0D60-8DF7C9905FEC}"/>
                  </a:ext>
                </a:extLst>
              </p:cNvPr>
              <p:cNvSpPr txBox="1"/>
              <p:nvPr>
                <p:custDataLst>
                  <p:tags r:id="rId316"/>
                </p:custDataLst>
              </p:nvPr>
            </p:nvSpPr>
            <p:spPr>
              <a:xfrm>
                <a:off x="7444430" y="4564616"/>
                <a:ext cx="407162" cy="107722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>
                <a:defPPr>
                  <a:defRPr lang="en-US"/>
                </a:defPPr>
                <a:lvl1pPr marL="0" algn="l" defTabSz="1097280" rtl="0" eaLnBrk="1" latinLnBrk="0" hangingPunct="1">
                  <a:defRPr sz="700" kern="1200" spc="30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lvl1pPr>
              </a:lstStyle>
              <a:p>
                <a:pPr marL="0" marR="0" lvl="0" indent="0" algn="l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700" b="0" i="0" spc="300" normalizeH="0" noProof="0">
                    <a:solidFill>
                      <a:srgbClr val="FFFFFF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rPr>
                  <a:t>Egypt</a:t>
                </a:r>
              </a:p>
            </p:txBody>
          </p:sp>
        </p:grpSp>
        <p:sp>
          <p:nvSpPr>
            <p:cNvPr id="380" name="Freeform 854">
              <a:extLst>
                <a:ext uri="{FF2B5EF4-FFF2-40B4-BE49-F238E27FC236}">
                  <a16:creationId xmlns:a16="http://schemas.microsoft.com/office/drawing/2014/main" id="{4180A2FC-6524-8619-572B-95F3F6D3D3DF}"/>
                </a:ext>
              </a:extLst>
            </p:cNvPr>
            <p:cNvSpPr/>
            <p:nvPr>
              <p:custDataLst>
                <p:tags r:id="rId282"/>
              </p:custDataLst>
            </p:nvPr>
          </p:nvSpPr>
          <p:spPr>
            <a:xfrm>
              <a:off x="8815324" y="4107788"/>
              <a:ext cx="527300" cy="593380"/>
            </a:xfrm>
            <a:custGeom>
              <a:avLst/>
              <a:gdLst>
                <a:gd name="connsiteX0" fmla="*/ 395968 w 439417"/>
                <a:gd name="connsiteY0" fmla="*/ 0 h 494483"/>
                <a:gd name="connsiteX1" fmla="*/ 401177 w 439417"/>
                <a:gd name="connsiteY1" fmla="*/ 3914 h 494483"/>
                <a:gd name="connsiteX2" fmla="*/ 409857 w 439417"/>
                <a:gd name="connsiteY2" fmla="*/ 1942 h 494483"/>
                <a:gd name="connsiteX3" fmla="*/ 435898 w 439417"/>
                <a:gd name="connsiteY3" fmla="*/ 26424 h 494483"/>
                <a:gd name="connsiteX4" fmla="*/ 439417 w 439417"/>
                <a:gd name="connsiteY4" fmla="*/ 39384 h 494483"/>
                <a:gd name="connsiteX5" fmla="*/ 433909 w 439417"/>
                <a:gd name="connsiteY5" fmla="*/ 35237 h 494483"/>
                <a:gd name="connsiteX6" fmla="*/ 427166 w 439417"/>
                <a:gd name="connsiteY6" fmla="*/ 29113 h 494483"/>
                <a:gd name="connsiteX7" fmla="*/ 413357 w 439417"/>
                <a:gd name="connsiteY7" fmla="*/ 22665 h 494483"/>
                <a:gd name="connsiteX8" fmla="*/ 410788 w 439417"/>
                <a:gd name="connsiteY8" fmla="*/ 22343 h 494483"/>
                <a:gd name="connsiteX9" fmla="*/ 398385 w 439417"/>
                <a:gd name="connsiteY9" fmla="*/ 21255 h 494483"/>
                <a:gd name="connsiteX10" fmla="*/ 386704 w 439417"/>
                <a:gd name="connsiteY10" fmla="*/ 25244 h 494483"/>
                <a:gd name="connsiteX11" fmla="*/ 375144 w 439417"/>
                <a:gd name="connsiteY11" fmla="*/ 27501 h 494483"/>
                <a:gd name="connsiteX12" fmla="*/ 367116 w 439417"/>
                <a:gd name="connsiteY12" fmla="*/ 27178 h 494483"/>
                <a:gd name="connsiteX13" fmla="*/ 361335 w 439417"/>
                <a:gd name="connsiteY13" fmla="*/ 30724 h 494483"/>
                <a:gd name="connsiteX14" fmla="*/ 351381 w 439417"/>
                <a:gd name="connsiteY14" fmla="*/ 40395 h 494483"/>
                <a:gd name="connsiteX15" fmla="*/ 347527 w 439417"/>
                <a:gd name="connsiteY15" fmla="*/ 49422 h 494483"/>
                <a:gd name="connsiteX16" fmla="*/ 354592 w 439417"/>
                <a:gd name="connsiteY16" fmla="*/ 55224 h 494483"/>
                <a:gd name="connsiteX17" fmla="*/ 363262 w 439417"/>
                <a:gd name="connsiteY17" fmla="*/ 60060 h 494483"/>
                <a:gd name="connsiteX18" fmla="*/ 372896 w 439417"/>
                <a:gd name="connsiteY18" fmla="*/ 68119 h 494483"/>
                <a:gd name="connsiteX19" fmla="*/ 383172 w 439417"/>
                <a:gd name="connsiteY19" fmla="*/ 81013 h 494483"/>
                <a:gd name="connsiteX20" fmla="*/ 382208 w 439417"/>
                <a:gd name="connsiteY20" fmla="*/ 84882 h 494483"/>
                <a:gd name="connsiteX21" fmla="*/ 373217 w 439417"/>
                <a:gd name="connsiteY21" fmla="*/ 95842 h 494483"/>
                <a:gd name="connsiteX22" fmla="*/ 371932 w 439417"/>
                <a:gd name="connsiteY22" fmla="*/ 96809 h 494483"/>
                <a:gd name="connsiteX23" fmla="*/ 369042 w 439417"/>
                <a:gd name="connsiteY23" fmla="*/ 104868 h 494483"/>
                <a:gd name="connsiteX24" fmla="*/ 370327 w 439417"/>
                <a:gd name="connsiteY24" fmla="*/ 110348 h 494483"/>
                <a:gd name="connsiteX25" fmla="*/ 370327 w 439417"/>
                <a:gd name="connsiteY25" fmla="*/ 126789 h 494483"/>
                <a:gd name="connsiteX26" fmla="*/ 375144 w 439417"/>
                <a:gd name="connsiteY26" fmla="*/ 144519 h 494483"/>
                <a:gd name="connsiteX27" fmla="*/ 383953 w 439417"/>
                <a:gd name="connsiteY27" fmla="*/ 149007 h 494483"/>
                <a:gd name="connsiteX28" fmla="*/ 385998 w 439417"/>
                <a:gd name="connsiteY28" fmla="*/ 155790 h 494483"/>
                <a:gd name="connsiteX29" fmla="*/ 398264 w 439417"/>
                <a:gd name="connsiteY29" fmla="*/ 170516 h 494483"/>
                <a:gd name="connsiteX30" fmla="*/ 407733 w 439417"/>
                <a:gd name="connsiteY30" fmla="*/ 174055 h 494483"/>
                <a:gd name="connsiteX31" fmla="*/ 406614 w 439417"/>
                <a:gd name="connsiteY31" fmla="*/ 174821 h 494483"/>
                <a:gd name="connsiteX32" fmla="*/ 405650 w 439417"/>
                <a:gd name="connsiteY32" fmla="*/ 174821 h 494483"/>
                <a:gd name="connsiteX33" fmla="*/ 404327 w 439417"/>
                <a:gd name="connsiteY33" fmla="*/ 175675 h 494483"/>
                <a:gd name="connsiteX34" fmla="*/ 412066 w 439417"/>
                <a:gd name="connsiteY34" fmla="*/ 175675 h 494483"/>
                <a:gd name="connsiteX35" fmla="*/ 412248 w 439417"/>
                <a:gd name="connsiteY35" fmla="*/ 175743 h 494483"/>
                <a:gd name="connsiteX36" fmla="*/ 411800 w 439417"/>
                <a:gd name="connsiteY36" fmla="*/ 184876 h 494483"/>
                <a:gd name="connsiteX37" fmla="*/ 397087 w 439417"/>
                <a:gd name="connsiteY37" fmla="*/ 209740 h 494483"/>
                <a:gd name="connsiteX38" fmla="*/ 391437 w 439417"/>
                <a:gd name="connsiteY38" fmla="*/ 234574 h 494483"/>
                <a:gd name="connsiteX39" fmla="*/ 377902 w 439417"/>
                <a:gd name="connsiteY39" fmla="*/ 252876 h 494483"/>
                <a:gd name="connsiteX40" fmla="*/ 360953 w 439417"/>
                <a:gd name="connsiteY40" fmla="*/ 268560 h 494483"/>
                <a:gd name="connsiteX41" fmla="*/ 349684 w 439417"/>
                <a:gd name="connsiteY41" fmla="*/ 303870 h 494483"/>
                <a:gd name="connsiteX42" fmla="*/ 325967 w 439417"/>
                <a:gd name="connsiteY42" fmla="*/ 320877 h 494483"/>
                <a:gd name="connsiteX43" fmla="*/ 319777 w 439417"/>
                <a:gd name="connsiteY43" fmla="*/ 338168 h 494483"/>
                <a:gd name="connsiteX44" fmla="*/ 310254 w 439417"/>
                <a:gd name="connsiteY44" fmla="*/ 345614 h 494483"/>
                <a:gd name="connsiteX45" fmla="*/ 299956 w 439417"/>
                <a:gd name="connsiteY45" fmla="*/ 342872 h 494483"/>
                <a:gd name="connsiteX46" fmla="*/ 299811 w 439417"/>
                <a:gd name="connsiteY46" fmla="*/ 342940 h 494483"/>
                <a:gd name="connsiteX47" fmla="*/ 299709 w 439417"/>
                <a:gd name="connsiteY47" fmla="*/ 342913 h 494483"/>
                <a:gd name="connsiteX48" fmla="*/ 290952 w 439417"/>
                <a:gd name="connsiteY48" fmla="*/ 347007 h 494483"/>
                <a:gd name="connsiteX49" fmla="*/ 286767 w 439417"/>
                <a:gd name="connsiteY49" fmla="*/ 349295 h 494483"/>
                <a:gd name="connsiteX50" fmla="*/ 280466 w 439417"/>
                <a:gd name="connsiteY50" fmla="*/ 347147 h 494483"/>
                <a:gd name="connsiteX51" fmla="*/ 269766 w 439417"/>
                <a:gd name="connsiteY51" fmla="*/ 344359 h 494483"/>
                <a:gd name="connsiteX52" fmla="*/ 269701 w 439417"/>
                <a:gd name="connsiteY52" fmla="*/ 344431 h 494483"/>
                <a:gd name="connsiteX53" fmla="*/ 269530 w 439417"/>
                <a:gd name="connsiteY53" fmla="*/ 344387 h 494483"/>
                <a:gd name="connsiteX54" fmla="*/ 248080 w 439417"/>
                <a:gd name="connsiteY54" fmla="*/ 375754 h 494483"/>
                <a:gd name="connsiteX55" fmla="*/ 266147 w 439417"/>
                <a:gd name="connsiteY55" fmla="*/ 399294 h 494483"/>
                <a:gd name="connsiteX56" fmla="*/ 278564 w 439417"/>
                <a:gd name="connsiteY56" fmla="*/ 433250 h 494483"/>
                <a:gd name="connsiteX57" fmla="*/ 288686 w 439417"/>
                <a:gd name="connsiteY57" fmla="*/ 463352 h 494483"/>
                <a:gd name="connsiteX58" fmla="*/ 280103 w 439417"/>
                <a:gd name="connsiteY58" fmla="*/ 470502 h 494483"/>
                <a:gd name="connsiteX59" fmla="*/ 267501 w 439417"/>
                <a:gd name="connsiteY59" fmla="*/ 469825 h 494483"/>
                <a:gd name="connsiteX60" fmla="*/ 261807 w 439417"/>
                <a:gd name="connsiteY60" fmla="*/ 470440 h 494483"/>
                <a:gd name="connsiteX61" fmla="*/ 256871 w 439417"/>
                <a:gd name="connsiteY61" fmla="*/ 470970 h 494483"/>
                <a:gd name="connsiteX62" fmla="*/ 240430 w 439417"/>
                <a:gd name="connsiteY62" fmla="*/ 471120 h 494483"/>
                <a:gd name="connsiteX63" fmla="*/ 240345 w 439417"/>
                <a:gd name="connsiteY63" fmla="*/ 471148 h 494483"/>
                <a:gd name="connsiteX64" fmla="*/ 240194 w 439417"/>
                <a:gd name="connsiteY64" fmla="*/ 471149 h 494483"/>
                <a:gd name="connsiteX65" fmla="*/ 214211 w 439417"/>
                <a:gd name="connsiteY65" fmla="*/ 492070 h 494483"/>
                <a:gd name="connsiteX66" fmla="*/ 212388 w 439417"/>
                <a:gd name="connsiteY66" fmla="*/ 494483 h 494483"/>
                <a:gd name="connsiteX67" fmla="*/ 207827 w 439417"/>
                <a:gd name="connsiteY67" fmla="*/ 491217 h 494483"/>
                <a:gd name="connsiteX68" fmla="*/ 182874 w 439417"/>
                <a:gd name="connsiteY68" fmla="*/ 478506 h 494483"/>
                <a:gd name="connsiteX69" fmla="*/ 179344 w 439417"/>
                <a:gd name="connsiteY69" fmla="*/ 459733 h 494483"/>
                <a:gd name="connsiteX70" fmla="*/ 149507 w 439417"/>
                <a:gd name="connsiteY70" fmla="*/ 422216 h 494483"/>
                <a:gd name="connsiteX71" fmla="*/ 45608 w 439417"/>
                <a:gd name="connsiteY71" fmla="*/ 435251 h 494483"/>
                <a:gd name="connsiteX72" fmla="*/ 27953 w 439417"/>
                <a:gd name="connsiteY72" fmla="*/ 428748 h 494483"/>
                <a:gd name="connsiteX73" fmla="*/ 19126 w 439417"/>
                <a:gd name="connsiteY73" fmla="*/ 428219 h 494483"/>
                <a:gd name="connsiteX74" fmla="*/ 37192 w 439417"/>
                <a:gd name="connsiteY74" fmla="*/ 396676 h 494483"/>
                <a:gd name="connsiteX75" fmla="*/ 63145 w 439417"/>
                <a:gd name="connsiteY75" fmla="*/ 387495 h 494483"/>
                <a:gd name="connsiteX76" fmla="*/ 56347 w 439417"/>
                <a:gd name="connsiteY76" fmla="*/ 362660 h 494483"/>
                <a:gd name="connsiteX77" fmla="*/ 42841 w 439417"/>
                <a:gd name="connsiteY77" fmla="*/ 326056 h 494483"/>
                <a:gd name="connsiteX78" fmla="*/ 13417 w 439417"/>
                <a:gd name="connsiteY78" fmla="*/ 297308 h 494483"/>
                <a:gd name="connsiteX79" fmla="*/ 0 w 439417"/>
                <a:gd name="connsiteY79" fmla="*/ 279653 h 494483"/>
                <a:gd name="connsiteX80" fmla="*/ 43960 w 439417"/>
                <a:gd name="connsiteY80" fmla="*/ 285244 h 494483"/>
                <a:gd name="connsiteX81" fmla="*/ 158923 w 439417"/>
                <a:gd name="connsiteY81" fmla="*/ 268619 h 494483"/>
                <a:gd name="connsiteX82" fmla="*/ 156392 w 439417"/>
                <a:gd name="connsiteY82" fmla="*/ 235339 h 494483"/>
                <a:gd name="connsiteX83" fmla="*/ 179197 w 439417"/>
                <a:gd name="connsiteY83" fmla="*/ 219656 h 494483"/>
                <a:gd name="connsiteX84" fmla="*/ 198646 w 439417"/>
                <a:gd name="connsiteY84" fmla="*/ 213771 h 494483"/>
                <a:gd name="connsiteX85" fmla="*/ 229100 w 439417"/>
                <a:gd name="connsiteY85" fmla="*/ 202001 h 494483"/>
                <a:gd name="connsiteX86" fmla="*/ 242607 w 439417"/>
                <a:gd name="connsiteY86" fmla="*/ 187289 h 494483"/>
                <a:gd name="connsiteX87" fmla="*/ 251905 w 439417"/>
                <a:gd name="connsiteY87" fmla="*/ 151979 h 494483"/>
                <a:gd name="connsiteX88" fmla="*/ 271355 w 439417"/>
                <a:gd name="connsiteY88" fmla="*/ 138267 h 494483"/>
                <a:gd name="connsiteX89" fmla="*/ 262056 w 439417"/>
                <a:gd name="connsiteY89" fmla="*/ 116728 h 494483"/>
                <a:gd name="connsiteX90" fmla="*/ 294189 w 439417"/>
                <a:gd name="connsiteY90" fmla="*/ 117700 h 494483"/>
                <a:gd name="connsiteX91" fmla="*/ 296690 w 439417"/>
                <a:gd name="connsiteY91" fmla="*/ 91217 h 494483"/>
                <a:gd name="connsiteX92" fmla="*/ 310225 w 439417"/>
                <a:gd name="connsiteY92" fmla="*/ 67677 h 494483"/>
                <a:gd name="connsiteX93" fmla="*/ 305164 w 439417"/>
                <a:gd name="connsiteY93" fmla="*/ 48080 h 494483"/>
                <a:gd name="connsiteX94" fmla="*/ 309401 w 439417"/>
                <a:gd name="connsiteY94" fmla="*/ 31426 h 494483"/>
                <a:gd name="connsiteX95" fmla="*/ 313668 w 439417"/>
                <a:gd name="connsiteY95" fmla="*/ 29337 h 494483"/>
                <a:gd name="connsiteX96" fmla="*/ 328380 w 439417"/>
                <a:gd name="connsiteY96" fmla="*/ 23452 h 494483"/>
                <a:gd name="connsiteX97" fmla="*/ 366956 w 439417"/>
                <a:gd name="connsiteY97" fmla="*/ 10152 h 494483"/>
                <a:gd name="connsiteX98" fmla="*/ 395968 w 439417"/>
                <a:gd name="connsiteY98" fmla="*/ 0 h 494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439416" h="494483">
                  <a:moveTo>
                    <a:pt x="395968" y="0"/>
                  </a:moveTo>
                  <a:cubicBezTo>
                    <a:pt x="397911" y="995"/>
                    <a:pt x="399676" y="2319"/>
                    <a:pt x="401177" y="3914"/>
                  </a:cubicBezTo>
                  <a:cubicBezTo>
                    <a:pt x="404031" y="3090"/>
                    <a:pt x="406915" y="2431"/>
                    <a:pt x="409857" y="1942"/>
                  </a:cubicBezTo>
                  <a:cubicBezTo>
                    <a:pt x="420833" y="11917"/>
                    <a:pt x="435898" y="22569"/>
                    <a:pt x="435898" y="26424"/>
                  </a:cubicBezTo>
                  <a:lnTo>
                    <a:pt x="439417" y="39384"/>
                  </a:lnTo>
                  <a:lnTo>
                    <a:pt x="433909" y="35237"/>
                  </a:lnTo>
                  <a:cubicBezTo>
                    <a:pt x="431661" y="33303"/>
                    <a:pt x="429093" y="31691"/>
                    <a:pt x="427166" y="29113"/>
                  </a:cubicBezTo>
                  <a:cubicBezTo>
                    <a:pt x="423633" y="24277"/>
                    <a:pt x="420101" y="20086"/>
                    <a:pt x="413357" y="22665"/>
                  </a:cubicBezTo>
                  <a:cubicBezTo>
                    <a:pt x="412715" y="22988"/>
                    <a:pt x="411431" y="22665"/>
                    <a:pt x="410788" y="22343"/>
                  </a:cubicBezTo>
                  <a:cubicBezTo>
                    <a:pt x="406453" y="20731"/>
                    <a:pt x="402359" y="20570"/>
                    <a:pt x="398385" y="21255"/>
                  </a:cubicBezTo>
                  <a:cubicBezTo>
                    <a:pt x="394411" y="21940"/>
                    <a:pt x="390558" y="23471"/>
                    <a:pt x="386704" y="25244"/>
                  </a:cubicBezTo>
                  <a:cubicBezTo>
                    <a:pt x="383172" y="26856"/>
                    <a:pt x="378997" y="27178"/>
                    <a:pt x="375144" y="27501"/>
                  </a:cubicBezTo>
                  <a:cubicBezTo>
                    <a:pt x="372575" y="27823"/>
                    <a:pt x="369685" y="26856"/>
                    <a:pt x="367116" y="27178"/>
                  </a:cubicBezTo>
                  <a:cubicBezTo>
                    <a:pt x="364868" y="27823"/>
                    <a:pt x="361978" y="29113"/>
                    <a:pt x="361335" y="30724"/>
                  </a:cubicBezTo>
                  <a:cubicBezTo>
                    <a:pt x="359087" y="35560"/>
                    <a:pt x="355876" y="38461"/>
                    <a:pt x="351381" y="40395"/>
                  </a:cubicBezTo>
                  <a:cubicBezTo>
                    <a:pt x="347206" y="42007"/>
                    <a:pt x="346885" y="45553"/>
                    <a:pt x="347527" y="49422"/>
                  </a:cubicBezTo>
                  <a:cubicBezTo>
                    <a:pt x="348169" y="53612"/>
                    <a:pt x="350417" y="55546"/>
                    <a:pt x="354592" y="55224"/>
                  </a:cubicBezTo>
                  <a:cubicBezTo>
                    <a:pt x="358445" y="54902"/>
                    <a:pt x="360693" y="57158"/>
                    <a:pt x="363262" y="60060"/>
                  </a:cubicBezTo>
                  <a:cubicBezTo>
                    <a:pt x="366152" y="62961"/>
                    <a:pt x="370006" y="65217"/>
                    <a:pt x="372896" y="68119"/>
                  </a:cubicBezTo>
                  <a:cubicBezTo>
                    <a:pt x="376749" y="72309"/>
                    <a:pt x="379961" y="76500"/>
                    <a:pt x="383172" y="81013"/>
                  </a:cubicBezTo>
                  <a:cubicBezTo>
                    <a:pt x="383814" y="81658"/>
                    <a:pt x="383172" y="83915"/>
                    <a:pt x="382208" y="84882"/>
                  </a:cubicBezTo>
                  <a:cubicBezTo>
                    <a:pt x="379961" y="89072"/>
                    <a:pt x="373538" y="89717"/>
                    <a:pt x="373217" y="95842"/>
                  </a:cubicBezTo>
                  <a:cubicBezTo>
                    <a:pt x="373217" y="96164"/>
                    <a:pt x="372254" y="96487"/>
                    <a:pt x="371932" y="96809"/>
                  </a:cubicBezTo>
                  <a:cubicBezTo>
                    <a:pt x="368721" y="98743"/>
                    <a:pt x="367758" y="101322"/>
                    <a:pt x="369042" y="104868"/>
                  </a:cubicBezTo>
                  <a:cubicBezTo>
                    <a:pt x="369685" y="106480"/>
                    <a:pt x="370327" y="108414"/>
                    <a:pt x="370327" y="110348"/>
                  </a:cubicBezTo>
                  <a:cubicBezTo>
                    <a:pt x="370327" y="115829"/>
                    <a:pt x="370327" y="121309"/>
                    <a:pt x="370327" y="126789"/>
                  </a:cubicBezTo>
                  <a:cubicBezTo>
                    <a:pt x="370006" y="133236"/>
                    <a:pt x="369042" y="140328"/>
                    <a:pt x="375144" y="144519"/>
                  </a:cubicBezTo>
                  <a:lnTo>
                    <a:pt x="383953" y="149007"/>
                  </a:lnTo>
                  <a:lnTo>
                    <a:pt x="385998" y="155790"/>
                  </a:lnTo>
                  <a:cubicBezTo>
                    <a:pt x="388958" y="163962"/>
                    <a:pt x="393188" y="171811"/>
                    <a:pt x="398264" y="170516"/>
                  </a:cubicBezTo>
                  <a:lnTo>
                    <a:pt x="407733" y="174055"/>
                  </a:lnTo>
                  <a:lnTo>
                    <a:pt x="406614" y="174821"/>
                  </a:lnTo>
                  <a:cubicBezTo>
                    <a:pt x="406293" y="174821"/>
                    <a:pt x="405972" y="174821"/>
                    <a:pt x="405650" y="174821"/>
                  </a:cubicBezTo>
                  <a:lnTo>
                    <a:pt x="404327" y="175675"/>
                  </a:lnTo>
                  <a:lnTo>
                    <a:pt x="412066" y="175675"/>
                  </a:lnTo>
                  <a:lnTo>
                    <a:pt x="412248" y="175743"/>
                  </a:lnTo>
                  <a:cubicBezTo>
                    <a:pt x="415499" y="179329"/>
                    <a:pt x="416346" y="183567"/>
                    <a:pt x="411800" y="184876"/>
                  </a:cubicBezTo>
                  <a:cubicBezTo>
                    <a:pt x="402707" y="187495"/>
                    <a:pt x="398234" y="199294"/>
                    <a:pt x="397087" y="209740"/>
                  </a:cubicBezTo>
                  <a:cubicBezTo>
                    <a:pt x="395939" y="220185"/>
                    <a:pt x="398205" y="233280"/>
                    <a:pt x="391437" y="234574"/>
                  </a:cubicBezTo>
                  <a:cubicBezTo>
                    <a:pt x="384670" y="235869"/>
                    <a:pt x="377902" y="238488"/>
                    <a:pt x="377902" y="252876"/>
                  </a:cubicBezTo>
                  <a:cubicBezTo>
                    <a:pt x="377902" y="267265"/>
                    <a:pt x="363190" y="263322"/>
                    <a:pt x="360953" y="268560"/>
                  </a:cubicBezTo>
                  <a:cubicBezTo>
                    <a:pt x="358717" y="273797"/>
                    <a:pt x="353068" y="299956"/>
                    <a:pt x="349684" y="303870"/>
                  </a:cubicBezTo>
                  <a:cubicBezTo>
                    <a:pt x="346300" y="307784"/>
                    <a:pt x="327056" y="309137"/>
                    <a:pt x="325967" y="320877"/>
                  </a:cubicBezTo>
                  <a:cubicBezTo>
                    <a:pt x="325423" y="326748"/>
                    <a:pt x="322885" y="333273"/>
                    <a:pt x="319777" y="338168"/>
                  </a:cubicBezTo>
                  <a:lnTo>
                    <a:pt x="310254" y="345614"/>
                  </a:lnTo>
                  <a:lnTo>
                    <a:pt x="299956" y="342872"/>
                  </a:lnTo>
                  <a:lnTo>
                    <a:pt x="299811" y="342940"/>
                  </a:lnTo>
                  <a:lnTo>
                    <a:pt x="299709" y="342913"/>
                  </a:lnTo>
                  <a:cubicBezTo>
                    <a:pt x="296035" y="342424"/>
                    <a:pt x="292644" y="343079"/>
                    <a:pt x="290952" y="347007"/>
                  </a:cubicBezTo>
                  <a:lnTo>
                    <a:pt x="286767" y="349295"/>
                  </a:lnTo>
                  <a:lnTo>
                    <a:pt x="280466" y="347147"/>
                  </a:lnTo>
                  <a:cubicBezTo>
                    <a:pt x="275960" y="345021"/>
                    <a:pt x="271458" y="342402"/>
                    <a:pt x="269766" y="344359"/>
                  </a:cubicBezTo>
                  <a:lnTo>
                    <a:pt x="269701" y="344431"/>
                  </a:lnTo>
                  <a:lnTo>
                    <a:pt x="269530" y="344387"/>
                  </a:lnTo>
                  <a:cubicBezTo>
                    <a:pt x="266147" y="348330"/>
                    <a:pt x="248080" y="365309"/>
                    <a:pt x="248080" y="375754"/>
                  </a:cubicBezTo>
                  <a:cubicBezTo>
                    <a:pt x="248080" y="386200"/>
                    <a:pt x="267294" y="386259"/>
                    <a:pt x="266147" y="399294"/>
                  </a:cubicBezTo>
                  <a:cubicBezTo>
                    <a:pt x="264999" y="412329"/>
                    <a:pt x="272944" y="426689"/>
                    <a:pt x="278564" y="433250"/>
                  </a:cubicBezTo>
                  <a:cubicBezTo>
                    <a:pt x="284184" y="439812"/>
                    <a:pt x="293188" y="455554"/>
                    <a:pt x="288686" y="463352"/>
                  </a:cubicBezTo>
                  <a:lnTo>
                    <a:pt x="280103" y="470502"/>
                  </a:lnTo>
                  <a:lnTo>
                    <a:pt x="267501" y="469825"/>
                  </a:lnTo>
                  <a:lnTo>
                    <a:pt x="261807" y="470440"/>
                  </a:lnTo>
                  <a:lnTo>
                    <a:pt x="256871" y="470970"/>
                  </a:lnTo>
                  <a:lnTo>
                    <a:pt x="240430" y="471120"/>
                  </a:lnTo>
                  <a:lnTo>
                    <a:pt x="240345" y="471148"/>
                  </a:lnTo>
                  <a:lnTo>
                    <a:pt x="240194" y="471149"/>
                  </a:lnTo>
                  <a:cubicBezTo>
                    <a:pt x="222127" y="467236"/>
                    <a:pt x="220980" y="482919"/>
                    <a:pt x="214211" y="492070"/>
                  </a:cubicBezTo>
                  <a:cubicBezTo>
                    <a:pt x="213800" y="492659"/>
                    <a:pt x="213153" y="493454"/>
                    <a:pt x="212388" y="494483"/>
                  </a:cubicBezTo>
                  <a:cubicBezTo>
                    <a:pt x="211005" y="493218"/>
                    <a:pt x="209475" y="492100"/>
                    <a:pt x="207827" y="491217"/>
                  </a:cubicBezTo>
                  <a:cubicBezTo>
                    <a:pt x="195557" y="484861"/>
                    <a:pt x="187111" y="486333"/>
                    <a:pt x="182874" y="478506"/>
                  </a:cubicBezTo>
                  <a:cubicBezTo>
                    <a:pt x="179344" y="472061"/>
                    <a:pt x="181844" y="465618"/>
                    <a:pt x="179344" y="459733"/>
                  </a:cubicBezTo>
                  <a:cubicBezTo>
                    <a:pt x="180638" y="442813"/>
                    <a:pt x="170663" y="423864"/>
                    <a:pt x="149507" y="422216"/>
                  </a:cubicBezTo>
                  <a:cubicBezTo>
                    <a:pt x="115492" y="419568"/>
                    <a:pt x="79593" y="425365"/>
                    <a:pt x="45608" y="435251"/>
                  </a:cubicBezTo>
                  <a:cubicBezTo>
                    <a:pt x="40076" y="432220"/>
                    <a:pt x="34132" y="430043"/>
                    <a:pt x="27953" y="428748"/>
                  </a:cubicBezTo>
                  <a:cubicBezTo>
                    <a:pt x="25040" y="428190"/>
                    <a:pt x="22068" y="428013"/>
                    <a:pt x="19126" y="428219"/>
                  </a:cubicBezTo>
                  <a:cubicBezTo>
                    <a:pt x="19420" y="415322"/>
                    <a:pt x="26216" y="403452"/>
                    <a:pt x="37192" y="396676"/>
                  </a:cubicBezTo>
                  <a:cubicBezTo>
                    <a:pt x="45136" y="391885"/>
                    <a:pt x="53965" y="388760"/>
                    <a:pt x="63145" y="387495"/>
                  </a:cubicBezTo>
                  <a:cubicBezTo>
                    <a:pt x="72178" y="386200"/>
                    <a:pt x="63116" y="365279"/>
                    <a:pt x="56347" y="362660"/>
                  </a:cubicBezTo>
                  <a:cubicBezTo>
                    <a:pt x="49580" y="360042"/>
                    <a:pt x="56466" y="332618"/>
                    <a:pt x="42841" y="326056"/>
                  </a:cubicBezTo>
                  <a:cubicBezTo>
                    <a:pt x="29218" y="319494"/>
                    <a:pt x="17183" y="308901"/>
                    <a:pt x="13417" y="297308"/>
                  </a:cubicBezTo>
                  <a:cubicBezTo>
                    <a:pt x="11446" y="291423"/>
                    <a:pt x="4914" y="285244"/>
                    <a:pt x="0" y="279653"/>
                  </a:cubicBezTo>
                  <a:cubicBezTo>
                    <a:pt x="14770" y="280415"/>
                    <a:pt x="29454" y="282284"/>
                    <a:pt x="43960" y="285244"/>
                  </a:cubicBezTo>
                  <a:cubicBezTo>
                    <a:pt x="62557" y="289216"/>
                    <a:pt x="157216" y="272474"/>
                    <a:pt x="158923" y="268619"/>
                  </a:cubicBezTo>
                  <a:cubicBezTo>
                    <a:pt x="160629" y="264765"/>
                    <a:pt x="155539" y="240254"/>
                    <a:pt x="156392" y="235339"/>
                  </a:cubicBezTo>
                  <a:cubicBezTo>
                    <a:pt x="157246" y="230426"/>
                    <a:pt x="169045" y="218685"/>
                    <a:pt x="179197" y="219656"/>
                  </a:cubicBezTo>
                  <a:cubicBezTo>
                    <a:pt x="189348" y="220627"/>
                    <a:pt x="198646" y="222598"/>
                    <a:pt x="198646" y="213771"/>
                  </a:cubicBezTo>
                  <a:cubicBezTo>
                    <a:pt x="198646" y="204944"/>
                    <a:pt x="226570" y="194174"/>
                    <a:pt x="229100" y="202001"/>
                  </a:cubicBezTo>
                  <a:cubicBezTo>
                    <a:pt x="231632" y="209828"/>
                    <a:pt x="241754" y="206945"/>
                    <a:pt x="242607" y="187289"/>
                  </a:cubicBezTo>
                  <a:cubicBezTo>
                    <a:pt x="243460" y="167633"/>
                    <a:pt x="241754" y="152950"/>
                    <a:pt x="251905" y="151979"/>
                  </a:cubicBezTo>
                  <a:cubicBezTo>
                    <a:pt x="262056" y="151008"/>
                    <a:pt x="272209" y="144123"/>
                    <a:pt x="271355" y="138267"/>
                  </a:cubicBezTo>
                  <a:cubicBezTo>
                    <a:pt x="270502" y="132412"/>
                    <a:pt x="258673" y="120642"/>
                    <a:pt x="262056" y="116728"/>
                  </a:cubicBezTo>
                  <a:cubicBezTo>
                    <a:pt x="265440" y="112814"/>
                    <a:pt x="290804" y="126527"/>
                    <a:pt x="294189" y="117700"/>
                  </a:cubicBezTo>
                  <a:cubicBezTo>
                    <a:pt x="297572" y="108871"/>
                    <a:pt x="292453" y="99103"/>
                    <a:pt x="296690" y="91217"/>
                  </a:cubicBezTo>
                  <a:cubicBezTo>
                    <a:pt x="300927" y="83331"/>
                    <a:pt x="311049" y="75504"/>
                    <a:pt x="310225" y="67677"/>
                  </a:cubicBezTo>
                  <a:cubicBezTo>
                    <a:pt x="309401" y="59851"/>
                    <a:pt x="311079" y="54936"/>
                    <a:pt x="305164" y="48080"/>
                  </a:cubicBezTo>
                  <a:cubicBezTo>
                    <a:pt x="299249" y="41225"/>
                    <a:pt x="301779" y="32397"/>
                    <a:pt x="309401" y="31426"/>
                  </a:cubicBezTo>
                  <a:cubicBezTo>
                    <a:pt x="310990" y="31099"/>
                    <a:pt x="312432" y="30381"/>
                    <a:pt x="313668" y="29337"/>
                  </a:cubicBezTo>
                  <a:cubicBezTo>
                    <a:pt x="318964" y="28583"/>
                    <a:pt x="324025" y="26565"/>
                    <a:pt x="328380" y="23452"/>
                  </a:cubicBezTo>
                  <a:cubicBezTo>
                    <a:pt x="338944" y="14389"/>
                    <a:pt x="359187" y="6886"/>
                    <a:pt x="366956" y="10152"/>
                  </a:cubicBezTo>
                  <a:cubicBezTo>
                    <a:pt x="373312" y="12829"/>
                    <a:pt x="387377" y="10593"/>
                    <a:pt x="395968" y="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381" name="Group 380">
              <a:extLst>
                <a:ext uri="{FF2B5EF4-FFF2-40B4-BE49-F238E27FC236}">
                  <a16:creationId xmlns:a16="http://schemas.microsoft.com/office/drawing/2014/main" id="{DC2A6E4F-ECAE-FB66-E85D-F03F7B9EBD21}"/>
                </a:ext>
              </a:extLst>
            </p:cNvPr>
            <p:cNvGrpSpPr/>
            <p:nvPr>
              <p:custDataLst>
                <p:tags r:id="rId283"/>
              </p:custDataLst>
            </p:nvPr>
          </p:nvGrpSpPr>
          <p:grpSpPr>
            <a:xfrm>
              <a:off x="8822586" y="4556187"/>
              <a:ext cx="807286" cy="807286"/>
              <a:chOff x="561108" y="1845051"/>
              <a:chExt cx="547742" cy="547742"/>
            </a:xfrm>
          </p:grpSpPr>
          <p:sp>
            <p:nvSpPr>
              <p:cNvPr id="382" name="Oval 381">
                <a:extLst>
                  <a:ext uri="{FF2B5EF4-FFF2-40B4-BE49-F238E27FC236}">
                    <a16:creationId xmlns:a16="http://schemas.microsoft.com/office/drawing/2014/main" id="{32FDCEEA-462E-0BD5-99A2-94FD85496724}"/>
                  </a:ext>
                </a:extLst>
              </p:cNvPr>
              <p:cNvSpPr/>
              <p:nvPr>
                <p:custDataLst>
                  <p:tags r:id="rId303"/>
                </p:custDataLst>
              </p:nvPr>
            </p:nvSpPr>
            <p:spPr>
              <a:xfrm>
                <a:off x="561108" y="1845051"/>
                <a:ext cx="547742" cy="547742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1pPr>
                <a:lvl2pPr marL="5486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2pPr>
                <a:lvl3pPr marL="10972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3pPr>
                <a:lvl4pPr marL="16459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4pPr>
                <a:lvl5pPr marL="219456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5pPr>
                <a:lvl6pPr marL="274320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6pPr>
                <a:lvl7pPr marL="32918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7pPr>
                <a:lvl8pPr marL="38404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8pPr>
                <a:lvl9pPr marL="43891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9pPr>
              </a:lstStyle>
              <a:p>
                <a:pPr marL="0" marR="0" lvl="0" indent="0" algn="ctr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cap="none" spc="0" normalizeH="0" baseline="0" noProof="0">
                    <a:solidFill>
                      <a:srgbClr val="FFFFFF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  <a:sym typeface="Wingdings" charset="2"/>
                </a:endParaRPr>
              </a:p>
            </p:txBody>
          </p:sp>
          <p:sp>
            <p:nvSpPr>
              <p:cNvPr id="383" name="TextBox 382">
                <a:extLst>
                  <a:ext uri="{FF2B5EF4-FFF2-40B4-BE49-F238E27FC236}">
                    <a16:creationId xmlns:a16="http://schemas.microsoft.com/office/drawing/2014/main" id="{53C5C641-BCAD-2D47-B0DA-361EFEE24AD9}"/>
                  </a:ext>
                </a:extLst>
              </p:cNvPr>
              <p:cNvSpPr txBox="1"/>
              <p:nvPr>
                <p:custDataLst>
                  <p:tags r:id="rId304"/>
                </p:custDataLst>
              </p:nvPr>
            </p:nvSpPr>
            <p:spPr>
              <a:xfrm>
                <a:off x="643734" y="2029512"/>
                <a:ext cx="379803" cy="17541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</a:lstStyle>
              <a:p>
                <a:pPr marL="0" marR="0" lvl="0" indent="0" algn="ctr" defTabSz="1462923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40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r>
                  <a:rPr lang="en-US" sz="1200" dirty="0">
                    <a:solidFill>
                      <a:srgbClr val="FFFFFF"/>
                    </a:solidFill>
                    <a:latin typeface="Arial" pitchFamily="34" charset="0"/>
                    <a:cs typeface="Arial" pitchFamily="34" charset="0"/>
                  </a:rPr>
                  <a:t>37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rPr>
                  <a:t>.7k</a:t>
                </a:r>
              </a:p>
            </p:txBody>
          </p:sp>
        </p:grpSp>
        <p:grpSp>
          <p:nvGrpSpPr>
            <p:cNvPr id="384" name="Group 383">
              <a:extLst>
                <a:ext uri="{FF2B5EF4-FFF2-40B4-BE49-F238E27FC236}">
                  <a16:creationId xmlns:a16="http://schemas.microsoft.com/office/drawing/2014/main" id="{1777156B-FF9A-B846-7D83-9A8989D21533}"/>
                </a:ext>
              </a:extLst>
            </p:cNvPr>
            <p:cNvGrpSpPr/>
            <p:nvPr>
              <p:custDataLst>
                <p:tags r:id="rId284"/>
              </p:custDataLst>
            </p:nvPr>
          </p:nvGrpSpPr>
          <p:grpSpPr>
            <a:xfrm>
              <a:off x="9067126" y="5101871"/>
              <a:ext cx="402675" cy="354159"/>
              <a:chOff x="522249" y="1845049"/>
              <a:chExt cx="622779" cy="547744"/>
            </a:xfrm>
          </p:grpSpPr>
          <p:sp>
            <p:nvSpPr>
              <p:cNvPr id="385" name="Oval 384">
                <a:extLst>
                  <a:ext uri="{FF2B5EF4-FFF2-40B4-BE49-F238E27FC236}">
                    <a16:creationId xmlns:a16="http://schemas.microsoft.com/office/drawing/2014/main" id="{CD6A8E5E-DD6E-EAA1-DD0B-4EA9BD26E859}"/>
                  </a:ext>
                </a:extLst>
              </p:cNvPr>
              <p:cNvSpPr/>
              <p:nvPr>
                <p:custDataLst>
                  <p:tags r:id="rId301"/>
                </p:custDataLst>
              </p:nvPr>
            </p:nvSpPr>
            <p:spPr>
              <a:xfrm>
                <a:off x="561104" y="1845049"/>
                <a:ext cx="547744" cy="547744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1pPr>
                <a:lvl2pPr marL="5486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2pPr>
                <a:lvl3pPr marL="10972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3pPr>
                <a:lvl4pPr marL="16459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4pPr>
                <a:lvl5pPr marL="219456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5pPr>
                <a:lvl6pPr marL="274320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6pPr>
                <a:lvl7pPr marL="32918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7pPr>
                <a:lvl8pPr marL="38404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8pPr>
                <a:lvl9pPr marL="43891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9pPr>
              </a:lstStyle>
              <a:p>
                <a:pPr marL="0" marR="0" lvl="0" indent="0" algn="ctr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cap="none" spc="0" normalizeH="0" baseline="0" noProof="0">
                    <a:solidFill>
                      <a:srgbClr val="FFFFFF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  <a:sym typeface="Wingdings" charset="2"/>
                </a:endParaRPr>
              </a:p>
            </p:txBody>
          </p:sp>
          <p:sp>
            <p:nvSpPr>
              <p:cNvPr id="386" name="TextBox 385">
                <a:extLst>
                  <a:ext uri="{FF2B5EF4-FFF2-40B4-BE49-F238E27FC236}">
                    <a16:creationId xmlns:a16="http://schemas.microsoft.com/office/drawing/2014/main" id="{C60089C9-6879-BF56-EC98-DBDAD6210B0E}"/>
                  </a:ext>
                </a:extLst>
              </p:cNvPr>
              <p:cNvSpPr txBox="1"/>
              <p:nvPr>
                <p:custDataLst>
                  <p:tags r:id="rId302"/>
                </p:custDataLst>
              </p:nvPr>
            </p:nvSpPr>
            <p:spPr>
              <a:xfrm>
                <a:off x="522249" y="1943476"/>
                <a:ext cx="622779" cy="33558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</a:lstStyle>
              <a:p>
                <a:pPr marL="0" marR="0" lvl="0" indent="0" algn="ctr" defTabSz="1462923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40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r>
                  <a:rPr kumimoji="0" lang="en-US" sz="900" b="0" i="0" normalizeH="0" noProof="0">
                    <a:solidFill>
                      <a:srgbClr val="FFFFFF"/>
                    </a:solidFill>
                    <a:uLnTx/>
                    <a:uFillTx/>
                    <a:latin typeface="Arial" pitchFamily="34" charset="0"/>
                    <a:cs typeface="Arial" pitchFamily="34" charset="0"/>
                  </a:rPr>
                  <a:t>2.</a:t>
                </a:r>
                <a:r>
                  <a:rPr kumimoji="0" lang="ru-RU" sz="900" b="0" i="0" normalizeH="0" noProof="0">
                    <a:solidFill>
                      <a:srgbClr val="FFFFFF"/>
                    </a:solidFill>
                    <a:uLnTx/>
                    <a:uFillTx/>
                    <a:latin typeface="Arial" pitchFamily="34" charset="0"/>
                    <a:cs typeface="Arial" pitchFamily="34" charset="0"/>
                  </a:rPr>
                  <a:t>5</a:t>
                </a:r>
                <a:r>
                  <a:rPr kumimoji="0" 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rPr>
                  <a:t>k</a:t>
                </a:r>
              </a:p>
            </p:txBody>
          </p:sp>
        </p:grpSp>
        <p:sp>
          <p:nvSpPr>
            <p:cNvPr id="387" name="pole tekstowe 297">
              <a:extLst>
                <a:ext uri="{FF2B5EF4-FFF2-40B4-BE49-F238E27FC236}">
                  <a16:creationId xmlns:a16="http://schemas.microsoft.com/office/drawing/2014/main" id="{6AF2B1E8-76C6-2E17-AD75-9E65FE705F2E}"/>
                </a:ext>
              </a:extLst>
            </p:cNvPr>
            <p:cNvSpPr txBox="1"/>
            <p:nvPr>
              <p:custDataLst>
                <p:tags r:id="rId285"/>
              </p:custDataLst>
            </p:nvPr>
          </p:nvSpPr>
          <p:spPr>
            <a:xfrm>
              <a:off x="9305708" y="4642129"/>
              <a:ext cx="386324" cy="107722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700" kern="1200" spc="3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700" b="0" i="0" spc="300" normalizeH="0" noProof="0">
                  <a:solidFill>
                    <a:srgbClr val="FFFFFF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kumimoji="0" lang="en-US" sz="700" b="0" i="0" u="none" strike="noStrike" kern="1200" cap="none" spc="30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India</a:t>
              </a:r>
            </a:p>
          </p:txBody>
        </p:sp>
        <p:sp>
          <p:nvSpPr>
            <p:cNvPr id="388" name="Oval 387">
              <a:extLst>
                <a:ext uri="{FF2B5EF4-FFF2-40B4-BE49-F238E27FC236}">
                  <a16:creationId xmlns:a16="http://schemas.microsoft.com/office/drawing/2014/main" id="{41790CF5-9F36-FB28-36C0-148B1729E1DD}"/>
                </a:ext>
              </a:extLst>
            </p:cNvPr>
            <p:cNvSpPr/>
            <p:nvPr>
              <p:custDataLst>
                <p:tags r:id="rId286"/>
              </p:custDataLst>
            </p:nvPr>
          </p:nvSpPr>
          <p:spPr>
            <a:xfrm>
              <a:off x="7662036" y="4647853"/>
              <a:ext cx="179372" cy="172578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5486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10972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6459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219456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274320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32918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38404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43891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marL="0" marR="0" lvl="0" indent="0" algn="ctr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cap="none" spc="0" normalizeH="0" baseline="0" noProof="0">
                  <a:solidFill>
                    <a:srgbClr val="FFFFFF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  <a:sym typeface="Wingdings" charset="2"/>
              </a:endParaRPr>
            </a:p>
          </p:txBody>
        </p:sp>
        <p:sp>
          <p:nvSpPr>
            <p:cNvPr id="389" name="Oval 388">
              <a:extLst>
                <a:ext uri="{FF2B5EF4-FFF2-40B4-BE49-F238E27FC236}">
                  <a16:creationId xmlns:a16="http://schemas.microsoft.com/office/drawing/2014/main" id="{6EF4C6EF-4485-E722-387C-0DD26C236B15}"/>
                </a:ext>
              </a:extLst>
            </p:cNvPr>
            <p:cNvSpPr/>
            <p:nvPr>
              <p:custDataLst>
                <p:tags r:id="rId287"/>
              </p:custDataLst>
            </p:nvPr>
          </p:nvSpPr>
          <p:spPr>
            <a:xfrm>
              <a:off x="7720950" y="3933797"/>
              <a:ext cx="130642" cy="137364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5486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10972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6459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219456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274320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32918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38404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43891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marL="0" marR="0" lvl="0" indent="0" algn="ctr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cap="none" spc="0" normalizeH="0" baseline="0" noProof="0">
                  <a:solidFill>
                    <a:srgbClr val="FFFFFF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  <a:sym typeface="Wingdings" charset="2"/>
              </a:endParaRPr>
            </a:p>
          </p:txBody>
        </p:sp>
        <p:sp>
          <p:nvSpPr>
            <p:cNvPr id="390" name="pole tekstowe 293">
              <a:extLst>
                <a:ext uri="{FF2B5EF4-FFF2-40B4-BE49-F238E27FC236}">
                  <a16:creationId xmlns:a16="http://schemas.microsoft.com/office/drawing/2014/main" id="{A7D3F3F5-ECE5-C768-F687-F9228D25119F}"/>
                </a:ext>
              </a:extLst>
            </p:cNvPr>
            <p:cNvSpPr txBox="1"/>
            <p:nvPr>
              <p:custDataLst>
                <p:tags r:id="rId288"/>
              </p:custDataLst>
            </p:nvPr>
          </p:nvSpPr>
          <p:spPr>
            <a:xfrm>
              <a:off x="7895947" y="3952574"/>
              <a:ext cx="407162" cy="98511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700" kern="1200" spc="3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700" b="0" i="0" spc="300" normalizeH="0" noProof="0">
                  <a:solidFill>
                    <a:srgbClr val="FFFFFF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kumimoji="0" lang="en-US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Türkiye</a:t>
              </a:r>
              <a:endPara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91" name="Oval 390">
              <a:extLst>
                <a:ext uri="{FF2B5EF4-FFF2-40B4-BE49-F238E27FC236}">
                  <a16:creationId xmlns:a16="http://schemas.microsoft.com/office/drawing/2014/main" id="{B253FF75-B1C6-FD58-0848-5624EFD37B00}"/>
                </a:ext>
              </a:extLst>
            </p:cNvPr>
            <p:cNvSpPr/>
            <p:nvPr>
              <p:custDataLst>
                <p:tags r:id="rId289"/>
              </p:custDataLst>
            </p:nvPr>
          </p:nvSpPr>
          <p:spPr>
            <a:xfrm>
              <a:off x="4917234" y="5703187"/>
              <a:ext cx="141753" cy="146473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5486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10972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6459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219456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274320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32918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38404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43891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marL="0" marR="0" lvl="0" indent="0" algn="ctr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cap="none" spc="0" normalizeH="0" baseline="0" noProof="0">
                  <a:solidFill>
                    <a:srgbClr val="FFFFFF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  <a:sym typeface="Wingdings" charset="2"/>
              </a:endParaRPr>
            </a:p>
          </p:txBody>
        </p:sp>
        <p:sp>
          <p:nvSpPr>
            <p:cNvPr id="392" name="Oval 391">
              <a:extLst>
                <a:ext uri="{FF2B5EF4-FFF2-40B4-BE49-F238E27FC236}">
                  <a16:creationId xmlns:a16="http://schemas.microsoft.com/office/drawing/2014/main" id="{A6CD2775-D90D-0C06-1468-9DBE5A246CD9}"/>
                </a:ext>
              </a:extLst>
            </p:cNvPr>
            <p:cNvSpPr/>
            <p:nvPr>
              <p:custDataLst>
                <p:tags r:id="rId290"/>
              </p:custDataLst>
            </p:nvPr>
          </p:nvSpPr>
          <p:spPr>
            <a:xfrm>
              <a:off x="7021770" y="4398444"/>
              <a:ext cx="125812" cy="12256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5486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10972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6459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219456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274320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32918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38404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43891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marL="0" marR="0" lvl="0" indent="0" algn="ctr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cap="none" spc="0" normalizeH="0" baseline="0" noProof="0">
                  <a:solidFill>
                    <a:srgbClr val="FFFFFF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  <a:sym typeface="Wingdings" charset="2"/>
              </a:endParaRPr>
            </a:p>
          </p:txBody>
        </p:sp>
        <p:sp>
          <p:nvSpPr>
            <p:cNvPr id="393" name="Oval 392">
              <a:extLst>
                <a:ext uri="{FF2B5EF4-FFF2-40B4-BE49-F238E27FC236}">
                  <a16:creationId xmlns:a16="http://schemas.microsoft.com/office/drawing/2014/main" id="{FACF264B-4E81-604B-E012-FE6DD2F83B04}"/>
                </a:ext>
              </a:extLst>
            </p:cNvPr>
            <p:cNvSpPr/>
            <p:nvPr>
              <p:custDataLst>
                <p:tags r:id="rId291"/>
              </p:custDataLst>
            </p:nvPr>
          </p:nvSpPr>
          <p:spPr>
            <a:xfrm>
              <a:off x="7623135" y="3934540"/>
              <a:ext cx="131965" cy="137364"/>
            </a:xfrm>
            <a:prstGeom prst="ellipse">
              <a:avLst/>
            </a:prstGeom>
            <a:solidFill>
              <a:srgbClr val="00968F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5486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10972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6459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219456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274320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32918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38404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43891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marL="0" marR="0" lvl="0" indent="0" algn="ctr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cap="none" spc="0" normalizeH="0" baseline="0" noProof="0">
                  <a:solidFill>
                    <a:srgbClr val="FFFFFF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  <a:sym typeface="Wingdings" charset="2"/>
              </a:endParaRPr>
            </a:p>
          </p:txBody>
        </p:sp>
        <p:sp>
          <p:nvSpPr>
            <p:cNvPr id="395" name="Oval 394">
              <a:extLst>
                <a:ext uri="{FF2B5EF4-FFF2-40B4-BE49-F238E27FC236}">
                  <a16:creationId xmlns:a16="http://schemas.microsoft.com/office/drawing/2014/main" id="{FDDA5FAF-DDD8-08D5-AA6D-C521F741B319}"/>
                </a:ext>
              </a:extLst>
            </p:cNvPr>
            <p:cNvSpPr/>
            <p:nvPr>
              <p:custDataLst>
                <p:tags r:id="rId292"/>
              </p:custDataLst>
            </p:nvPr>
          </p:nvSpPr>
          <p:spPr>
            <a:xfrm>
              <a:off x="6894274" y="5307841"/>
              <a:ext cx="97160" cy="9624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5486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10972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6459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219456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274320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32918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38404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43891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marL="0" marR="0" lvl="0" indent="0" algn="ctr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cap="none" spc="0" normalizeH="0" baseline="0" noProof="0">
                  <a:solidFill>
                    <a:srgbClr val="FFFFFF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  <a:sym typeface="Wingdings" charset="2"/>
              </a:endParaRPr>
            </a:p>
          </p:txBody>
        </p:sp>
        <p:sp>
          <p:nvSpPr>
            <p:cNvPr id="396" name="pole tekstowe 293">
              <a:extLst>
                <a:ext uri="{FF2B5EF4-FFF2-40B4-BE49-F238E27FC236}">
                  <a16:creationId xmlns:a16="http://schemas.microsoft.com/office/drawing/2014/main" id="{84C62420-264C-F7E2-E705-C38D35E6637D}"/>
                </a:ext>
              </a:extLst>
            </p:cNvPr>
            <p:cNvSpPr txBox="1"/>
            <p:nvPr>
              <p:custDataLst>
                <p:tags r:id="rId293"/>
              </p:custDataLst>
            </p:nvPr>
          </p:nvSpPr>
          <p:spPr>
            <a:xfrm>
              <a:off x="7061124" y="5387176"/>
              <a:ext cx="407162" cy="107722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700" kern="1200" spc="3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700" b="0" i="0" spc="300" normalizeH="0" noProof="0">
                  <a:solidFill>
                    <a:srgbClr val="FFFFFF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Nigeria</a:t>
              </a:r>
            </a:p>
          </p:txBody>
        </p:sp>
        <p:sp>
          <p:nvSpPr>
            <p:cNvPr id="397" name="Oval 396">
              <a:extLst>
                <a:ext uri="{FF2B5EF4-FFF2-40B4-BE49-F238E27FC236}">
                  <a16:creationId xmlns:a16="http://schemas.microsoft.com/office/drawing/2014/main" id="{63422D30-D361-FB74-0DE5-D76F4E658512}"/>
                </a:ext>
              </a:extLst>
            </p:cNvPr>
            <p:cNvSpPr/>
            <p:nvPr>
              <p:custDataLst>
                <p:tags r:id="rId294"/>
              </p:custDataLst>
            </p:nvPr>
          </p:nvSpPr>
          <p:spPr>
            <a:xfrm>
              <a:off x="8372665" y="4502593"/>
              <a:ext cx="78091" cy="82857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5486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10972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6459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219456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274320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32918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38404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43891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marL="0" marR="0" lvl="0" indent="0" algn="ctr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cap="none" spc="0" normalizeH="0" baseline="0" noProof="0">
                  <a:solidFill>
                    <a:srgbClr val="FFFFFF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  <a:sym typeface="Wingdings" charset="2"/>
              </a:endParaRPr>
            </a:p>
          </p:txBody>
        </p:sp>
        <p:sp>
          <p:nvSpPr>
            <p:cNvPr id="398" name="Oval 397">
              <a:extLst>
                <a:ext uri="{FF2B5EF4-FFF2-40B4-BE49-F238E27FC236}">
                  <a16:creationId xmlns:a16="http://schemas.microsoft.com/office/drawing/2014/main" id="{14D0FC04-BE22-00A9-E7A8-DB12382A86AD}"/>
                </a:ext>
              </a:extLst>
            </p:cNvPr>
            <p:cNvSpPr/>
            <p:nvPr>
              <p:custDataLst>
                <p:tags r:id="rId295"/>
              </p:custDataLst>
            </p:nvPr>
          </p:nvSpPr>
          <p:spPr>
            <a:xfrm>
              <a:off x="8410739" y="4538423"/>
              <a:ext cx="78091" cy="82857"/>
            </a:xfrm>
            <a:prstGeom prst="ellipse">
              <a:avLst/>
            </a:prstGeom>
            <a:solidFill>
              <a:srgbClr val="00A3E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5486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10972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6459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219456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274320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32918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38404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43891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marL="0" marR="0" lvl="0" indent="0" algn="ctr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cap="none" spc="0" normalizeH="0" baseline="0" noProof="0">
                  <a:solidFill>
                    <a:srgbClr val="FFFFFF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  <a:sym typeface="Wingdings" charset="2"/>
              </a:endParaRPr>
            </a:p>
          </p:txBody>
        </p:sp>
        <p:sp>
          <p:nvSpPr>
            <p:cNvPr id="399" name="TextBox 398">
              <a:extLst>
                <a:ext uri="{FF2B5EF4-FFF2-40B4-BE49-F238E27FC236}">
                  <a16:creationId xmlns:a16="http://schemas.microsoft.com/office/drawing/2014/main" id="{7DB3DF0D-3BE0-1C57-C65F-258C89EA97F3}"/>
                </a:ext>
              </a:extLst>
            </p:cNvPr>
            <p:cNvSpPr txBox="1"/>
            <p:nvPr>
              <p:custDataLst>
                <p:tags r:id="rId296"/>
              </p:custDataLst>
            </p:nvPr>
          </p:nvSpPr>
          <p:spPr>
            <a:xfrm>
              <a:off x="8281247" y="4359330"/>
              <a:ext cx="562084" cy="2000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Qatar</a:t>
              </a:r>
            </a:p>
          </p:txBody>
        </p:sp>
        <p:sp>
          <p:nvSpPr>
            <p:cNvPr id="400" name="TextBox 399">
              <a:extLst>
                <a:ext uri="{FF2B5EF4-FFF2-40B4-BE49-F238E27FC236}">
                  <a16:creationId xmlns:a16="http://schemas.microsoft.com/office/drawing/2014/main" id="{BEC36667-47C7-8B61-9A98-1900692EB069}"/>
                </a:ext>
              </a:extLst>
            </p:cNvPr>
            <p:cNvSpPr txBox="1"/>
            <p:nvPr>
              <p:custDataLst>
                <p:tags r:id="rId297"/>
              </p:custDataLst>
            </p:nvPr>
          </p:nvSpPr>
          <p:spPr>
            <a:xfrm>
              <a:off x="11256852" y="4081299"/>
              <a:ext cx="380233" cy="20313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</a:lstStyle>
            <a:p>
              <a:pPr marL="0" marR="0" lvl="0" indent="0" algn="ctr" defTabSz="1462923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40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1.</a:t>
              </a:r>
              <a:r>
                <a:rPr lang="en-US" sz="800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7</a:t>
              </a: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k</a:t>
              </a:r>
            </a:p>
          </p:txBody>
        </p:sp>
        <p:sp>
          <p:nvSpPr>
            <p:cNvPr id="573" name="Oval 572">
              <a:extLst>
                <a:ext uri="{FF2B5EF4-FFF2-40B4-BE49-F238E27FC236}">
                  <a16:creationId xmlns:a16="http://schemas.microsoft.com/office/drawing/2014/main" id="{465634CC-32BB-DDBA-090C-A52601C3382A}"/>
                </a:ext>
              </a:extLst>
            </p:cNvPr>
            <p:cNvSpPr/>
            <p:nvPr>
              <p:custDataLst>
                <p:tags r:id="rId298"/>
              </p:custDataLst>
            </p:nvPr>
          </p:nvSpPr>
          <p:spPr>
            <a:xfrm>
              <a:off x="7911574" y="4276240"/>
              <a:ext cx="78091" cy="82857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5486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10972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6459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219456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274320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32918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38404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43891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marL="0" marR="0" lvl="0" indent="0" algn="ctr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cap="none" spc="0" normalizeH="0" baseline="0" noProof="0">
                  <a:solidFill>
                    <a:srgbClr val="FFFFFF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  <a:sym typeface="Wingdings" charset="2"/>
              </a:endParaRPr>
            </a:p>
          </p:txBody>
        </p:sp>
        <p:sp>
          <p:nvSpPr>
            <p:cNvPr id="574" name="TextBox 573">
              <a:extLst>
                <a:ext uri="{FF2B5EF4-FFF2-40B4-BE49-F238E27FC236}">
                  <a16:creationId xmlns:a16="http://schemas.microsoft.com/office/drawing/2014/main" id="{1A820CCE-61C2-8A57-9C5D-88D3E8C45831}"/>
                </a:ext>
              </a:extLst>
            </p:cNvPr>
            <p:cNvSpPr txBox="1"/>
            <p:nvPr>
              <p:custDataLst>
                <p:tags r:id="rId299"/>
              </p:custDataLst>
            </p:nvPr>
          </p:nvSpPr>
          <p:spPr>
            <a:xfrm>
              <a:off x="7584682" y="4188741"/>
              <a:ext cx="562084" cy="2000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</a:lstStyle>
            <a:p>
              <a:pPr marL="0" marR="0" lvl="0" indent="0" algn="l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Israel</a:t>
              </a:r>
            </a:p>
          </p:txBody>
        </p:sp>
        <p:sp>
          <p:nvSpPr>
            <p:cNvPr id="575" name="TextBox 574">
              <a:extLst>
                <a:ext uri="{FF2B5EF4-FFF2-40B4-BE49-F238E27FC236}">
                  <a16:creationId xmlns:a16="http://schemas.microsoft.com/office/drawing/2014/main" id="{6F78D9B1-01EF-DF94-CCA8-BEA332035A20}"/>
                </a:ext>
              </a:extLst>
            </p:cNvPr>
            <p:cNvSpPr txBox="1"/>
            <p:nvPr>
              <p:custDataLst>
                <p:tags r:id="rId300"/>
              </p:custDataLst>
            </p:nvPr>
          </p:nvSpPr>
          <p:spPr>
            <a:xfrm>
              <a:off x="13034647" y="2782920"/>
              <a:ext cx="380233" cy="20313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</a:lstStyle>
            <a:p>
              <a:pPr marL="0" marR="0" lvl="0" indent="0" algn="ctr" defTabSz="1462923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40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1.</a:t>
              </a:r>
              <a:r>
                <a:rPr lang="en-US" sz="800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0</a:t>
              </a: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k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5167603-6E16-3EC4-03DF-A7932E7384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z="3600" b="1" i="0" u="none" strike="noStrike" cap="none" spc="0" normalizeH="0" baseline="0" noProof="0" dirty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5F249F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Wingdings" charset="2"/>
              </a:rPr>
              <a:t>DXC and Luxoft Footprint</a:t>
            </a:r>
            <a:br>
              <a:rPr kumimoji="0" lang="en-US" sz="3600" b="1" i="0" u="none" strike="noStrike" cap="none" spc="0" normalizeH="0" baseline="0" noProof="0" dirty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5F249F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Wingdings" charset="2"/>
              </a:rPr>
            </a:br>
            <a:r>
              <a:rPr kumimoji="0" lang="en-US" sz="2400" b="0" i="0" u="none" strike="noStrike" cap="none" spc="0" normalizeH="0" baseline="0" noProof="0" dirty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Wingdings" charset="2"/>
              </a:rPr>
              <a:t>Global</a:t>
            </a:r>
            <a:endParaRPr lang="en-US" sz="2400" b="0" dirty="0">
              <a:solidFill>
                <a:schemeClr val="tx1"/>
              </a:solidFill>
            </a:endParaRPr>
          </a:p>
        </p:txBody>
      </p:sp>
      <p:grpSp>
        <p:nvGrpSpPr>
          <p:cNvPr id="579" name="Group 578">
            <a:extLst>
              <a:ext uri="{FF2B5EF4-FFF2-40B4-BE49-F238E27FC236}">
                <a16:creationId xmlns:a16="http://schemas.microsoft.com/office/drawing/2014/main" id="{DEBB49F4-744C-DEC7-C9FA-90E6E0121046}"/>
              </a:ext>
            </a:extLst>
          </p:cNvPr>
          <p:cNvGrpSpPr/>
          <p:nvPr/>
        </p:nvGrpSpPr>
        <p:grpSpPr>
          <a:xfrm>
            <a:off x="10689114" y="272921"/>
            <a:ext cx="3667747" cy="3564000"/>
            <a:chOff x="10725586" y="371694"/>
            <a:chExt cx="3667747" cy="3564000"/>
          </a:xfrm>
        </p:grpSpPr>
        <p:sp>
          <p:nvSpPr>
            <p:cNvPr id="425" name="Oval 424">
              <a:extLst>
                <a:ext uri="{FF2B5EF4-FFF2-40B4-BE49-F238E27FC236}">
                  <a16:creationId xmlns:a16="http://schemas.microsoft.com/office/drawing/2014/main" id="{1983B3CE-9419-31C1-D572-18BD5E01D59E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>
            <a:xfrm>
              <a:off x="11967105" y="3610596"/>
              <a:ext cx="116872" cy="112544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5486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10972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6459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219456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274320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32918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38404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43891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marL="0" marR="0" lvl="0" indent="0" algn="ctr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cap="none" spc="0" normalizeH="0" baseline="0" noProof="0">
                  <a:solidFill>
                    <a:srgbClr val="FFFFFF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  <a:sym typeface="Wingdings" charset="2"/>
              </a:endParaRPr>
            </a:p>
          </p:txBody>
        </p:sp>
        <p:sp>
          <p:nvSpPr>
            <p:cNvPr id="426" name="Oval 425">
              <a:extLst>
                <a:ext uri="{FF2B5EF4-FFF2-40B4-BE49-F238E27FC236}">
                  <a16:creationId xmlns:a16="http://schemas.microsoft.com/office/drawing/2014/main" id="{9EACA807-2942-FEF1-28DA-1740A9062F3B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>
              <a:off x="11393312" y="3443514"/>
              <a:ext cx="87683" cy="8203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5486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10972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6459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219456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274320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32918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38404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43891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marL="0" marR="0" lvl="0" indent="0" algn="ctr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cap="none" spc="0" normalizeH="0" baseline="0" noProof="0">
                  <a:solidFill>
                    <a:srgbClr val="FFFFFF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  <a:sym typeface="Wingdings" charset="2"/>
              </a:endParaRPr>
            </a:p>
          </p:txBody>
        </p:sp>
        <p:sp>
          <p:nvSpPr>
            <p:cNvPr id="427" name="TextBox 426">
              <a:extLst>
                <a:ext uri="{FF2B5EF4-FFF2-40B4-BE49-F238E27FC236}">
                  <a16:creationId xmlns:a16="http://schemas.microsoft.com/office/drawing/2014/main" id="{5ADBF39D-4E58-EC2A-45E2-A28F523CBB2E}"/>
                </a:ext>
              </a:extLst>
            </p:cNvPr>
            <p:cNvSpPr txBox="1"/>
            <p:nvPr>
              <p:custDataLst>
                <p:tags r:id="rId4"/>
              </p:custDataLst>
            </p:nvPr>
          </p:nvSpPr>
          <p:spPr>
            <a:xfrm>
              <a:off x="12305595" y="2440456"/>
              <a:ext cx="380233" cy="20313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</a:lstStyle>
            <a:p>
              <a:pPr marL="0" marR="0" lvl="0" indent="0" algn="ctr" defTabSz="1462923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40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kumimoji="0" lang="ru-RU" sz="800" b="0" i="0" normalizeH="0" noProof="0">
                  <a:solidFill>
                    <a:srgbClr val="FFFFFF"/>
                  </a:solidFill>
                  <a:uLnTx/>
                  <a:uFillTx/>
                  <a:latin typeface="Arial" pitchFamily="34" charset="0"/>
                  <a:cs typeface="Arial" pitchFamily="34" charset="0"/>
                </a:rPr>
                <a:t>1.9</a:t>
              </a: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k</a:t>
              </a:r>
            </a:p>
          </p:txBody>
        </p:sp>
        <p:cxnSp>
          <p:nvCxnSpPr>
            <p:cNvPr id="428" name="Straight Connector 427">
              <a:extLst>
                <a:ext uri="{FF2B5EF4-FFF2-40B4-BE49-F238E27FC236}">
                  <a16:creationId xmlns:a16="http://schemas.microsoft.com/office/drawing/2014/main" id="{A2672D6B-9E10-8219-3089-27D87C6B51ED}"/>
                </a:ext>
              </a:extLst>
            </p:cNvPr>
            <p:cNvCxnSpPr/>
            <p:nvPr>
              <p:custDataLst>
                <p:tags r:id="rId5"/>
              </p:custDataLst>
            </p:nvPr>
          </p:nvCxnSpPr>
          <p:spPr>
            <a:xfrm flipV="1">
              <a:off x="11507543" y="2690974"/>
              <a:ext cx="774459" cy="33633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29" name="Straight Connector 428">
              <a:extLst>
                <a:ext uri="{FF2B5EF4-FFF2-40B4-BE49-F238E27FC236}">
                  <a16:creationId xmlns:a16="http://schemas.microsoft.com/office/drawing/2014/main" id="{1A0A51BE-C365-5058-AF0A-01DC3A3D603B}"/>
                </a:ext>
              </a:extLst>
            </p:cNvPr>
            <p:cNvCxnSpPr>
              <a:stCxn id="511" idx="0"/>
            </p:cNvCxnSpPr>
            <p:nvPr>
              <p:custDataLst>
                <p:tags r:id="rId6"/>
              </p:custDataLst>
            </p:nvPr>
          </p:nvCxnSpPr>
          <p:spPr>
            <a:xfrm flipV="1">
              <a:off x="12325080" y="2855718"/>
              <a:ext cx="458864" cy="287608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430" name="Oval 429">
              <a:extLst>
                <a:ext uri="{FF2B5EF4-FFF2-40B4-BE49-F238E27FC236}">
                  <a16:creationId xmlns:a16="http://schemas.microsoft.com/office/drawing/2014/main" id="{86C057FD-B412-4CC4-4A44-97535BB89562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13003309" y="3264797"/>
              <a:ext cx="116667" cy="122025"/>
            </a:xfrm>
            <a:prstGeom prst="ellipse">
              <a:avLst/>
            </a:prstGeom>
            <a:solidFill>
              <a:srgbClr val="00968F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5486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10972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6459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219456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274320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32918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38404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43891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marL="0" marR="0" lvl="0" indent="0" algn="ctr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cap="none" spc="0" normalizeH="0" baseline="0" noProof="0">
                  <a:solidFill>
                    <a:srgbClr val="FFFFFF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  <a:sym typeface="Wingdings" charset="2"/>
              </a:endParaRPr>
            </a:p>
          </p:txBody>
        </p:sp>
        <p:sp>
          <p:nvSpPr>
            <p:cNvPr id="431" name="Oval 430">
              <a:extLst>
                <a:ext uri="{FF2B5EF4-FFF2-40B4-BE49-F238E27FC236}">
                  <a16:creationId xmlns:a16="http://schemas.microsoft.com/office/drawing/2014/main" id="{F07F733B-7E86-81F9-839D-929D62DCE414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>
              <a:off x="12816683" y="2994772"/>
              <a:ext cx="98835" cy="98835"/>
            </a:xfrm>
            <a:prstGeom prst="ellipse">
              <a:avLst/>
            </a:prstGeom>
            <a:solidFill>
              <a:srgbClr val="00968F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5486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10972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6459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219456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274320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32918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38404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43891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marL="0" marR="0" lvl="0" indent="0" algn="ctr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cap="none" spc="0" normalizeH="0" baseline="0" noProof="0">
                  <a:solidFill>
                    <a:srgbClr val="FFFFFF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  <a:sym typeface="Wingdings" charset="2"/>
              </a:endParaRPr>
            </a:p>
          </p:txBody>
        </p:sp>
        <p:sp>
          <p:nvSpPr>
            <p:cNvPr id="432" name="Oval 431">
              <a:extLst>
                <a:ext uri="{FF2B5EF4-FFF2-40B4-BE49-F238E27FC236}">
                  <a16:creationId xmlns:a16="http://schemas.microsoft.com/office/drawing/2014/main" id="{D7A4C22B-3666-29C6-7DF0-0444B3668341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13186045" y="3570346"/>
              <a:ext cx="98835" cy="98835"/>
            </a:xfrm>
            <a:prstGeom prst="ellipse">
              <a:avLst/>
            </a:prstGeom>
            <a:solidFill>
              <a:srgbClr val="00968F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5486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10972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6459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219456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274320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32918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38404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43891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marL="0" marR="0" lvl="0" indent="0" algn="ctr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cap="none" spc="0" normalizeH="0" baseline="0" noProof="0">
                  <a:solidFill>
                    <a:srgbClr val="FFFFFF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  <a:sym typeface="Wingdings" charset="2"/>
              </a:endParaRPr>
            </a:p>
          </p:txBody>
        </p:sp>
        <p:sp>
          <p:nvSpPr>
            <p:cNvPr id="433" name="pole tekstowe 310">
              <a:extLst>
                <a:ext uri="{FF2B5EF4-FFF2-40B4-BE49-F238E27FC236}">
                  <a16:creationId xmlns:a16="http://schemas.microsoft.com/office/drawing/2014/main" id="{5966A38F-82A4-559A-16ED-C2343FAB3C06}"/>
                </a:ext>
              </a:extLst>
            </p:cNvPr>
            <p:cNvSpPr txBox="1"/>
            <p:nvPr>
              <p:custDataLst>
                <p:tags r:id="rId10"/>
              </p:custDataLst>
            </p:nvPr>
          </p:nvSpPr>
          <p:spPr>
            <a:xfrm>
              <a:off x="12963709" y="3657177"/>
              <a:ext cx="306578" cy="107722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</a:lstStyle>
            <a:p>
              <a:pPr marL="0" marR="0" lvl="0" indent="0" algn="ctr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Greece</a:t>
              </a:r>
            </a:p>
          </p:txBody>
        </p:sp>
        <p:cxnSp>
          <p:nvCxnSpPr>
            <p:cNvPr id="434" name="Straight Connector 433">
              <a:extLst>
                <a:ext uri="{FF2B5EF4-FFF2-40B4-BE49-F238E27FC236}">
                  <a16:creationId xmlns:a16="http://schemas.microsoft.com/office/drawing/2014/main" id="{B4962584-5856-9DF9-DC53-9B0E234ADB84}"/>
                </a:ext>
              </a:extLst>
            </p:cNvPr>
            <p:cNvCxnSpPr>
              <a:cxnSpLocks/>
            </p:cNvCxnSpPr>
            <p:nvPr>
              <p:custDataLst>
                <p:tags r:id="rId11"/>
              </p:custDataLst>
            </p:nvPr>
          </p:nvCxnSpPr>
          <p:spPr>
            <a:xfrm flipV="1">
              <a:off x="12375893" y="3050333"/>
              <a:ext cx="475266" cy="369264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435" name="pole tekstowe 310">
              <a:extLst>
                <a:ext uri="{FF2B5EF4-FFF2-40B4-BE49-F238E27FC236}">
                  <a16:creationId xmlns:a16="http://schemas.microsoft.com/office/drawing/2014/main" id="{F4025E50-8A10-5FAB-5112-35D13362D23D}"/>
                </a:ext>
              </a:extLst>
            </p:cNvPr>
            <p:cNvSpPr txBox="1"/>
            <p:nvPr>
              <p:custDataLst>
                <p:tags r:id="rId12"/>
              </p:custDataLst>
            </p:nvPr>
          </p:nvSpPr>
          <p:spPr>
            <a:xfrm>
              <a:off x="12159721" y="3412998"/>
              <a:ext cx="306578" cy="107722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</a:lstStyle>
            <a:p>
              <a:pPr marL="0" marR="0" lvl="0" indent="0" algn="ctr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Croatia</a:t>
              </a:r>
            </a:p>
          </p:txBody>
        </p:sp>
        <p:sp>
          <p:nvSpPr>
            <p:cNvPr id="436" name="Oval 435">
              <a:extLst>
                <a:ext uri="{FF2B5EF4-FFF2-40B4-BE49-F238E27FC236}">
                  <a16:creationId xmlns:a16="http://schemas.microsoft.com/office/drawing/2014/main" id="{A576A01B-9C41-CF40-B72F-9D3A696DF9DC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13397664" y="2921214"/>
              <a:ext cx="159786" cy="15978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5486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10972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6459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219456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274320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32918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38404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43891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marL="0" marR="0" lvl="0" indent="0" algn="ctr" defTabSz="146292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cap="none" spc="0" normalizeH="0" baseline="0" noProof="0">
                  <a:solidFill>
                    <a:srgbClr val="FFFFFF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  <a:sym typeface="Wingdings" charset="2"/>
              </a:endParaRPr>
            </a:p>
          </p:txBody>
        </p:sp>
        <p:sp>
          <p:nvSpPr>
            <p:cNvPr id="578" name="Rectangle: Rounded Corners 577">
              <a:extLst>
                <a:ext uri="{FF2B5EF4-FFF2-40B4-BE49-F238E27FC236}">
                  <a16:creationId xmlns:a16="http://schemas.microsoft.com/office/drawing/2014/main" id="{FC1B9E91-5BFD-A34B-F52E-BB955854DC37}"/>
                </a:ext>
              </a:extLst>
            </p:cNvPr>
            <p:cNvSpPr/>
            <p:nvPr/>
          </p:nvSpPr>
          <p:spPr>
            <a:xfrm>
              <a:off x="10725586" y="371694"/>
              <a:ext cx="3667747" cy="3564000"/>
            </a:xfrm>
            <a:prstGeom prst="roundRect">
              <a:avLst>
                <a:gd name="adj" fmla="val 3458"/>
              </a:avLst>
            </a:prstGeom>
            <a:solidFill>
              <a:schemeClr val="bg1">
                <a:lumMod val="95000"/>
                <a:alpha val="71000"/>
              </a:schemeClr>
            </a:solidFill>
            <a:ln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38" name="Group 437">
              <a:extLst>
                <a:ext uri="{FF2B5EF4-FFF2-40B4-BE49-F238E27FC236}">
                  <a16:creationId xmlns:a16="http://schemas.microsoft.com/office/drawing/2014/main" id="{215A188B-0FE5-4728-D038-570D7FF2D1AA}"/>
                </a:ext>
              </a:extLst>
            </p:cNvPr>
            <p:cNvGrpSpPr/>
            <p:nvPr>
              <p:custDataLst>
                <p:tags r:id="rId14"/>
              </p:custDataLst>
            </p:nvPr>
          </p:nvGrpSpPr>
          <p:grpSpPr>
            <a:xfrm>
              <a:off x="10842967" y="497146"/>
              <a:ext cx="3353931" cy="3288918"/>
              <a:chOff x="10596885" y="431798"/>
              <a:chExt cx="3353931" cy="3288918"/>
            </a:xfrm>
          </p:grpSpPr>
          <p:grpSp>
            <p:nvGrpSpPr>
              <p:cNvPr id="439" name="Group 438">
                <a:extLst>
                  <a:ext uri="{FF2B5EF4-FFF2-40B4-BE49-F238E27FC236}">
                    <a16:creationId xmlns:a16="http://schemas.microsoft.com/office/drawing/2014/main" id="{0B1E6167-91DC-0883-9A09-53FC0F8E2C2D}"/>
                  </a:ext>
                </a:extLst>
              </p:cNvPr>
              <p:cNvGrpSpPr/>
              <p:nvPr>
                <p:custDataLst>
                  <p:tags r:id="rId15"/>
                </p:custDataLst>
              </p:nvPr>
            </p:nvGrpSpPr>
            <p:grpSpPr>
              <a:xfrm>
                <a:off x="10596885" y="431798"/>
                <a:ext cx="3353931" cy="3288918"/>
                <a:chOff x="6083941" y="1936643"/>
                <a:chExt cx="3198875" cy="3136879"/>
              </a:xfrm>
            </p:grpSpPr>
            <p:sp>
              <p:nvSpPr>
                <p:cNvPr id="442" name="Freeform: Shape 441">
                  <a:extLst>
                    <a:ext uri="{FF2B5EF4-FFF2-40B4-BE49-F238E27FC236}">
                      <a16:creationId xmlns:a16="http://schemas.microsoft.com/office/drawing/2014/main" id="{BFF1DE0D-E940-CFB9-7869-EFC75722EF0D}"/>
                    </a:ext>
                  </a:extLst>
                </p:cNvPr>
                <p:cNvSpPr/>
                <p:nvPr>
                  <p:custDataLst>
                    <p:tags r:id="rId18"/>
                  </p:custDataLst>
                </p:nvPr>
              </p:nvSpPr>
              <p:spPr>
                <a:xfrm>
                  <a:off x="8003810" y="4318813"/>
                  <a:ext cx="188448" cy="207756"/>
                </a:xfrm>
                <a:custGeom>
                  <a:avLst/>
                  <a:gdLst>
                    <a:gd name="connsiteX0" fmla="*/ 106228 w 142422"/>
                    <a:gd name="connsiteY0" fmla="*/ 142458 h 157015"/>
                    <a:gd name="connsiteX1" fmla="*/ 136492 w 142422"/>
                    <a:gd name="connsiteY1" fmla="*/ 90796 h 157015"/>
                    <a:gd name="connsiteX2" fmla="*/ 141522 w 142422"/>
                    <a:gd name="connsiteY2" fmla="*/ 28950 h 157015"/>
                    <a:gd name="connsiteX3" fmla="*/ 105362 w 142422"/>
                    <a:gd name="connsiteY3" fmla="*/ 7758 h 157015"/>
                    <a:gd name="connsiteX4" fmla="*/ 43517 w 142422"/>
                    <a:gd name="connsiteY4" fmla="*/ 625 h 157015"/>
                    <a:gd name="connsiteX5" fmla="*/ 17871 w 142422"/>
                    <a:gd name="connsiteY5" fmla="*/ 6768 h 157015"/>
                    <a:gd name="connsiteX6" fmla="*/ 183 w 142422"/>
                    <a:gd name="connsiteY6" fmla="*/ 19137 h 157015"/>
                    <a:gd name="connsiteX7" fmla="*/ 18737 w 142422"/>
                    <a:gd name="connsiteY7" fmla="*/ 50885 h 157015"/>
                    <a:gd name="connsiteX8" fmla="*/ 51474 w 142422"/>
                    <a:gd name="connsiteY8" fmla="*/ 96980 h 157015"/>
                    <a:gd name="connsiteX9" fmla="*/ 84046 w 142422"/>
                    <a:gd name="connsiteY9" fmla="*/ 139407 h 157015"/>
                    <a:gd name="connsiteX10" fmla="*/ 104661 w 142422"/>
                    <a:gd name="connsiteY10" fmla="*/ 157012 h 157015"/>
                    <a:gd name="connsiteX11" fmla="*/ 106228 w 142422"/>
                    <a:gd name="connsiteY11" fmla="*/ 142458 h 1570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42422" h="157015">
                      <a:moveTo>
                        <a:pt x="106228" y="142458"/>
                      </a:moveTo>
                      <a:cubicBezTo>
                        <a:pt x="104661" y="133222"/>
                        <a:pt x="130101" y="90796"/>
                        <a:pt x="136492" y="90796"/>
                      </a:cubicBezTo>
                      <a:cubicBezTo>
                        <a:pt x="141769" y="90796"/>
                        <a:pt x="143748" y="50060"/>
                        <a:pt x="141522" y="28950"/>
                      </a:cubicBezTo>
                      <a:cubicBezTo>
                        <a:pt x="130678" y="19974"/>
                        <a:pt x="118474" y="12817"/>
                        <a:pt x="105362" y="7758"/>
                      </a:cubicBezTo>
                      <a:cubicBezTo>
                        <a:pt x="105362" y="7758"/>
                        <a:pt x="52340" y="4706"/>
                        <a:pt x="43517" y="625"/>
                      </a:cubicBezTo>
                      <a:cubicBezTo>
                        <a:pt x="34693" y="-3457"/>
                        <a:pt x="25829" y="13942"/>
                        <a:pt x="17871" y="6768"/>
                      </a:cubicBezTo>
                      <a:cubicBezTo>
                        <a:pt x="9914" y="-406"/>
                        <a:pt x="-1589" y="8788"/>
                        <a:pt x="183" y="19137"/>
                      </a:cubicBezTo>
                      <a:cubicBezTo>
                        <a:pt x="1957" y="29486"/>
                        <a:pt x="18737" y="35629"/>
                        <a:pt x="18737" y="50885"/>
                      </a:cubicBezTo>
                      <a:cubicBezTo>
                        <a:pt x="18737" y="66140"/>
                        <a:pt x="52381" y="88817"/>
                        <a:pt x="51474" y="96980"/>
                      </a:cubicBezTo>
                      <a:cubicBezTo>
                        <a:pt x="50856" y="102753"/>
                        <a:pt x="71636" y="118338"/>
                        <a:pt x="84046" y="139407"/>
                      </a:cubicBezTo>
                      <a:cubicBezTo>
                        <a:pt x="91261" y="144874"/>
                        <a:pt x="98147" y="150753"/>
                        <a:pt x="104661" y="157012"/>
                      </a:cubicBezTo>
                      <a:cubicBezTo>
                        <a:pt x="105857" y="152258"/>
                        <a:pt x="106393" y="147360"/>
                        <a:pt x="106228" y="142458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43" name="Freeform: Shape 442">
                  <a:extLst>
                    <a:ext uri="{FF2B5EF4-FFF2-40B4-BE49-F238E27FC236}">
                      <a16:creationId xmlns:a16="http://schemas.microsoft.com/office/drawing/2014/main" id="{B94991A6-46D4-7032-FAA3-55196991FD3E}"/>
                    </a:ext>
                  </a:extLst>
                </p:cNvPr>
                <p:cNvSpPr/>
                <p:nvPr>
                  <p:custDataLst>
                    <p:tags r:id="rId19"/>
                  </p:custDataLst>
                </p:nvPr>
              </p:nvSpPr>
              <p:spPr>
                <a:xfrm>
                  <a:off x="7907439" y="4216646"/>
                  <a:ext cx="283574" cy="286520"/>
                </a:xfrm>
                <a:custGeom>
                  <a:avLst/>
                  <a:gdLst>
                    <a:gd name="connsiteX0" fmla="*/ 124269 w 214315"/>
                    <a:gd name="connsiteY0" fmla="*/ 174030 h 216542"/>
                    <a:gd name="connsiteX1" fmla="*/ 91532 w 214315"/>
                    <a:gd name="connsiteY1" fmla="*/ 127934 h 216542"/>
                    <a:gd name="connsiteX2" fmla="*/ 72978 w 214315"/>
                    <a:gd name="connsiteY2" fmla="*/ 96187 h 216542"/>
                    <a:gd name="connsiteX3" fmla="*/ 90666 w 214315"/>
                    <a:gd name="connsiteY3" fmla="*/ 83817 h 216542"/>
                    <a:gd name="connsiteX4" fmla="*/ 116311 w 214315"/>
                    <a:gd name="connsiteY4" fmla="*/ 77674 h 216542"/>
                    <a:gd name="connsiteX5" fmla="*/ 178157 w 214315"/>
                    <a:gd name="connsiteY5" fmla="*/ 84807 h 216542"/>
                    <a:gd name="connsiteX6" fmla="*/ 214316 w 214315"/>
                    <a:gd name="connsiteY6" fmla="*/ 105999 h 216542"/>
                    <a:gd name="connsiteX7" fmla="*/ 212461 w 214315"/>
                    <a:gd name="connsiteY7" fmla="*/ 96022 h 216542"/>
                    <a:gd name="connsiteX8" fmla="*/ 199721 w 214315"/>
                    <a:gd name="connsiteY8" fmla="*/ 63037 h 216542"/>
                    <a:gd name="connsiteX9" fmla="*/ 189290 w 214315"/>
                    <a:gd name="connsiteY9" fmla="*/ 34959 h 216542"/>
                    <a:gd name="connsiteX10" fmla="*/ 175436 w 214315"/>
                    <a:gd name="connsiteY10" fmla="*/ 39618 h 216542"/>
                    <a:gd name="connsiteX11" fmla="*/ 134205 w 214315"/>
                    <a:gd name="connsiteY11" fmla="*/ 28857 h 216542"/>
                    <a:gd name="connsiteX12" fmla="*/ 100933 w 214315"/>
                    <a:gd name="connsiteY12" fmla="*/ -4 h 216542"/>
                    <a:gd name="connsiteX13" fmla="*/ 76937 w 214315"/>
                    <a:gd name="connsiteY13" fmla="*/ 18591 h 216542"/>
                    <a:gd name="connsiteX14" fmla="*/ 67165 w 214315"/>
                    <a:gd name="connsiteY14" fmla="*/ 41226 h 216542"/>
                    <a:gd name="connsiteX15" fmla="*/ 52982 w 214315"/>
                    <a:gd name="connsiteY15" fmla="*/ 61841 h 216542"/>
                    <a:gd name="connsiteX16" fmla="*/ 28243 w 214315"/>
                    <a:gd name="connsiteY16" fmla="*/ 60811 h 216542"/>
                    <a:gd name="connsiteX17" fmla="*/ 1 w 214315"/>
                    <a:gd name="connsiteY17" fmla="*/ 67119 h 216542"/>
                    <a:gd name="connsiteX18" fmla="*/ 7216 w 214315"/>
                    <a:gd name="connsiteY18" fmla="*/ 86910 h 216542"/>
                    <a:gd name="connsiteX19" fmla="*/ 38015 w 214315"/>
                    <a:gd name="connsiteY19" fmla="*/ 102000 h 216542"/>
                    <a:gd name="connsiteX20" fmla="*/ 73514 w 214315"/>
                    <a:gd name="connsiteY20" fmla="*/ 167144 h 216542"/>
                    <a:gd name="connsiteX21" fmla="*/ 105468 w 214315"/>
                    <a:gd name="connsiteY21" fmla="*/ 187058 h 216542"/>
                    <a:gd name="connsiteX22" fmla="*/ 139895 w 214315"/>
                    <a:gd name="connsiteY22" fmla="*/ 208292 h 216542"/>
                    <a:gd name="connsiteX23" fmla="*/ 156718 w 214315"/>
                    <a:gd name="connsiteY23" fmla="*/ 216538 h 216542"/>
                    <a:gd name="connsiteX24" fmla="*/ 124269 w 214315"/>
                    <a:gd name="connsiteY24" fmla="*/ 174030 h 2165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214312" h="216542">
                      <a:moveTo>
                        <a:pt x="124269" y="174030"/>
                      </a:moveTo>
                      <a:cubicBezTo>
                        <a:pt x="125176" y="165784"/>
                        <a:pt x="91532" y="143272"/>
                        <a:pt x="91532" y="127934"/>
                      </a:cubicBezTo>
                      <a:cubicBezTo>
                        <a:pt x="91532" y="112596"/>
                        <a:pt x="74751" y="106412"/>
                        <a:pt x="72978" y="96187"/>
                      </a:cubicBezTo>
                      <a:cubicBezTo>
                        <a:pt x="71206" y="85961"/>
                        <a:pt x="82709" y="76767"/>
                        <a:pt x="90666" y="83817"/>
                      </a:cubicBezTo>
                      <a:cubicBezTo>
                        <a:pt x="98624" y="90868"/>
                        <a:pt x="107488" y="73592"/>
                        <a:pt x="116311" y="77674"/>
                      </a:cubicBezTo>
                      <a:cubicBezTo>
                        <a:pt x="125135" y="81756"/>
                        <a:pt x="178157" y="84807"/>
                        <a:pt x="178157" y="84807"/>
                      </a:cubicBezTo>
                      <a:cubicBezTo>
                        <a:pt x="191269" y="89866"/>
                        <a:pt x="203473" y="97024"/>
                        <a:pt x="214316" y="105999"/>
                      </a:cubicBezTo>
                      <a:cubicBezTo>
                        <a:pt x="214069" y="102614"/>
                        <a:pt x="213451" y="99266"/>
                        <a:pt x="212461" y="96022"/>
                      </a:cubicBezTo>
                      <a:cubicBezTo>
                        <a:pt x="207720" y="83117"/>
                        <a:pt x="212461" y="68397"/>
                        <a:pt x="199721" y="63037"/>
                      </a:cubicBezTo>
                      <a:cubicBezTo>
                        <a:pt x="193165" y="60192"/>
                        <a:pt x="190444" y="47040"/>
                        <a:pt x="189290" y="34959"/>
                      </a:cubicBezTo>
                      <a:cubicBezTo>
                        <a:pt x="183270" y="37062"/>
                        <a:pt x="178198" y="38794"/>
                        <a:pt x="175436" y="39618"/>
                      </a:cubicBezTo>
                      <a:cubicBezTo>
                        <a:pt x="164840" y="42669"/>
                        <a:pt x="142451" y="41144"/>
                        <a:pt x="134205" y="28857"/>
                      </a:cubicBezTo>
                      <a:cubicBezTo>
                        <a:pt x="128310" y="19745"/>
                        <a:pt x="109921" y="6345"/>
                        <a:pt x="100933" y="-4"/>
                      </a:cubicBezTo>
                      <a:cubicBezTo>
                        <a:pt x="97222" y="3748"/>
                        <a:pt x="83121" y="17766"/>
                        <a:pt x="76937" y="18591"/>
                      </a:cubicBezTo>
                      <a:cubicBezTo>
                        <a:pt x="69845" y="19622"/>
                        <a:pt x="74298" y="41226"/>
                        <a:pt x="67165" y="41226"/>
                      </a:cubicBezTo>
                      <a:cubicBezTo>
                        <a:pt x="60032" y="41226"/>
                        <a:pt x="54796" y="55657"/>
                        <a:pt x="52982" y="61841"/>
                      </a:cubicBezTo>
                      <a:cubicBezTo>
                        <a:pt x="51168" y="68026"/>
                        <a:pt x="35211" y="57718"/>
                        <a:pt x="28243" y="60811"/>
                      </a:cubicBezTo>
                      <a:cubicBezTo>
                        <a:pt x="19008" y="63652"/>
                        <a:pt x="9566" y="65758"/>
                        <a:pt x="1" y="67119"/>
                      </a:cubicBezTo>
                      <a:cubicBezTo>
                        <a:pt x="1237" y="76478"/>
                        <a:pt x="742" y="86910"/>
                        <a:pt x="7216" y="86910"/>
                      </a:cubicBezTo>
                      <a:cubicBezTo>
                        <a:pt x="17853" y="86910"/>
                        <a:pt x="37438" y="85549"/>
                        <a:pt x="38015" y="102000"/>
                      </a:cubicBezTo>
                      <a:cubicBezTo>
                        <a:pt x="38592" y="118451"/>
                        <a:pt x="64073" y="154816"/>
                        <a:pt x="73514" y="167144"/>
                      </a:cubicBezTo>
                      <a:cubicBezTo>
                        <a:pt x="82956" y="179472"/>
                        <a:pt x="104313" y="176792"/>
                        <a:pt x="105468" y="187058"/>
                      </a:cubicBezTo>
                      <a:cubicBezTo>
                        <a:pt x="106622" y="197325"/>
                        <a:pt x="121960" y="206931"/>
                        <a:pt x="139895" y="208292"/>
                      </a:cubicBezTo>
                      <a:cubicBezTo>
                        <a:pt x="146121" y="209579"/>
                        <a:pt x="151893" y="212415"/>
                        <a:pt x="156718" y="216538"/>
                      </a:cubicBezTo>
                      <a:cubicBezTo>
                        <a:pt x="144431" y="195387"/>
                        <a:pt x="123651" y="179802"/>
                        <a:pt x="124269" y="174030"/>
                      </a:cubicBezTo>
                      <a:close/>
                    </a:path>
                  </a:pathLst>
                </a:custGeom>
                <a:solidFill>
                  <a:srgbClr val="5F249F"/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44" name="Freeform: Shape 443">
                  <a:extLst>
                    <a:ext uri="{FF2B5EF4-FFF2-40B4-BE49-F238E27FC236}">
                      <a16:creationId xmlns:a16="http://schemas.microsoft.com/office/drawing/2014/main" id="{70CAAD38-0E6B-60C3-E538-5E6C8373ED5B}"/>
                    </a:ext>
                  </a:extLst>
                </p:cNvPr>
                <p:cNvSpPr/>
                <p:nvPr>
                  <p:custDataLst>
                    <p:tags r:id="rId20"/>
                  </p:custDataLst>
                </p:nvPr>
              </p:nvSpPr>
              <p:spPr>
                <a:xfrm>
                  <a:off x="8182451" y="4516097"/>
                  <a:ext cx="96288" cy="225091"/>
                </a:xfrm>
                <a:custGeom>
                  <a:avLst/>
                  <a:gdLst>
                    <a:gd name="connsiteX0" fmla="*/ 47910 w 72771"/>
                    <a:gd name="connsiteY0" fmla="*/ 145086 h 170116"/>
                    <a:gd name="connsiteX1" fmla="*/ 57682 w 72771"/>
                    <a:gd name="connsiteY1" fmla="*/ 127604 h 170116"/>
                    <a:gd name="connsiteX2" fmla="*/ 71906 w 72771"/>
                    <a:gd name="connsiteY2" fmla="*/ 100887 h 170116"/>
                    <a:gd name="connsiteX3" fmla="*/ 72772 w 72771"/>
                    <a:gd name="connsiteY3" fmla="*/ 99608 h 170116"/>
                    <a:gd name="connsiteX4" fmla="*/ 49600 w 72771"/>
                    <a:gd name="connsiteY4" fmla="*/ 70747 h 170116"/>
                    <a:gd name="connsiteX5" fmla="*/ 53930 w 72771"/>
                    <a:gd name="connsiteY5" fmla="*/ 22590 h 170116"/>
                    <a:gd name="connsiteX6" fmla="*/ 19214 w 72771"/>
                    <a:gd name="connsiteY6" fmla="*/ -4 h 170116"/>
                    <a:gd name="connsiteX7" fmla="*/ 1 w 72771"/>
                    <a:gd name="connsiteY7" fmla="*/ 33228 h 170116"/>
                    <a:gd name="connsiteX8" fmla="*/ 10885 w 72771"/>
                    <a:gd name="connsiteY8" fmla="*/ 62089 h 170116"/>
                    <a:gd name="connsiteX9" fmla="*/ 9690 w 72771"/>
                    <a:gd name="connsiteY9" fmla="*/ 130655 h 170116"/>
                    <a:gd name="connsiteX10" fmla="*/ 36407 w 72771"/>
                    <a:gd name="connsiteY10" fmla="*/ 170113 h 170116"/>
                    <a:gd name="connsiteX11" fmla="*/ 47910 w 72771"/>
                    <a:gd name="connsiteY11" fmla="*/ 145086 h 1701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72771" h="170116">
                      <a:moveTo>
                        <a:pt x="47910" y="145086"/>
                      </a:moveTo>
                      <a:cubicBezTo>
                        <a:pt x="56774" y="143066"/>
                        <a:pt x="51456" y="134819"/>
                        <a:pt x="57682" y="127604"/>
                      </a:cubicBezTo>
                      <a:cubicBezTo>
                        <a:pt x="64031" y="119663"/>
                        <a:pt x="68855" y="110601"/>
                        <a:pt x="71906" y="100887"/>
                      </a:cubicBezTo>
                      <a:cubicBezTo>
                        <a:pt x="72030" y="100371"/>
                        <a:pt x="72318" y="99914"/>
                        <a:pt x="72772" y="99608"/>
                      </a:cubicBezTo>
                      <a:cubicBezTo>
                        <a:pt x="60733" y="89095"/>
                        <a:pt x="52157" y="81550"/>
                        <a:pt x="49600" y="70747"/>
                      </a:cubicBezTo>
                      <a:cubicBezTo>
                        <a:pt x="47044" y="59945"/>
                        <a:pt x="49600" y="38258"/>
                        <a:pt x="53930" y="22590"/>
                      </a:cubicBezTo>
                      <a:cubicBezTo>
                        <a:pt x="47044" y="16941"/>
                        <a:pt x="25893" y="-4"/>
                        <a:pt x="19214" y="-4"/>
                      </a:cubicBezTo>
                      <a:cubicBezTo>
                        <a:pt x="12534" y="-4"/>
                        <a:pt x="2721" y="16941"/>
                        <a:pt x="1" y="33228"/>
                      </a:cubicBezTo>
                      <a:cubicBezTo>
                        <a:pt x="15544" y="42793"/>
                        <a:pt x="21646" y="49720"/>
                        <a:pt x="10885" y="62089"/>
                      </a:cubicBezTo>
                      <a:cubicBezTo>
                        <a:pt x="124" y="74458"/>
                        <a:pt x="-2721" y="119028"/>
                        <a:pt x="9690" y="130655"/>
                      </a:cubicBezTo>
                      <a:cubicBezTo>
                        <a:pt x="22100" y="142282"/>
                        <a:pt x="24945" y="163639"/>
                        <a:pt x="36407" y="170113"/>
                      </a:cubicBezTo>
                      <a:cubicBezTo>
                        <a:pt x="39623" y="159187"/>
                        <a:pt x="42055" y="146611"/>
                        <a:pt x="47910" y="145086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45" name="Freeform: Shape 444">
                  <a:extLst>
                    <a:ext uri="{FF2B5EF4-FFF2-40B4-BE49-F238E27FC236}">
                      <a16:creationId xmlns:a16="http://schemas.microsoft.com/office/drawing/2014/main" id="{5C38E19F-B7A6-637B-7045-0E65072A780A}"/>
                    </a:ext>
                  </a:extLst>
                </p:cNvPr>
                <p:cNvSpPr/>
                <p:nvPr>
                  <p:custDataLst>
                    <p:tags r:id="rId21"/>
                  </p:custDataLst>
                </p:nvPr>
              </p:nvSpPr>
              <p:spPr>
                <a:xfrm>
                  <a:off x="7693418" y="4019593"/>
                  <a:ext cx="389628" cy="205562"/>
                </a:xfrm>
                <a:custGeom>
                  <a:avLst/>
                  <a:gdLst>
                    <a:gd name="connsiteX0" fmla="*/ 248579 w 294467"/>
                    <a:gd name="connsiteY0" fmla="*/ 13808 h 155356"/>
                    <a:gd name="connsiteX1" fmla="*/ 211471 w 294467"/>
                    <a:gd name="connsiteY1" fmla="*/ -4 h 155356"/>
                    <a:gd name="connsiteX2" fmla="*/ 204833 w 294467"/>
                    <a:gd name="connsiteY2" fmla="*/ 21436 h 155356"/>
                    <a:gd name="connsiteX3" fmla="*/ 169952 w 294467"/>
                    <a:gd name="connsiteY3" fmla="*/ 23909 h 155356"/>
                    <a:gd name="connsiteX4" fmla="*/ 148265 w 294467"/>
                    <a:gd name="connsiteY4" fmla="*/ 41020 h 155356"/>
                    <a:gd name="connsiteX5" fmla="*/ 132268 w 294467"/>
                    <a:gd name="connsiteY5" fmla="*/ 69881 h 155356"/>
                    <a:gd name="connsiteX6" fmla="*/ 116270 w 294467"/>
                    <a:gd name="connsiteY6" fmla="*/ 83281 h 155356"/>
                    <a:gd name="connsiteX7" fmla="*/ 75411 w 294467"/>
                    <a:gd name="connsiteY7" fmla="*/ 92517 h 155356"/>
                    <a:gd name="connsiteX8" fmla="*/ 52322 w 294467"/>
                    <a:gd name="connsiteY8" fmla="*/ 94578 h 155356"/>
                    <a:gd name="connsiteX9" fmla="*/ 28326 w 294467"/>
                    <a:gd name="connsiteY9" fmla="*/ 98702 h 155356"/>
                    <a:gd name="connsiteX10" fmla="*/ 5237 w 294467"/>
                    <a:gd name="connsiteY10" fmla="*/ 91486 h 155356"/>
                    <a:gd name="connsiteX11" fmla="*/ 784 w 294467"/>
                    <a:gd name="connsiteY11" fmla="*/ 116224 h 155356"/>
                    <a:gd name="connsiteX12" fmla="*/ 21399 w 294467"/>
                    <a:gd name="connsiteY12" fmla="*/ 128594 h 155356"/>
                    <a:gd name="connsiteX13" fmla="*/ 46137 w 294467"/>
                    <a:gd name="connsiteY13" fmla="*/ 134778 h 155356"/>
                    <a:gd name="connsiteX14" fmla="*/ 70875 w 294467"/>
                    <a:gd name="connsiteY14" fmla="*/ 125501 h 155356"/>
                    <a:gd name="connsiteX15" fmla="*/ 102870 w 294467"/>
                    <a:gd name="connsiteY15" fmla="*/ 120348 h 155356"/>
                    <a:gd name="connsiteX16" fmla="*/ 110869 w 294467"/>
                    <a:gd name="connsiteY16" fmla="*/ 139932 h 155356"/>
                    <a:gd name="connsiteX17" fmla="*/ 147275 w 294467"/>
                    <a:gd name="connsiteY17" fmla="*/ 146075 h 155356"/>
                    <a:gd name="connsiteX18" fmla="*/ 191722 w 294467"/>
                    <a:gd name="connsiteY18" fmla="*/ 155352 h 155356"/>
                    <a:gd name="connsiteX19" fmla="*/ 226314 w 294467"/>
                    <a:gd name="connsiteY19" fmla="*/ 140921 h 155356"/>
                    <a:gd name="connsiteX20" fmla="*/ 253897 w 294467"/>
                    <a:gd name="connsiteY20" fmla="*/ 130655 h 155356"/>
                    <a:gd name="connsiteX21" fmla="*/ 253897 w 294467"/>
                    <a:gd name="connsiteY21" fmla="*/ 130655 h 155356"/>
                    <a:gd name="connsiteX22" fmla="*/ 260412 w 294467"/>
                    <a:gd name="connsiteY22" fmla="*/ 119688 h 155356"/>
                    <a:gd name="connsiteX23" fmla="*/ 266885 w 294467"/>
                    <a:gd name="connsiteY23" fmla="*/ 99320 h 155356"/>
                    <a:gd name="connsiteX24" fmla="*/ 271544 w 294467"/>
                    <a:gd name="connsiteY24" fmla="*/ 81055 h 155356"/>
                    <a:gd name="connsiteX25" fmla="*/ 289108 w 294467"/>
                    <a:gd name="connsiteY25" fmla="*/ 69304 h 155356"/>
                    <a:gd name="connsiteX26" fmla="*/ 294468 w 294467"/>
                    <a:gd name="connsiteY26" fmla="*/ 56935 h 155356"/>
                    <a:gd name="connsiteX27" fmla="*/ 278760 w 294467"/>
                    <a:gd name="connsiteY27" fmla="*/ 18343 h 155356"/>
                    <a:gd name="connsiteX28" fmla="*/ 248579 w 294467"/>
                    <a:gd name="connsiteY28" fmla="*/ 13808 h 1553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294467" h="155356">
                      <a:moveTo>
                        <a:pt x="248579" y="13808"/>
                      </a:moveTo>
                      <a:cubicBezTo>
                        <a:pt x="237983" y="-4"/>
                        <a:pt x="211471" y="-4"/>
                        <a:pt x="211471" y="-4"/>
                      </a:cubicBezTo>
                      <a:cubicBezTo>
                        <a:pt x="210069" y="7364"/>
                        <a:pt x="207843" y="14554"/>
                        <a:pt x="204833" y="21436"/>
                      </a:cubicBezTo>
                      <a:cubicBezTo>
                        <a:pt x="201494" y="27868"/>
                        <a:pt x="182280" y="27785"/>
                        <a:pt x="169952" y="23909"/>
                      </a:cubicBezTo>
                      <a:cubicBezTo>
                        <a:pt x="166489" y="29187"/>
                        <a:pt x="150492" y="33351"/>
                        <a:pt x="148265" y="41020"/>
                      </a:cubicBezTo>
                      <a:cubicBezTo>
                        <a:pt x="145585" y="50256"/>
                        <a:pt x="126042" y="45143"/>
                        <a:pt x="132268" y="69881"/>
                      </a:cubicBezTo>
                      <a:cubicBezTo>
                        <a:pt x="138493" y="94620"/>
                        <a:pt x="122496" y="86374"/>
                        <a:pt x="116270" y="83281"/>
                      </a:cubicBezTo>
                      <a:cubicBezTo>
                        <a:pt x="110044" y="80189"/>
                        <a:pt x="82503" y="84312"/>
                        <a:pt x="75411" y="92517"/>
                      </a:cubicBezTo>
                      <a:cubicBezTo>
                        <a:pt x="68319" y="100722"/>
                        <a:pt x="58547" y="98702"/>
                        <a:pt x="52322" y="94578"/>
                      </a:cubicBezTo>
                      <a:cubicBezTo>
                        <a:pt x="46096" y="90455"/>
                        <a:pt x="33644" y="88435"/>
                        <a:pt x="28326" y="98702"/>
                      </a:cubicBezTo>
                      <a:cubicBezTo>
                        <a:pt x="23007" y="108968"/>
                        <a:pt x="13235" y="90455"/>
                        <a:pt x="5237" y="91486"/>
                      </a:cubicBezTo>
                      <a:cubicBezTo>
                        <a:pt x="-2762" y="92517"/>
                        <a:pt x="784" y="112101"/>
                        <a:pt x="784" y="116224"/>
                      </a:cubicBezTo>
                      <a:cubicBezTo>
                        <a:pt x="784" y="120348"/>
                        <a:pt x="13153" y="132717"/>
                        <a:pt x="21399" y="128594"/>
                      </a:cubicBezTo>
                      <a:cubicBezTo>
                        <a:pt x="29645" y="124471"/>
                        <a:pt x="39128" y="129624"/>
                        <a:pt x="46137" y="134778"/>
                      </a:cubicBezTo>
                      <a:cubicBezTo>
                        <a:pt x="53147" y="139932"/>
                        <a:pt x="66752" y="130655"/>
                        <a:pt x="70875" y="125501"/>
                      </a:cubicBezTo>
                      <a:cubicBezTo>
                        <a:pt x="74998" y="120348"/>
                        <a:pt x="100231" y="120348"/>
                        <a:pt x="102870" y="120348"/>
                      </a:cubicBezTo>
                      <a:cubicBezTo>
                        <a:pt x="105509" y="120348"/>
                        <a:pt x="106416" y="136840"/>
                        <a:pt x="110869" y="139932"/>
                      </a:cubicBezTo>
                      <a:cubicBezTo>
                        <a:pt x="115322" y="143024"/>
                        <a:pt x="132185" y="145086"/>
                        <a:pt x="147275" y="146075"/>
                      </a:cubicBezTo>
                      <a:cubicBezTo>
                        <a:pt x="162366" y="147065"/>
                        <a:pt x="184383" y="155352"/>
                        <a:pt x="191722" y="155352"/>
                      </a:cubicBezTo>
                      <a:cubicBezTo>
                        <a:pt x="199061" y="155352"/>
                        <a:pt x="210358" y="140921"/>
                        <a:pt x="226314" y="140921"/>
                      </a:cubicBezTo>
                      <a:cubicBezTo>
                        <a:pt x="242271" y="140921"/>
                        <a:pt x="251053" y="129624"/>
                        <a:pt x="253897" y="130655"/>
                      </a:cubicBezTo>
                      <a:lnTo>
                        <a:pt x="253897" y="130655"/>
                      </a:lnTo>
                      <a:cubicBezTo>
                        <a:pt x="255052" y="124883"/>
                        <a:pt x="256948" y="120265"/>
                        <a:pt x="260412" y="119688"/>
                      </a:cubicBezTo>
                      <a:cubicBezTo>
                        <a:pt x="266885" y="118657"/>
                        <a:pt x="262226" y="105752"/>
                        <a:pt x="266885" y="99320"/>
                      </a:cubicBezTo>
                      <a:cubicBezTo>
                        <a:pt x="271544" y="92888"/>
                        <a:pt x="263174" y="80024"/>
                        <a:pt x="271544" y="81055"/>
                      </a:cubicBezTo>
                      <a:cubicBezTo>
                        <a:pt x="279914" y="82086"/>
                        <a:pt x="289108" y="83240"/>
                        <a:pt x="289108" y="69304"/>
                      </a:cubicBezTo>
                      <a:cubicBezTo>
                        <a:pt x="289273" y="64649"/>
                        <a:pt x="291170" y="60229"/>
                        <a:pt x="294468" y="56935"/>
                      </a:cubicBezTo>
                      <a:cubicBezTo>
                        <a:pt x="287789" y="44714"/>
                        <a:pt x="282512" y="31764"/>
                        <a:pt x="278760" y="18343"/>
                      </a:cubicBezTo>
                      <a:cubicBezTo>
                        <a:pt x="278760" y="18343"/>
                        <a:pt x="259175" y="27579"/>
                        <a:pt x="248579" y="13808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46" name="Freeform: Shape 445">
                  <a:extLst>
                    <a:ext uri="{FF2B5EF4-FFF2-40B4-BE49-F238E27FC236}">
                      <a16:creationId xmlns:a16="http://schemas.microsoft.com/office/drawing/2014/main" id="{E86F2380-7B0F-3013-DEA0-6778A8F0FB1F}"/>
                    </a:ext>
                  </a:extLst>
                </p:cNvPr>
                <p:cNvSpPr/>
                <p:nvPr>
                  <p:custDataLst>
                    <p:tags r:id="rId22"/>
                  </p:custDataLst>
                </p:nvPr>
              </p:nvSpPr>
              <p:spPr>
                <a:xfrm>
                  <a:off x="8029585" y="4047898"/>
                  <a:ext cx="342108" cy="223034"/>
                </a:xfrm>
                <a:custGeom>
                  <a:avLst/>
                  <a:gdLst>
                    <a:gd name="connsiteX0" fmla="*/ 251383 w 258553"/>
                    <a:gd name="connsiteY0" fmla="*/ 30927 h 168562"/>
                    <a:gd name="connsiteX1" fmla="*/ 241982 w 258553"/>
                    <a:gd name="connsiteY1" fmla="*/ 24289 h 168562"/>
                    <a:gd name="connsiteX2" fmla="*/ 216790 w 258553"/>
                    <a:gd name="connsiteY2" fmla="*/ 13816 h 168562"/>
                    <a:gd name="connsiteX3" fmla="*/ 179683 w 258553"/>
                    <a:gd name="connsiteY3" fmla="*/ 45 h 168562"/>
                    <a:gd name="connsiteX4" fmla="*/ 142575 w 258553"/>
                    <a:gd name="connsiteY4" fmla="*/ 27628 h 168562"/>
                    <a:gd name="connsiteX5" fmla="*/ 100231 w 258553"/>
                    <a:gd name="connsiteY5" fmla="*/ 42925 h 168562"/>
                    <a:gd name="connsiteX6" fmla="*/ 46013 w 258553"/>
                    <a:gd name="connsiteY6" fmla="*/ 42925 h 168562"/>
                    <a:gd name="connsiteX7" fmla="*/ 40571 w 258553"/>
                    <a:gd name="connsiteY7" fmla="*/ 35586 h 168562"/>
                    <a:gd name="connsiteX8" fmla="*/ 35211 w 258553"/>
                    <a:gd name="connsiteY8" fmla="*/ 47955 h 168562"/>
                    <a:gd name="connsiteX9" fmla="*/ 17647 w 258553"/>
                    <a:gd name="connsiteY9" fmla="*/ 59705 h 168562"/>
                    <a:gd name="connsiteX10" fmla="*/ 12988 w 258553"/>
                    <a:gd name="connsiteY10" fmla="*/ 77971 h 168562"/>
                    <a:gd name="connsiteX11" fmla="*/ 6515 w 258553"/>
                    <a:gd name="connsiteY11" fmla="*/ 98339 h 168562"/>
                    <a:gd name="connsiteX12" fmla="*/ 1 w 258553"/>
                    <a:gd name="connsiteY12" fmla="*/ 109306 h 168562"/>
                    <a:gd name="connsiteX13" fmla="*/ 9648 w 258553"/>
                    <a:gd name="connsiteY13" fmla="*/ 126623 h 168562"/>
                    <a:gd name="connsiteX14" fmla="*/ 8741 w 258553"/>
                    <a:gd name="connsiteY14" fmla="*/ 127571 h 168562"/>
                    <a:gd name="connsiteX15" fmla="*/ 42014 w 258553"/>
                    <a:gd name="connsiteY15" fmla="*/ 156432 h 168562"/>
                    <a:gd name="connsiteX16" fmla="*/ 83245 w 258553"/>
                    <a:gd name="connsiteY16" fmla="*/ 167193 h 168562"/>
                    <a:gd name="connsiteX17" fmla="*/ 138823 w 258553"/>
                    <a:gd name="connsiteY17" fmla="*/ 147279 h 168562"/>
                    <a:gd name="connsiteX18" fmla="*/ 156016 w 258553"/>
                    <a:gd name="connsiteY18" fmla="*/ 153381 h 168562"/>
                    <a:gd name="connsiteX19" fmla="*/ 167314 w 258553"/>
                    <a:gd name="connsiteY19" fmla="*/ 155525 h 168562"/>
                    <a:gd name="connsiteX20" fmla="*/ 191062 w 258553"/>
                    <a:gd name="connsiteY20" fmla="*/ 136023 h 168562"/>
                    <a:gd name="connsiteX21" fmla="*/ 227510 w 258553"/>
                    <a:gd name="connsiteY21" fmla="*/ 65931 h 168562"/>
                    <a:gd name="connsiteX22" fmla="*/ 254145 w 258553"/>
                    <a:gd name="connsiteY22" fmla="*/ 46388 h 168562"/>
                    <a:gd name="connsiteX23" fmla="*/ 251383 w 258553"/>
                    <a:gd name="connsiteY23" fmla="*/ 30927 h 1685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258553" h="168562">
                      <a:moveTo>
                        <a:pt x="251383" y="30927"/>
                      </a:moveTo>
                      <a:cubicBezTo>
                        <a:pt x="247837" y="29389"/>
                        <a:pt x="244621" y="27129"/>
                        <a:pt x="241982" y="24289"/>
                      </a:cubicBezTo>
                      <a:cubicBezTo>
                        <a:pt x="230809" y="21444"/>
                        <a:pt x="220089" y="17651"/>
                        <a:pt x="216790" y="13816"/>
                      </a:cubicBezTo>
                      <a:cubicBezTo>
                        <a:pt x="210193" y="6188"/>
                        <a:pt x="183806" y="1447"/>
                        <a:pt x="179683" y="45"/>
                      </a:cubicBezTo>
                      <a:cubicBezTo>
                        <a:pt x="175560" y="-1357"/>
                        <a:pt x="150574" y="27628"/>
                        <a:pt x="142575" y="27628"/>
                      </a:cubicBezTo>
                      <a:cubicBezTo>
                        <a:pt x="134577" y="27628"/>
                        <a:pt x="100231" y="32205"/>
                        <a:pt x="100231" y="42925"/>
                      </a:cubicBezTo>
                      <a:cubicBezTo>
                        <a:pt x="100231" y="53645"/>
                        <a:pt x="57929" y="55294"/>
                        <a:pt x="46013" y="42925"/>
                      </a:cubicBezTo>
                      <a:cubicBezTo>
                        <a:pt x="43952" y="40678"/>
                        <a:pt x="42138" y="38220"/>
                        <a:pt x="40571" y="35586"/>
                      </a:cubicBezTo>
                      <a:cubicBezTo>
                        <a:pt x="37272" y="38880"/>
                        <a:pt x="35376" y="43300"/>
                        <a:pt x="35211" y="47955"/>
                      </a:cubicBezTo>
                      <a:cubicBezTo>
                        <a:pt x="35211" y="61891"/>
                        <a:pt x="25934" y="60777"/>
                        <a:pt x="17647" y="59705"/>
                      </a:cubicBezTo>
                      <a:cubicBezTo>
                        <a:pt x="9360" y="58634"/>
                        <a:pt x="17647" y="71539"/>
                        <a:pt x="12988" y="77971"/>
                      </a:cubicBezTo>
                      <a:cubicBezTo>
                        <a:pt x="8329" y="84403"/>
                        <a:pt x="12988" y="97308"/>
                        <a:pt x="6515" y="98339"/>
                      </a:cubicBezTo>
                      <a:cubicBezTo>
                        <a:pt x="3052" y="98916"/>
                        <a:pt x="1155" y="103533"/>
                        <a:pt x="1" y="109306"/>
                      </a:cubicBezTo>
                      <a:cubicBezTo>
                        <a:pt x="2804" y="110831"/>
                        <a:pt x="9648" y="126623"/>
                        <a:pt x="9648" y="126623"/>
                      </a:cubicBezTo>
                      <a:lnTo>
                        <a:pt x="8741" y="127571"/>
                      </a:lnTo>
                      <a:cubicBezTo>
                        <a:pt x="17729" y="133797"/>
                        <a:pt x="36118" y="147197"/>
                        <a:pt x="42014" y="156432"/>
                      </a:cubicBezTo>
                      <a:cubicBezTo>
                        <a:pt x="49972" y="168801"/>
                        <a:pt x="72442" y="170245"/>
                        <a:pt x="83245" y="167193"/>
                      </a:cubicBezTo>
                      <a:cubicBezTo>
                        <a:pt x="94047" y="164142"/>
                        <a:pt x="138823" y="147279"/>
                        <a:pt x="138823" y="147279"/>
                      </a:cubicBezTo>
                      <a:cubicBezTo>
                        <a:pt x="144390" y="149724"/>
                        <a:pt x="150162" y="151761"/>
                        <a:pt x="156016" y="153381"/>
                      </a:cubicBezTo>
                      <a:cubicBezTo>
                        <a:pt x="157583" y="153752"/>
                        <a:pt x="161789" y="154535"/>
                        <a:pt x="167314" y="155525"/>
                      </a:cubicBezTo>
                      <a:cubicBezTo>
                        <a:pt x="170530" y="151650"/>
                        <a:pt x="180466" y="148351"/>
                        <a:pt x="191062" y="136023"/>
                      </a:cubicBezTo>
                      <a:cubicBezTo>
                        <a:pt x="203431" y="121592"/>
                        <a:pt x="222150" y="70054"/>
                        <a:pt x="227510" y="65931"/>
                      </a:cubicBezTo>
                      <a:cubicBezTo>
                        <a:pt x="232870" y="61808"/>
                        <a:pt x="247053" y="52573"/>
                        <a:pt x="254145" y="46388"/>
                      </a:cubicBezTo>
                      <a:cubicBezTo>
                        <a:pt x="261237" y="40203"/>
                        <a:pt x="259381" y="34019"/>
                        <a:pt x="251383" y="30927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47" name="Freeform: Shape 446">
                  <a:extLst>
                    <a:ext uri="{FF2B5EF4-FFF2-40B4-BE49-F238E27FC236}">
                      <a16:creationId xmlns:a16="http://schemas.microsoft.com/office/drawing/2014/main" id="{85A3B042-F08A-A745-F728-8B2A60346B2C}"/>
                    </a:ext>
                  </a:extLst>
                </p:cNvPr>
                <p:cNvSpPr/>
                <p:nvPr>
                  <p:custDataLst>
                    <p:tags r:id="rId23"/>
                  </p:custDataLst>
                </p:nvPr>
              </p:nvSpPr>
              <p:spPr>
                <a:xfrm>
                  <a:off x="7835332" y="3859040"/>
                  <a:ext cx="327042" cy="197270"/>
                </a:xfrm>
                <a:custGeom>
                  <a:avLst/>
                  <a:gdLst>
                    <a:gd name="connsiteX0" fmla="*/ 233974 w 247166"/>
                    <a:gd name="connsiteY0" fmla="*/ 67696 h 149089"/>
                    <a:gd name="connsiteX1" fmla="*/ 207462 w 247166"/>
                    <a:gd name="connsiteY1" fmla="*/ 60027 h 149089"/>
                    <a:gd name="connsiteX2" fmla="*/ 196908 w 247166"/>
                    <a:gd name="connsiteY2" fmla="*/ 43164 h 149089"/>
                    <a:gd name="connsiteX3" fmla="*/ 174437 w 247166"/>
                    <a:gd name="connsiteY3" fmla="*/ 47741 h 149089"/>
                    <a:gd name="connsiteX4" fmla="*/ 153203 w 247166"/>
                    <a:gd name="connsiteY4" fmla="*/ 37021 h 149089"/>
                    <a:gd name="connsiteX5" fmla="*/ 126775 w 247166"/>
                    <a:gd name="connsiteY5" fmla="*/ 15540 h 149089"/>
                    <a:gd name="connsiteX6" fmla="*/ 103603 w 247166"/>
                    <a:gd name="connsiteY6" fmla="*/ -4 h 149089"/>
                    <a:gd name="connsiteX7" fmla="*/ 101500 w 247166"/>
                    <a:gd name="connsiteY7" fmla="*/ 4902 h 149089"/>
                    <a:gd name="connsiteX8" fmla="*/ 80184 w 247166"/>
                    <a:gd name="connsiteY8" fmla="*/ 5974 h 149089"/>
                    <a:gd name="connsiteX9" fmla="*/ 47200 w 247166"/>
                    <a:gd name="connsiteY9" fmla="*/ 23456 h 149089"/>
                    <a:gd name="connsiteX10" fmla="*/ 5433 w 247166"/>
                    <a:gd name="connsiteY10" fmla="*/ 41968 h 149089"/>
                    <a:gd name="connsiteX11" fmla="*/ 8072 w 247166"/>
                    <a:gd name="connsiteY11" fmla="*/ 66707 h 149089"/>
                    <a:gd name="connsiteX12" fmla="*/ 21431 w 247166"/>
                    <a:gd name="connsiteY12" fmla="*/ 105793 h 149089"/>
                    <a:gd name="connsiteX13" fmla="*/ 63197 w 247166"/>
                    <a:gd name="connsiteY13" fmla="*/ 141829 h 149089"/>
                    <a:gd name="connsiteX14" fmla="*/ 62661 w 247166"/>
                    <a:gd name="connsiteY14" fmla="*/ 145292 h 149089"/>
                    <a:gd name="connsiteX15" fmla="*/ 97542 w 247166"/>
                    <a:gd name="connsiteY15" fmla="*/ 142818 h 149089"/>
                    <a:gd name="connsiteX16" fmla="*/ 104180 w 247166"/>
                    <a:gd name="connsiteY16" fmla="*/ 121378 h 149089"/>
                    <a:gd name="connsiteX17" fmla="*/ 141287 w 247166"/>
                    <a:gd name="connsiteY17" fmla="*/ 135190 h 149089"/>
                    <a:gd name="connsiteX18" fmla="*/ 171757 w 247166"/>
                    <a:gd name="connsiteY18" fmla="*/ 139767 h 149089"/>
                    <a:gd name="connsiteX19" fmla="*/ 174602 w 247166"/>
                    <a:gd name="connsiteY19" fmla="*/ 149085 h 149089"/>
                    <a:gd name="connsiteX20" fmla="*/ 185734 w 247166"/>
                    <a:gd name="connsiteY20" fmla="*/ 134077 h 149089"/>
                    <a:gd name="connsiteX21" fmla="*/ 223955 w 247166"/>
                    <a:gd name="connsiteY21" fmla="*/ 111978 h 149089"/>
                    <a:gd name="connsiteX22" fmla="*/ 247167 w 247166"/>
                    <a:gd name="connsiteY22" fmla="*/ 89837 h 149089"/>
                    <a:gd name="connsiteX23" fmla="*/ 233974 w 247166"/>
                    <a:gd name="connsiteY23" fmla="*/ 67696 h 1490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247166" h="149089">
                      <a:moveTo>
                        <a:pt x="233974" y="67696"/>
                      </a:moveTo>
                      <a:cubicBezTo>
                        <a:pt x="227294" y="63120"/>
                        <a:pt x="208823" y="66129"/>
                        <a:pt x="207462" y="60027"/>
                      </a:cubicBezTo>
                      <a:cubicBezTo>
                        <a:pt x="206102" y="53925"/>
                        <a:pt x="204865" y="43164"/>
                        <a:pt x="196908" y="43164"/>
                      </a:cubicBezTo>
                      <a:cubicBezTo>
                        <a:pt x="188950" y="43164"/>
                        <a:pt x="178395" y="37062"/>
                        <a:pt x="174437" y="47741"/>
                      </a:cubicBezTo>
                      <a:cubicBezTo>
                        <a:pt x="170479" y="58419"/>
                        <a:pt x="154564" y="44690"/>
                        <a:pt x="153203" y="37021"/>
                      </a:cubicBezTo>
                      <a:cubicBezTo>
                        <a:pt x="151842" y="29352"/>
                        <a:pt x="145287" y="23250"/>
                        <a:pt x="126775" y="15540"/>
                      </a:cubicBezTo>
                      <a:cubicBezTo>
                        <a:pt x="118322" y="11512"/>
                        <a:pt x="110529" y="6275"/>
                        <a:pt x="103603" y="-4"/>
                      </a:cubicBezTo>
                      <a:cubicBezTo>
                        <a:pt x="103067" y="1699"/>
                        <a:pt x="102366" y="3344"/>
                        <a:pt x="101500" y="4902"/>
                      </a:cubicBezTo>
                      <a:cubicBezTo>
                        <a:pt x="97954" y="11128"/>
                        <a:pt x="85503" y="-210"/>
                        <a:pt x="80184" y="5974"/>
                      </a:cubicBezTo>
                      <a:cubicBezTo>
                        <a:pt x="74865" y="12159"/>
                        <a:pt x="57095" y="13148"/>
                        <a:pt x="47200" y="23456"/>
                      </a:cubicBezTo>
                      <a:cubicBezTo>
                        <a:pt x="37304" y="33764"/>
                        <a:pt x="16978" y="38876"/>
                        <a:pt x="5433" y="41968"/>
                      </a:cubicBezTo>
                      <a:cubicBezTo>
                        <a:pt x="-6112" y="45061"/>
                        <a:pt x="3660" y="57389"/>
                        <a:pt x="8072" y="66707"/>
                      </a:cubicBezTo>
                      <a:cubicBezTo>
                        <a:pt x="12483" y="76025"/>
                        <a:pt x="12566" y="98619"/>
                        <a:pt x="21431" y="105793"/>
                      </a:cubicBezTo>
                      <a:cubicBezTo>
                        <a:pt x="30295" y="112967"/>
                        <a:pt x="59610" y="134655"/>
                        <a:pt x="63197" y="141829"/>
                      </a:cubicBezTo>
                      <a:cubicBezTo>
                        <a:pt x="63692" y="142991"/>
                        <a:pt x="63485" y="144331"/>
                        <a:pt x="62661" y="145292"/>
                      </a:cubicBezTo>
                      <a:cubicBezTo>
                        <a:pt x="75030" y="149168"/>
                        <a:pt x="94202" y="149415"/>
                        <a:pt x="97542" y="142818"/>
                      </a:cubicBezTo>
                      <a:cubicBezTo>
                        <a:pt x="100552" y="135937"/>
                        <a:pt x="102778" y="128746"/>
                        <a:pt x="104180" y="121378"/>
                      </a:cubicBezTo>
                      <a:cubicBezTo>
                        <a:pt x="104180" y="121378"/>
                        <a:pt x="130609" y="121378"/>
                        <a:pt x="141287" y="135190"/>
                      </a:cubicBezTo>
                      <a:cubicBezTo>
                        <a:pt x="151966" y="149003"/>
                        <a:pt x="171757" y="139767"/>
                        <a:pt x="171757" y="139767"/>
                      </a:cubicBezTo>
                      <a:cubicBezTo>
                        <a:pt x="171757" y="139767"/>
                        <a:pt x="172829" y="143643"/>
                        <a:pt x="174602" y="149085"/>
                      </a:cubicBezTo>
                      <a:cubicBezTo>
                        <a:pt x="177488" y="141540"/>
                        <a:pt x="181199" y="134861"/>
                        <a:pt x="185734" y="134077"/>
                      </a:cubicBezTo>
                      <a:cubicBezTo>
                        <a:pt x="196908" y="132263"/>
                        <a:pt x="212823" y="130408"/>
                        <a:pt x="223955" y="111978"/>
                      </a:cubicBezTo>
                      <a:cubicBezTo>
                        <a:pt x="229974" y="102994"/>
                        <a:pt x="237890" y="95436"/>
                        <a:pt x="247167" y="89837"/>
                      </a:cubicBezTo>
                      <a:cubicBezTo>
                        <a:pt x="241848" y="82209"/>
                        <a:pt x="239128" y="71283"/>
                        <a:pt x="233974" y="67696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48" name="Freeform: Shape 447">
                  <a:extLst>
                    <a:ext uri="{FF2B5EF4-FFF2-40B4-BE49-F238E27FC236}">
                      <a16:creationId xmlns:a16="http://schemas.microsoft.com/office/drawing/2014/main" id="{4281E1BB-D8D0-AA05-05F8-18A660658466}"/>
                    </a:ext>
                  </a:extLst>
                </p:cNvPr>
                <p:cNvSpPr/>
                <p:nvPr>
                  <p:custDataLst>
                    <p:tags r:id="rId24"/>
                  </p:custDataLst>
                </p:nvPr>
              </p:nvSpPr>
              <p:spPr>
                <a:xfrm>
                  <a:off x="8066412" y="3977862"/>
                  <a:ext cx="297160" cy="138330"/>
                </a:xfrm>
                <a:custGeom>
                  <a:avLst/>
                  <a:gdLst>
                    <a:gd name="connsiteX0" fmla="*/ 166489 w 224582"/>
                    <a:gd name="connsiteY0" fmla="*/ 10097 h 104545"/>
                    <a:gd name="connsiteX1" fmla="*/ 136061 w 224582"/>
                    <a:gd name="connsiteY1" fmla="*/ 7005 h 104545"/>
                    <a:gd name="connsiteX2" fmla="*/ 101674 w 224582"/>
                    <a:gd name="connsiteY2" fmla="*/ 2387 h 104545"/>
                    <a:gd name="connsiteX3" fmla="*/ 77844 w 224582"/>
                    <a:gd name="connsiteY3" fmla="*/ 5479 h 104545"/>
                    <a:gd name="connsiteX4" fmla="*/ 72566 w 224582"/>
                    <a:gd name="connsiteY4" fmla="*/ -4 h 104545"/>
                    <a:gd name="connsiteX5" fmla="*/ 49353 w 224582"/>
                    <a:gd name="connsiteY5" fmla="*/ 22137 h 104545"/>
                    <a:gd name="connsiteX6" fmla="*/ 11133 w 224582"/>
                    <a:gd name="connsiteY6" fmla="*/ 44236 h 104545"/>
                    <a:gd name="connsiteX7" fmla="*/ 1 w 224582"/>
                    <a:gd name="connsiteY7" fmla="*/ 59244 h 104545"/>
                    <a:gd name="connsiteX8" fmla="*/ 18307 w 224582"/>
                    <a:gd name="connsiteY8" fmla="*/ 95857 h 104545"/>
                    <a:gd name="connsiteX9" fmla="*/ 72525 w 224582"/>
                    <a:gd name="connsiteY9" fmla="*/ 95857 h 104545"/>
                    <a:gd name="connsiteX10" fmla="*/ 114869 w 224582"/>
                    <a:gd name="connsiteY10" fmla="*/ 80560 h 104545"/>
                    <a:gd name="connsiteX11" fmla="*/ 151976 w 224582"/>
                    <a:gd name="connsiteY11" fmla="*/ 52977 h 104545"/>
                    <a:gd name="connsiteX12" fmla="*/ 189083 w 224582"/>
                    <a:gd name="connsiteY12" fmla="*/ 66748 h 104545"/>
                    <a:gd name="connsiteX13" fmla="*/ 214275 w 224582"/>
                    <a:gd name="connsiteY13" fmla="*/ 77220 h 104545"/>
                    <a:gd name="connsiteX14" fmla="*/ 206029 w 224582"/>
                    <a:gd name="connsiteY14" fmla="*/ 61223 h 104545"/>
                    <a:gd name="connsiteX15" fmla="*/ 223800 w 224582"/>
                    <a:gd name="connsiteY15" fmla="*/ 27290 h 104545"/>
                    <a:gd name="connsiteX16" fmla="*/ 224583 w 224582"/>
                    <a:gd name="connsiteY16" fmla="*/ 25847 h 104545"/>
                    <a:gd name="connsiteX17" fmla="*/ 201123 w 224582"/>
                    <a:gd name="connsiteY17" fmla="*/ 19250 h 104545"/>
                    <a:gd name="connsiteX18" fmla="*/ 166489 w 224582"/>
                    <a:gd name="connsiteY18" fmla="*/ 10097 h 1045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224581" h="104545">
                      <a:moveTo>
                        <a:pt x="166489" y="10097"/>
                      </a:moveTo>
                      <a:cubicBezTo>
                        <a:pt x="153254" y="11582"/>
                        <a:pt x="146616" y="2387"/>
                        <a:pt x="136061" y="7005"/>
                      </a:cubicBezTo>
                      <a:cubicBezTo>
                        <a:pt x="125506" y="11623"/>
                        <a:pt x="108272" y="7005"/>
                        <a:pt x="101674" y="2387"/>
                      </a:cubicBezTo>
                      <a:cubicBezTo>
                        <a:pt x="95078" y="-2231"/>
                        <a:pt x="87120" y="11582"/>
                        <a:pt x="77844" y="5479"/>
                      </a:cubicBezTo>
                      <a:cubicBezTo>
                        <a:pt x="75741" y="3999"/>
                        <a:pt x="73968" y="2140"/>
                        <a:pt x="72566" y="-4"/>
                      </a:cubicBezTo>
                      <a:cubicBezTo>
                        <a:pt x="63289" y="5595"/>
                        <a:pt x="55373" y="13152"/>
                        <a:pt x="49353" y="22137"/>
                      </a:cubicBezTo>
                      <a:cubicBezTo>
                        <a:pt x="38221" y="40566"/>
                        <a:pt x="22306" y="42422"/>
                        <a:pt x="11133" y="44236"/>
                      </a:cubicBezTo>
                      <a:cubicBezTo>
                        <a:pt x="6597" y="45019"/>
                        <a:pt x="2886" y="51699"/>
                        <a:pt x="1" y="59244"/>
                      </a:cubicBezTo>
                      <a:cubicBezTo>
                        <a:pt x="3670" y="70129"/>
                        <a:pt x="10349" y="87693"/>
                        <a:pt x="18307" y="95857"/>
                      </a:cubicBezTo>
                      <a:cubicBezTo>
                        <a:pt x="30222" y="108226"/>
                        <a:pt x="72525" y="106618"/>
                        <a:pt x="72525" y="95857"/>
                      </a:cubicBezTo>
                      <a:cubicBezTo>
                        <a:pt x="72525" y="85095"/>
                        <a:pt x="106911" y="80560"/>
                        <a:pt x="114869" y="80560"/>
                      </a:cubicBezTo>
                      <a:cubicBezTo>
                        <a:pt x="122826" y="80560"/>
                        <a:pt x="147853" y="51410"/>
                        <a:pt x="151976" y="52977"/>
                      </a:cubicBezTo>
                      <a:cubicBezTo>
                        <a:pt x="156099" y="54544"/>
                        <a:pt x="182404" y="59120"/>
                        <a:pt x="189083" y="66748"/>
                      </a:cubicBezTo>
                      <a:cubicBezTo>
                        <a:pt x="192381" y="70582"/>
                        <a:pt x="203102" y="74375"/>
                        <a:pt x="214275" y="77220"/>
                      </a:cubicBezTo>
                      <a:cubicBezTo>
                        <a:pt x="209699" y="73035"/>
                        <a:pt x="206771" y="67366"/>
                        <a:pt x="206029" y="61223"/>
                      </a:cubicBezTo>
                      <a:cubicBezTo>
                        <a:pt x="206029" y="52977"/>
                        <a:pt x="219388" y="31413"/>
                        <a:pt x="223800" y="27290"/>
                      </a:cubicBezTo>
                      <a:cubicBezTo>
                        <a:pt x="224129" y="26857"/>
                        <a:pt x="224418" y="26371"/>
                        <a:pt x="224583" y="25847"/>
                      </a:cubicBezTo>
                      <a:cubicBezTo>
                        <a:pt x="214399" y="24074"/>
                        <a:pt x="203225" y="21724"/>
                        <a:pt x="201123" y="19250"/>
                      </a:cubicBezTo>
                      <a:cubicBezTo>
                        <a:pt x="196917" y="14633"/>
                        <a:pt x="179683" y="8530"/>
                        <a:pt x="166489" y="10097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49" name="Freeform: Shape 448">
                  <a:extLst>
                    <a:ext uri="{FF2B5EF4-FFF2-40B4-BE49-F238E27FC236}">
                      <a16:creationId xmlns:a16="http://schemas.microsoft.com/office/drawing/2014/main" id="{5A162CAE-14CD-01B3-6666-EE714E950036}"/>
                    </a:ext>
                  </a:extLst>
                </p:cNvPr>
                <p:cNvSpPr/>
                <p:nvPr>
                  <p:custDataLst>
                    <p:tags r:id="rId25"/>
                  </p:custDataLst>
                </p:nvPr>
              </p:nvSpPr>
              <p:spPr>
                <a:xfrm>
                  <a:off x="6670166" y="4568250"/>
                  <a:ext cx="177103" cy="361331"/>
                </a:xfrm>
                <a:custGeom>
                  <a:avLst/>
                  <a:gdLst>
                    <a:gd name="connsiteX0" fmla="*/ 130475 w 133848"/>
                    <a:gd name="connsiteY0" fmla="*/ 28156 h 273081"/>
                    <a:gd name="connsiteX1" fmla="*/ 120374 w 133848"/>
                    <a:gd name="connsiteY1" fmla="*/ 9767 h 273081"/>
                    <a:gd name="connsiteX2" fmla="*/ 95882 w 133848"/>
                    <a:gd name="connsiteY2" fmla="*/ 4778 h 273081"/>
                    <a:gd name="connsiteX3" fmla="*/ 80009 w 133848"/>
                    <a:gd name="connsiteY3" fmla="*/ 4778 h 273081"/>
                    <a:gd name="connsiteX4" fmla="*/ 59146 w 133848"/>
                    <a:gd name="connsiteY4" fmla="*/ 3748 h 273081"/>
                    <a:gd name="connsiteX5" fmla="*/ 59146 w 133848"/>
                    <a:gd name="connsiteY5" fmla="*/ 4407 h 273081"/>
                    <a:gd name="connsiteX6" fmla="*/ 59394 w 133848"/>
                    <a:gd name="connsiteY6" fmla="*/ 34959 h 273081"/>
                    <a:gd name="connsiteX7" fmla="*/ 52549 w 133848"/>
                    <a:gd name="connsiteY7" fmla="*/ 52688 h 273081"/>
                    <a:gd name="connsiteX8" fmla="*/ 34490 w 133848"/>
                    <a:gd name="connsiteY8" fmla="*/ 70005 h 273081"/>
                    <a:gd name="connsiteX9" fmla="*/ 35604 w 133848"/>
                    <a:gd name="connsiteY9" fmla="*/ 83982 h 273081"/>
                    <a:gd name="connsiteX10" fmla="*/ 18163 w 133848"/>
                    <a:gd name="connsiteY10" fmla="*/ 119646 h 273081"/>
                    <a:gd name="connsiteX11" fmla="*/ 6495 w 133848"/>
                    <a:gd name="connsiteY11" fmla="*/ 144385 h 273081"/>
                    <a:gd name="connsiteX12" fmla="*/ 21874 w 133848"/>
                    <a:gd name="connsiteY12" fmla="*/ 184832 h 273081"/>
                    <a:gd name="connsiteX13" fmla="*/ 27234 w 133848"/>
                    <a:gd name="connsiteY13" fmla="*/ 263706 h 273081"/>
                    <a:gd name="connsiteX14" fmla="*/ 58033 w 133848"/>
                    <a:gd name="connsiteY14" fmla="*/ 272653 h 273081"/>
                    <a:gd name="connsiteX15" fmla="*/ 89987 w 133848"/>
                    <a:gd name="connsiteY15" fmla="*/ 265355 h 273081"/>
                    <a:gd name="connsiteX16" fmla="*/ 84214 w 133848"/>
                    <a:gd name="connsiteY16" fmla="*/ 250223 h 273081"/>
                    <a:gd name="connsiteX17" fmla="*/ 100047 w 133848"/>
                    <a:gd name="connsiteY17" fmla="*/ 221857 h 273081"/>
                    <a:gd name="connsiteX18" fmla="*/ 91389 w 133848"/>
                    <a:gd name="connsiteY18" fmla="*/ 198520 h 273081"/>
                    <a:gd name="connsiteX19" fmla="*/ 101490 w 133848"/>
                    <a:gd name="connsiteY19" fmla="*/ 173452 h 273081"/>
                    <a:gd name="connsiteX20" fmla="*/ 89946 w 133848"/>
                    <a:gd name="connsiteY20" fmla="*/ 148384 h 273081"/>
                    <a:gd name="connsiteX21" fmla="*/ 100047 w 133848"/>
                    <a:gd name="connsiteY21" fmla="*/ 130036 h 273081"/>
                    <a:gd name="connsiteX22" fmla="*/ 107221 w 133848"/>
                    <a:gd name="connsiteY22" fmla="*/ 98330 h 273081"/>
                    <a:gd name="connsiteX23" fmla="*/ 104335 w 133848"/>
                    <a:gd name="connsiteY23" fmla="*/ 54956 h 273081"/>
                    <a:gd name="connsiteX24" fmla="*/ 130475 w 133848"/>
                    <a:gd name="connsiteY24" fmla="*/ 28156 h 2730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133848" h="273081">
                      <a:moveTo>
                        <a:pt x="130475" y="28156"/>
                      </a:moveTo>
                      <a:cubicBezTo>
                        <a:pt x="141978" y="14756"/>
                        <a:pt x="120374" y="19910"/>
                        <a:pt x="120374" y="9767"/>
                      </a:cubicBezTo>
                      <a:cubicBezTo>
                        <a:pt x="120374" y="-375"/>
                        <a:pt x="105943" y="-3591"/>
                        <a:pt x="95882" y="4778"/>
                      </a:cubicBezTo>
                      <a:cubicBezTo>
                        <a:pt x="85822" y="13148"/>
                        <a:pt x="88667" y="4778"/>
                        <a:pt x="80009" y="4778"/>
                      </a:cubicBezTo>
                      <a:cubicBezTo>
                        <a:pt x="73907" y="4778"/>
                        <a:pt x="64300" y="6345"/>
                        <a:pt x="59146" y="3748"/>
                      </a:cubicBezTo>
                      <a:cubicBezTo>
                        <a:pt x="59146" y="3954"/>
                        <a:pt x="59146" y="4201"/>
                        <a:pt x="59146" y="4407"/>
                      </a:cubicBezTo>
                      <a:cubicBezTo>
                        <a:pt x="61455" y="14451"/>
                        <a:pt x="61538" y="24878"/>
                        <a:pt x="59394" y="34959"/>
                      </a:cubicBezTo>
                      <a:cubicBezTo>
                        <a:pt x="57786" y="41102"/>
                        <a:pt x="55477" y="47052"/>
                        <a:pt x="52549" y="52688"/>
                      </a:cubicBezTo>
                      <a:cubicBezTo>
                        <a:pt x="48591" y="60274"/>
                        <a:pt x="42242" y="66356"/>
                        <a:pt x="34490" y="70005"/>
                      </a:cubicBezTo>
                      <a:cubicBezTo>
                        <a:pt x="34903" y="74664"/>
                        <a:pt x="35315" y="79323"/>
                        <a:pt x="35604" y="83982"/>
                      </a:cubicBezTo>
                      <a:cubicBezTo>
                        <a:pt x="36057" y="98025"/>
                        <a:pt x="29502" y="111375"/>
                        <a:pt x="18163" y="119646"/>
                      </a:cubicBezTo>
                      <a:cubicBezTo>
                        <a:pt x="15401" y="128383"/>
                        <a:pt x="11484" y="136708"/>
                        <a:pt x="6495" y="144385"/>
                      </a:cubicBezTo>
                      <a:cubicBezTo>
                        <a:pt x="-8925" y="165000"/>
                        <a:pt x="5918" y="170442"/>
                        <a:pt x="21874" y="184832"/>
                      </a:cubicBezTo>
                      <a:cubicBezTo>
                        <a:pt x="37830" y="199221"/>
                        <a:pt x="27234" y="251378"/>
                        <a:pt x="27234" y="263706"/>
                      </a:cubicBezTo>
                      <a:cubicBezTo>
                        <a:pt x="27234" y="276034"/>
                        <a:pt x="41417" y="272653"/>
                        <a:pt x="58033" y="272653"/>
                      </a:cubicBezTo>
                      <a:cubicBezTo>
                        <a:pt x="67887" y="272653"/>
                        <a:pt x="79061" y="267581"/>
                        <a:pt x="89987" y="265355"/>
                      </a:cubicBezTo>
                      <a:cubicBezTo>
                        <a:pt x="86977" y="260787"/>
                        <a:pt x="85039" y="255624"/>
                        <a:pt x="84214" y="250223"/>
                      </a:cubicBezTo>
                      <a:cubicBezTo>
                        <a:pt x="84214" y="240204"/>
                        <a:pt x="84214" y="225196"/>
                        <a:pt x="100047" y="221857"/>
                      </a:cubicBezTo>
                      <a:cubicBezTo>
                        <a:pt x="115879" y="218517"/>
                        <a:pt x="95718" y="203509"/>
                        <a:pt x="91389" y="198520"/>
                      </a:cubicBezTo>
                      <a:cubicBezTo>
                        <a:pt x="87059" y="193531"/>
                        <a:pt x="92831" y="173452"/>
                        <a:pt x="101490" y="173452"/>
                      </a:cubicBezTo>
                      <a:cubicBezTo>
                        <a:pt x="110149" y="173452"/>
                        <a:pt x="101490" y="161784"/>
                        <a:pt x="89946" y="148384"/>
                      </a:cubicBezTo>
                      <a:cubicBezTo>
                        <a:pt x="78401" y="134984"/>
                        <a:pt x="89946" y="130036"/>
                        <a:pt x="100047" y="130036"/>
                      </a:cubicBezTo>
                      <a:cubicBezTo>
                        <a:pt x="110149" y="130036"/>
                        <a:pt x="97161" y="110040"/>
                        <a:pt x="107221" y="98330"/>
                      </a:cubicBezTo>
                      <a:cubicBezTo>
                        <a:pt x="117281" y="86621"/>
                        <a:pt x="104335" y="64975"/>
                        <a:pt x="104335" y="54956"/>
                      </a:cubicBezTo>
                      <a:cubicBezTo>
                        <a:pt x="104335" y="44937"/>
                        <a:pt x="118930" y="41473"/>
                        <a:pt x="130475" y="28156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50" name="Freeform: Shape 449">
                  <a:extLst>
                    <a:ext uri="{FF2B5EF4-FFF2-40B4-BE49-F238E27FC236}">
                      <a16:creationId xmlns:a16="http://schemas.microsoft.com/office/drawing/2014/main" id="{EBCF4DC9-8330-9F9B-4DF9-0A649FD65416}"/>
                    </a:ext>
                  </a:extLst>
                </p:cNvPr>
                <p:cNvSpPr/>
                <p:nvPr>
                  <p:custDataLst>
                    <p:tags r:id="rId26"/>
                  </p:custDataLst>
                </p:nvPr>
              </p:nvSpPr>
              <p:spPr>
                <a:xfrm>
                  <a:off x="7488963" y="3933726"/>
                  <a:ext cx="35120" cy="56681"/>
                </a:xfrm>
                <a:custGeom>
                  <a:avLst/>
                  <a:gdLst>
                    <a:gd name="connsiteX0" fmla="*/ 14133 w 26542"/>
                    <a:gd name="connsiteY0" fmla="*/ -4 h 42838"/>
                    <a:gd name="connsiteX1" fmla="*/ 115 w 26542"/>
                    <a:gd name="connsiteY1" fmla="*/ 39371 h 42838"/>
                    <a:gd name="connsiteX2" fmla="*/ 26543 w 26542"/>
                    <a:gd name="connsiteY2" fmla="*/ 42834 h 42838"/>
                    <a:gd name="connsiteX3" fmla="*/ 13886 w 26542"/>
                    <a:gd name="connsiteY3" fmla="*/ 4366 h 42838"/>
                    <a:gd name="connsiteX4" fmla="*/ 14133 w 26542"/>
                    <a:gd name="connsiteY4" fmla="*/ -4 h 428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6542" h="42838">
                      <a:moveTo>
                        <a:pt x="14133" y="-4"/>
                      </a:moveTo>
                      <a:cubicBezTo>
                        <a:pt x="6217" y="5108"/>
                        <a:pt x="-999" y="16117"/>
                        <a:pt x="115" y="39371"/>
                      </a:cubicBezTo>
                      <a:cubicBezTo>
                        <a:pt x="9062" y="39111"/>
                        <a:pt x="17968" y="40278"/>
                        <a:pt x="26543" y="42834"/>
                      </a:cubicBezTo>
                      <a:cubicBezTo>
                        <a:pt x="24647" y="17477"/>
                        <a:pt x="16071" y="9603"/>
                        <a:pt x="13886" y="4366"/>
                      </a:cubicBezTo>
                      <a:cubicBezTo>
                        <a:pt x="13309" y="2948"/>
                        <a:pt x="13391" y="1336"/>
                        <a:pt x="14133" y="-4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51" name="Freeform: Shape 450">
                  <a:extLst>
                    <a:ext uri="{FF2B5EF4-FFF2-40B4-BE49-F238E27FC236}">
                      <a16:creationId xmlns:a16="http://schemas.microsoft.com/office/drawing/2014/main" id="{AD8D6788-9D56-3B83-F1F3-8E85F4C383F1}"/>
                    </a:ext>
                  </a:extLst>
                </p:cNvPr>
                <p:cNvSpPr/>
                <p:nvPr>
                  <p:custDataLst>
                    <p:tags r:id="rId27"/>
                  </p:custDataLst>
                </p:nvPr>
              </p:nvSpPr>
              <p:spPr>
                <a:xfrm>
                  <a:off x="7314047" y="3822083"/>
                  <a:ext cx="204572" cy="164826"/>
                </a:xfrm>
                <a:custGeom>
                  <a:avLst/>
                  <a:gdLst>
                    <a:gd name="connsiteX0" fmla="*/ 5072 w 154609"/>
                    <a:gd name="connsiteY0" fmla="*/ 32834 h 124569"/>
                    <a:gd name="connsiteX1" fmla="*/ 19297 w 154609"/>
                    <a:gd name="connsiteY1" fmla="*/ 50357 h 124569"/>
                    <a:gd name="connsiteX2" fmla="*/ 39912 w 154609"/>
                    <a:gd name="connsiteY2" fmla="*/ 64746 h 124569"/>
                    <a:gd name="connsiteX3" fmla="*/ 64650 w 154609"/>
                    <a:gd name="connsiteY3" fmla="*/ 82228 h 124569"/>
                    <a:gd name="connsiteX4" fmla="*/ 76194 w 154609"/>
                    <a:gd name="connsiteY4" fmla="*/ 97690 h 124569"/>
                    <a:gd name="connsiteX5" fmla="*/ 93965 w 154609"/>
                    <a:gd name="connsiteY5" fmla="*/ 87382 h 124569"/>
                    <a:gd name="connsiteX6" fmla="*/ 105509 w 154609"/>
                    <a:gd name="connsiteY6" fmla="*/ 108987 h 124569"/>
                    <a:gd name="connsiteX7" fmla="*/ 126124 w 154609"/>
                    <a:gd name="connsiteY7" fmla="*/ 124407 h 124569"/>
                    <a:gd name="connsiteX8" fmla="*/ 132515 w 154609"/>
                    <a:gd name="connsiteY8" fmla="*/ 123747 h 124569"/>
                    <a:gd name="connsiteX9" fmla="*/ 146534 w 154609"/>
                    <a:gd name="connsiteY9" fmla="*/ 84372 h 124569"/>
                    <a:gd name="connsiteX10" fmla="*/ 154532 w 154609"/>
                    <a:gd name="connsiteY10" fmla="*/ 70931 h 124569"/>
                    <a:gd name="connsiteX11" fmla="*/ 143854 w 154609"/>
                    <a:gd name="connsiteY11" fmla="*/ 42070 h 124569"/>
                    <a:gd name="connsiteX12" fmla="*/ 143854 w 154609"/>
                    <a:gd name="connsiteY12" fmla="*/ 40585 h 124569"/>
                    <a:gd name="connsiteX13" fmla="*/ 135072 w 154609"/>
                    <a:gd name="connsiteY13" fmla="*/ 31762 h 124569"/>
                    <a:gd name="connsiteX14" fmla="*/ 106210 w 154609"/>
                    <a:gd name="connsiteY14" fmla="*/ 8755 h 124569"/>
                    <a:gd name="connsiteX15" fmla="*/ 79039 w 154609"/>
                    <a:gd name="connsiteY15" fmla="*/ 4632 h 124569"/>
                    <a:gd name="connsiteX16" fmla="*/ 41025 w 154609"/>
                    <a:gd name="connsiteY16" fmla="*/ 19269 h 124569"/>
                    <a:gd name="connsiteX17" fmla="*/ 26759 w 154609"/>
                    <a:gd name="connsiteY17" fmla="*/ 13456 h 124569"/>
                    <a:gd name="connsiteX18" fmla="*/ 1 w 154609"/>
                    <a:gd name="connsiteY18" fmla="*/ 26732 h 124569"/>
                    <a:gd name="connsiteX19" fmla="*/ 5072 w 154609"/>
                    <a:gd name="connsiteY19" fmla="*/ 32834 h 1245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54609" h="124569">
                      <a:moveTo>
                        <a:pt x="5072" y="32834"/>
                      </a:moveTo>
                      <a:cubicBezTo>
                        <a:pt x="5979" y="40049"/>
                        <a:pt x="15750" y="57572"/>
                        <a:pt x="19297" y="50357"/>
                      </a:cubicBezTo>
                      <a:cubicBezTo>
                        <a:pt x="22842" y="43142"/>
                        <a:pt x="31666" y="59634"/>
                        <a:pt x="39912" y="64746"/>
                      </a:cubicBezTo>
                      <a:cubicBezTo>
                        <a:pt x="48158" y="69859"/>
                        <a:pt x="63866" y="76085"/>
                        <a:pt x="64650" y="82228"/>
                      </a:cubicBezTo>
                      <a:cubicBezTo>
                        <a:pt x="65433" y="88372"/>
                        <a:pt x="68196" y="101813"/>
                        <a:pt x="76194" y="97690"/>
                      </a:cubicBezTo>
                      <a:cubicBezTo>
                        <a:pt x="84193" y="93566"/>
                        <a:pt x="93965" y="79136"/>
                        <a:pt x="93965" y="87382"/>
                      </a:cubicBezTo>
                      <a:cubicBezTo>
                        <a:pt x="93965" y="95628"/>
                        <a:pt x="96645" y="111089"/>
                        <a:pt x="105509" y="108987"/>
                      </a:cubicBezTo>
                      <a:cubicBezTo>
                        <a:pt x="114374" y="106884"/>
                        <a:pt x="117054" y="126510"/>
                        <a:pt x="126124" y="124407"/>
                      </a:cubicBezTo>
                      <a:cubicBezTo>
                        <a:pt x="128227" y="124032"/>
                        <a:pt x="130371" y="123813"/>
                        <a:pt x="132515" y="123747"/>
                      </a:cubicBezTo>
                      <a:cubicBezTo>
                        <a:pt x="131402" y="100493"/>
                        <a:pt x="138617" y="89485"/>
                        <a:pt x="146534" y="84372"/>
                      </a:cubicBezTo>
                      <a:cubicBezTo>
                        <a:pt x="148348" y="80249"/>
                        <a:pt x="153667" y="76126"/>
                        <a:pt x="154532" y="70931"/>
                      </a:cubicBezTo>
                      <a:cubicBezTo>
                        <a:pt x="155728" y="64087"/>
                        <a:pt x="142699" y="50316"/>
                        <a:pt x="143854" y="42070"/>
                      </a:cubicBezTo>
                      <a:cubicBezTo>
                        <a:pt x="143854" y="41616"/>
                        <a:pt x="143854" y="41039"/>
                        <a:pt x="143854" y="40585"/>
                      </a:cubicBezTo>
                      <a:cubicBezTo>
                        <a:pt x="140720" y="37844"/>
                        <a:pt x="137793" y="34896"/>
                        <a:pt x="135072" y="31762"/>
                      </a:cubicBezTo>
                      <a:cubicBezTo>
                        <a:pt x="124228" y="19187"/>
                        <a:pt x="113343" y="17125"/>
                        <a:pt x="106210" y="8755"/>
                      </a:cubicBezTo>
                      <a:cubicBezTo>
                        <a:pt x="99077" y="386"/>
                        <a:pt x="86296" y="-3861"/>
                        <a:pt x="79039" y="4632"/>
                      </a:cubicBezTo>
                      <a:cubicBezTo>
                        <a:pt x="71783" y="13126"/>
                        <a:pt x="51910" y="19269"/>
                        <a:pt x="41025" y="19269"/>
                      </a:cubicBezTo>
                      <a:cubicBezTo>
                        <a:pt x="35953" y="18189"/>
                        <a:pt x="31130" y="16218"/>
                        <a:pt x="26759" y="13456"/>
                      </a:cubicBezTo>
                      <a:cubicBezTo>
                        <a:pt x="18678" y="19401"/>
                        <a:pt x="9607" y="23895"/>
                        <a:pt x="1" y="26732"/>
                      </a:cubicBezTo>
                      <a:cubicBezTo>
                        <a:pt x="1732" y="29577"/>
                        <a:pt x="4660" y="28092"/>
                        <a:pt x="5072" y="32834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52" name="Freeform: Shape 451">
                  <a:extLst>
                    <a:ext uri="{FF2B5EF4-FFF2-40B4-BE49-F238E27FC236}">
                      <a16:creationId xmlns:a16="http://schemas.microsoft.com/office/drawing/2014/main" id="{A7BA5329-C4CE-8562-F7BF-482856562128}"/>
                    </a:ext>
                  </a:extLst>
                </p:cNvPr>
                <p:cNvSpPr/>
                <p:nvPr>
                  <p:custDataLst>
                    <p:tags r:id="rId28"/>
                  </p:custDataLst>
                </p:nvPr>
              </p:nvSpPr>
              <p:spPr>
                <a:xfrm>
                  <a:off x="8581406" y="4060980"/>
                  <a:ext cx="163990" cy="235805"/>
                </a:xfrm>
                <a:custGeom>
                  <a:avLst/>
                  <a:gdLst>
                    <a:gd name="connsiteX0" fmla="*/ 89635 w 123938"/>
                    <a:gd name="connsiteY0" fmla="*/ 45407 h 178213"/>
                    <a:gd name="connsiteX1" fmla="*/ 61186 w 123938"/>
                    <a:gd name="connsiteY1" fmla="*/ 20668 h 178213"/>
                    <a:gd name="connsiteX2" fmla="*/ 29191 w 123938"/>
                    <a:gd name="connsiteY2" fmla="*/ 53 h 178213"/>
                    <a:gd name="connsiteX3" fmla="*/ 1 w 123938"/>
                    <a:gd name="connsiteY3" fmla="*/ 8629 h 178213"/>
                    <a:gd name="connsiteX4" fmla="*/ 26388 w 123938"/>
                    <a:gd name="connsiteY4" fmla="*/ 60950 h 178213"/>
                    <a:gd name="connsiteX5" fmla="*/ 51744 w 123938"/>
                    <a:gd name="connsiteY5" fmla="*/ 125929 h 178213"/>
                    <a:gd name="connsiteX6" fmla="*/ 58671 w 123938"/>
                    <a:gd name="connsiteY6" fmla="*/ 178210 h 178213"/>
                    <a:gd name="connsiteX7" fmla="*/ 81307 w 123938"/>
                    <a:gd name="connsiteY7" fmla="*/ 137227 h 178213"/>
                    <a:gd name="connsiteX8" fmla="*/ 96686 w 123938"/>
                    <a:gd name="connsiteY8" fmla="*/ 116611 h 178213"/>
                    <a:gd name="connsiteX9" fmla="*/ 123939 w 123938"/>
                    <a:gd name="connsiteY9" fmla="*/ 122095 h 178213"/>
                    <a:gd name="connsiteX10" fmla="*/ 114497 w 123938"/>
                    <a:gd name="connsiteY10" fmla="*/ 91914 h 178213"/>
                    <a:gd name="connsiteX11" fmla="*/ 89635 w 123938"/>
                    <a:gd name="connsiteY11" fmla="*/ 45407 h 1782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23938" h="178213">
                      <a:moveTo>
                        <a:pt x="89635" y="45407"/>
                      </a:moveTo>
                      <a:cubicBezTo>
                        <a:pt x="86502" y="31883"/>
                        <a:pt x="74998" y="21909"/>
                        <a:pt x="61186" y="20668"/>
                      </a:cubicBezTo>
                      <a:cubicBezTo>
                        <a:pt x="52940" y="20668"/>
                        <a:pt x="38675" y="-1266"/>
                        <a:pt x="29191" y="53"/>
                      </a:cubicBezTo>
                      <a:cubicBezTo>
                        <a:pt x="19255" y="2098"/>
                        <a:pt x="9483" y="4963"/>
                        <a:pt x="1" y="8629"/>
                      </a:cubicBezTo>
                      <a:cubicBezTo>
                        <a:pt x="10308" y="31141"/>
                        <a:pt x="21316" y="53982"/>
                        <a:pt x="26388" y="60950"/>
                      </a:cubicBezTo>
                      <a:cubicBezTo>
                        <a:pt x="37231" y="75628"/>
                        <a:pt x="60774" y="115457"/>
                        <a:pt x="51744" y="125929"/>
                      </a:cubicBezTo>
                      <a:cubicBezTo>
                        <a:pt x="44653" y="134176"/>
                        <a:pt x="47621" y="167820"/>
                        <a:pt x="58671" y="178210"/>
                      </a:cubicBezTo>
                      <a:cubicBezTo>
                        <a:pt x="63825" y="170417"/>
                        <a:pt x="81307" y="144937"/>
                        <a:pt x="81307" y="137227"/>
                      </a:cubicBezTo>
                      <a:cubicBezTo>
                        <a:pt x="81307" y="129517"/>
                        <a:pt x="82502" y="112488"/>
                        <a:pt x="96686" y="116611"/>
                      </a:cubicBezTo>
                      <a:cubicBezTo>
                        <a:pt x="110869" y="120734"/>
                        <a:pt x="123939" y="127620"/>
                        <a:pt x="123939" y="122095"/>
                      </a:cubicBezTo>
                      <a:cubicBezTo>
                        <a:pt x="123939" y="116570"/>
                        <a:pt x="120393" y="98800"/>
                        <a:pt x="114497" y="91914"/>
                      </a:cubicBezTo>
                      <a:cubicBezTo>
                        <a:pt x="103489" y="78024"/>
                        <a:pt x="95078" y="62274"/>
                        <a:pt x="89635" y="45407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53" name="Freeform: Shape 452">
                  <a:extLst>
                    <a:ext uri="{FF2B5EF4-FFF2-40B4-BE49-F238E27FC236}">
                      <a16:creationId xmlns:a16="http://schemas.microsoft.com/office/drawing/2014/main" id="{2D5BAA56-C408-B575-41AF-9C6AA61675F4}"/>
                    </a:ext>
                  </a:extLst>
                </p:cNvPr>
                <p:cNvSpPr/>
                <p:nvPr>
                  <p:custDataLst>
                    <p:tags r:id="rId29"/>
                  </p:custDataLst>
                </p:nvPr>
              </p:nvSpPr>
              <p:spPr>
                <a:xfrm>
                  <a:off x="8246352" y="4529898"/>
                  <a:ext cx="142571" cy="118166"/>
                </a:xfrm>
                <a:custGeom>
                  <a:avLst/>
                  <a:gdLst>
                    <a:gd name="connsiteX0" fmla="*/ 24476 w 107750"/>
                    <a:gd name="connsiteY0" fmla="*/ 89301 h 89305"/>
                    <a:gd name="connsiteX1" fmla="*/ 24476 w 107750"/>
                    <a:gd name="connsiteY1" fmla="*/ 89301 h 89305"/>
                    <a:gd name="connsiteX2" fmla="*/ 26001 w 107750"/>
                    <a:gd name="connsiteY2" fmla="*/ 88476 h 89305"/>
                    <a:gd name="connsiteX3" fmla="*/ 26331 w 107750"/>
                    <a:gd name="connsiteY3" fmla="*/ 88476 h 89305"/>
                    <a:gd name="connsiteX4" fmla="*/ 28557 w 107750"/>
                    <a:gd name="connsiteY4" fmla="*/ 88146 h 89305"/>
                    <a:gd name="connsiteX5" fmla="*/ 28888 w 107750"/>
                    <a:gd name="connsiteY5" fmla="*/ 88146 h 89305"/>
                    <a:gd name="connsiteX6" fmla="*/ 41752 w 107750"/>
                    <a:gd name="connsiteY6" fmla="*/ 87858 h 89305"/>
                    <a:gd name="connsiteX7" fmla="*/ 42700 w 107750"/>
                    <a:gd name="connsiteY7" fmla="*/ 87858 h 89305"/>
                    <a:gd name="connsiteX8" fmla="*/ 45875 w 107750"/>
                    <a:gd name="connsiteY8" fmla="*/ 87611 h 89305"/>
                    <a:gd name="connsiteX9" fmla="*/ 47111 w 107750"/>
                    <a:gd name="connsiteY9" fmla="*/ 87611 h 89305"/>
                    <a:gd name="connsiteX10" fmla="*/ 51234 w 107750"/>
                    <a:gd name="connsiteY10" fmla="*/ 86786 h 89305"/>
                    <a:gd name="connsiteX11" fmla="*/ 69871 w 107750"/>
                    <a:gd name="connsiteY11" fmla="*/ 73386 h 89305"/>
                    <a:gd name="connsiteX12" fmla="*/ 106978 w 107750"/>
                    <a:gd name="connsiteY12" fmla="*/ 53513 h 89305"/>
                    <a:gd name="connsiteX13" fmla="*/ 107720 w 107750"/>
                    <a:gd name="connsiteY13" fmla="*/ 51410 h 89305"/>
                    <a:gd name="connsiteX14" fmla="*/ 99845 w 107750"/>
                    <a:gd name="connsiteY14" fmla="*/ 38422 h 89305"/>
                    <a:gd name="connsiteX15" fmla="*/ 77663 w 107750"/>
                    <a:gd name="connsiteY15" fmla="*/ 8572 h 89305"/>
                    <a:gd name="connsiteX16" fmla="*/ 76756 w 107750"/>
                    <a:gd name="connsiteY16" fmla="*/ 5397 h 89305"/>
                    <a:gd name="connsiteX17" fmla="*/ 76756 w 107750"/>
                    <a:gd name="connsiteY17" fmla="*/ 5026 h 89305"/>
                    <a:gd name="connsiteX18" fmla="*/ 76756 w 107750"/>
                    <a:gd name="connsiteY18" fmla="*/ -4 h 89305"/>
                    <a:gd name="connsiteX19" fmla="*/ 7778 w 107750"/>
                    <a:gd name="connsiteY19" fmla="*/ 14591 h 89305"/>
                    <a:gd name="connsiteX20" fmla="*/ 5386 w 107750"/>
                    <a:gd name="connsiteY20" fmla="*/ 12653 h 89305"/>
                    <a:gd name="connsiteX21" fmla="*/ 1057 w 107750"/>
                    <a:gd name="connsiteY21" fmla="*/ 60811 h 89305"/>
                    <a:gd name="connsiteX22" fmla="*/ 24476 w 107750"/>
                    <a:gd name="connsiteY22" fmla="*/ 89301 h 893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107750" h="89305">
                      <a:moveTo>
                        <a:pt x="24476" y="89301"/>
                      </a:moveTo>
                      <a:lnTo>
                        <a:pt x="24476" y="89301"/>
                      </a:lnTo>
                      <a:cubicBezTo>
                        <a:pt x="24930" y="88913"/>
                        <a:pt x="25424" y="88633"/>
                        <a:pt x="26001" y="88476"/>
                      </a:cubicBezTo>
                      <a:cubicBezTo>
                        <a:pt x="26001" y="88476"/>
                        <a:pt x="26001" y="88476"/>
                        <a:pt x="26331" y="88476"/>
                      </a:cubicBezTo>
                      <a:cubicBezTo>
                        <a:pt x="27073" y="88311"/>
                        <a:pt x="27816" y="88200"/>
                        <a:pt x="28557" y="88146"/>
                      </a:cubicBezTo>
                      <a:lnTo>
                        <a:pt x="28888" y="88146"/>
                      </a:lnTo>
                      <a:cubicBezTo>
                        <a:pt x="32351" y="87775"/>
                        <a:pt x="37134" y="88146"/>
                        <a:pt x="41752" y="87858"/>
                      </a:cubicBezTo>
                      <a:lnTo>
                        <a:pt x="42700" y="87858"/>
                      </a:lnTo>
                      <a:cubicBezTo>
                        <a:pt x="43772" y="87858"/>
                        <a:pt x="44803" y="87858"/>
                        <a:pt x="45875" y="87611"/>
                      </a:cubicBezTo>
                      <a:lnTo>
                        <a:pt x="47111" y="87611"/>
                      </a:lnTo>
                      <a:cubicBezTo>
                        <a:pt x="48513" y="87429"/>
                        <a:pt x="49874" y="87157"/>
                        <a:pt x="51234" y="86786"/>
                      </a:cubicBezTo>
                      <a:cubicBezTo>
                        <a:pt x="61872" y="83694"/>
                        <a:pt x="64552" y="70294"/>
                        <a:pt x="69871" y="73386"/>
                      </a:cubicBezTo>
                      <a:cubicBezTo>
                        <a:pt x="75189" y="76478"/>
                        <a:pt x="103639" y="59697"/>
                        <a:pt x="106978" y="53513"/>
                      </a:cubicBezTo>
                      <a:cubicBezTo>
                        <a:pt x="107391" y="52882"/>
                        <a:pt x="107638" y="52160"/>
                        <a:pt x="107720" y="51410"/>
                      </a:cubicBezTo>
                      <a:cubicBezTo>
                        <a:pt x="108298" y="46668"/>
                        <a:pt x="100670" y="43865"/>
                        <a:pt x="99845" y="38422"/>
                      </a:cubicBezTo>
                      <a:cubicBezTo>
                        <a:pt x="98979" y="32279"/>
                        <a:pt x="80343" y="11664"/>
                        <a:pt x="77663" y="8572"/>
                      </a:cubicBezTo>
                      <a:cubicBezTo>
                        <a:pt x="77086" y="7619"/>
                        <a:pt x="76756" y="6518"/>
                        <a:pt x="76756" y="5397"/>
                      </a:cubicBezTo>
                      <a:cubicBezTo>
                        <a:pt x="76756" y="5397"/>
                        <a:pt x="76756" y="5150"/>
                        <a:pt x="76756" y="5026"/>
                      </a:cubicBezTo>
                      <a:cubicBezTo>
                        <a:pt x="76674" y="3352"/>
                        <a:pt x="76674" y="1670"/>
                        <a:pt x="76756" y="-4"/>
                      </a:cubicBezTo>
                      <a:cubicBezTo>
                        <a:pt x="48967" y="4655"/>
                        <a:pt x="7778" y="14591"/>
                        <a:pt x="7778" y="14591"/>
                      </a:cubicBezTo>
                      <a:lnTo>
                        <a:pt x="5386" y="12653"/>
                      </a:lnTo>
                      <a:cubicBezTo>
                        <a:pt x="1263" y="28321"/>
                        <a:pt x="-1664" y="49761"/>
                        <a:pt x="1057" y="60811"/>
                      </a:cubicBezTo>
                      <a:cubicBezTo>
                        <a:pt x="3778" y="71860"/>
                        <a:pt x="12437" y="78787"/>
                        <a:pt x="24476" y="89301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54" name="Freeform: Shape 453">
                  <a:extLst>
                    <a:ext uri="{FF2B5EF4-FFF2-40B4-BE49-F238E27FC236}">
                      <a16:creationId xmlns:a16="http://schemas.microsoft.com/office/drawing/2014/main" id="{06B21A0C-9978-ABA7-E334-C283CFA11289}"/>
                    </a:ext>
                  </a:extLst>
                </p:cNvPr>
                <p:cNvSpPr/>
                <p:nvPr>
                  <p:custDataLst>
                    <p:tags r:id="rId30"/>
                  </p:custDataLst>
                </p:nvPr>
              </p:nvSpPr>
              <p:spPr>
                <a:xfrm>
                  <a:off x="8391665" y="3419820"/>
                  <a:ext cx="496448" cy="409666"/>
                </a:xfrm>
                <a:custGeom>
                  <a:avLst/>
                  <a:gdLst>
                    <a:gd name="connsiteX0" fmla="*/ 352645 w 375197"/>
                    <a:gd name="connsiteY0" fmla="*/ 153744 h 309611"/>
                    <a:gd name="connsiteX1" fmla="*/ 329555 w 375197"/>
                    <a:gd name="connsiteY1" fmla="*/ 128016 h 309611"/>
                    <a:gd name="connsiteX2" fmla="*/ 310878 w 375197"/>
                    <a:gd name="connsiteY2" fmla="*/ 99155 h 309611"/>
                    <a:gd name="connsiteX3" fmla="*/ 306425 w 375197"/>
                    <a:gd name="connsiteY3" fmla="*/ 66171 h 309611"/>
                    <a:gd name="connsiteX4" fmla="*/ 302879 w 375197"/>
                    <a:gd name="connsiteY4" fmla="*/ 34300 h 309611"/>
                    <a:gd name="connsiteX5" fmla="*/ 265772 w 375197"/>
                    <a:gd name="connsiteY5" fmla="*/ 21930 h 309611"/>
                    <a:gd name="connsiteX6" fmla="*/ 244415 w 375197"/>
                    <a:gd name="connsiteY6" fmla="*/ 21930 h 309611"/>
                    <a:gd name="connsiteX7" fmla="*/ 223800 w 375197"/>
                    <a:gd name="connsiteY7" fmla="*/ 10592 h 309611"/>
                    <a:gd name="connsiteX8" fmla="*/ 202442 w 375197"/>
                    <a:gd name="connsiteY8" fmla="*/ 3377 h 309611"/>
                    <a:gd name="connsiteX9" fmla="*/ 200422 w 375197"/>
                    <a:gd name="connsiteY9" fmla="*/ -4 h 309611"/>
                    <a:gd name="connsiteX10" fmla="*/ 188053 w 375197"/>
                    <a:gd name="connsiteY10" fmla="*/ 5768 h 309611"/>
                    <a:gd name="connsiteX11" fmla="*/ 172632 w 375197"/>
                    <a:gd name="connsiteY11" fmla="*/ 22260 h 309611"/>
                    <a:gd name="connsiteX12" fmla="*/ 145420 w 375197"/>
                    <a:gd name="connsiteY12" fmla="*/ 26383 h 309611"/>
                    <a:gd name="connsiteX13" fmla="*/ 134741 w 375197"/>
                    <a:gd name="connsiteY13" fmla="*/ 51122 h 309611"/>
                    <a:gd name="connsiteX14" fmla="*/ 130000 w 375197"/>
                    <a:gd name="connsiteY14" fmla="*/ 68975 h 309611"/>
                    <a:gd name="connsiteX15" fmla="*/ 116971 w 375197"/>
                    <a:gd name="connsiteY15" fmla="*/ 81344 h 309611"/>
                    <a:gd name="connsiteX16" fmla="*/ 96810 w 375197"/>
                    <a:gd name="connsiteY16" fmla="*/ 103278 h 309611"/>
                    <a:gd name="connsiteX17" fmla="*/ 90913 w 375197"/>
                    <a:gd name="connsiteY17" fmla="*/ 125254 h 309611"/>
                    <a:gd name="connsiteX18" fmla="*/ 64856 w 375197"/>
                    <a:gd name="connsiteY18" fmla="*/ 134819 h 309611"/>
                    <a:gd name="connsiteX19" fmla="*/ 44694 w 375197"/>
                    <a:gd name="connsiteY19" fmla="*/ 145828 h 309611"/>
                    <a:gd name="connsiteX20" fmla="*/ 15379 w 375197"/>
                    <a:gd name="connsiteY20" fmla="*/ 143395 h 309611"/>
                    <a:gd name="connsiteX21" fmla="*/ 15091 w 375197"/>
                    <a:gd name="connsiteY21" fmla="*/ 147518 h 309611"/>
                    <a:gd name="connsiteX22" fmla="*/ 21316 w 375197"/>
                    <a:gd name="connsiteY22" fmla="*/ 182482 h 309611"/>
                    <a:gd name="connsiteX23" fmla="*/ 23089 w 375197"/>
                    <a:gd name="connsiteY23" fmla="*/ 222640 h 309611"/>
                    <a:gd name="connsiteX24" fmla="*/ 1 w 375197"/>
                    <a:gd name="connsiteY24" fmla="*/ 246307 h 309611"/>
                    <a:gd name="connsiteX25" fmla="*/ 13318 w 375197"/>
                    <a:gd name="connsiteY25" fmla="*/ 269932 h 309611"/>
                    <a:gd name="connsiteX26" fmla="*/ 12617 w 375197"/>
                    <a:gd name="connsiteY26" fmla="*/ 295412 h 309611"/>
                    <a:gd name="connsiteX27" fmla="*/ 34057 w 375197"/>
                    <a:gd name="connsiteY27" fmla="*/ 289846 h 309611"/>
                    <a:gd name="connsiteX28" fmla="*/ 60114 w 375197"/>
                    <a:gd name="connsiteY28" fmla="*/ 271993 h 309611"/>
                    <a:gd name="connsiteX29" fmla="*/ 128804 w 375197"/>
                    <a:gd name="connsiteY29" fmla="*/ 281600 h 309611"/>
                    <a:gd name="connsiteX30" fmla="*/ 165541 w 375197"/>
                    <a:gd name="connsiteY30" fmla="*/ 288485 h 309611"/>
                    <a:gd name="connsiteX31" fmla="*/ 192753 w 375197"/>
                    <a:gd name="connsiteY31" fmla="*/ 292609 h 309611"/>
                    <a:gd name="connsiteX32" fmla="*/ 218852 w 375197"/>
                    <a:gd name="connsiteY32" fmla="*/ 295412 h 309611"/>
                    <a:gd name="connsiteX33" fmla="*/ 244910 w 375197"/>
                    <a:gd name="connsiteY33" fmla="*/ 304978 h 309611"/>
                    <a:gd name="connsiteX34" fmla="*/ 281604 w 375197"/>
                    <a:gd name="connsiteY34" fmla="*/ 307740 h 309611"/>
                    <a:gd name="connsiteX35" fmla="*/ 288696 w 375197"/>
                    <a:gd name="connsiteY35" fmla="*/ 292609 h 309611"/>
                    <a:gd name="connsiteX36" fmla="*/ 312445 w 375197"/>
                    <a:gd name="connsiteY36" fmla="*/ 262469 h 309611"/>
                    <a:gd name="connsiteX37" fmla="*/ 338173 w 375197"/>
                    <a:gd name="connsiteY37" fmla="*/ 256449 h 309611"/>
                    <a:gd name="connsiteX38" fmla="*/ 332235 w 375197"/>
                    <a:gd name="connsiteY38" fmla="*/ 237071 h 309611"/>
                    <a:gd name="connsiteX39" fmla="*/ 326051 w 375197"/>
                    <a:gd name="connsiteY39" fmla="*/ 193861 h 309611"/>
                    <a:gd name="connsiteX40" fmla="*/ 354459 w 375197"/>
                    <a:gd name="connsiteY40" fmla="*/ 198974 h 309611"/>
                    <a:gd name="connsiteX41" fmla="*/ 375074 w 375197"/>
                    <a:gd name="connsiteY41" fmla="*/ 177411 h 309611"/>
                    <a:gd name="connsiteX42" fmla="*/ 352645 w 375197"/>
                    <a:gd name="connsiteY42" fmla="*/ 153744 h 3096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</a:cxnLst>
                  <a:rect l="l" t="t" r="r" b="b"/>
                  <a:pathLst>
                    <a:path w="375197" h="309611">
                      <a:moveTo>
                        <a:pt x="352645" y="153744"/>
                      </a:moveTo>
                      <a:cubicBezTo>
                        <a:pt x="345511" y="151683"/>
                        <a:pt x="341100" y="133129"/>
                        <a:pt x="329555" y="128016"/>
                      </a:cubicBezTo>
                      <a:cubicBezTo>
                        <a:pt x="318011" y="122904"/>
                        <a:pt x="320650" y="106370"/>
                        <a:pt x="310878" y="99155"/>
                      </a:cubicBezTo>
                      <a:cubicBezTo>
                        <a:pt x="301107" y="91940"/>
                        <a:pt x="307332" y="77550"/>
                        <a:pt x="306425" y="66171"/>
                      </a:cubicBezTo>
                      <a:cubicBezTo>
                        <a:pt x="305518" y="54791"/>
                        <a:pt x="308239" y="37309"/>
                        <a:pt x="302879" y="34300"/>
                      </a:cubicBezTo>
                      <a:cubicBezTo>
                        <a:pt x="297520" y="31290"/>
                        <a:pt x="275338" y="16818"/>
                        <a:pt x="265772" y="21930"/>
                      </a:cubicBezTo>
                      <a:cubicBezTo>
                        <a:pt x="256207" y="27043"/>
                        <a:pt x="248868" y="31166"/>
                        <a:pt x="244415" y="21930"/>
                      </a:cubicBezTo>
                      <a:cubicBezTo>
                        <a:pt x="239962" y="12695"/>
                        <a:pt x="233777" y="7500"/>
                        <a:pt x="223800" y="10592"/>
                      </a:cubicBezTo>
                      <a:cubicBezTo>
                        <a:pt x="213822" y="13684"/>
                        <a:pt x="207802" y="8531"/>
                        <a:pt x="202442" y="3377"/>
                      </a:cubicBezTo>
                      <a:cubicBezTo>
                        <a:pt x="201576" y="2379"/>
                        <a:pt x="200875" y="1237"/>
                        <a:pt x="200422" y="-4"/>
                      </a:cubicBezTo>
                      <a:cubicBezTo>
                        <a:pt x="195886" y="932"/>
                        <a:pt x="191681" y="2907"/>
                        <a:pt x="188053" y="5768"/>
                      </a:cubicBezTo>
                      <a:cubicBezTo>
                        <a:pt x="182115" y="11293"/>
                        <a:pt x="180961" y="22260"/>
                        <a:pt x="172632" y="22260"/>
                      </a:cubicBezTo>
                      <a:cubicBezTo>
                        <a:pt x="164304" y="22260"/>
                        <a:pt x="154903" y="18137"/>
                        <a:pt x="145420" y="26383"/>
                      </a:cubicBezTo>
                      <a:cubicBezTo>
                        <a:pt x="135937" y="34629"/>
                        <a:pt x="133546" y="44236"/>
                        <a:pt x="134741" y="51122"/>
                      </a:cubicBezTo>
                      <a:cubicBezTo>
                        <a:pt x="135937" y="58007"/>
                        <a:pt x="137133" y="68975"/>
                        <a:pt x="130000" y="68975"/>
                      </a:cubicBezTo>
                      <a:cubicBezTo>
                        <a:pt x="122867" y="68975"/>
                        <a:pt x="124104" y="78622"/>
                        <a:pt x="116971" y="81344"/>
                      </a:cubicBezTo>
                      <a:cubicBezTo>
                        <a:pt x="109839" y="84065"/>
                        <a:pt x="98047" y="96434"/>
                        <a:pt x="96810" y="103278"/>
                      </a:cubicBezTo>
                      <a:cubicBezTo>
                        <a:pt x="95572" y="110122"/>
                        <a:pt x="95655" y="125254"/>
                        <a:pt x="90913" y="125254"/>
                      </a:cubicBezTo>
                      <a:cubicBezTo>
                        <a:pt x="86172" y="125254"/>
                        <a:pt x="69598" y="127975"/>
                        <a:pt x="64856" y="134819"/>
                      </a:cubicBezTo>
                      <a:cubicBezTo>
                        <a:pt x="60114" y="141664"/>
                        <a:pt x="54219" y="148549"/>
                        <a:pt x="44694" y="145828"/>
                      </a:cubicBezTo>
                      <a:cubicBezTo>
                        <a:pt x="35005" y="144171"/>
                        <a:pt x="25192" y="143354"/>
                        <a:pt x="15379" y="143395"/>
                      </a:cubicBezTo>
                      <a:cubicBezTo>
                        <a:pt x="15586" y="144772"/>
                        <a:pt x="15503" y="146182"/>
                        <a:pt x="15091" y="147518"/>
                      </a:cubicBezTo>
                      <a:cubicBezTo>
                        <a:pt x="10679" y="161908"/>
                        <a:pt x="14184" y="175308"/>
                        <a:pt x="21316" y="182482"/>
                      </a:cubicBezTo>
                      <a:cubicBezTo>
                        <a:pt x="28450" y="189656"/>
                        <a:pt x="31088" y="218517"/>
                        <a:pt x="23089" y="222640"/>
                      </a:cubicBezTo>
                      <a:cubicBezTo>
                        <a:pt x="15091" y="226763"/>
                        <a:pt x="1" y="239132"/>
                        <a:pt x="1" y="246307"/>
                      </a:cubicBezTo>
                      <a:cubicBezTo>
                        <a:pt x="1" y="253481"/>
                        <a:pt x="15998" y="259665"/>
                        <a:pt x="13318" y="269932"/>
                      </a:cubicBezTo>
                      <a:cubicBezTo>
                        <a:pt x="11875" y="278347"/>
                        <a:pt x="11627" y="286931"/>
                        <a:pt x="12617" y="295412"/>
                      </a:cubicBezTo>
                      <a:cubicBezTo>
                        <a:pt x="20162" y="295783"/>
                        <a:pt x="27625" y="297350"/>
                        <a:pt x="34057" y="289846"/>
                      </a:cubicBezTo>
                      <a:cubicBezTo>
                        <a:pt x="41148" y="281600"/>
                        <a:pt x="44694" y="271993"/>
                        <a:pt x="60114" y="271993"/>
                      </a:cubicBezTo>
                      <a:cubicBezTo>
                        <a:pt x="75534" y="271993"/>
                        <a:pt x="121713" y="271993"/>
                        <a:pt x="128804" y="281600"/>
                      </a:cubicBezTo>
                      <a:cubicBezTo>
                        <a:pt x="135896" y="291207"/>
                        <a:pt x="154903" y="283002"/>
                        <a:pt x="165541" y="288485"/>
                      </a:cubicBezTo>
                      <a:cubicBezTo>
                        <a:pt x="176178" y="293969"/>
                        <a:pt x="191598" y="299494"/>
                        <a:pt x="192753" y="292609"/>
                      </a:cubicBezTo>
                      <a:cubicBezTo>
                        <a:pt x="193907" y="285723"/>
                        <a:pt x="208214" y="302256"/>
                        <a:pt x="218852" y="295412"/>
                      </a:cubicBezTo>
                      <a:cubicBezTo>
                        <a:pt x="229489" y="288568"/>
                        <a:pt x="238972" y="309101"/>
                        <a:pt x="244910" y="304978"/>
                      </a:cubicBezTo>
                      <a:cubicBezTo>
                        <a:pt x="250846" y="300855"/>
                        <a:pt x="275709" y="300855"/>
                        <a:pt x="281604" y="307740"/>
                      </a:cubicBezTo>
                      <a:cubicBezTo>
                        <a:pt x="287500" y="314625"/>
                        <a:pt x="288696" y="300855"/>
                        <a:pt x="288696" y="292609"/>
                      </a:cubicBezTo>
                      <a:cubicBezTo>
                        <a:pt x="288696" y="284362"/>
                        <a:pt x="312445" y="262469"/>
                        <a:pt x="312445" y="262469"/>
                      </a:cubicBezTo>
                      <a:cubicBezTo>
                        <a:pt x="321309" y="261925"/>
                        <a:pt x="330009" y="259888"/>
                        <a:pt x="338173" y="256449"/>
                      </a:cubicBezTo>
                      <a:cubicBezTo>
                        <a:pt x="335163" y="250347"/>
                        <a:pt x="333184" y="243804"/>
                        <a:pt x="332235" y="237071"/>
                      </a:cubicBezTo>
                      <a:cubicBezTo>
                        <a:pt x="327824" y="214435"/>
                        <a:pt x="320691" y="201077"/>
                        <a:pt x="326051" y="193861"/>
                      </a:cubicBezTo>
                      <a:cubicBezTo>
                        <a:pt x="331411" y="186646"/>
                        <a:pt x="346666" y="203097"/>
                        <a:pt x="354459" y="198974"/>
                      </a:cubicBezTo>
                      <a:cubicBezTo>
                        <a:pt x="362251" y="194851"/>
                        <a:pt x="376682" y="186605"/>
                        <a:pt x="375074" y="177411"/>
                      </a:cubicBezTo>
                      <a:cubicBezTo>
                        <a:pt x="373466" y="168216"/>
                        <a:pt x="359778" y="155765"/>
                        <a:pt x="352645" y="153744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55" name="Freeform: Shape 454">
                  <a:extLst>
                    <a:ext uri="{FF2B5EF4-FFF2-40B4-BE49-F238E27FC236}">
                      <a16:creationId xmlns:a16="http://schemas.microsoft.com/office/drawing/2014/main" id="{9F4C45B9-4F92-DA82-812A-23617F2A1E13}"/>
                    </a:ext>
                  </a:extLst>
                </p:cNvPr>
                <p:cNvSpPr/>
                <p:nvPr>
                  <p:custDataLst>
                    <p:tags r:id="rId31"/>
                  </p:custDataLst>
                </p:nvPr>
              </p:nvSpPr>
              <p:spPr>
                <a:xfrm>
                  <a:off x="8272002" y="3255073"/>
                  <a:ext cx="384797" cy="213082"/>
                </a:xfrm>
                <a:custGeom>
                  <a:avLst/>
                  <a:gdLst>
                    <a:gd name="connsiteX0" fmla="*/ 95467 w 290816"/>
                    <a:gd name="connsiteY0" fmla="*/ 112302 h 161040"/>
                    <a:gd name="connsiteX1" fmla="*/ 146181 w 290816"/>
                    <a:gd name="connsiteY1" fmla="*/ 112302 h 161040"/>
                    <a:gd name="connsiteX2" fmla="*/ 169723 w 290816"/>
                    <a:gd name="connsiteY2" fmla="*/ 122774 h 161040"/>
                    <a:gd name="connsiteX3" fmla="*/ 207738 w 290816"/>
                    <a:gd name="connsiteY3" fmla="*/ 145905 h 161040"/>
                    <a:gd name="connsiteX4" fmla="*/ 228023 w 290816"/>
                    <a:gd name="connsiteY4" fmla="*/ 161036 h 161040"/>
                    <a:gd name="connsiteX5" fmla="*/ 235816 w 290816"/>
                    <a:gd name="connsiteY5" fmla="*/ 151017 h 161040"/>
                    <a:gd name="connsiteX6" fmla="*/ 263028 w 290816"/>
                    <a:gd name="connsiteY6" fmla="*/ 146894 h 161040"/>
                    <a:gd name="connsiteX7" fmla="*/ 278448 w 290816"/>
                    <a:gd name="connsiteY7" fmla="*/ 130402 h 161040"/>
                    <a:gd name="connsiteX8" fmla="*/ 290817 w 290816"/>
                    <a:gd name="connsiteY8" fmla="*/ 124630 h 161040"/>
                    <a:gd name="connsiteX9" fmla="*/ 282200 w 290816"/>
                    <a:gd name="connsiteY9" fmla="*/ 96139 h 161040"/>
                    <a:gd name="connsiteX10" fmla="*/ 269831 w 290816"/>
                    <a:gd name="connsiteY10" fmla="*/ 69381 h 161040"/>
                    <a:gd name="connsiteX11" fmla="*/ 265378 w 290816"/>
                    <a:gd name="connsiteY11" fmla="*/ 43653 h 161040"/>
                    <a:gd name="connsiteX12" fmla="*/ 258616 w 290816"/>
                    <a:gd name="connsiteY12" fmla="*/ 31820 h 161040"/>
                    <a:gd name="connsiteX13" fmla="*/ 220396 w 290816"/>
                    <a:gd name="connsiteY13" fmla="*/ 28934 h 161040"/>
                    <a:gd name="connsiteX14" fmla="*/ 180113 w 290816"/>
                    <a:gd name="connsiteY14" fmla="*/ 1474 h 161040"/>
                    <a:gd name="connsiteX15" fmla="*/ 136986 w 290816"/>
                    <a:gd name="connsiteY15" fmla="*/ 2217 h 161040"/>
                    <a:gd name="connsiteX16" fmla="*/ 133358 w 290816"/>
                    <a:gd name="connsiteY16" fmla="*/ 48147 h 161040"/>
                    <a:gd name="connsiteX17" fmla="*/ 100786 w 290816"/>
                    <a:gd name="connsiteY17" fmla="*/ 65959 h 161040"/>
                    <a:gd name="connsiteX18" fmla="*/ 65245 w 290816"/>
                    <a:gd name="connsiteY18" fmla="*/ 17925 h 161040"/>
                    <a:gd name="connsiteX19" fmla="*/ 26736 w 290816"/>
                    <a:gd name="connsiteY19" fmla="*/ 38541 h 161040"/>
                    <a:gd name="connsiteX20" fmla="*/ 10738 w 290816"/>
                    <a:gd name="connsiteY20" fmla="*/ 75648 h 161040"/>
                    <a:gd name="connsiteX21" fmla="*/ 4801 w 290816"/>
                    <a:gd name="connsiteY21" fmla="*/ 119558 h 161040"/>
                    <a:gd name="connsiteX22" fmla="*/ 5791 w 290816"/>
                    <a:gd name="connsiteY22" fmla="*/ 121991 h 161040"/>
                    <a:gd name="connsiteX23" fmla="*/ 37538 w 290816"/>
                    <a:gd name="connsiteY23" fmla="*/ 112384 h 161040"/>
                    <a:gd name="connsiteX24" fmla="*/ 95467 w 290816"/>
                    <a:gd name="connsiteY24" fmla="*/ 112302 h 1610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290816" h="161040">
                      <a:moveTo>
                        <a:pt x="95467" y="112302"/>
                      </a:moveTo>
                      <a:cubicBezTo>
                        <a:pt x="106311" y="112302"/>
                        <a:pt x="131709" y="118610"/>
                        <a:pt x="146181" y="112302"/>
                      </a:cubicBezTo>
                      <a:cubicBezTo>
                        <a:pt x="160653" y="105994"/>
                        <a:pt x="160653" y="124918"/>
                        <a:pt x="169723" y="122774"/>
                      </a:cubicBezTo>
                      <a:cubicBezTo>
                        <a:pt x="178794" y="120630"/>
                        <a:pt x="196853" y="135391"/>
                        <a:pt x="207738" y="145905"/>
                      </a:cubicBezTo>
                      <a:cubicBezTo>
                        <a:pt x="214046" y="151529"/>
                        <a:pt x="220849" y="156592"/>
                        <a:pt x="228023" y="161036"/>
                      </a:cubicBezTo>
                      <a:cubicBezTo>
                        <a:pt x="229920" y="157202"/>
                        <a:pt x="232558" y="153792"/>
                        <a:pt x="235816" y="151017"/>
                      </a:cubicBezTo>
                      <a:cubicBezTo>
                        <a:pt x="245298" y="142771"/>
                        <a:pt x="254740" y="146894"/>
                        <a:pt x="263028" y="146894"/>
                      </a:cubicBezTo>
                      <a:cubicBezTo>
                        <a:pt x="271315" y="146894"/>
                        <a:pt x="272511" y="135927"/>
                        <a:pt x="278448" y="130402"/>
                      </a:cubicBezTo>
                      <a:cubicBezTo>
                        <a:pt x="282076" y="127541"/>
                        <a:pt x="286282" y="125566"/>
                        <a:pt x="290817" y="124630"/>
                      </a:cubicBezTo>
                      <a:cubicBezTo>
                        <a:pt x="287642" y="117043"/>
                        <a:pt x="287477" y="102242"/>
                        <a:pt x="282200" y="96139"/>
                      </a:cubicBezTo>
                      <a:cubicBezTo>
                        <a:pt x="275974" y="88924"/>
                        <a:pt x="267109" y="76555"/>
                        <a:pt x="269831" y="69381"/>
                      </a:cubicBezTo>
                      <a:cubicBezTo>
                        <a:pt x="273170" y="60636"/>
                        <a:pt x="271439" y="50770"/>
                        <a:pt x="265378" y="43653"/>
                      </a:cubicBezTo>
                      <a:cubicBezTo>
                        <a:pt x="262368" y="40190"/>
                        <a:pt x="260059" y="36170"/>
                        <a:pt x="258616" y="31820"/>
                      </a:cubicBezTo>
                      <a:cubicBezTo>
                        <a:pt x="244185" y="29676"/>
                        <a:pt x="224766" y="27243"/>
                        <a:pt x="220396" y="28934"/>
                      </a:cubicBezTo>
                      <a:cubicBezTo>
                        <a:pt x="213304" y="31696"/>
                        <a:pt x="184855" y="5598"/>
                        <a:pt x="180113" y="1474"/>
                      </a:cubicBezTo>
                      <a:cubicBezTo>
                        <a:pt x="177021" y="-1206"/>
                        <a:pt x="155952" y="196"/>
                        <a:pt x="136986" y="2217"/>
                      </a:cubicBezTo>
                      <a:cubicBezTo>
                        <a:pt x="126060" y="16235"/>
                        <a:pt x="133935" y="26584"/>
                        <a:pt x="133358" y="48147"/>
                      </a:cubicBezTo>
                      <a:cubicBezTo>
                        <a:pt x="132781" y="69711"/>
                        <a:pt x="112001" y="65959"/>
                        <a:pt x="100786" y="65959"/>
                      </a:cubicBezTo>
                      <a:cubicBezTo>
                        <a:pt x="89571" y="65959"/>
                        <a:pt x="71141" y="26872"/>
                        <a:pt x="65245" y="17925"/>
                      </a:cubicBezTo>
                      <a:cubicBezTo>
                        <a:pt x="59349" y="8978"/>
                        <a:pt x="40507" y="28934"/>
                        <a:pt x="26736" y="38541"/>
                      </a:cubicBezTo>
                      <a:cubicBezTo>
                        <a:pt x="12965" y="48147"/>
                        <a:pt x="20221" y="66701"/>
                        <a:pt x="10738" y="75648"/>
                      </a:cubicBezTo>
                      <a:cubicBezTo>
                        <a:pt x="1256" y="84595"/>
                        <a:pt x="-4682" y="99644"/>
                        <a:pt x="4801" y="119558"/>
                      </a:cubicBezTo>
                      <a:cubicBezTo>
                        <a:pt x="5172" y="120342"/>
                        <a:pt x="5461" y="121208"/>
                        <a:pt x="5791" y="121991"/>
                      </a:cubicBezTo>
                      <a:cubicBezTo>
                        <a:pt x="17665" y="120919"/>
                        <a:pt x="30282" y="118363"/>
                        <a:pt x="37538" y="112384"/>
                      </a:cubicBezTo>
                      <a:cubicBezTo>
                        <a:pt x="50196" y="101829"/>
                        <a:pt x="84665" y="112302"/>
                        <a:pt x="95467" y="112302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56" name="Freeform: Shape 455">
                  <a:extLst>
                    <a:ext uri="{FF2B5EF4-FFF2-40B4-BE49-F238E27FC236}">
                      <a16:creationId xmlns:a16="http://schemas.microsoft.com/office/drawing/2014/main" id="{C813406C-C8C0-6BC0-1DFA-F0FEF88C0D72}"/>
                    </a:ext>
                  </a:extLst>
                </p:cNvPr>
                <p:cNvSpPr/>
                <p:nvPr>
                  <p:custDataLst>
                    <p:tags r:id="rId32"/>
                  </p:custDataLst>
                </p:nvPr>
              </p:nvSpPr>
              <p:spPr>
                <a:xfrm>
                  <a:off x="8270180" y="3397567"/>
                  <a:ext cx="303533" cy="216130"/>
                </a:xfrm>
                <a:custGeom>
                  <a:avLst/>
                  <a:gdLst>
                    <a:gd name="connsiteX0" fmla="*/ 29598 w 229399"/>
                    <a:gd name="connsiteY0" fmla="*/ 80020 h 163343"/>
                    <a:gd name="connsiteX1" fmla="*/ 53594 w 229399"/>
                    <a:gd name="connsiteY1" fmla="*/ 90327 h 163343"/>
                    <a:gd name="connsiteX2" fmla="*/ 75776 w 229399"/>
                    <a:gd name="connsiteY2" fmla="*/ 105706 h 163343"/>
                    <a:gd name="connsiteX3" fmla="*/ 75776 w 229399"/>
                    <a:gd name="connsiteY3" fmla="*/ 138690 h 163343"/>
                    <a:gd name="connsiteX4" fmla="*/ 107152 w 229399"/>
                    <a:gd name="connsiteY4" fmla="*/ 160295 h 163343"/>
                    <a:gd name="connsiteX5" fmla="*/ 136467 w 229399"/>
                    <a:gd name="connsiteY5" fmla="*/ 162728 h 163343"/>
                    <a:gd name="connsiteX6" fmla="*/ 156628 w 229399"/>
                    <a:gd name="connsiteY6" fmla="*/ 151719 h 163343"/>
                    <a:gd name="connsiteX7" fmla="*/ 182686 w 229399"/>
                    <a:gd name="connsiteY7" fmla="*/ 142154 h 163343"/>
                    <a:gd name="connsiteX8" fmla="*/ 188582 w 229399"/>
                    <a:gd name="connsiteY8" fmla="*/ 120178 h 163343"/>
                    <a:gd name="connsiteX9" fmla="*/ 208744 w 229399"/>
                    <a:gd name="connsiteY9" fmla="*/ 98243 h 163343"/>
                    <a:gd name="connsiteX10" fmla="*/ 221773 w 229399"/>
                    <a:gd name="connsiteY10" fmla="*/ 85874 h 163343"/>
                    <a:gd name="connsiteX11" fmla="*/ 226514 w 229399"/>
                    <a:gd name="connsiteY11" fmla="*/ 68022 h 163343"/>
                    <a:gd name="connsiteX12" fmla="*/ 229400 w 229399"/>
                    <a:gd name="connsiteY12" fmla="*/ 53385 h 163343"/>
                    <a:gd name="connsiteX13" fmla="*/ 209115 w 229399"/>
                    <a:gd name="connsiteY13" fmla="*/ 38253 h 163343"/>
                    <a:gd name="connsiteX14" fmla="*/ 171100 w 229399"/>
                    <a:gd name="connsiteY14" fmla="*/ 15123 h 163343"/>
                    <a:gd name="connsiteX15" fmla="*/ 147558 w 229399"/>
                    <a:gd name="connsiteY15" fmla="*/ 4650 h 163343"/>
                    <a:gd name="connsiteX16" fmla="*/ 96844 w 229399"/>
                    <a:gd name="connsiteY16" fmla="*/ 4650 h 163343"/>
                    <a:gd name="connsiteX17" fmla="*/ 39122 w 229399"/>
                    <a:gd name="connsiteY17" fmla="*/ 4650 h 163343"/>
                    <a:gd name="connsiteX18" fmla="*/ 7374 w 229399"/>
                    <a:gd name="connsiteY18" fmla="*/ 14257 h 163343"/>
                    <a:gd name="connsiteX19" fmla="*/ 3457 w 229399"/>
                    <a:gd name="connsiteY19" fmla="*/ 64599 h 163343"/>
                    <a:gd name="connsiteX20" fmla="*/ 5477 w 229399"/>
                    <a:gd name="connsiteY20" fmla="*/ 77505 h 163343"/>
                    <a:gd name="connsiteX21" fmla="*/ 29598 w 229399"/>
                    <a:gd name="connsiteY21" fmla="*/ 80020 h 163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229399" h="163343">
                      <a:moveTo>
                        <a:pt x="29598" y="80020"/>
                      </a:moveTo>
                      <a:cubicBezTo>
                        <a:pt x="34009" y="87235"/>
                        <a:pt x="48233" y="93420"/>
                        <a:pt x="53594" y="90327"/>
                      </a:cubicBezTo>
                      <a:cubicBezTo>
                        <a:pt x="58954" y="87235"/>
                        <a:pt x="75776" y="97501"/>
                        <a:pt x="75776" y="105706"/>
                      </a:cubicBezTo>
                      <a:cubicBezTo>
                        <a:pt x="75776" y="113911"/>
                        <a:pt x="71323" y="138690"/>
                        <a:pt x="75776" y="138690"/>
                      </a:cubicBezTo>
                      <a:cubicBezTo>
                        <a:pt x="80228" y="138690"/>
                        <a:pt x="105379" y="147885"/>
                        <a:pt x="107152" y="160295"/>
                      </a:cubicBezTo>
                      <a:cubicBezTo>
                        <a:pt x="116965" y="160254"/>
                        <a:pt x="126778" y="161071"/>
                        <a:pt x="136467" y="162728"/>
                      </a:cubicBezTo>
                      <a:cubicBezTo>
                        <a:pt x="145991" y="165449"/>
                        <a:pt x="151887" y="158605"/>
                        <a:pt x="156628" y="151719"/>
                      </a:cubicBezTo>
                      <a:cubicBezTo>
                        <a:pt x="161370" y="144834"/>
                        <a:pt x="177945" y="142154"/>
                        <a:pt x="182686" y="142154"/>
                      </a:cubicBezTo>
                      <a:cubicBezTo>
                        <a:pt x="187427" y="142154"/>
                        <a:pt x="187427" y="127063"/>
                        <a:pt x="188582" y="120178"/>
                      </a:cubicBezTo>
                      <a:cubicBezTo>
                        <a:pt x="189737" y="113293"/>
                        <a:pt x="201652" y="101006"/>
                        <a:pt x="208744" y="98243"/>
                      </a:cubicBezTo>
                      <a:cubicBezTo>
                        <a:pt x="215835" y="95481"/>
                        <a:pt x="214681" y="85874"/>
                        <a:pt x="221773" y="85874"/>
                      </a:cubicBezTo>
                      <a:cubicBezTo>
                        <a:pt x="228864" y="85874"/>
                        <a:pt x="227668" y="74907"/>
                        <a:pt x="226514" y="68022"/>
                      </a:cubicBezTo>
                      <a:cubicBezTo>
                        <a:pt x="225896" y="62958"/>
                        <a:pt x="226885" y="57825"/>
                        <a:pt x="229400" y="53385"/>
                      </a:cubicBezTo>
                      <a:cubicBezTo>
                        <a:pt x="222226" y="48940"/>
                        <a:pt x="215423" y="43877"/>
                        <a:pt x="209115" y="38253"/>
                      </a:cubicBezTo>
                      <a:cubicBezTo>
                        <a:pt x="198230" y="27739"/>
                        <a:pt x="180253" y="13020"/>
                        <a:pt x="171100" y="15123"/>
                      </a:cubicBezTo>
                      <a:cubicBezTo>
                        <a:pt x="161947" y="17226"/>
                        <a:pt x="162030" y="-1658"/>
                        <a:pt x="147558" y="4650"/>
                      </a:cubicBezTo>
                      <a:cubicBezTo>
                        <a:pt x="133086" y="10959"/>
                        <a:pt x="107688" y="4650"/>
                        <a:pt x="96844" y="4650"/>
                      </a:cubicBezTo>
                      <a:cubicBezTo>
                        <a:pt x="86001" y="4650"/>
                        <a:pt x="51491" y="-5822"/>
                        <a:pt x="39122" y="4650"/>
                      </a:cubicBezTo>
                      <a:cubicBezTo>
                        <a:pt x="31865" y="10629"/>
                        <a:pt x="19249" y="13185"/>
                        <a:pt x="7374" y="14257"/>
                      </a:cubicBezTo>
                      <a:cubicBezTo>
                        <a:pt x="15620" y="33429"/>
                        <a:pt x="12528" y="52766"/>
                        <a:pt x="3457" y="64599"/>
                      </a:cubicBezTo>
                      <a:cubicBezTo>
                        <a:pt x="-3016" y="72846"/>
                        <a:pt x="736" y="74206"/>
                        <a:pt x="5477" y="77505"/>
                      </a:cubicBezTo>
                      <a:cubicBezTo>
                        <a:pt x="15002" y="76391"/>
                        <a:pt x="26010" y="74247"/>
                        <a:pt x="29598" y="8002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57" name="Freeform: Shape 456">
                  <a:extLst>
                    <a:ext uri="{FF2B5EF4-FFF2-40B4-BE49-F238E27FC236}">
                      <a16:creationId xmlns:a16="http://schemas.microsoft.com/office/drawing/2014/main" id="{7D271AA0-AAEB-67D6-86F5-3D2808FDB045}"/>
                    </a:ext>
                  </a:extLst>
                </p:cNvPr>
                <p:cNvSpPr/>
                <p:nvPr>
                  <p:custDataLst>
                    <p:tags r:id="rId33"/>
                  </p:custDataLst>
                </p:nvPr>
              </p:nvSpPr>
              <p:spPr>
                <a:xfrm>
                  <a:off x="8276554" y="2056901"/>
                  <a:ext cx="554852" cy="1018300"/>
                </a:xfrm>
                <a:custGeom>
                  <a:avLst/>
                  <a:gdLst>
                    <a:gd name="connsiteX0" fmla="*/ 406491 w 419337"/>
                    <a:gd name="connsiteY0" fmla="*/ 543480 h 769594"/>
                    <a:gd name="connsiteX1" fmla="*/ 355531 w 419337"/>
                    <a:gd name="connsiteY1" fmla="*/ 498126 h 769594"/>
                    <a:gd name="connsiteX2" fmla="*/ 380269 w 419337"/>
                    <a:gd name="connsiteY2" fmla="*/ 472027 h 769594"/>
                    <a:gd name="connsiteX3" fmla="*/ 358953 w 419337"/>
                    <a:gd name="connsiteY3" fmla="*/ 447289 h 769594"/>
                    <a:gd name="connsiteX4" fmla="*/ 364890 w 419337"/>
                    <a:gd name="connsiteY4" fmla="*/ 423952 h 769594"/>
                    <a:gd name="connsiteX5" fmla="*/ 344770 w 419337"/>
                    <a:gd name="connsiteY5" fmla="*/ 408862 h 769594"/>
                    <a:gd name="connsiteX6" fmla="*/ 354211 w 419337"/>
                    <a:gd name="connsiteY6" fmla="*/ 395174 h 769594"/>
                    <a:gd name="connsiteX7" fmla="*/ 348315 w 419337"/>
                    <a:gd name="connsiteY7" fmla="*/ 359468 h 769594"/>
                    <a:gd name="connsiteX8" fmla="*/ 361344 w 419337"/>
                    <a:gd name="connsiteY8" fmla="*/ 332050 h 769594"/>
                    <a:gd name="connsiteX9" fmla="*/ 323412 w 419337"/>
                    <a:gd name="connsiteY9" fmla="*/ 261958 h 769594"/>
                    <a:gd name="connsiteX10" fmla="*/ 335286 w 419337"/>
                    <a:gd name="connsiteY10" fmla="*/ 234540 h 769594"/>
                    <a:gd name="connsiteX11" fmla="*/ 360025 w 419337"/>
                    <a:gd name="connsiteY11" fmla="*/ 200236 h 769594"/>
                    <a:gd name="connsiteX12" fmla="*/ 331576 w 419337"/>
                    <a:gd name="connsiteY12" fmla="*/ 165932 h 769594"/>
                    <a:gd name="connsiteX13" fmla="*/ 306837 w 419337"/>
                    <a:gd name="connsiteY13" fmla="*/ 149440 h 769594"/>
                    <a:gd name="connsiteX14" fmla="*/ 300900 w 419337"/>
                    <a:gd name="connsiteY14" fmla="*/ 123382 h 769594"/>
                    <a:gd name="connsiteX15" fmla="*/ 306837 w 419337"/>
                    <a:gd name="connsiteY15" fmla="*/ 98644 h 769594"/>
                    <a:gd name="connsiteX16" fmla="*/ 322175 w 419337"/>
                    <a:gd name="connsiteY16" fmla="*/ 84956 h 769594"/>
                    <a:gd name="connsiteX17" fmla="*/ 331040 w 419337"/>
                    <a:gd name="connsiteY17" fmla="*/ 68051 h 769594"/>
                    <a:gd name="connsiteX18" fmla="*/ 331040 w 419337"/>
                    <a:gd name="connsiteY18" fmla="*/ 42200 h 769594"/>
                    <a:gd name="connsiteX19" fmla="*/ 289191 w 419337"/>
                    <a:gd name="connsiteY19" fmla="*/ 9215 h 769594"/>
                    <a:gd name="connsiteX20" fmla="*/ 256825 w 419337"/>
                    <a:gd name="connsiteY20" fmla="*/ 9215 h 769594"/>
                    <a:gd name="connsiteX21" fmla="*/ 216873 w 419337"/>
                    <a:gd name="connsiteY21" fmla="*/ 20265 h 769594"/>
                    <a:gd name="connsiteX22" fmla="*/ 192134 w 419337"/>
                    <a:gd name="connsiteY22" fmla="*/ 51105 h 769594"/>
                    <a:gd name="connsiteX23" fmla="*/ 184507 w 419337"/>
                    <a:gd name="connsiteY23" fmla="*/ 90810 h 769594"/>
                    <a:gd name="connsiteX24" fmla="*/ 167396 w 419337"/>
                    <a:gd name="connsiteY24" fmla="*/ 117239 h 769594"/>
                    <a:gd name="connsiteX25" fmla="*/ 144554 w 419337"/>
                    <a:gd name="connsiteY25" fmla="*/ 110601 h 769594"/>
                    <a:gd name="connsiteX26" fmla="*/ 114085 w 419337"/>
                    <a:gd name="connsiteY26" fmla="*/ 108375 h 769594"/>
                    <a:gd name="connsiteX27" fmla="*/ 70339 w 419337"/>
                    <a:gd name="connsiteY27" fmla="*/ 106189 h 769594"/>
                    <a:gd name="connsiteX28" fmla="*/ 26553 w 419337"/>
                    <a:gd name="connsiteY28" fmla="*/ 68711 h 769594"/>
                    <a:gd name="connsiteX29" fmla="*/ 1 w 419337"/>
                    <a:gd name="connsiteY29" fmla="*/ 91346 h 769594"/>
                    <a:gd name="connsiteX30" fmla="*/ 43705 w 419337"/>
                    <a:gd name="connsiteY30" fmla="*/ 128248 h 769594"/>
                    <a:gd name="connsiteX31" fmla="*/ 100809 w 419337"/>
                    <a:gd name="connsiteY31" fmla="*/ 167911 h 769594"/>
                    <a:gd name="connsiteX32" fmla="*/ 102664 w 419337"/>
                    <a:gd name="connsiteY32" fmla="*/ 212028 h 769594"/>
                    <a:gd name="connsiteX33" fmla="*/ 112230 w 419337"/>
                    <a:gd name="connsiteY33" fmla="*/ 253877 h 769594"/>
                    <a:gd name="connsiteX34" fmla="*/ 110292 w 419337"/>
                    <a:gd name="connsiteY34" fmla="*/ 293541 h 769594"/>
                    <a:gd name="connsiteX35" fmla="*/ 117961 w 419337"/>
                    <a:gd name="connsiteY35" fmla="*/ 317743 h 769594"/>
                    <a:gd name="connsiteX36" fmla="*/ 123568 w 419337"/>
                    <a:gd name="connsiteY36" fmla="*/ 340626 h 769594"/>
                    <a:gd name="connsiteX37" fmla="*/ 155810 w 419337"/>
                    <a:gd name="connsiteY37" fmla="*/ 356005 h 769594"/>
                    <a:gd name="connsiteX38" fmla="*/ 169994 w 419337"/>
                    <a:gd name="connsiteY38" fmla="*/ 391628 h 769594"/>
                    <a:gd name="connsiteX39" fmla="*/ 162902 w 419337"/>
                    <a:gd name="connsiteY39" fmla="*/ 408120 h 769594"/>
                    <a:gd name="connsiteX40" fmla="*/ 140967 w 419337"/>
                    <a:gd name="connsiteY40" fmla="*/ 428735 h 769594"/>
                    <a:gd name="connsiteX41" fmla="*/ 100108 w 419337"/>
                    <a:gd name="connsiteY41" fmla="*/ 475367 h 769594"/>
                    <a:gd name="connsiteX42" fmla="*/ 76400 w 419337"/>
                    <a:gd name="connsiteY42" fmla="*/ 496642 h 769594"/>
                    <a:gd name="connsiteX43" fmla="*/ 59125 w 419337"/>
                    <a:gd name="connsiteY43" fmla="*/ 507939 h 769594"/>
                    <a:gd name="connsiteX44" fmla="*/ 55579 w 419337"/>
                    <a:gd name="connsiteY44" fmla="*/ 516185 h 769594"/>
                    <a:gd name="connsiteX45" fmla="*/ 55126 w 419337"/>
                    <a:gd name="connsiteY45" fmla="*/ 521875 h 769594"/>
                    <a:gd name="connsiteX46" fmla="*/ 28779 w 419337"/>
                    <a:gd name="connsiteY46" fmla="*/ 537625 h 769594"/>
                    <a:gd name="connsiteX47" fmla="*/ 23460 w 419337"/>
                    <a:gd name="connsiteY47" fmla="*/ 538779 h 769594"/>
                    <a:gd name="connsiteX48" fmla="*/ 9483 w 419337"/>
                    <a:gd name="connsiteY48" fmla="*/ 567146 h 769594"/>
                    <a:gd name="connsiteX49" fmla="*/ 10679 w 419337"/>
                    <a:gd name="connsiteY49" fmla="*/ 593904 h 769594"/>
                    <a:gd name="connsiteX50" fmla="*/ 14802 w 419337"/>
                    <a:gd name="connsiteY50" fmla="*/ 626147 h 769594"/>
                    <a:gd name="connsiteX51" fmla="*/ 21935 w 419337"/>
                    <a:gd name="connsiteY51" fmla="*/ 678262 h 769594"/>
                    <a:gd name="connsiteX52" fmla="*/ 11256 w 419337"/>
                    <a:gd name="connsiteY52" fmla="*/ 726296 h 769594"/>
                    <a:gd name="connsiteX53" fmla="*/ 48611 w 419337"/>
                    <a:gd name="connsiteY53" fmla="*/ 743447 h 769594"/>
                    <a:gd name="connsiteX54" fmla="*/ 72896 w 419337"/>
                    <a:gd name="connsiteY54" fmla="*/ 758538 h 769594"/>
                    <a:gd name="connsiteX55" fmla="*/ 116724 w 419337"/>
                    <a:gd name="connsiteY55" fmla="*/ 769505 h 769594"/>
                    <a:gd name="connsiteX56" fmla="*/ 241116 w 419337"/>
                    <a:gd name="connsiteY56" fmla="*/ 736521 h 769594"/>
                    <a:gd name="connsiteX57" fmla="*/ 276986 w 419337"/>
                    <a:gd name="connsiteY57" fmla="*/ 731779 h 769594"/>
                    <a:gd name="connsiteX58" fmla="*/ 296159 w 419337"/>
                    <a:gd name="connsiteY58" fmla="*/ 703578 h 769594"/>
                    <a:gd name="connsiteX59" fmla="*/ 357716 w 419337"/>
                    <a:gd name="connsiteY59" fmla="*/ 645855 h 769594"/>
                    <a:gd name="connsiteX60" fmla="*/ 416964 w 419337"/>
                    <a:gd name="connsiteY60" fmla="*/ 579886 h 769594"/>
                    <a:gd name="connsiteX61" fmla="*/ 406491 w 419337"/>
                    <a:gd name="connsiteY61" fmla="*/ 543480 h 7695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</a:cxnLst>
                  <a:rect l="l" t="t" r="r" b="b"/>
                  <a:pathLst>
                    <a:path w="419336" h="769594">
                      <a:moveTo>
                        <a:pt x="406491" y="543480"/>
                      </a:moveTo>
                      <a:cubicBezTo>
                        <a:pt x="391071" y="522864"/>
                        <a:pt x="356767" y="509176"/>
                        <a:pt x="355531" y="498126"/>
                      </a:cubicBezTo>
                      <a:cubicBezTo>
                        <a:pt x="354294" y="487076"/>
                        <a:pt x="381629" y="485757"/>
                        <a:pt x="380269" y="472027"/>
                      </a:cubicBezTo>
                      <a:cubicBezTo>
                        <a:pt x="378908" y="458298"/>
                        <a:pt x="364931" y="458339"/>
                        <a:pt x="358953" y="447289"/>
                      </a:cubicBezTo>
                      <a:cubicBezTo>
                        <a:pt x="352974" y="436239"/>
                        <a:pt x="366085" y="429436"/>
                        <a:pt x="364890" y="423952"/>
                      </a:cubicBezTo>
                      <a:cubicBezTo>
                        <a:pt x="363694" y="418469"/>
                        <a:pt x="345924" y="415706"/>
                        <a:pt x="344770" y="408862"/>
                      </a:cubicBezTo>
                      <a:cubicBezTo>
                        <a:pt x="343615" y="402018"/>
                        <a:pt x="356644" y="403379"/>
                        <a:pt x="354211" y="395174"/>
                      </a:cubicBezTo>
                      <a:cubicBezTo>
                        <a:pt x="351779" y="386969"/>
                        <a:pt x="340028" y="371837"/>
                        <a:pt x="348315" y="359468"/>
                      </a:cubicBezTo>
                      <a:cubicBezTo>
                        <a:pt x="356603" y="347099"/>
                        <a:pt x="374414" y="359468"/>
                        <a:pt x="361344" y="332050"/>
                      </a:cubicBezTo>
                      <a:cubicBezTo>
                        <a:pt x="348274" y="304632"/>
                        <a:pt x="328359" y="270204"/>
                        <a:pt x="323412" y="261958"/>
                      </a:cubicBezTo>
                      <a:cubicBezTo>
                        <a:pt x="318465" y="253712"/>
                        <a:pt x="328195" y="239982"/>
                        <a:pt x="335286" y="234540"/>
                      </a:cubicBezTo>
                      <a:cubicBezTo>
                        <a:pt x="342378" y="229097"/>
                        <a:pt x="360025" y="208482"/>
                        <a:pt x="360025" y="200236"/>
                      </a:cubicBezTo>
                      <a:cubicBezTo>
                        <a:pt x="360025" y="191990"/>
                        <a:pt x="337513" y="170014"/>
                        <a:pt x="331576" y="165932"/>
                      </a:cubicBezTo>
                      <a:cubicBezTo>
                        <a:pt x="325639" y="161851"/>
                        <a:pt x="312610" y="163211"/>
                        <a:pt x="306837" y="149440"/>
                      </a:cubicBezTo>
                      <a:cubicBezTo>
                        <a:pt x="301065" y="135669"/>
                        <a:pt x="295004" y="131670"/>
                        <a:pt x="300900" y="123382"/>
                      </a:cubicBezTo>
                      <a:cubicBezTo>
                        <a:pt x="306796" y="115095"/>
                        <a:pt x="306837" y="106890"/>
                        <a:pt x="306837" y="98644"/>
                      </a:cubicBezTo>
                      <a:cubicBezTo>
                        <a:pt x="306837" y="90398"/>
                        <a:pt x="319866" y="97284"/>
                        <a:pt x="322175" y="84956"/>
                      </a:cubicBezTo>
                      <a:cubicBezTo>
                        <a:pt x="323701" y="78676"/>
                        <a:pt x="326752" y="72871"/>
                        <a:pt x="331040" y="68051"/>
                      </a:cubicBezTo>
                      <a:cubicBezTo>
                        <a:pt x="331534" y="59442"/>
                        <a:pt x="331534" y="50809"/>
                        <a:pt x="331040" y="42200"/>
                      </a:cubicBezTo>
                      <a:cubicBezTo>
                        <a:pt x="329143" y="28965"/>
                        <a:pt x="296777" y="24553"/>
                        <a:pt x="289191" y="9215"/>
                      </a:cubicBezTo>
                      <a:cubicBezTo>
                        <a:pt x="281604" y="-6122"/>
                        <a:pt x="262556" y="392"/>
                        <a:pt x="256825" y="9215"/>
                      </a:cubicBezTo>
                      <a:cubicBezTo>
                        <a:pt x="251094" y="18039"/>
                        <a:pt x="216873" y="7030"/>
                        <a:pt x="216873" y="20265"/>
                      </a:cubicBezTo>
                      <a:cubicBezTo>
                        <a:pt x="216873" y="33500"/>
                        <a:pt x="192134" y="35685"/>
                        <a:pt x="192134" y="51105"/>
                      </a:cubicBezTo>
                      <a:cubicBezTo>
                        <a:pt x="192134" y="66526"/>
                        <a:pt x="203555" y="92996"/>
                        <a:pt x="184507" y="90810"/>
                      </a:cubicBezTo>
                      <a:cubicBezTo>
                        <a:pt x="165458" y="88625"/>
                        <a:pt x="178817" y="99593"/>
                        <a:pt x="167396" y="117239"/>
                      </a:cubicBezTo>
                      <a:cubicBezTo>
                        <a:pt x="155975" y="134886"/>
                        <a:pt x="155975" y="106189"/>
                        <a:pt x="144554" y="110601"/>
                      </a:cubicBezTo>
                      <a:cubicBezTo>
                        <a:pt x="133133" y="115013"/>
                        <a:pt x="119816" y="97366"/>
                        <a:pt x="114085" y="108375"/>
                      </a:cubicBezTo>
                      <a:cubicBezTo>
                        <a:pt x="108354" y="119383"/>
                        <a:pt x="89347" y="110601"/>
                        <a:pt x="70339" y="106189"/>
                      </a:cubicBezTo>
                      <a:cubicBezTo>
                        <a:pt x="51332" y="101778"/>
                        <a:pt x="41808" y="70979"/>
                        <a:pt x="26553" y="68711"/>
                      </a:cubicBezTo>
                      <a:cubicBezTo>
                        <a:pt x="16451" y="67309"/>
                        <a:pt x="5649" y="76627"/>
                        <a:pt x="1" y="91346"/>
                      </a:cubicBezTo>
                      <a:cubicBezTo>
                        <a:pt x="14761" y="102396"/>
                        <a:pt x="24409" y="118105"/>
                        <a:pt x="43705" y="128248"/>
                      </a:cubicBezTo>
                      <a:cubicBezTo>
                        <a:pt x="64608" y="139256"/>
                        <a:pt x="102664" y="152450"/>
                        <a:pt x="100809" y="167911"/>
                      </a:cubicBezTo>
                      <a:cubicBezTo>
                        <a:pt x="98954" y="183373"/>
                        <a:pt x="93181" y="205390"/>
                        <a:pt x="102664" y="212028"/>
                      </a:cubicBezTo>
                      <a:cubicBezTo>
                        <a:pt x="112147" y="218666"/>
                        <a:pt x="100809" y="247239"/>
                        <a:pt x="112230" y="253877"/>
                      </a:cubicBezTo>
                      <a:cubicBezTo>
                        <a:pt x="123651" y="260515"/>
                        <a:pt x="119816" y="293541"/>
                        <a:pt x="110292" y="293541"/>
                      </a:cubicBezTo>
                      <a:cubicBezTo>
                        <a:pt x="100768" y="293541"/>
                        <a:pt x="112230" y="311187"/>
                        <a:pt x="117961" y="317743"/>
                      </a:cubicBezTo>
                      <a:cubicBezTo>
                        <a:pt x="120517" y="320794"/>
                        <a:pt x="122620" y="329741"/>
                        <a:pt x="123568" y="340626"/>
                      </a:cubicBezTo>
                      <a:cubicBezTo>
                        <a:pt x="135236" y="343924"/>
                        <a:pt x="145626" y="350727"/>
                        <a:pt x="155810" y="356005"/>
                      </a:cubicBezTo>
                      <a:cubicBezTo>
                        <a:pt x="171808" y="364251"/>
                        <a:pt x="169416" y="377238"/>
                        <a:pt x="169994" y="391628"/>
                      </a:cubicBezTo>
                      <a:cubicBezTo>
                        <a:pt x="170571" y="406017"/>
                        <a:pt x="171189" y="414263"/>
                        <a:pt x="162902" y="408120"/>
                      </a:cubicBezTo>
                      <a:cubicBezTo>
                        <a:pt x="154615" y="401977"/>
                        <a:pt x="145709" y="408120"/>
                        <a:pt x="140967" y="428735"/>
                      </a:cubicBezTo>
                      <a:cubicBezTo>
                        <a:pt x="136226" y="449350"/>
                        <a:pt x="113755" y="474089"/>
                        <a:pt x="100108" y="475367"/>
                      </a:cubicBezTo>
                      <a:cubicBezTo>
                        <a:pt x="86461" y="476645"/>
                        <a:pt x="87739" y="493220"/>
                        <a:pt x="76400" y="496642"/>
                      </a:cubicBezTo>
                      <a:cubicBezTo>
                        <a:pt x="69556" y="498439"/>
                        <a:pt x="63495" y="502402"/>
                        <a:pt x="59125" y="507939"/>
                      </a:cubicBezTo>
                      <a:cubicBezTo>
                        <a:pt x="58218" y="510792"/>
                        <a:pt x="57022" y="513555"/>
                        <a:pt x="55579" y="516185"/>
                      </a:cubicBezTo>
                      <a:cubicBezTo>
                        <a:pt x="55208" y="518057"/>
                        <a:pt x="55043" y="519966"/>
                        <a:pt x="55126" y="521875"/>
                      </a:cubicBezTo>
                      <a:cubicBezTo>
                        <a:pt x="55662" y="535687"/>
                        <a:pt x="39994" y="537501"/>
                        <a:pt x="28779" y="537625"/>
                      </a:cubicBezTo>
                      <a:cubicBezTo>
                        <a:pt x="27047" y="538132"/>
                        <a:pt x="25275" y="538516"/>
                        <a:pt x="23460" y="538779"/>
                      </a:cubicBezTo>
                      <a:cubicBezTo>
                        <a:pt x="16451" y="543521"/>
                        <a:pt x="17235" y="561786"/>
                        <a:pt x="9483" y="567146"/>
                      </a:cubicBezTo>
                      <a:cubicBezTo>
                        <a:pt x="619" y="573331"/>
                        <a:pt x="2392" y="581535"/>
                        <a:pt x="10679" y="593904"/>
                      </a:cubicBezTo>
                      <a:cubicBezTo>
                        <a:pt x="18966" y="606274"/>
                        <a:pt x="11875" y="617241"/>
                        <a:pt x="14802" y="626147"/>
                      </a:cubicBezTo>
                      <a:cubicBezTo>
                        <a:pt x="17729" y="635053"/>
                        <a:pt x="30841" y="655626"/>
                        <a:pt x="21935" y="678262"/>
                      </a:cubicBezTo>
                      <a:cubicBezTo>
                        <a:pt x="13029" y="700898"/>
                        <a:pt x="3588" y="729058"/>
                        <a:pt x="11256" y="726296"/>
                      </a:cubicBezTo>
                      <a:cubicBezTo>
                        <a:pt x="18925" y="723533"/>
                        <a:pt x="36736" y="744849"/>
                        <a:pt x="48611" y="743447"/>
                      </a:cubicBezTo>
                      <a:cubicBezTo>
                        <a:pt x="60485" y="742046"/>
                        <a:pt x="61640" y="762620"/>
                        <a:pt x="72896" y="758538"/>
                      </a:cubicBezTo>
                      <a:cubicBezTo>
                        <a:pt x="84152" y="754456"/>
                        <a:pt x="84110" y="770907"/>
                        <a:pt x="116724" y="769505"/>
                      </a:cubicBezTo>
                      <a:cubicBezTo>
                        <a:pt x="149337" y="768103"/>
                        <a:pt x="215017" y="736521"/>
                        <a:pt x="241116" y="736521"/>
                      </a:cubicBezTo>
                      <a:cubicBezTo>
                        <a:pt x="253238" y="736636"/>
                        <a:pt x="265318" y="735036"/>
                        <a:pt x="276986" y="731779"/>
                      </a:cubicBezTo>
                      <a:cubicBezTo>
                        <a:pt x="282511" y="721826"/>
                        <a:pt x="288943" y="712388"/>
                        <a:pt x="296159" y="703578"/>
                      </a:cubicBezTo>
                      <a:cubicBezTo>
                        <a:pt x="312651" y="684364"/>
                        <a:pt x="348274" y="670593"/>
                        <a:pt x="357716" y="645855"/>
                      </a:cubicBezTo>
                      <a:cubicBezTo>
                        <a:pt x="367157" y="621117"/>
                        <a:pt x="409831" y="602068"/>
                        <a:pt x="416964" y="579886"/>
                      </a:cubicBezTo>
                      <a:cubicBezTo>
                        <a:pt x="420675" y="569537"/>
                        <a:pt x="421870" y="564054"/>
                        <a:pt x="406491" y="54348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58" name="Freeform: Shape 457">
                  <a:extLst>
                    <a:ext uri="{FF2B5EF4-FFF2-40B4-BE49-F238E27FC236}">
                      <a16:creationId xmlns:a16="http://schemas.microsoft.com/office/drawing/2014/main" id="{0C81B723-B034-B9B9-8D2F-F747F5B95E42}"/>
                    </a:ext>
                  </a:extLst>
                </p:cNvPr>
                <p:cNvSpPr/>
                <p:nvPr>
                  <p:custDataLst>
                    <p:tags r:id="rId34"/>
                  </p:custDataLst>
                </p:nvPr>
              </p:nvSpPr>
              <p:spPr>
                <a:xfrm>
                  <a:off x="6924310" y="3857404"/>
                  <a:ext cx="690476" cy="677146"/>
                </a:xfrm>
                <a:custGeom>
                  <a:avLst/>
                  <a:gdLst>
                    <a:gd name="connsiteX0" fmla="*/ 471962 w 521837"/>
                    <a:gd name="connsiteY0" fmla="*/ 236658 h 511762"/>
                    <a:gd name="connsiteX1" fmla="*/ 492577 w 521837"/>
                    <a:gd name="connsiteY1" fmla="*/ 217074 h 511762"/>
                    <a:gd name="connsiteX2" fmla="*/ 501442 w 521837"/>
                    <a:gd name="connsiteY2" fmla="*/ 182111 h 511762"/>
                    <a:gd name="connsiteX3" fmla="*/ 517439 w 521837"/>
                    <a:gd name="connsiteY3" fmla="*/ 144055 h 511762"/>
                    <a:gd name="connsiteX4" fmla="*/ 509440 w 521837"/>
                    <a:gd name="connsiteY4" fmla="*/ 128594 h 511762"/>
                    <a:gd name="connsiteX5" fmla="*/ 488124 w 521837"/>
                    <a:gd name="connsiteY5" fmla="*/ 120348 h 511762"/>
                    <a:gd name="connsiteX6" fmla="*/ 462355 w 521837"/>
                    <a:gd name="connsiteY6" fmla="*/ 105917 h 511762"/>
                    <a:gd name="connsiteX7" fmla="*/ 420630 w 521837"/>
                    <a:gd name="connsiteY7" fmla="*/ 97671 h 511762"/>
                    <a:gd name="connsiteX8" fmla="*/ 400014 w 521837"/>
                    <a:gd name="connsiteY8" fmla="*/ 82251 h 511762"/>
                    <a:gd name="connsiteX9" fmla="*/ 388470 w 521837"/>
                    <a:gd name="connsiteY9" fmla="*/ 60646 h 511762"/>
                    <a:gd name="connsiteX10" fmla="*/ 370700 w 521837"/>
                    <a:gd name="connsiteY10" fmla="*/ 70953 h 511762"/>
                    <a:gd name="connsiteX11" fmla="*/ 359155 w 521837"/>
                    <a:gd name="connsiteY11" fmla="*/ 55492 h 511762"/>
                    <a:gd name="connsiteX12" fmla="*/ 334417 w 521837"/>
                    <a:gd name="connsiteY12" fmla="*/ 38010 h 511762"/>
                    <a:gd name="connsiteX13" fmla="*/ 313802 w 521837"/>
                    <a:gd name="connsiteY13" fmla="*/ 23621 h 511762"/>
                    <a:gd name="connsiteX14" fmla="*/ 299577 w 521837"/>
                    <a:gd name="connsiteY14" fmla="*/ 6098 h 511762"/>
                    <a:gd name="connsiteX15" fmla="*/ 294423 w 521837"/>
                    <a:gd name="connsiteY15" fmla="*/ -4 h 511762"/>
                    <a:gd name="connsiteX16" fmla="*/ 285394 w 521837"/>
                    <a:gd name="connsiteY16" fmla="*/ 985 h 511762"/>
                    <a:gd name="connsiteX17" fmla="*/ 261109 w 521837"/>
                    <a:gd name="connsiteY17" fmla="*/ 40814 h 511762"/>
                    <a:gd name="connsiteX18" fmla="*/ 219631 w 521837"/>
                    <a:gd name="connsiteY18" fmla="*/ 73015 h 511762"/>
                    <a:gd name="connsiteX19" fmla="*/ 193574 w 521837"/>
                    <a:gd name="connsiteY19" fmla="*/ 105999 h 511762"/>
                    <a:gd name="connsiteX20" fmla="*/ 143231 w 521837"/>
                    <a:gd name="connsiteY20" fmla="*/ 86167 h 511762"/>
                    <a:gd name="connsiteX21" fmla="*/ 120142 w 521837"/>
                    <a:gd name="connsiteY21" fmla="*/ 103979 h 511762"/>
                    <a:gd name="connsiteX22" fmla="*/ 125461 w 521837"/>
                    <a:gd name="connsiteY22" fmla="*/ 153455 h 511762"/>
                    <a:gd name="connsiteX23" fmla="*/ 90498 w 521837"/>
                    <a:gd name="connsiteY23" fmla="*/ 151353 h 511762"/>
                    <a:gd name="connsiteX24" fmla="*/ 66254 w 521837"/>
                    <a:gd name="connsiteY24" fmla="*/ 137705 h 511762"/>
                    <a:gd name="connsiteX25" fmla="*/ 27168 w 521837"/>
                    <a:gd name="connsiteY25" fmla="*/ 142447 h 511762"/>
                    <a:gd name="connsiteX26" fmla="*/ 2429 w 521837"/>
                    <a:gd name="connsiteY26" fmla="*/ 164423 h 511762"/>
                    <a:gd name="connsiteX27" fmla="*/ 7130 w 521837"/>
                    <a:gd name="connsiteY27" fmla="*/ 193284 h 511762"/>
                    <a:gd name="connsiteX28" fmla="*/ 30012 w 521837"/>
                    <a:gd name="connsiteY28" fmla="*/ 202272 h 511762"/>
                    <a:gd name="connsiteX29" fmla="*/ 79489 w 521837"/>
                    <a:gd name="connsiteY29" fmla="*/ 219837 h 511762"/>
                    <a:gd name="connsiteX30" fmla="*/ 95404 w 521837"/>
                    <a:gd name="connsiteY30" fmla="*/ 223960 h 511762"/>
                    <a:gd name="connsiteX31" fmla="*/ 108391 w 521837"/>
                    <a:gd name="connsiteY31" fmla="*/ 244575 h 511762"/>
                    <a:gd name="connsiteX32" fmla="*/ 108680 w 521837"/>
                    <a:gd name="connsiteY32" fmla="*/ 246925 h 511762"/>
                    <a:gd name="connsiteX33" fmla="*/ 119565 w 521837"/>
                    <a:gd name="connsiteY33" fmla="*/ 260490 h 511762"/>
                    <a:gd name="connsiteX34" fmla="*/ 127811 w 521837"/>
                    <a:gd name="connsiteY34" fmla="*/ 278508 h 511762"/>
                    <a:gd name="connsiteX35" fmla="*/ 139850 w 521837"/>
                    <a:gd name="connsiteY35" fmla="*/ 284321 h 511762"/>
                    <a:gd name="connsiteX36" fmla="*/ 150529 w 521837"/>
                    <a:gd name="connsiteY36" fmla="*/ 320686 h 511762"/>
                    <a:gd name="connsiteX37" fmla="*/ 151354 w 521837"/>
                    <a:gd name="connsiteY37" fmla="*/ 334993 h 511762"/>
                    <a:gd name="connsiteX38" fmla="*/ 157868 w 521837"/>
                    <a:gd name="connsiteY38" fmla="*/ 355609 h 511762"/>
                    <a:gd name="connsiteX39" fmla="*/ 143437 w 521837"/>
                    <a:gd name="connsiteY39" fmla="*/ 402405 h 511762"/>
                    <a:gd name="connsiteX40" fmla="*/ 125626 w 521837"/>
                    <a:gd name="connsiteY40" fmla="*/ 459798 h 511762"/>
                    <a:gd name="connsiteX41" fmla="*/ 123276 w 521837"/>
                    <a:gd name="connsiteY41" fmla="*/ 460334 h 511762"/>
                    <a:gd name="connsiteX42" fmla="*/ 146035 w 521837"/>
                    <a:gd name="connsiteY42" fmla="*/ 473404 h 511762"/>
                    <a:gd name="connsiteX43" fmla="*/ 184957 w 521837"/>
                    <a:gd name="connsiteY43" fmla="*/ 495132 h 511762"/>
                    <a:gd name="connsiteX44" fmla="*/ 216663 w 521837"/>
                    <a:gd name="connsiteY44" fmla="*/ 491752 h 511762"/>
                    <a:gd name="connsiteX45" fmla="*/ 235381 w 521837"/>
                    <a:gd name="connsiteY45" fmla="*/ 496782 h 511762"/>
                    <a:gd name="connsiteX46" fmla="*/ 282962 w 521837"/>
                    <a:gd name="connsiteY46" fmla="*/ 510140 h 511762"/>
                    <a:gd name="connsiteX47" fmla="*/ 324192 w 521837"/>
                    <a:gd name="connsiteY47" fmla="*/ 511542 h 511762"/>
                    <a:gd name="connsiteX48" fmla="*/ 321800 w 521837"/>
                    <a:gd name="connsiteY48" fmla="*/ 499626 h 511762"/>
                    <a:gd name="connsiteX49" fmla="*/ 354785 w 521837"/>
                    <a:gd name="connsiteY49" fmla="*/ 453613 h 511762"/>
                    <a:gd name="connsiteX50" fmla="*/ 428258 w 521837"/>
                    <a:gd name="connsiteY50" fmla="*/ 472126 h 511762"/>
                    <a:gd name="connsiteX51" fmla="*/ 474436 w 521837"/>
                    <a:gd name="connsiteY51" fmla="*/ 454314 h 511762"/>
                    <a:gd name="connsiteX52" fmla="*/ 499545 w 521837"/>
                    <a:gd name="connsiteY52" fmla="*/ 435389 h 511762"/>
                    <a:gd name="connsiteX53" fmla="*/ 504039 w 521837"/>
                    <a:gd name="connsiteY53" fmla="*/ 419681 h 511762"/>
                    <a:gd name="connsiteX54" fmla="*/ 485403 w 521837"/>
                    <a:gd name="connsiteY54" fmla="*/ 412465 h 511762"/>
                    <a:gd name="connsiteX55" fmla="*/ 476497 w 521837"/>
                    <a:gd name="connsiteY55" fmla="*/ 389830 h 511762"/>
                    <a:gd name="connsiteX56" fmla="*/ 464952 w 521837"/>
                    <a:gd name="connsiteY56" fmla="*/ 366164 h 511762"/>
                    <a:gd name="connsiteX57" fmla="*/ 472951 w 521837"/>
                    <a:gd name="connsiteY57" fmla="*/ 354825 h 511762"/>
                    <a:gd name="connsiteX58" fmla="*/ 480950 w 521837"/>
                    <a:gd name="connsiteY58" fmla="*/ 336354 h 511762"/>
                    <a:gd name="connsiteX59" fmla="*/ 476497 w 521837"/>
                    <a:gd name="connsiteY59" fmla="*/ 313677 h 511762"/>
                    <a:gd name="connsiteX60" fmla="*/ 469406 w 521837"/>
                    <a:gd name="connsiteY60" fmla="*/ 291041 h 511762"/>
                    <a:gd name="connsiteX61" fmla="*/ 451635 w 521837"/>
                    <a:gd name="connsiteY61" fmla="*/ 288980 h 511762"/>
                    <a:gd name="connsiteX62" fmla="*/ 446275 w 521837"/>
                    <a:gd name="connsiteY62" fmla="*/ 273560 h 511762"/>
                    <a:gd name="connsiteX63" fmla="*/ 471962 w 521837"/>
                    <a:gd name="connsiteY63" fmla="*/ 236658 h 5117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</a:cxnLst>
                  <a:rect l="l" t="t" r="r" b="b"/>
                  <a:pathLst>
                    <a:path w="521837" h="511762">
                      <a:moveTo>
                        <a:pt x="471962" y="236658"/>
                      </a:moveTo>
                      <a:cubicBezTo>
                        <a:pt x="473734" y="226351"/>
                        <a:pt x="484331" y="217074"/>
                        <a:pt x="492577" y="217074"/>
                      </a:cubicBezTo>
                      <a:cubicBezTo>
                        <a:pt x="500823" y="217074"/>
                        <a:pt x="498803" y="195469"/>
                        <a:pt x="501442" y="182111"/>
                      </a:cubicBezTo>
                      <a:cubicBezTo>
                        <a:pt x="504080" y="168752"/>
                        <a:pt x="505894" y="155352"/>
                        <a:pt x="517439" y="144055"/>
                      </a:cubicBezTo>
                      <a:cubicBezTo>
                        <a:pt x="528983" y="132758"/>
                        <a:pt x="514759" y="127563"/>
                        <a:pt x="509440" y="128594"/>
                      </a:cubicBezTo>
                      <a:cubicBezTo>
                        <a:pt x="504121" y="129624"/>
                        <a:pt x="499669" y="120348"/>
                        <a:pt x="488124" y="120348"/>
                      </a:cubicBezTo>
                      <a:cubicBezTo>
                        <a:pt x="477610" y="120323"/>
                        <a:pt x="467880" y="114864"/>
                        <a:pt x="462355" y="105917"/>
                      </a:cubicBezTo>
                      <a:cubicBezTo>
                        <a:pt x="457036" y="97671"/>
                        <a:pt x="429370" y="95651"/>
                        <a:pt x="420630" y="97671"/>
                      </a:cubicBezTo>
                      <a:cubicBezTo>
                        <a:pt x="411889" y="99691"/>
                        <a:pt x="409044" y="80189"/>
                        <a:pt x="400014" y="82251"/>
                      </a:cubicBezTo>
                      <a:cubicBezTo>
                        <a:pt x="390985" y="84312"/>
                        <a:pt x="388470" y="68892"/>
                        <a:pt x="388470" y="60646"/>
                      </a:cubicBezTo>
                      <a:cubicBezTo>
                        <a:pt x="388470" y="52400"/>
                        <a:pt x="378699" y="66830"/>
                        <a:pt x="370700" y="70953"/>
                      </a:cubicBezTo>
                      <a:cubicBezTo>
                        <a:pt x="362701" y="75077"/>
                        <a:pt x="360021" y="61677"/>
                        <a:pt x="359155" y="55492"/>
                      </a:cubicBezTo>
                      <a:cubicBezTo>
                        <a:pt x="358289" y="49308"/>
                        <a:pt x="342250" y="43123"/>
                        <a:pt x="334417" y="38010"/>
                      </a:cubicBezTo>
                      <a:cubicBezTo>
                        <a:pt x="326583" y="32898"/>
                        <a:pt x="317512" y="16405"/>
                        <a:pt x="313802" y="23621"/>
                      </a:cubicBezTo>
                      <a:cubicBezTo>
                        <a:pt x="310091" y="30836"/>
                        <a:pt x="300484" y="13313"/>
                        <a:pt x="299577" y="6098"/>
                      </a:cubicBezTo>
                      <a:cubicBezTo>
                        <a:pt x="299000" y="1356"/>
                        <a:pt x="296238" y="2841"/>
                        <a:pt x="294423" y="-4"/>
                      </a:cubicBezTo>
                      <a:cubicBezTo>
                        <a:pt x="291496" y="771"/>
                        <a:pt x="288445" y="1105"/>
                        <a:pt x="285394" y="985"/>
                      </a:cubicBezTo>
                      <a:cubicBezTo>
                        <a:pt x="271169" y="284"/>
                        <a:pt x="258718" y="13354"/>
                        <a:pt x="261109" y="40814"/>
                      </a:cubicBezTo>
                      <a:cubicBezTo>
                        <a:pt x="263500" y="68273"/>
                        <a:pt x="243916" y="70953"/>
                        <a:pt x="219631" y="73015"/>
                      </a:cubicBezTo>
                      <a:cubicBezTo>
                        <a:pt x="195347" y="75077"/>
                        <a:pt x="203675" y="97011"/>
                        <a:pt x="193574" y="105999"/>
                      </a:cubicBezTo>
                      <a:cubicBezTo>
                        <a:pt x="183472" y="114988"/>
                        <a:pt x="147973" y="101217"/>
                        <a:pt x="143231" y="86167"/>
                      </a:cubicBezTo>
                      <a:cubicBezTo>
                        <a:pt x="138490" y="71118"/>
                        <a:pt x="106536" y="86167"/>
                        <a:pt x="120142" y="103979"/>
                      </a:cubicBezTo>
                      <a:cubicBezTo>
                        <a:pt x="133748" y="121790"/>
                        <a:pt x="133171" y="146487"/>
                        <a:pt x="125461" y="153455"/>
                      </a:cubicBezTo>
                      <a:cubicBezTo>
                        <a:pt x="117751" y="160423"/>
                        <a:pt x="101176" y="142447"/>
                        <a:pt x="90498" y="151353"/>
                      </a:cubicBezTo>
                      <a:cubicBezTo>
                        <a:pt x="79819" y="160259"/>
                        <a:pt x="79283" y="143107"/>
                        <a:pt x="66254" y="137705"/>
                      </a:cubicBezTo>
                      <a:cubicBezTo>
                        <a:pt x="53225" y="132304"/>
                        <a:pt x="47865" y="144509"/>
                        <a:pt x="27168" y="142447"/>
                      </a:cubicBezTo>
                      <a:cubicBezTo>
                        <a:pt x="6470" y="140385"/>
                        <a:pt x="-5405" y="154115"/>
                        <a:pt x="2429" y="164423"/>
                      </a:cubicBezTo>
                      <a:cubicBezTo>
                        <a:pt x="10263" y="174731"/>
                        <a:pt x="1233" y="184296"/>
                        <a:pt x="7130" y="193284"/>
                      </a:cubicBezTo>
                      <a:cubicBezTo>
                        <a:pt x="10263" y="197943"/>
                        <a:pt x="19251" y="199799"/>
                        <a:pt x="30012" y="202272"/>
                      </a:cubicBezTo>
                      <a:cubicBezTo>
                        <a:pt x="48566" y="195915"/>
                        <a:pt x="69099" y="203192"/>
                        <a:pt x="79489" y="219837"/>
                      </a:cubicBezTo>
                      <a:cubicBezTo>
                        <a:pt x="85632" y="220166"/>
                        <a:pt x="89632" y="219012"/>
                        <a:pt x="95404" y="223960"/>
                      </a:cubicBezTo>
                      <a:cubicBezTo>
                        <a:pt x="105464" y="232824"/>
                        <a:pt x="107773" y="227341"/>
                        <a:pt x="108391" y="244575"/>
                      </a:cubicBezTo>
                      <a:cubicBezTo>
                        <a:pt x="108391" y="245358"/>
                        <a:pt x="108391" y="246142"/>
                        <a:pt x="108680" y="246925"/>
                      </a:cubicBezTo>
                      <a:cubicBezTo>
                        <a:pt x="113133" y="250702"/>
                        <a:pt x="116844" y="255307"/>
                        <a:pt x="119565" y="260490"/>
                      </a:cubicBezTo>
                      <a:cubicBezTo>
                        <a:pt x="122657" y="266340"/>
                        <a:pt x="125378" y="272356"/>
                        <a:pt x="127811" y="278508"/>
                      </a:cubicBezTo>
                      <a:cubicBezTo>
                        <a:pt x="131522" y="281023"/>
                        <a:pt x="135563" y="282981"/>
                        <a:pt x="139850" y="284321"/>
                      </a:cubicBezTo>
                      <a:cubicBezTo>
                        <a:pt x="159393" y="290506"/>
                        <a:pt x="144592" y="305596"/>
                        <a:pt x="150529" y="320686"/>
                      </a:cubicBezTo>
                      <a:cubicBezTo>
                        <a:pt x="152014" y="325308"/>
                        <a:pt x="152302" y="330231"/>
                        <a:pt x="151354" y="334993"/>
                      </a:cubicBezTo>
                      <a:cubicBezTo>
                        <a:pt x="154198" y="341636"/>
                        <a:pt x="156384" y="348542"/>
                        <a:pt x="157868" y="355609"/>
                      </a:cubicBezTo>
                      <a:cubicBezTo>
                        <a:pt x="161661" y="372661"/>
                        <a:pt x="156178" y="390448"/>
                        <a:pt x="143437" y="402405"/>
                      </a:cubicBezTo>
                      <a:cubicBezTo>
                        <a:pt x="140139" y="426442"/>
                        <a:pt x="132181" y="456005"/>
                        <a:pt x="125626" y="459798"/>
                      </a:cubicBezTo>
                      <a:cubicBezTo>
                        <a:pt x="124884" y="460095"/>
                        <a:pt x="124100" y="460276"/>
                        <a:pt x="123276" y="460334"/>
                      </a:cubicBezTo>
                      <a:cubicBezTo>
                        <a:pt x="132140" y="465447"/>
                        <a:pt x="141500" y="469941"/>
                        <a:pt x="146035" y="473404"/>
                      </a:cubicBezTo>
                      <a:cubicBezTo>
                        <a:pt x="154693" y="480125"/>
                        <a:pt x="173412" y="486763"/>
                        <a:pt x="184957" y="495132"/>
                      </a:cubicBezTo>
                      <a:cubicBezTo>
                        <a:pt x="196501" y="503502"/>
                        <a:pt x="216663" y="501812"/>
                        <a:pt x="216663" y="491752"/>
                      </a:cubicBezTo>
                      <a:cubicBezTo>
                        <a:pt x="216663" y="481691"/>
                        <a:pt x="228166" y="488494"/>
                        <a:pt x="235381" y="496782"/>
                      </a:cubicBezTo>
                      <a:cubicBezTo>
                        <a:pt x="242597" y="505069"/>
                        <a:pt x="270015" y="506801"/>
                        <a:pt x="282962" y="510140"/>
                      </a:cubicBezTo>
                      <a:cubicBezTo>
                        <a:pt x="293887" y="512944"/>
                        <a:pt x="309843" y="511171"/>
                        <a:pt x="324192" y="511542"/>
                      </a:cubicBezTo>
                      <a:cubicBezTo>
                        <a:pt x="323615" y="507530"/>
                        <a:pt x="322831" y="503552"/>
                        <a:pt x="321800" y="499626"/>
                      </a:cubicBezTo>
                      <a:cubicBezTo>
                        <a:pt x="314668" y="472827"/>
                        <a:pt x="335365" y="457077"/>
                        <a:pt x="354785" y="453613"/>
                      </a:cubicBezTo>
                      <a:cubicBezTo>
                        <a:pt x="374204" y="450150"/>
                        <a:pt x="416961" y="463921"/>
                        <a:pt x="428258" y="472126"/>
                      </a:cubicBezTo>
                      <a:cubicBezTo>
                        <a:pt x="439555" y="480331"/>
                        <a:pt x="454892" y="478310"/>
                        <a:pt x="474436" y="454314"/>
                      </a:cubicBezTo>
                      <a:cubicBezTo>
                        <a:pt x="484290" y="442151"/>
                        <a:pt x="492371" y="437822"/>
                        <a:pt x="499545" y="435389"/>
                      </a:cubicBezTo>
                      <a:cubicBezTo>
                        <a:pt x="500493" y="430009"/>
                        <a:pt x="501978" y="424744"/>
                        <a:pt x="504039" y="419681"/>
                      </a:cubicBezTo>
                      <a:cubicBezTo>
                        <a:pt x="506719" y="411434"/>
                        <a:pt x="494268" y="413455"/>
                        <a:pt x="485403" y="412465"/>
                      </a:cubicBezTo>
                      <a:cubicBezTo>
                        <a:pt x="476538" y="411476"/>
                        <a:pt x="470271" y="401127"/>
                        <a:pt x="476497" y="389830"/>
                      </a:cubicBezTo>
                      <a:cubicBezTo>
                        <a:pt x="482723" y="378533"/>
                        <a:pt x="471178" y="377461"/>
                        <a:pt x="464952" y="366164"/>
                      </a:cubicBezTo>
                      <a:cubicBezTo>
                        <a:pt x="458727" y="354866"/>
                        <a:pt x="467632" y="357917"/>
                        <a:pt x="472951" y="354825"/>
                      </a:cubicBezTo>
                      <a:cubicBezTo>
                        <a:pt x="478270" y="351733"/>
                        <a:pt x="485320" y="339405"/>
                        <a:pt x="480950" y="336354"/>
                      </a:cubicBezTo>
                      <a:cubicBezTo>
                        <a:pt x="476580" y="333303"/>
                        <a:pt x="472951" y="326046"/>
                        <a:pt x="476497" y="313677"/>
                      </a:cubicBezTo>
                      <a:cubicBezTo>
                        <a:pt x="480043" y="301308"/>
                        <a:pt x="469406" y="300318"/>
                        <a:pt x="469406" y="291041"/>
                      </a:cubicBezTo>
                      <a:cubicBezTo>
                        <a:pt x="469406" y="281765"/>
                        <a:pt x="459593" y="277683"/>
                        <a:pt x="451635" y="288980"/>
                      </a:cubicBezTo>
                      <a:cubicBezTo>
                        <a:pt x="443678" y="300277"/>
                        <a:pt x="440956" y="292072"/>
                        <a:pt x="446275" y="273560"/>
                      </a:cubicBezTo>
                      <a:cubicBezTo>
                        <a:pt x="451594" y="255047"/>
                        <a:pt x="470189" y="247090"/>
                        <a:pt x="471962" y="236658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59" name="Freeform: Shape 458">
                  <a:extLst>
                    <a:ext uri="{FF2B5EF4-FFF2-40B4-BE49-F238E27FC236}">
                      <a16:creationId xmlns:a16="http://schemas.microsoft.com/office/drawing/2014/main" id="{838FC3C2-2EA5-9C82-992E-77270C3B7939}"/>
                    </a:ext>
                  </a:extLst>
                </p:cNvPr>
                <p:cNvSpPr/>
                <p:nvPr>
                  <p:custDataLst>
                    <p:tags r:id="rId35"/>
                  </p:custDataLst>
                </p:nvPr>
              </p:nvSpPr>
              <p:spPr>
                <a:xfrm>
                  <a:off x="7640300" y="4489822"/>
                  <a:ext cx="48204" cy="114710"/>
                </a:xfrm>
                <a:custGeom>
                  <a:avLst/>
                  <a:gdLst>
                    <a:gd name="connsiteX0" fmla="*/ 31570 w 36430"/>
                    <a:gd name="connsiteY0" fmla="*/ 22 h 86694"/>
                    <a:gd name="connsiteX1" fmla="*/ 6832 w 36430"/>
                    <a:gd name="connsiteY1" fmla="*/ 24760 h 86694"/>
                    <a:gd name="connsiteX2" fmla="*/ 23324 w 36430"/>
                    <a:gd name="connsiteY2" fmla="*/ 86606 h 86694"/>
                    <a:gd name="connsiteX3" fmla="*/ 31570 w 36430"/>
                    <a:gd name="connsiteY3" fmla="*/ 22 h 866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6430" h="86694">
                      <a:moveTo>
                        <a:pt x="31570" y="22"/>
                      </a:moveTo>
                      <a:cubicBezTo>
                        <a:pt x="25015" y="-679"/>
                        <a:pt x="23324" y="13009"/>
                        <a:pt x="6832" y="24760"/>
                      </a:cubicBezTo>
                      <a:cubicBezTo>
                        <a:pt x="-9660" y="36510"/>
                        <a:pt x="6832" y="89079"/>
                        <a:pt x="23324" y="86606"/>
                      </a:cubicBezTo>
                      <a:cubicBezTo>
                        <a:pt x="40435" y="83472"/>
                        <a:pt x="38044" y="475"/>
                        <a:pt x="31570" y="22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60" name="Freeform: Shape 459">
                  <a:extLst>
                    <a:ext uri="{FF2B5EF4-FFF2-40B4-BE49-F238E27FC236}">
                      <a16:creationId xmlns:a16="http://schemas.microsoft.com/office/drawing/2014/main" id="{BB9B69D0-87B6-660D-6A96-8F1BC2D0C903}"/>
                    </a:ext>
                  </a:extLst>
                </p:cNvPr>
                <p:cNvSpPr/>
                <p:nvPr>
                  <p:custDataLst>
                    <p:tags r:id="rId36"/>
                  </p:custDataLst>
                </p:nvPr>
              </p:nvSpPr>
              <p:spPr>
                <a:xfrm>
                  <a:off x="6719944" y="4434211"/>
                  <a:ext cx="634045" cy="558502"/>
                </a:xfrm>
                <a:custGeom>
                  <a:avLst/>
                  <a:gdLst>
                    <a:gd name="connsiteX0" fmla="*/ 478398 w 479188"/>
                    <a:gd name="connsiteY0" fmla="*/ 75736 h 422096"/>
                    <a:gd name="connsiteX1" fmla="*/ 437167 w 479188"/>
                    <a:gd name="connsiteY1" fmla="*/ 74334 h 422096"/>
                    <a:gd name="connsiteX2" fmla="*/ 389587 w 479188"/>
                    <a:gd name="connsiteY2" fmla="*/ 60976 h 422096"/>
                    <a:gd name="connsiteX3" fmla="*/ 371198 w 479188"/>
                    <a:gd name="connsiteY3" fmla="*/ 55946 h 422096"/>
                    <a:gd name="connsiteX4" fmla="*/ 339492 w 479188"/>
                    <a:gd name="connsiteY4" fmla="*/ 59326 h 422096"/>
                    <a:gd name="connsiteX5" fmla="*/ 300571 w 479188"/>
                    <a:gd name="connsiteY5" fmla="*/ 37598 h 422096"/>
                    <a:gd name="connsiteX6" fmla="*/ 277811 w 479188"/>
                    <a:gd name="connsiteY6" fmla="*/ 24528 h 422096"/>
                    <a:gd name="connsiteX7" fmla="*/ 208503 w 479188"/>
                    <a:gd name="connsiteY7" fmla="*/ 15746 h 422096"/>
                    <a:gd name="connsiteX8" fmla="*/ 76566 w 479188"/>
                    <a:gd name="connsiteY8" fmla="*/ 14385 h 422096"/>
                    <a:gd name="connsiteX9" fmla="*/ 27996 w 479188"/>
                    <a:gd name="connsiteY9" fmla="*/ -4 h 422096"/>
                    <a:gd name="connsiteX10" fmla="*/ 1 w 479188"/>
                    <a:gd name="connsiteY10" fmla="*/ 23332 h 422096"/>
                    <a:gd name="connsiteX11" fmla="*/ 1774 w 479188"/>
                    <a:gd name="connsiteY11" fmla="*/ 46133 h 422096"/>
                    <a:gd name="connsiteX12" fmla="*/ 17606 w 479188"/>
                    <a:gd name="connsiteY12" fmla="*/ 64522 h 422096"/>
                    <a:gd name="connsiteX13" fmla="*/ 22018 w 479188"/>
                    <a:gd name="connsiteY13" fmla="*/ 99279 h 422096"/>
                    <a:gd name="connsiteX14" fmla="*/ 21110 w 479188"/>
                    <a:gd name="connsiteY14" fmla="*/ 102165 h 422096"/>
                    <a:gd name="connsiteX15" fmla="*/ 21853 w 479188"/>
                    <a:gd name="connsiteY15" fmla="*/ 105051 h 422096"/>
                    <a:gd name="connsiteX16" fmla="*/ 42715 w 479188"/>
                    <a:gd name="connsiteY16" fmla="*/ 106082 h 422096"/>
                    <a:gd name="connsiteX17" fmla="*/ 58589 w 479188"/>
                    <a:gd name="connsiteY17" fmla="*/ 106082 h 422096"/>
                    <a:gd name="connsiteX18" fmla="*/ 83080 w 479188"/>
                    <a:gd name="connsiteY18" fmla="*/ 111071 h 422096"/>
                    <a:gd name="connsiteX19" fmla="*/ 93181 w 479188"/>
                    <a:gd name="connsiteY19" fmla="*/ 129460 h 422096"/>
                    <a:gd name="connsiteX20" fmla="*/ 67206 w 479188"/>
                    <a:gd name="connsiteY20" fmla="*/ 156136 h 422096"/>
                    <a:gd name="connsiteX21" fmla="*/ 70092 w 479188"/>
                    <a:gd name="connsiteY21" fmla="*/ 199510 h 422096"/>
                    <a:gd name="connsiteX22" fmla="*/ 62918 w 479188"/>
                    <a:gd name="connsiteY22" fmla="*/ 231216 h 422096"/>
                    <a:gd name="connsiteX23" fmla="*/ 52817 w 479188"/>
                    <a:gd name="connsiteY23" fmla="*/ 249564 h 422096"/>
                    <a:gd name="connsiteX24" fmla="*/ 64361 w 479188"/>
                    <a:gd name="connsiteY24" fmla="*/ 274632 h 422096"/>
                    <a:gd name="connsiteX25" fmla="*/ 54260 w 479188"/>
                    <a:gd name="connsiteY25" fmla="*/ 299700 h 422096"/>
                    <a:gd name="connsiteX26" fmla="*/ 62918 w 479188"/>
                    <a:gd name="connsiteY26" fmla="*/ 323037 h 422096"/>
                    <a:gd name="connsiteX27" fmla="*/ 47086 w 479188"/>
                    <a:gd name="connsiteY27" fmla="*/ 351403 h 422096"/>
                    <a:gd name="connsiteX28" fmla="*/ 52858 w 479188"/>
                    <a:gd name="connsiteY28" fmla="*/ 366535 h 422096"/>
                    <a:gd name="connsiteX29" fmla="*/ 74174 w 479188"/>
                    <a:gd name="connsiteY29" fmla="*/ 368349 h 422096"/>
                    <a:gd name="connsiteX30" fmla="*/ 122744 w 479188"/>
                    <a:gd name="connsiteY30" fmla="*/ 421948 h 422096"/>
                    <a:gd name="connsiteX31" fmla="*/ 132227 w 479188"/>
                    <a:gd name="connsiteY31" fmla="*/ 406858 h 422096"/>
                    <a:gd name="connsiteX32" fmla="*/ 155357 w 479188"/>
                    <a:gd name="connsiteY32" fmla="*/ 405498 h 422096"/>
                    <a:gd name="connsiteX33" fmla="*/ 192052 w 479188"/>
                    <a:gd name="connsiteY33" fmla="*/ 389005 h 422096"/>
                    <a:gd name="connsiteX34" fmla="*/ 242972 w 479188"/>
                    <a:gd name="connsiteY34" fmla="*/ 386944 h 422096"/>
                    <a:gd name="connsiteX35" fmla="*/ 271833 w 479188"/>
                    <a:gd name="connsiteY35" fmla="*/ 370452 h 422096"/>
                    <a:gd name="connsiteX36" fmla="*/ 303209 w 479188"/>
                    <a:gd name="connsiteY36" fmla="*/ 345713 h 422096"/>
                    <a:gd name="connsiteX37" fmla="*/ 318011 w 479188"/>
                    <a:gd name="connsiteY37" fmla="*/ 312729 h 422096"/>
                    <a:gd name="connsiteX38" fmla="*/ 347656 w 479188"/>
                    <a:gd name="connsiteY38" fmla="*/ 277065 h 422096"/>
                    <a:gd name="connsiteX39" fmla="*/ 348233 w 479188"/>
                    <a:gd name="connsiteY39" fmla="*/ 209117 h 422096"/>
                    <a:gd name="connsiteX40" fmla="*/ 381218 w 479188"/>
                    <a:gd name="connsiteY40" fmla="*/ 163763 h 422096"/>
                    <a:gd name="connsiteX41" fmla="*/ 417954 w 479188"/>
                    <a:gd name="connsiteY41" fmla="*/ 141128 h 422096"/>
                    <a:gd name="connsiteX42" fmla="*/ 461782 w 479188"/>
                    <a:gd name="connsiteY42" fmla="*/ 114410 h 422096"/>
                    <a:gd name="connsiteX43" fmla="*/ 478398 w 479188"/>
                    <a:gd name="connsiteY43" fmla="*/ 75736 h 4220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</a:cxnLst>
                  <a:rect l="l" t="t" r="r" b="b"/>
                  <a:pathLst>
                    <a:path w="479188" h="422096">
                      <a:moveTo>
                        <a:pt x="478398" y="75736"/>
                      </a:moveTo>
                      <a:cubicBezTo>
                        <a:pt x="464132" y="75365"/>
                        <a:pt x="448176" y="77138"/>
                        <a:pt x="437167" y="74334"/>
                      </a:cubicBezTo>
                      <a:cubicBezTo>
                        <a:pt x="424221" y="70995"/>
                        <a:pt x="396802" y="69345"/>
                        <a:pt x="389587" y="60976"/>
                      </a:cubicBezTo>
                      <a:cubicBezTo>
                        <a:pt x="382372" y="52606"/>
                        <a:pt x="371198" y="46174"/>
                        <a:pt x="371198" y="55946"/>
                      </a:cubicBezTo>
                      <a:cubicBezTo>
                        <a:pt x="371198" y="65717"/>
                        <a:pt x="351037" y="67696"/>
                        <a:pt x="339492" y="59326"/>
                      </a:cubicBezTo>
                      <a:cubicBezTo>
                        <a:pt x="327948" y="50957"/>
                        <a:pt x="309229" y="44319"/>
                        <a:pt x="300571" y="37598"/>
                      </a:cubicBezTo>
                      <a:cubicBezTo>
                        <a:pt x="296035" y="34135"/>
                        <a:pt x="286676" y="29640"/>
                        <a:pt x="277811" y="24528"/>
                      </a:cubicBezTo>
                      <a:cubicBezTo>
                        <a:pt x="265772" y="27208"/>
                        <a:pt x="231263" y="12530"/>
                        <a:pt x="208503" y="15746"/>
                      </a:cubicBezTo>
                      <a:cubicBezTo>
                        <a:pt x="184218" y="19168"/>
                        <a:pt x="106622" y="11623"/>
                        <a:pt x="76566" y="14385"/>
                      </a:cubicBezTo>
                      <a:cubicBezTo>
                        <a:pt x="46509" y="17148"/>
                        <a:pt x="44571" y="-4"/>
                        <a:pt x="27996" y="-4"/>
                      </a:cubicBezTo>
                      <a:cubicBezTo>
                        <a:pt x="12782" y="-4"/>
                        <a:pt x="17441" y="19539"/>
                        <a:pt x="1" y="23332"/>
                      </a:cubicBezTo>
                      <a:cubicBezTo>
                        <a:pt x="2351" y="30692"/>
                        <a:pt x="2969" y="38497"/>
                        <a:pt x="1774" y="46133"/>
                      </a:cubicBezTo>
                      <a:cubicBezTo>
                        <a:pt x="7876" y="51509"/>
                        <a:pt x="13195" y="57694"/>
                        <a:pt x="17606" y="64522"/>
                      </a:cubicBezTo>
                      <a:cubicBezTo>
                        <a:pt x="24327" y="74376"/>
                        <a:pt x="24492" y="87982"/>
                        <a:pt x="22018" y="99279"/>
                      </a:cubicBezTo>
                      <a:cubicBezTo>
                        <a:pt x="21770" y="100260"/>
                        <a:pt x="21482" y="101225"/>
                        <a:pt x="21110" y="102165"/>
                      </a:cubicBezTo>
                      <a:cubicBezTo>
                        <a:pt x="21399" y="103113"/>
                        <a:pt x="21646" y="104078"/>
                        <a:pt x="21853" y="105051"/>
                      </a:cubicBezTo>
                      <a:cubicBezTo>
                        <a:pt x="27007" y="107648"/>
                        <a:pt x="36613" y="106082"/>
                        <a:pt x="42715" y="106082"/>
                      </a:cubicBezTo>
                      <a:cubicBezTo>
                        <a:pt x="51374" y="106082"/>
                        <a:pt x="48488" y="114328"/>
                        <a:pt x="58589" y="106082"/>
                      </a:cubicBezTo>
                      <a:cubicBezTo>
                        <a:pt x="68691" y="97836"/>
                        <a:pt x="83080" y="101052"/>
                        <a:pt x="83080" y="111071"/>
                      </a:cubicBezTo>
                      <a:cubicBezTo>
                        <a:pt x="83080" y="121090"/>
                        <a:pt x="104685" y="116060"/>
                        <a:pt x="93181" y="129460"/>
                      </a:cubicBezTo>
                      <a:cubicBezTo>
                        <a:pt x="81678" y="142859"/>
                        <a:pt x="67206" y="145952"/>
                        <a:pt x="67206" y="156136"/>
                      </a:cubicBezTo>
                      <a:cubicBezTo>
                        <a:pt x="67206" y="166320"/>
                        <a:pt x="80194" y="187800"/>
                        <a:pt x="70092" y="199510"/>
                      </a:cubicBezTo>
                      <a:cubicBezTo>
                        <a:pt x="59991" y="211220"/>
                        <a:pt x="72979" y="231216"/>
                        <a:pt x="62918" y="231216"/>
                      </a:cubicBezTo>
                      <a:cubicBezTo>
                        <a:pt x="52858" y="231216"/>
                        <a:pt x="41314" y="236246"/>
                        <a:pt x="52817" y="249564"/>
                      </a:cubicBezTo>
                      <a:cubicBezTo>
                        <a:pt x="64320" y="262881"/>
                        <a:pt x="72979" y="274632"/>
                        <a:pt x="64361" y="274632"/>
                      </a:cubicBezTo>
                      <a:cubicBezTo>
                        <a:pt x="55744" y="274632"/>
                        <a:pt x="49931" y="294670"/>
                        <a:pt x="54260" y="299700"/>
                      </a:cubicBezTo>
                      <a:cubicBezTo>
                        <a:pt x="58589" y="304730"/>
                        <a:pt x="78998" y="319697"/>
                        <a:pt x="62918" y="323037"/>
                      </a:cubicBezTo>
                      <a:cubicBezTo>
                        <a:pt x="46838" y="326376"/>
                        <a:pt x="47086" y="341384"/>
                        <a:pt x="47086" y="351403"/>
                      </a:cubicBezTo>
                      <a:cubicBezTo>
                        <a:pt x="47910" y="356804"/>
                        <a:pt x="49848" y="361966"/>
                        <a:pt x="52858" y="366535"/>
                      </a:cubicBezTo>
                      <a:cubicBezTo>
                        <a:pt x="59950" y="364531"/>
                        <a:pt x="67536" y="365178"/>
                        <a:pt x="74174" y="368349"/>
                      </a:cubicBezTo>
                      <a:cubicBezTo>
                        <a:pt x="90666" y="377255"/>
                        <a:pt x="100356" y="425041"/>
                        <a:pt x="122744" y="421948"/>
                      </a:cubicBezTo>
                      <a:cubicBezTo>
                        <a:pt x="132227" y="420546"/>
                        <a:pt x="127485" y="412342"/>
                        <a:pt x="132227" y="406858"/>
                      </a:cubicBezTo>
                      <a:cubicBezTo>
                        <a:pt x="136968" y="401374"/>
                        <a:pt x="145833" y="405498"/>
                        <a:pt x="155357" y="405498"/>
                      </a:cubicBezTo>
                      <a:cubicBezTo>
                        <a:pt x="164881" y="405498"/>
                        <a:pt x="169540" y="389706"/>
                        <a:pt x="192052" y="389005"/>
                      </a:cubicBezTo>
                      <a:cubicBezTo>
                        <a:pt x="214564" y="388304"/>
                        <a:pt x="228788" y="386243"/>
                        <a:pt x="242972" y="386944"/>
                      </a:cubicBezTo>
                      <a:cubicBezTo>
                        <a:pt x="257155" y="387645"/>
                        <a:pt x="268452" y="382120"/>
                        <a:pt x="271833" y="370452"/>
                      </a:cubicBezTo>
                      <a:cubicBezTo>
                        <a:pt x="275214" y="358783"/>
                        <a:pt x="287212" y="348476"/>
                        <a:pt x="303209" y="345713"/>
                      </a:cubicBezTo>
                      <a:cubicBezTo>
                        <a:pt x="319207" y="342951"/>
                        <a:pt x="316857" y="323737"/>
                        <a:pt x="318011" y="312729"/>
                      </a:cubicBezTo>
                      <a:cubicBezTo>
                        <a:pt x="319166" y="301720"/>
                        <a:pt x="345883" y="285269"/>
                        <a:pt x="347656" y="277065"/>
                      </a:cubicBezTo>
                      <a:cubicBezTo>
                        <a:pt x="349429" y="268860"/>
                        <a:pt x="332236" y="237236"/>
                        <a:pt x="348233" y="209117"/>
                      </a:cubicBezTo>
                      <a:cubicBezTo>
                        <a:pt x="364231" y="180998"/>
                        <a:pt x="381218" y="179678"/>
                        <a:pt x="381218" y="163763"/>
                      </a:cubicBezTo>
                      <a:cubicBezTo>
                        <a:pt x="381218" y="149333"/>
                        <a:pt x="397710" y="143931"/>
                        <a:pt x="417954" y="141128"/>
                      </a:cubicBezTo>
                      <a:cubicBezTo>
                        <a:pt x="438198" y="138324"/>
                        <a:pt x="444630" y="122615"/>
                        <a:pt x="461782" y="114410"/>
                      </a:cubicBezTo>
                      <a:cubicBezTo>
                        <a:pt x="476212" y="107607"/>
                        <a:pt x="481325" y="95279"/>
                        <a:pt x="478398" y="75736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61" name="Freeform: Shape 460">
                  <a:extLst>
                    <a:ext uri="{FF2B5EF4-FFF2-40B4-BE49-F238E27FC236}">
                      <a16:creationId xmlns:a16="http://schemas.microsoft.com/office/drawing/2014/main" id="{7EAB6510-C3ED-78C9-F251-2F07415953FA}"/>
                    </a:ext>
                  </a:extLst>
                </p:cNvPr>
                <p:cNvSpPr/>
                <p:nvPr>
                  <p:custDataLst>
                    <p:tags r:id="rId37"/>
                  </p:custDataLst>
                </p:nvPr>
              </p:nvSpPr>
              <p:spPr>
                <a:xfrm>
                  <a:off x="7864123" y="4192179"/>
                  <a:ext cx="178008" cy="113282"/>
                </a:xfrm>
                <a:custGeom>
                  <a:avLst/>
                  <a:gdLst>
                    <a:gd name="connsiteX0" fmla="*/ 287 w 134532"/>
                    <a:gd name="connsiteY0" fmla="*/ 75550 h 85614"/>
                    <a:gd name="connsiteX1" fmla="*/ 25850 w 134532"/>
                    <a:gd name="connsiteY1" fmla="*/ 71798 h 85614"/>
                    <a:gd name="connsiteX2" fmla="*/ 32859 w 134532"/>
                    <a:gd name="connsiteY2" fmla="*/ 85611 h 85614"/>
                    <a:gd name="connsiteX3" fmla="*/ 61102 w 134532"/>
                    <a:gd name="connsiteY3" fmla="*/ 79302 h 85614"/>
                    <a:gd name="connsiteX4" fmla="*/ 85840 w 134532"/>
                    <a:gd name="connsiteY4" fmla="*/ 80333 h 85614"/>
                    <a:gd name="connsiteX5" fmla="*/ 100023 w 134532"/>
                    <a:gd name="connsiteY5" fmla="*/ 59718 h 85614"/>
                    <a:gd name="connsiteX6" fmla="*/ 109795 w 134532"/>
                    <a:gd name="connsiteY6" fmla="*/ 37082 h 85614"/>
                    <a:gd name="connsiteX7" fmla="*/ 134533 w 134532"/>
                    <a:gd name="connsiteY7" fmla="*/ 17539 h 85614"/>
                    <a:gd name="connsiteX8" fmla="*/ 124762 w 134532"/>
                    <a:gd name="connsiteY8" fmla="*/ 57 h 85614"/>
                    <a:gd name="connsiteX9" fmla="*/ 97179 w 134532"/>
                    <a:gd name="connsiteY9" fmla="*/ 10324 h 85614"/>
                    <a:gd name="connsiteX10" fmla="*/ 62586 w 134532"/>
                    <a:gd name="connsiteY10" fmla="*/ 24754 h 85614"/>
                    <a:gd name="connsiteX11" fmla="*/ 18140 w 134532"/>
                    <a:gd name="connsiteY11" fmla="*/ 15478 h 85614"/>
                    <a:gd name="connsiteX12" fmla="*/ 2101 w 134532"/>
                    <a:gd name="connsiteY12" fmla="*/ 13993 h 85614"/>
                    <a:gd name="connsiteX13" fmla="*/ 287 w 134532"/>
                    <a:gd name="connsiteY13" fmla="*/ 75550 h 856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34532" h="85614">
                      <a:moveTo>
                        <a:pt x="287" y="75550"/>
                      </a:moveTo>
                      <a:cubicBezTo>
                        <a:pt x="9852" y="71097"/>
                        <a:pt x="20614" y="69325"/>
                        <a:pt x="25850" y="71798"/>
                      </a:cubicBezTo>
                      <a:cubicBezTo>
                        <a:pt x="31086" y="74272"/>
                        <a:pt x="31993" y="79591"/>
                        <a:pt x="32859" y="85611"/>
                      </a:cubicBezTo>
                      <a:cubicBezTo>
                        <a:pt x="42425" y="84250"/>
                        <a:pt x="51867" y="82143"/>
                        <a:pt x="61102" y="79302"/>
                      </a:cubicBezTo>
                      <a:cubicBezTo>
                        <a:pt x="68194" y="76210"/>
                        <a:pt x="84191" y="86518"/>
                        <a:pt x="85840" y="80333"/>
                      </a:cubicBezTo>
                      <a:cubicBezTo>
                        <a:pt x="87490" y="74148"/>
                        <a:pt x="92932" y="59718"/>
                        <a:pt x="100023" y="59718"/>
                      </a:cubicBezTo>
                      <a:cubicBezTo>
                        <a:pt x="107115" y="59718"/>
                        <a:pt x="102704" y="38113"/>
                        <a:pt x="109795" y="37082"/>
                      </a:cubicBezTo>
                      <a:cubicBezTo>
                        <a:pt x="116887" y="36052"/>
                        <a:pt x="134533" y="17539"/>
                        <a:pt x="134533" y="17539"/>
                      </a:cubicBezTo>
                      <a:cubicBezTo>
                        <a:pt x="134533" y="17539"/>
                        <a:pt x="127401" y="1047"/>
                        <a:pt x="124762" y="57"/>
                      </a:cubicBezTo>
                      <a:cubicBezTo>
                        <a:pt x="122123" y="-932"/>
                        <a:pt x="113176" y="10324"/>
                        <a:pt x="97179" y="10324"/>
                      </a:cubicBezTo>
                      <a:cubicBezTo>
                        <a:pt x="81181" y="10324"/>
                        <a:pt x="69678" y="24754"/>
                        <a:pt x="62586" y="24754"/>
                      </a:cubicBezTo>
                      <a:cubicBezTo>
                        <a:pt x="55495" y="24754"/>
                        <a:pt x="33272" y="16508"/>
                        <a:pt x="18140" y="15478"/>
                      </a:cubicBezTo>
                      <a:cubicBezTo>
                        <a:pt x="12821" y="15148"/>
                        <a:pt x="7296" y="14612"/>
                        <a:pt x="2101" y="13993"/>
                      </a:cubicBezTo>
                      <a:cubicBezTo>
                        <a:pt x="163" y="34452"/>
                        <a:pt x="-414" y="55013"/>
                        <a:pt x="287" y="75550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62" name="Freeform: Shape 461">
                  <a:extLst>
                    <a:ext uri="{FF2B5EF4-FFF2-40B4-BE49-F238E27FC236}">
                      <a16:creationId xmlns:a16="http://schemas.microsoft.com/office/drawing/2014/main" id="{2A722457-D5ED-AF16-FE2E-1D4C55DA2287}"/>
                    </a:ext>
                  </a:extLst>
                </p:cNvPr>
                <p:cNvSpPr/>
                <p:nvPr>
                  <p:custDataLst>
                    <p:tags r:id="rId38"/>
                  </p:custDataLst>
                </p:nvPr>
              </p:nvSpPr>
              <p:spPr>
                <a:xfrm>
                  <a:off x="8231112" y="4580744"/>
                  <a:ext cx="335566" cy="486060"/>
                </a:xfrm>
                <a:custGeom>
                  <a:avLst/>
                  <a:gdLst>
                    <a:gd name="connsiteX0" fmla="*/ 250434 w 253608"/>
                    <a:gd name="connsiteY0" fmla="*/ -4 h 367346"/>
                    <a:gd name="connsiteX1" fmla="*/ 231180 w 253608"/>
                    <a:gd name="connsiteY1" fmla="*/ 10675 h 367346"/>
                    <a:gd name="connsiteX2" fmla="*/ 215760 w 253608"/>
                    <a:gd name="connsiteY2" fmla="*/ 21601 h 367346"/>
                    <a:gd name="connsiteX3" fmla="*/ 173127 w 253608"/>
                    <a:gd name="connsiteY3" fmla="*/ 13355 h 367346"/>
                    <a:gd name="connsiteX4" fmla="*/ 119528 w 253608"/>
                    <a:gd name="connsiteY4" fmla="*/ 12612 h 367346"/>
                    <a:gd name="connsiteX5" fmla="*/ 118786 w 253608"/>
                    <a:gd name="connsiteY5" fmla="*/ 14715 h 367346"/>
                    <a:gd name="connsiteX6" fmla="*/ 81678 w 253608"/>
                    <a:gd name="connsiteY6" fmla="*/ 34588 h 367346"/>
                    <a:gd name="connsiteX7" fmla="*/ 63042 w 253608"/>
                    <a:gd name="connsiteY7" fmla="*/ 47988 h 367346"/>
                    <a:gd name="connsiteX8" fmla="*/ 35500 w 253608"/>
                    <a:gd name="connsiteY8" fmla="*/ 52111 h 367346"/>
                    <a:gd name="connsiteX9" fmla="*/ 21276 w 253608"/>
                    <a:gd name="connsiteY9" fmla="*/ 78829 h 367346"/>
                    <a:gd name="connsiteX10" fmla="*/ 11504 w 253608"/>
                    <a:gd name="connsiteY10" fmla="*/ 96310 h 367346"/>
                    <a:gd name="connsiteX11" fmla="*/ 1 w 253608"/>
                    <a:gd name="connsiteY11" fmla="*/ 121378 h 367346"/>
                    <a:gd name="connsiteX12" fmla="*/ 1732 w 253608"/>
                    <a:gd name="connsiteY12" fmla="*/ 122409 h 367346"/>
                    <a:gd name="connsiteX13" fmla="*/ 23049 w 253608"/>
                    <a:gd name="connsiteY13" fmla="*/ 162197 h 367346"/>
                    <a:gd name="connsiteX14" fmla="*/ 36902 w 253608"/>
                    <a:gd name="connsiteY14" fmla="*/ 179637 h 367346"/>
                    <a:gd name="connsiteX15" fmla="*/ 51497 w 253608"/>
                    <a:gd name="connsiteY15" fmla="*/ 173164 h 367346"/>
                    <a:gd name="connsiteX16" fmla="*/ 87615 w 253608"/>
                    <a:gd name="connsiteY16" fmla="*/ 188254 h 367346"/>
                    <a:gd name="connsiteX17" fmla="*/ 44942 w 253608"/>
                    <a:gd name="connsiteY17" fmla="*/ 192377 h 367346"/>
                    <a:gd name="connsiteX18" fmla="*/ 53188 w 253608"/>
                    <a:gd name="connsiteY18" fmla="*/ 231505 h 367346"/>
                    <a:gd name="connsiteX19" fmla="*/ 73803 w 253608"/>
                    <a:gd name="connsiteY19" fmla="*/ 263747 h 367346"/>
                    <a:gd name="connsiteX20" fmla="*/ 110911 w 253608"/>
                    <a:gd name="connsiteY20" fmla="*/ 284362 h 367346"/>
                    <a:gd name="connsiteX21" fmla="*/ 103819 w 253608"/>
                    <a:gd name="connsiteY21" fmla="*/ 237731 h 367346"/>
                    <a:gd name="connsiteX22" fmla="*/ 131650 w 253608"/>
                    <a:gd name="connsiteY22" fmla="*/ 236329 h 367346"/>
                    <a:gd name="connsiteX23" fmla="*/ 113302 w 253608"/>
                    <a:gd name="connsiteY23" fmla="*/ 217858 h 367346"/>
                    <a:gd name="connsiteX24" fmla="*/ 127527 w 253608"/>
                    <a:gd name="connsiteY24" fmla="*/ 208911 h 367346"/>
                    <a:gd name="connsiteX25" fmla="*/ 156388 w 253608"/>
                    <a:gd name="connsiteY25" fmla="*/ 204788 h 367346"/>
                    <a:gd name="connsiteX26" fmla="*/ 143359 w 253608"/>
                    <a:gd name="connsiteY26" fmla="*/ 167103 h 367346"/>
                    <a:gd name="connsiteX27" fmla="*/ 110375 w 253608"/>
                    <a:gd name="connsiteY27" fmla="*/ 168422 h 367346"/>
                    <a:gd name="connsiteX28" fmla="*/ 123403 w 253608"/>
                    <a:gd name="connsiteY28" fmla="*/ 143684 h 367346"/>
                    <a:gd name="connsiteX29" fmla="*/ 90831 w 253608"/>
                    <a:gd name="connsiteY29" fmla="*/ 91527 h 367346"/>
                    <a:gd name="connsiteX30" fmla="*/ 111447 w 253608"/>
                    <a:gd name="connsiteY30" fmla="*/ 78540 h 367346"/>
                    <a:gd name="connsiteX31" fmla="*/ 143441 w 253608"/>
                    <a:gd name="connsiteY31" fmla="*/ 83982 h 367346"/>
                    <a:gd name="connsiteX32" fmla="*/ 151152 w 253608"/>
                    <a:gd name="connsiteY32" fmla="*/ 49019 h 367346"/>
                    <a:gd name="connsiteX33" fmla="*/ 175436 w 253608"/>
                    <a:gd name="connsiteY33" fmla="*/ 57925 h 367346"/>
                    <a:gd name="connsiteX34" fmla="*/ 205658 w 253608"/>
                    <a:gd name="connsiteY34" fmla="*/ 40773 h 367346"/>
                    <a:gd name="connsiteX35" fmla="*/ 232705 w 253608"/>
                    <a:gd name="connsiteY35" fmla="*/ 55657 h 367346"/>
                    <a:gd name="connsiteX36" fmla="*/ 242065 w 253608"/>
                    <a:gd name="connsiteY36" fmla="*/ 39742 h 367346"/>
                    <a:gd name="connsiteX37" fmla="*/ 253609 w 253608"/>
                    <a:gd name="connsiteY37" fmla="*/ 18137 h 367346"/>
                    <a:gd name="connsiteX38" fmla="*/ 250434 w 253608"/>
                    <a:gd name="connsiteY38" fmla="*/ -4 h 367346"/>
                    <a:gd name="connsiteX39" fmla="*/ 216955 w 253608"/>
                    <a:gd name="connsiteY39" fmla="*/ 346084 h 367346"/>
                    <a:gd name="connsiteX40" fmla="*/ 153584 w 253608"/>
                    <a:gd name="connsiteY40" fmla="*/ 337838 h 367346"/>
                    <a:gd name="connsiteX41" fmla="*/ 129299 w 253608"/>
                    <a:gd name="connsiteY41" fmla="*/ 349506 h 367346"/>
                    <a:gd name="connsiteX42" fmla="*/ 187929 w 253608"/>
                    <a:gd name="connsiteY42" fmla="*/ 367318 h 367346"/>
                    <a:gd name="connsiteX43" fmla="*/ 241817 w 253608"/>
                    <a:gd name="connsiteY43" fmla="*/ 348146 h 367346"/>
                    <a:gd name="connsiteX44" fmla="*/ 216955 w 253608"/>
                    <a:gd name="connsiteY44" fmla="*/ 346084 h 3673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</a:cxnLst>
                  <a:rect l="l" t="t" r="r" b="b"/>
                  <a:pathLst>
                    <a:path w="253608" h="367346">
                      <a:moveTo>
                        <a:pt x="250434" y="-4"/>
                      </a:moveTo>
                      <a:cubicBezTo>
                        <a:pt x="241529" y="1027"/>
                        <a:pt x="229160" y="4861"/>
                        <a:pt x="231180" y="10675"/>
                      </a:cubicBezTo>
                      <a:cubicBezTo>
                        <a:pt x="233530" y="17519"/>
                        <a:pt x="225201" y="21601"/>
                        <a:pt x="215760" y="21601"/>
                      </a:cubicBezTo>
                      <a:cubicBezTo>
                        <a:pt x="215760" y="21601"/>
                        <a:pt x="182775" y="18921"/>
                        <a:pt x="173127" y="13355"/>
                      </a:cubicBezTo>
                      <a:cubicBezTo>
                        <a:pt x="165953" y="9232"/>
                        <a:pt x="134288" y="11293"/>
                        <a:pt x="119528" y="12612"/>
                      </a:cubicBezTo>
                      <a:cubicBezTo>
                        <a:pt x="119445" y="13363"/>
                        <a:pt x="119198" y="14084"/>
                        <a:pt x="118786" y="14715"/>
                      </a:cubicBezTo>
                      <a:cubicBezTo>
                        <a:pt x="115240" y="20900"/>
                        <a:pt x="86791" y="37680"/>
                        <a:pt x="81678" y="34588"/>
                      </a:cubicBezTo>
                      <a:cubicBezTo>
                        <a:pt x="76566" y="31496"/>
                        <a:pt x="73679" y="44896"/>
                        <a:pt x="63042" y="47988"/>
                      </a:cubicBezTo>
                      <a:cubicBezTo>
                        <a:pt x="52405" y="51080"/>
                        <a:pt x="36366" y="46916"/>
                        <a:pt x="35500" y="52111"/>
                      </a:cubicBezTo>
                      <a:cubicBezTo>
                        <a:pt x="32449" y="61825"/>
                        <a:pt x="27625" y="70888"/>
                        <a:pt x="21276" y="78829"/>
                      </a:cubicBezTo>
                      <a:cubicBezTo>
                        <a:pt x="15050" y="86044"/>
                        <a:pt x="20369" y="94290"/>
                        <a:pt x="11504" y="96310"/>
                      </a:cubicBezTo>
                      <a:cubicBezTo>
                        <a:pt x="5649" y="97712"/>
                        <a:pt x="3258" y="110287"/>
                        <a:pt x="1" y="121378"/>
                      </a:cubicBezTo>
                      <a:cubicBezTo>
                        <a:pt x="537" y="121774"/>
                        <a:pt x="1114" y="122121"/>
                        <a:pt x="1732" y="122409"/>
                      </a:cubicBezTo>
                      <a:cubicBezTo>
                        <a:pt x="14761" y="127192"/>
                        <a:pt x="24821" y="145045"/>
                        <a:pt x="23049" y="162197"/>
                      </a:cubicBezTo>
                      <a:cubicBezTo>
                        <a:pt x="22059" y="170838"/>
                        <a:pt x="28243" y="178647"/>
                        <a:pt x="36902" y="179637"/>
                      </a:cubicBezTo>
                      <a:cubicBezTo>
                        <a:pt x="42592" y="180284"/>
                        <a:pt x="48158" y="177810"/>
                        <a:pt x="51497" y="173164"/>
                      </a:cubicBezTo>
                      <a:cubicBezTo>
                        <a:pt x="60981" y="160795"/>
                        <a:pt x="87615" y="180049"/>
                        <a:pt x="87615" y="188254"/>
                      </a:cubicBezTo>
                      <a:cubicBezTo>
                        <a:pt x="87615" y="196459"/>
                        <a:pt x="60362" y="179348"/>
                        <a:pt x="44942" y="192377"/>
                      </a:cubicBezTo>
                      <a:cubicBezTo>
                        <a:pt x="29522" y="205406"/>
                        <a:pt x="56816" y="217775"/>
                        <a:pt x="53188" y="231505"/>
                      </a:cubicBezTo>
                      <a:cubicBezTo>
                        <a:pt x="49560" y="245235"/>
                        <a:pt x="60279" y="264489"/>
                        <a:pt x="73803" y="263747"/>
                      </a:cubicBezTo>
                      <a:cubicBezTo>
                        <a:pt x="87327" y="263005"/>
                        <a:pt x="102664" y="289104"/>
                        <a:pt x="110911" y="284362"/>
                      </a:cubicBezTo>
                      <a:cubicBezTo>
                        <a:pt x="119157" y="279621"/>
                        <a:pt x="100851" y="243132"/>
                        <a:pt x="103819" y="237731"/>
                      </a:cubicBezTo>
                      <a:cubicBezTo>
                        <a:pt x="106787" y="232330"/>
                        <a:pt x="123362" y="247338"/>
                        <a:pt x="131650" y="236329"/>
                      </a:cubicBezTo>
                      <a:cubicBezTo>
                        <a:pt x="139937" y="225320"/>
                        <a:pt x="125712" y="217157"/>
                        <a:pt x="113302" y="217858"/>
                      </a:cubicBezTo>
                      <a:cubicBezTo>
                        <a:pt x="100891" y="218559"/>
                        <a:pt x="112725" y="198603"/>
                        <a:pt x="127527" y="208911"/>
                      </a:cubicBezTo>
                      <a:cubicBezTo>
                        <a:pt x="142328" y="219218"/>
                        <a:pt x="149420" y="206189"/>
                        <a:pt x="156388" y="204788"/>
                      </a:cubicBezTo>
                      <a:cubicBezTo>
                        <a:pt x="163356" y="203386"/>
                        <a:pt x="165294" y="173947"/>
                        <a:pt x="143359" y="167103"/>
                      </a:cubicBezTo>
                      <a:cubicBezTo>
                        <a:pt x="121425" y="160259"/>
                        <a:pt x="124434" y="185615"/>
                        <a:pt x="110375" y="168422"/>
                      </a:cubicBezTo>
                      <a:cubicBezTo>
                        <a:pt x="96315" y="151229"/>
                        <a:pt x="123403" y="158156"/>
                        <a:pt x="123403" y="143684"/>
                      </a:cubicBezTo>
                      <a:cubicBezTo>
                        <a:pt x="123403" y="129212"/>
                        <a:pt x="101469" y="108679"/>
                        <a:pt x="90831" y="91527"/>
                      </a:cubicBezTo>
                      <a:cubicBezTo>
                        <a:pt x="80194" y="74376"/>
                        <a:pt x="105633" y="66171"/>
                        <a:pt x="111447" y="78540"/>
                      </a:cubicBezTo>
                      <a:cubicBezTo>
                        <a:pt x="117260" y="90909"/>
                        <a:pt x="133381" y="88806"/>
                        <a:pt x="143441" y="83982"/>
                      </a:cubicBezTo>
                      <a:cubicBezTo>
                        <a:pt x="153501" y="79158"/>
                        <a:pt x="132804" y="57224"/>
                        <a:pt x="151152" y="49019"/>
                      </a:cubicBezTo>
                      <a:cubicBezTo>
                        <a:pt x="169499" y="40814"/>
                        <a:pt x="169540" y="55203"/>
                        <a:pt x="175436" y="57925"/>
                      </a:cubicBezTo>
                      <a:cubicBezTo>
                        <a:pt x="181332" y="60646"/>
                        <a:pt x="186692" y="40773"/>
                        <a:pt x="205658" y="40773"/>
                      </a:cubicBezTo>
                      <a:cubicBezTo>
                        <a:pt x="215512" y="40773"/>
                        <a:pt x="224253" y="48359"/>
                        <a:pt x="232705" y="55657"/>
                      </a:cubicBezTo>
                      <a:cubicBezTo>
                        <a:pt x="237859" y="49101"/>
                        <a:pt x="242065" y="45308"/>
                        <a:pt x="242065" y="39742"/>
                      </a:cubicBezTo>
                      <a:cubicBezTo>
                        <a:pt x="242065" y="32527"/>
                        <a:pt x="253609" y="29434"/>
                        <a:pt x="253609" y="18137"/>
                      </a:cubicBezTo>
                      <a:cubicBezTo>
                        <a:pt x="253197" y="11994"/>
                        <a:pt x="252125" y="5917"/>
                        <a:pt x="250434" y="-4"/>
                      </a:cubicBezTo>
                      <a:close/>
                      <a:moveTo>
                        <a:pt x="216955" y="346084"/>
                      </a:moveTo>
                      <a:cubicBezTo>
                        <a:pt x="207472" y="339941"/>
                        <a:pt x="164840" y="350207"/>
                        <a:pt x="153584" y="337838"/>
                      </a:cubicBezTo>
                      <a:cubicBezTo>
                        <a:pt x="142328" y="325469"/>
                        <a:pt x="119363" y="347569"/>
                        <a:pt x="129299" y="349506"/>
                      </a:cubicBezTo>
                      <a:cubicBezTo>
                        <a:pt x="143483" y="352269"/>
                        <a:pt x="164840" y="366659"/>
                        <a:pt x="187929" y="367318"/>
                      </a:cubicBezTo>
                      <a:cubicBezTo>
                        <a:pt x="211018" y="367978"/>
                        <a:pt x="242395" y="354949"/>
                        <a:pt x="241817" y="348146"/>
                      </a:cubicBezTo>
                      <a:cubicBezTo>
                        <a:pt x="241240" y="341343"/>
                        <a:pt x="226438" y="352269"/>
                        <a:pt x="216955" y="346084"/>
                      </a:cubicBezTo>
                      <a:close/>
                    </a:path>
                  </a:pathLst>
                </a:custGeom>
                <a:solidFill>
                  <a:srgbClr val="5F249F"/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63" name="Freeform: Shape 462">
                  <a:extLst>
                    <a:ext uri="{FF2B5EF4-FFF2-40B4-BE49-F238E27FC236}">
                      <a16:creationId xmlns:a16="http://schemas.microsoft.com/office/drawing/2014/main" id="{44BD8F9C-D65D-5D37-75D3-97C57BC00728}"/>
                    </a:ext>
                  </a:extLst>
                </p:cNvPr>
                <p:cNvSpPr/>
                <p:nvPr>
                  <p:custDataLst>
                    <p:tags r:id="rId39"/>
                  </p:custDataLst>
                </p:nvPr>
              </p:nvSpPr>
              <p:spPr>
                <a:xfrm>
                  <a:off x="6627264" y="3516543"/>
                  <a:ext cx="223176" cy="271358"/>
                </a:xfrm>
                <a:custGeom>
                  <a:avLst/>
                  <a:gdLst>
                    <a:gd name="connsiteX0" fmla="*/ 158689 w 168668"/>
                    <a:gd name="connsiteY0" fmla="*/ 78254 h 205083"/>
                    <a:gd name="connsiteX1" fmla="*/ 157988 w 168668"/>
                    <a:gd name="connsiteY1" fmla="*/ 71080 h 205083"/>
                    <a:gd name="connsiteX2" fmla="*/ 144753 w 168668"/>
                    <a:gd name="connsiteY2" fmla="*/ 57144 h 205083"/>
                    <a:gd name="connsiteX3" fmla="*/ 121499 w 168668"/>
                    <a:gd name="connsiteY3" fmla="*/ 65390 h 205083"/>
                    <a:gd name="connsiteX4" fmla="*/ 96431 w 168668"/>
                    <a:gd name="connsiteY4" fmla="*/ 59206 h 205083"/>
                    <a:gd name="connsiteX5" fmla="*/ 105378 w 168668"/>
                    <a:gd name="connsiteY5" fmla="*/ 32241 h 205083"/>
                    <a:gd name="connsiteX6" fmla="*/ 116304 w 168668"/>
                    <a:gd name="connsiteY6" fmla="*/ 5812 h 205083"/>
                    <a:gd name="connsiteX7" fmla="*/ 111356 w 168668"/>
                    <a:gd name="connsiteY7" fmla="*/ 4781 h 205083"/>
                    <a:gd name="connsiteX8" fmla="*/ 71074 w 168668"/>
                    <a:gd name="connsiteY8" fmla="*/ 14429 h 205083"/>
                    <a:gd name="connsiteX9" fmla="*/ 89999 w 168668"/>
                    <a:gd name="connsiteY9" fmla="*/ 36364 h 205083"/>
                    <a:gd name="connsiteX10" fmla="*/ 57427 w 168668"/>
                    <a:gd name="connsiteY10" fmla="*/ 55577 h 205083"/>
                    <a:gd name="connsiteX11" fmla="*/ 14794 w 168668"/>
                    <a:gd name="connsiteY11" fmla="*/ 56237 h 205083"/>
                    <a:gd name="connsiteX12" fmla="*/ 19536 w 168668"/>
                    <a:gd name="connsiteY12" fmla="*/ 91241 h 205083"/>
                    <a:gd name="connsiteX13" fmla="*/ 37884 w 168668"/>
                    <a:gd name="connsiteY13" fmla="*/ 124226 h 205083"/>
                    <a:gd name="connsiteX14" fmla="*/ 27205 w 168668"/>
                    <a:gd name="connsiteY14" fmla="*/ 163354 h 205083"/>
                    <a:gd name="connsiteX15" fmla="*/ 570 w 168668"/>
                    <a:gd name="connsiteY15" fmla="*/ 193534 h 205083"/>
                    <a:gd name="connsiteX16" fmla="*/ 1230 w 168668"/>
                    <a:gd name="connsiteY16" fmla="*/ 202935 h 205083"/>
                    <a:gd name="connsiteX17" fmla="*/ 101667 w 168668"/>
                    <a:gd name="connsiteY17" fmla="*/ 205079 h 205083"/>
                    <a:gd name="connsiteX18" fmla="*/ 109542 w 168668"/>
                    <a:gd name="connsiteY18" fmla="*/ 197658 h 205083"/>
                    <a:gd name="connsiteX19" fmla="*/ 158689 w 168668"/>
                    <a:gd name="connsiteY19" fmla="*/ 185989 h 205083"/>
                    <a:gd name="connsiteX20" fmla="*/ 158689 w 168668"/>
                    <a:gd name="connsiteY20" fmla="*/ 78254 h 2050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168668" h="205083">
                      <a:moveTo>
                        <a:pt x="158689" y="78254"/>
                      </a:moveTo>
                      <a:cubicBezTo>
                        <a:pt x="157658" y="76015"/>
                        <a:pt x="157411" y="73479"/>
                        <a:pt x="157988" y="71080"/>
                      </a:cubicBezTo>
                      <a:cubicBezTo>
                        <a:pt x="153081" y="66945"/>
                        <a:pt x="148629" y="62269"/>
                        <a:pt x="144753" y="57144"/>
                      </a:cubicBezTo>
                      <a:cubicBezTo>
                        <a:pt x="129539" y="36529"/>
                        <a:pt x="123272" y="53021"/>
                        <a:pt x="121499" y="65390"/>
                      </a:cubicBezTo>
                      <a:cubicBezTo>
                        <a:pt x="119726" y="77759"/>
                        <a:pt x="105378" y="61267"/>
                        <a:pt x="96431" y="59206"/>
                      </a:cubicBezTo>
                      <a:cubicBezTo>
                        <a:pt x="87483" y="57144"/>
                        <a:pt x="99111" y="37436"/>
                        <a:pt x="105378" y="32241"/>
                      </a:cubicBezTo>
                      <a:cubicBezTo>
                        <a:pt x="109501" y="28777"/>
                        <a:pt x="113624" y="19171"/>
                        <a:pt x="116304" y="5812"/>
                      </a:cubicBezTo>
                      <a:cubicBezTo>
                        <a:pt x="114613" y="5812"/>
                        <a:pt x="112923" y="5462"/>
                        <a:pt x="111356" y="4781"/>
                      </a:cubicBezTo>
                      <a:cubicBezTo>
                        <a:pt x="94864" y="-2723"/>
                        <a:pt x="71651" y="-2723"/>
                        <a:pt x="71074" y="14429"/>
                      </a:cubicBezTo>
                      <a:cubicBezTo>
                        <a:pt x="70497" y="31581"/>
                        <a:pt x="89422" y="25397"/>
                        <a:pt x="89999" y="36364"/>
                      </a:cubicBezTo>
                      <a:cubicBezTo>
                        <a:pt x="90576" y="47331"/>
                        <a:pt x="71074" y="44610"/>
                        <a:pt x="57427" y="55577"/>
                      </a:cubicBezTo>
                      <a:cubicBezTo>
                        <a:pt x="43779" y="66544"/>
                        <a:pt x="28978" y="48032"/>
                        <a:pt x="14794" y="56237"/>
                      </a:cubicBezTo>
                      <a:cubicBezTo>
                        <a:pt x="611" y="64442"/>
                        <a:pt x="30174" y="74090"/>
                        <a:pt x="19536" y="91241"/>
                      </a:cubicBezTo>
                      <a:cubicBezTo>
                        <a:pt x="8898" y="108393"/>
                        <a:pt x="20113" y="107734"/>
                        <a:pt x="37884" y="124226"/>
                      </a:cubicBezTo>
                      <a:cubicBezTo>
                        <a:pt x="55654" y="140718"/>
                        <a:pt x="27205" y="144841"/>
                        <a:pt x="27205" y="163354"/>
                      </a:cubicBezTo>
                      <a:cubicBezTo>
                        <a:pt x="27205" y="181866"/>
                        <a:pt x="5311" y="181206"/>
                        <a:pt x="570" y="193534"/>
                      </a:cubicBezTo>
                      <a:cubicBezTo>
                        <a:pt x="-378" y="196643"/>
                        <a:pt x="-131" y="199987"/>
                        <a:pt x="1230" y="202935"/>
                      </a:cubicBezTo>
                      <a:cubicBezTo>
                        <a:pt x="34709" y="203265"/>
                        <a:pt x="68188" y="204955"/>
                        <a:pt x="101667" y="205079"/>
                      </a:cubicBezTo>
                      <a:cubicBezTo>
                        <a:pt x="104470" y="202786"/>
                        <a:pt x="107109" y="200308"/>
                        <a:pt x="109542" y="197658"/>
                      </a:cubicBezTo>
                      <a:cubicBezTo>
                        <a:pt x="129703" y="175682"/>
                        <a:pt x="140341" y="196915"/>
                        <a:pt x="158689" y="185989"/>
                      </a:cubicBezTo>
                      <a:cubicBezTo>
                        <a:pt x="177036" y="175063"/>
                        <a:pt x="165821" y="94705"/>
                        <a:pt x="158689" y="78254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64" name="Freeform: Shape 463">
                  <a:extLst>
                    <a:ext uri="{FF2B5EF4-FFF2-40B4-BE49-F238E27FC236}">
                      <a16:creationId xmlns:a16="http://schemas.microsoft.com/office/drawing/2014/main" id="{C39463FC-97AB-D389-7C35-8C9D21DAF2E2}"/>
                    </a:ext>
                  </a:extLst>
                </p:cNvPr>
                <p:cNvSpPr/>
                <p:nvPr>
                  <p:custDataLst>
                    <p:tags r:id="rId40"/>
                  </p:custDataLst>
                </p:nvPr>
              </p:nvSpPr>
              <p:spPr>
                <a:xfrm>
                  <a:off x="7777329" y="3437082"/>
                  <a:ext cx="77045" cy="123383"/>
                </a:xfrm>
                <a:custGeom>
                  <a:avLst/>
                  <a:gdLst>
                    <a:gd name="connsiteX0" fmla="*/ 57099 w 58228"/>
                    <a:gd name="connsiteY0" fmla="*/ 4555 h 93249"/>
                    <a:gd name="connsiteX1" fmla="*/ 43493 w 58228"/>
                    <a:gd name="connsiteY1" fmla="*/ 15522 h 93249"/>
                    <a:gd name="connsiteX2" fmla="*/ 29846 w 58228"/>
                    <a:gd name="connsiteY2" fmla="*/ 4555 h 93249"/>
                    <a:gd name="connsiteX3" fmla="*/ 3788 w 58228"/>
                    <a:gd name="connsiteY3" fmla="*/ 17584 h 93249"/>
                    <a:gd name="connsiteX4" fmla="*/ 19167 w 58228"/>
                    <a:gd name="connsiteY4" fmla="*/ 60092 h 93249"/>
                    <a:gd name="connsiteX5" fmla="*/ 7953 w 58228"/>
                    <a:gd name="connsiteY5" fmla="*/ 72461 h 93249"/>
                    <a:gd name="connsiteX6" fmla="*/ 18590 w 58228"/>
                    <a:gd name="connsiteY6" fmla="*/ 93077 h 93249"/>
                    <a:gd name="connsiteX7" fmla="*/ 47452 w 58228"/>
                    <a:gd name="connsiteY7" fmla="*/ 54650 h 93249"/>
                    <a:gd name="connsiteX8" fmla="*/ 57099 w 58228"/>
                    <a:gd name="connsiteY8" fmla="*/ 4555 h 932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58228" h="93249">
                      <a:moveTo>
                        <a:pt x="57099" y="4555"/>
                      </a:moveTo>
                      <a:cubicBezTo>
                        <a:pt x="52358" y="1091"/>
                        <a:pt x="48853" y="14120"/>
                        <a:pt x="43493" y="15522"/>
                      </a:cubicBezTo>
                      <a:cubicBezTo>
                        <a:pt x="38134" y="16924"/>
                        <a:pt x="32237" y="-10577"/>
                        <a:pt x="29846" y="4555"/>
                      </a:cubicBezTo>
                      <a:cubicBezTo>
                        <a:pt x="27454" y="19686"/>
                        <a:pt x="15621" y="-1630"/>
                        <a:pt x="3788" y="17584"/>
                      </a:cubicBezTo>
                      <a:cubicBezTo>
                        <a:pt x="-8045" y="36797"/>
                        <a:pt x="10880" y="53949"/>
                        <a:pt x="19167" y="60092"/>
                      </a:cubicBezTo>
                      <a:cubicBezTo>
                        <a:pt x="27454" y="66236"/>
                        <a:pt x="18590" y="75183"/>
                        <a:pt x="7953" y="72461"/>
                      </a:cubicBezTo>
                      <a:cubicBezTo>
                        <a:pt x="-2685" y="69740"/>
                        <a:pt x="3830" y="90273"/>
                        <a:pt x="18590" y="93077"/>
                      </a:cubicBezTo>
                      <a:cubicBezTo>
                        <a:pt x="33351" y="95880"/>
                        <a:pt x="49389" y="62896"/>
                        <a:pt x="47452" y="54650"/>
                      </a:cubicBezTo>
                      <a:cubicBezTo>
                        <a:pt x="45513" y="46404"/>
                        <a:pt x="62707" y="8595"/>
                        <a:pt x="57099" y="4555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65" name="Freeform: Shape 464">
                  <a:extLst>
                    <a:ext uri="{FF2B5EF4-FFF2-40B4-BE49-F238E27FC236}">
                      <a16:creationId xmlns:a16="http://schemas.microsoft.com/office/drawing/2014/main" id="{D3B2AE0A-CC70-88C9-E0B1-84AA39FB91DE}"/>
                    </a:ext>
                  </a:extLst>
                </p:cNvPr>
                <p:cNvSpPr/>
                <p:nvPr>
                  <p:custDataLst>
                    <p:tags r:id="rId41"/>
                  </p:custDataLst>
                </p:nvPr>
              </p:nvSpPr>
              <p:spPr>
                <a:xfrm>
                  <a:off x="7621081" y="3289184"/>
                  <a:ext cx="139541" cy="257576"/>
                </a:xfrm>
                <a:custGeom>
                  <a:avLst/>
                  <a:gdLst>
                    <a:gd name="connsiteX0" fmla="*/ 85966 w 105460"/>
                    <a:gd name="connsiteY0" fmla="*/ 74566 h 194666"/>
                    <a:gd name="connsiteX1" fmla="*/ 84770 w 105460"/>
                    <a:gd name="connsiteY1" fmla="*/ 42365 h 194666"/>
                    <a:gd name="connsiteX2" fmla="*/ 88893 w 105460"/>
                    <a:gd name="connsiteY2" fmla="*/ 2577 h 194666"/>
                    <a:gd name="connsiteX3" fmla="*/ 60032 w 105460"/>
                    <a:gd name="connsiteY3" fmla="*/ 21090 h 194666"/>
                    <a:gd name="connsiteX4" fmla="*/ 36324 w 105460"/>
                    <a:gd name="connsiteY4" fmla="*/ 35479 h 194666"/>
                    <a:gd name="connsiteX5" fmla="*/ 38097 w 105460"/>
                    <a:gd name="connsiteY5" fmla="*/ 56095 h 194666"/>
                    <a:gd name="connsiteX6" fmla="*/ 15008 w 105460"/>
                    <a:gd name="connsiteY6" fmla="*/ 42406 h 194666"/>
                    <a:gd name="connsiteX7" fmla="*/ 1 w 105460"/>
                    <a:gd name="connsiteY7" fmla="*/ 62527 h 194666"/>
                    <a:gd name="connsiteX8" fmla="*/ 5401 w 105460"/>
                    <a:gd name="connsiteY8" fmla="*/ 82853 h 194666"/>
                    <a:gd name="connsiteX9" fmla="*/ 9524 w 105460"/>
                    <a:gd name="connsiteY9" fmla="*/ 146472 h 194666"/>
                    <a:gd name="connsiteX10" fmla="*/ 10762 w 105460"/>
                    <a:gd name="connsiteY10" fmla="*/ 162139 h 194666"/>
                    <a:gd name="connsiteX11" fmla="*/ 10432 w 105460"/>
                    <a:gd name="connsiteY11" fmla="*/ 169313 h 194666"/>
                    <a:gd name="connsiteX12" fmla="*/ 16534 w 105460"/>
                    <a:gd name="connsiteY12" fmla="*/ 189929 h 194666"/>
                    <a:gd name="connsiteX13" fmla="*/ 53105 w 105460"/>
                    <a:gd name="connsiteY13" fmla="*/ 194052 h 194666"/>
                    <a:gd name="connsiteX14" fmla="*/ 67907 w 105460"/>
                    <a:gd name="connsiteY14" fmla="*/ 193681 h 194666"/>
                    <a:gd name="connsiteX15" fmla="*/ 51910 w 105460"/>
                    <a:gd name="connsiteY15" fmla="*/ 168695 h 194666"/>
                    <a:gd name="connsiteX16" fmla="*/ 72525 w 105460"/>
                    <a:gd name="connsiteY16" fmla="*/ 173478 h 194666"/>
                    <a:gd name="connsiteX17" fmla="*/ 100933 w 105460"/>
                    <a:gd name="connsiteY17" fmla="*/ 172818 h 194666"/>
                    <a:gd name="connsiteX18" fmla="*/ 86708 w 105460"/>
                    <a:gd name="connsiteY18" fmla="*/ 143957 h 194666"/>
                    <a:gd name="connsiteX19" fmla="*/ 68360 w 105460"/>
                    <a:gd name="connsiteY19" fmla="*/ 141235 h 194666"/>
                    <a:gd name="connsiteX20" fmla="*/ 79616 w 105460"/>
                    <a:gd name="connsiteY20" fmla="*/ 112374 h 194666"/>
                    <a:gd name="connsiteX21" fmla="*/ 105097 w 105460"/>
                    <a:gd name="connsiteY21" fmla="*/ 96583 h 194666"/>
                    <a:gd name="connsiteX22" fmla="*/ 85966 w 105460"/>
                    <a:gd name="connsiteY22" fmla="*/ 74566 h 194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105460" h="194666">
                      <a:moveTo>
                        <a:pt x="85966" y="74566"/>
                      </a:moveTo>
                      <a:cubicBezTo>
                        <a:pt x="80029" y="71185"/>
                        <a:pt x="77720" y="49209"/>
                        <a:pt x="84770" y="42365"/>
                      </a:cubicBezTo>
                      <a:cubicBezTo>
                        <a:pt x="91821" y="35521"/>
                        <a:pt x="94831" y="9380"/>
                        <a:pt x="88893" y="2577"/>
                      </a:cubicBezTo>
                      <a:cubicBezTo>
                        <a:pt x="82956" y="-4226"/>
                        <a:pt x="61640" y="2577"/>
                        <a:pt x="60032" y="21090"/>
                      </a:cubicBezTo>
                      <a:cubicBezTo>
                        <a:pt x="58424" y="39602"/>
                        <a:pt x="41066" y="31398"/>
                        <a:pt x="36324" y="35479"/>
                      </a:cubicBezTo>
                      <a:cubicBezTo>
                        <a:pt x="31583" y="39561"/>
                        <a:pt x="45807" y="47849"/>
                        <a:pt x="38097" y="56095"/>
                      </a:cubicBezTo>
                      <a:cubicBezTo>
                        <a:pt x="30387" y="64341"/>
                        <a:pt x="27419" y="43725"/>
                        <a:pt x="15008" y="42406"/>
                      </a:cubicBezTo>
                      <a:cubicBezTo>
                        <a:pt x="6515" y="41458"/>
                        <a:pt x="3257" y="52013"/>
                        <a:pt x="1" y="62527"/>
                      </a:cubicBezTo>
                      <a:cubicBezTo>
                        <a:pt x="2350" y="69144"/>
                        <a:pt x="4165" y="75943"/>
                        <a:pt x="5401" y="82853"/>
                      </a:cubicBezTo>
                      <a:cubicBezTo>
                        <a:pt x="8988" y="103839"/>
                        <a:pt x="4536" y="126104"/>
                        <a:pt x="9524" y="146472"/>
                      </a:cubicBezTo>
                      <a:cubicBezTo>
                        <a:pt x="10762" y="151597"/>
                        <a:pt x="11174" y="156882"/>
                        <a:pt x="10762" y="162139"/>
                      </a:cubicBezTo>
                      <a:cubicBezTo>
                        <a:pt x="11256" y="164522"/>
                        <a:pt x="11133" y="166984"/>
                        <a:pt x="10432" y="169313"/>
                      </a:cubicBezTo>
                      <a:cubicBezTo>
                        <a:pt x="8535" y="175663"/>
                        <a:pt x="12411" y="182837"/>
                        <a:pt x="16534" y="189929"/>
                      </a:cubicBezTo>
                      <a:cubicBezTo>
                        <a:pt x="32284" y="190300"/>
                        <a:pt x="46756" y="191619"/>
                        <a:pt x="53105" y="194052"/>
                      </a:cubicBezTo>
                      <a:cubicBezTo>
                        <a:pt x="58012" y="194975"/>
                        <a:pt x="63042" y="194852"/>
                        <a:pt x="67907" y="193681"/>
                      </a:cubicBezTo>
                      <a:cubicBezTo>
                        <a:pt x="62712" y="183826"/>
                        <a:pt x="51003" y="175869"/>
                        <a:pt x="51910" y="168695"/>
                      </a:cubicBezTo>
                      <a:cubicBezTo>
                        <a:pt x="53105" y="159129"/>
                        <a:pt x="64279" y="165232"/>
                        <a:pt x="72525" y="173478"/>
                      </a:cubicBezTo>
                      <a:cubicBezTo>
                        <a:pt x="80771" y="181724"/>
                        <a:pt x="99159" y="183126"/>
                        <a:pt x="100933" y="172818"/>
                      </a:cubicBezTo>
                      <a:cubicBezTo>
                        <a:pt x="102046" y="166468"/>
                        <a:pt x="97964" y="137154"/>
                        <a:pt x="86708" y="143957"/>
                      </a:cubicBezTo>
                      <a:cubicBezTo>
                        <a:pt x="75452" y="150760"/>
                        <a:pt x="72525" y="148080"/>
                        <a:pt x="68360" y="141235"/>
                      </a:cubicBezTo>
                      <a:cubicBezTo>
                        <a:pt x="64196" y="134391"/>
                        <a:pt x="76607" y="123383"/>
                        <a:pt x="79616" y="112374"/>
                      </a:cubicBezTo>
                      <a:cubicBezTo>
                        <a:pt x="82626" y="101366"/>
                        <a:pt x="102087" y="105489"/>
                        <a:pt x="105097" y="96583"/>
                      </a:cubicBezTo>
                      <a:cubicBezTo>
                        <a:pt x="108107" y="87677"/>
                        <a:pt x="91656" y="77905"/>
                        <a:pt x="85966" y="74566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66" name="Freeform: Shape 465">
                  <a:extLst>
                    <a:ext uri="{FF2B5EF4-FFF2-40B4-BE49-F238E27FC236}">
                      <a16:creationId xmlns:a16="http://schemas.microsoft.com/office/drawing/2014/main" id="{B5E4C458-B58C-7964-9925-2D5FEB9CC217}"/>
                    </a:ext>
                  </a:extLst>
                </p:cNvPr>
                <p:cNvSpPr/>
                <p:nvPr>
                  <p:custDataLst>
                    <p:tags r:id="rId42"/>
                  </p:custDataLst>
                </p:nvPr>
              </p:nvSpPr>
              <p:spPr>
                <a:xfrm>
                  <a:off x="8328250" y="3113509"/>
                  <a:ext cx="319745" cy="183671"/>
                </a:xfrm>
                <a:custGeom>
                  <a:avLst/>
                  <a:gdLst>
                    <a:gd name="connsiteX0" fmla="*/ 230001 w 241651"/>
                    <a:gd name="connsiteY0" fmla="*/ 35402 h 138811"/>
                    <a:gd name="connsiteX1" fmla="*/ 238247 w 241651"/>
                    <a:gd name="connsiteY1" fmla="*/ 4932 h 138811"/>
                    <a:gd name="connsiteX2" fmla="*/ 229506 w 241651"/>
                    <a:gd name="connsiteY2" fmla="*/ 9674 h 138811"/>
                    <a:gd name="connsiteX3" fmla="*/ 153683 w 241651"/>
                    <a:gd name="connsiteY3" fmla="*/ 768 h 138811"/>
                    <a:gd name="connsiteX4" fmla="*/ 79056 w 241651"/>
                    <a:gd name="connsiteY4" fmla="*/ 17920 h 138811"/>
                    <a:gd name="connsiteX5" fmla="*/ 54772 w 241651"/>
                    <a:gd name="connsiteY5" fmla="*/ 44679 h 138811"/>
                    <a:gd name="connsiteX6" fmla="*/ 63018 w 241651"/>
                    <a:gd name="connsiteY6" fmla="*/ 74200 h 138811"/>
                    <a:gd name="connsiteX7" fmla="*/ 86725 w 241651"/>
                    <a:gd name="connsiteY7" fmla="*/ 89950 h 138811"/>
                    <a:gd name="connsiteX8" fmla="*/ 94971 w 241651"/>
                    <a:gd name="connsiteY8" fmla="*/ 108462 h 138811"/>
                    <a:gd name="connsiteX9" fmla="*/ 94476 w 241651"/>
                    <a:gd name="connsiteY9" fmla="*/ 109204 h 138811"/>
                    <a:gd name="connsiteX10" fmla="*/ 137603 w 241651"/>
                    <a:gd name="connsiteY10" fmla="*/ 108462 h 138811"/>
                    <a:gd name="connsiteX11" fmla="*/ 177886 w 241651"/>
                    <a:gd name="connsiteY11" fmla="*/ 135922 h 138811"/>
                    <a:gd name="connsiteX12" fmla="*/ 216106 w 241651"/>
                    <a:gd name="connsiteY12" fmla="*/ 138808 h 138811"/>
                    <a:gd name="connsiteX13" fmla="*/ 217549 w 241651"/>
                    <a:gd name="connsiteY13" fmla="*/ 125944 h 138811"/>
                    <a:gd name="connsiteX14" fmla="*/ 228228 w 241651"/>
                    <a:gd name="connsiteY14" fmla="*/ 110524 h 138811"/>
                    <a:gd name="connsiteX15" fmla="*/ 219363 w 241651"/>
                    <a:gd name="connsiteY15" fmla="*/ 85785 h 138811"/>
                    <a:gd name="connsiteX16" fmla="*/ 216683 w 241651"/>
                    <a:gd name="connsiteY16" fmla="*/ 59027 h 138811"/>
                    <a:gd name="connsiteX17" fmla="*/ 230001 w 241651"/>
                    <a:gd name="connsiteY17" fmla="*/ 35402 h 138811"/>
                    <a:gd name="connsiteX18" fmla="*/ 20344 w 241651"/>
                    <a:gd name="connsiteY18" fmla="*/ 68675 h 138811"/>
                    <a:gd name="connsiteX19" fmla="*/ 4346 w 241651"/>
                    <a:gd name="connsiteY19" fmla="*/ 109204 h 138811"/>
                    <a:gd name="connsiteX20" fmla="*/ 45824 w 241651"/>
                    <a:gd name="connsiteY20" fmla="*/ 77581 h 138811"/>
                    <a:gd name="connsiteX21" fmla="*/ 20344 w 241651"/>
                    <a:gd name="connsiteY21" fmla="*/ 68675 h 138811"/>
                    <a:gd name="connsiteX22" fmla="*/ 38073 w 241651"/>
                    <a:gd name="connsiteY22" fmla="*/ 48760 h 138811"/>
                    <a:gd name="connsiteX23" fmla="*/ 12634 w 241651"/>
                    <a:gd name="connsiteY23" fmla="*/ 52224 h 138811"/>
                    <a:gd name="connsiteX24" fmla="*/ 38032 w 241651"/>
                    <a:gd name="connsiteY24" fmla="*/ 48760 h 1388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241651" h="138811">
                      <a:moveTo>
                        <a:pt x="230001" y="35402"/>
                      </a:moveTo>
                      <a:cubicBezTo>
                        <a:pt x="234907" y="23033"/>
                        <a:pt x="247730" y="21054"/>
                        <a:pt x="238247" y="4932"/>
                      </a:cubicBezTo>
                      <a:cubicBezTo>
                        <a:pt x="235732" y="7175"/>
                        <a:pt x="232763" y="8800"/>
                        <a:pt x="229506" y="9674"/>
                      </a:cubicBezTo>
                      <a:cubicBezTo>
                        <a:pt x="212313" y="15199"/>
                        <a:pt x="174999" y="-4015"/>
                        <a:pt x="153683" y="768"/>
                      </a:cubicBezTo>
                      <a:cubicBezTo>
                        <a:pt x="132367" y="5551"/>
                        <a:pt x="89116" y="5551"/>
                        <a:pt x="79056" y="17920"/>
                      </a:cubicBezTo>
                      <a:cubicBezTo>
                        <a:pt x="68996" y="30289"/>
                        <a:pt x="43515" y="33670"/>
                        <a:pt x="54772" y="44679"/>
                      </a:cubicBezTo>
                      <a:cubicBezTo>
                        <a:pt x="66027" y="55687"/>
                        <a:pt x="54772" y="61171"/>
                        <a:pt x="63018" y="74200"/>
                      </a:cubicBezTo>
                      <a:cubicBezTo>
                        <a:pt x="71264" y="87228"/>
                        <a:pt x="75387" y="92712"/>
                        <a:pt x="86725" y="89950"/>
                      </a:cubicBezTo>
                      <a:cubicBezTo>
                        <a:pt x="98064" y="87187"/>
                        <a:pt x="106845" y="94073"/>
                        <a:pt x="94971" y="108462"/>
                      </a:cubicBezTo>
                      <a:lnTo>
                        <a:pt x="94476" y="109204"/>
                      </a:lnTo>
                      <a:cubicBezTo>
                        <a:pt x="113442" y="107184"/>
                        <a:pt x="134511" y="105782"/>
                        <a:pt x="137603" y="108462"/>
                      </a:cubicBezTo>
                      <a:cubicBezTo>
                        <a:pt x="142345" y="112585"/>
                        <a:pt x="170588" y="138684"/>
                        <a:pt x="177886" y="135922"/>
                      </a:cubicBezTo>
                      <a:cubicBezTo>
                        <a:pt x="182256" y="134231"/>
                        <a:pt x="201675" y="136664"/>
                        <a:pt x="216106" y="138808"/>
                      </a:cubicBezTo>
                      <a:cubicBezTo>
                        <a:pt x="214127" y="134590"/>
                        <a:pt x="214663" y="129617"/>
                        <a:pt x="217549" y="125944"/>
                      </a:cubicBezTo>
                      <a:cubicBezTo>
                        <a:pt x="222868" y="120831"/>
                        <a:pt x="234454" y="120831"/>
                        <a:pt x="228228" y="110524"/>
                      </a:cubicBezTo>
                      <a:cubicBezTo>
                        <a:pt x="222002" y="100216"/>
                        <a:pt x="220229" y="98155"/>
                        <a:pt x="219363" y="85785"/>
                      </a:cubicBezTo>
                      <a:cubicBezTo>
                        <a:pt x="218498" y="73416"/>
                        <a:pt x="215776" y="67273"/>
                        <a:pt x="216683" y="59027"/>
                      </a:cubicBezTo>
                      <a:cubicBezTo>
                        <a:pt x="217591" y="50781"/>
                        <a:pt x="224682" y="48760"/>
                        <a:pt x="230001" y="35402"/>
                      </a:cubicBezTo>
                      <a:close/>
                      <a:moveTo>
                        <a:pt x="20344" y="68675"/>
                      </a:moveTo>
                      <a:cubicBezTo>
                        <a:pt x="-972" y="75560"/>
                        <a:pt x="-4106" y="109905"/>
                        <a:pt x="4346" y="109204"/>
                      </a:cubicBezTo>
                      <a:cubicBezTo>
                        <a:pt x="14984" y="108462"/>
                        <a:pt x="39310" y="85126"/>
                        <a:pt x="45824" y="77581"/>
                      </a:cubicBezTo>
                      <a:cubicBezTo>
                        <a:pt x="52339" y="70035"/>
                        <a:pt x="41660" y="61831"/>
                        <a:pt x="20344" y="68675"/>
                      </a:cubicBezTo>
                      <a:close/>
                      <a:moveTo>
                        <a:pt x="38073" y="48760"/>
                      </a:moveTo>
                      <a:cubicBezTo>
                        <a:pt x="42856" y="38494"/>
                        <a:pt x="3893" y="42988"/>
                        <a:pt x="12634" y="52224"/>
                      </a:cubicBezTo>
                      <a:cubicBezTo>
                        <a:pt x="19148" y="59109"/>
                        <a:pt x="33373" y="58903"/>
                        <a:pt x="38032" y="48760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67" name="Freeform: Shape 466">
                  <a:extLst>
                    <a:ext uri="{FF2B5EF4-FFF2-40B4-BE49-F238E27FC236}">
                      <a16:creationId xmlns:a16="http://schemas.microsoft.com/office/drawing/2014/main" id="{983CBD72-9078-CDDD-DCD0-A04A62FA7478}"/>
                    </a:ext>
                  </a:extLst>
                </p:cNvPr>
                <p:cNvSpPr/>
                <p:nvPr>
                  <p:custDataLst>
                    <p:tags r:id="rId43"/>
                  </p:custDataLst>
                </p:nvPr>
              </p:nvSpPr>
              <p:spPr>
                <a:xfrm>
                  <a:off x="7449156" y="1936643"/>
                  <a:ext cx="1361481" cy="1318608"/>
                </a:xfrm>
                <a:custGeom>
                  <a:avLst/>
                  <a:gdLst>
                    <a:gd name="connsiteX0" fmla="*/ 998619 w 1028957"/>
                    <a:gd name="connsiteY0" fmla="*/ 115810 h 996556"/>
                    <a:gd name="connsiteX1" fmla="*/ 980849 w 1028957"/>
                    <a:gd name="connsiteY1" fmla="*/ 113748 h 996556"/>
                    <a:gd name="connsiteX2" fmla="*/ 954791 w 1028957"/>
                    <a:gd name="connsiteY2" fmla="*/ 90412 h 996556"/>
                    <a:gd name="connsiteX3" fmla="*/ 974953 w 1028957"/>
                    <a:gd name="connsiteY3" fmla="*/ 92474 h 996556"/>
                    <a:gd name="connsiteX4" fmla="*/ 1001588 w 1028957"/>
                    <a:gd name="connsiteY4" fmla="*/ 82867 h 996556"/>
                    <a:gd name="connsiteX5" fmla="*/ 1028841 w 1028957"/>
                    <a:gd name="connsiteY5" fmla="*/ 70498 h 996556"/>
                    <a:gd name="connsiteX6" fmla="*/ 1008226 w 1028957"/>
                    <a:gd name="connsiteY6" fmla="*/ 47161 h 996556"/>
                    <a:gd name="connsiteX7" fmla="*/ 978045 w 1028957"/>
                    <a:gd name="connsiteY7" fmla="*/ 35534 h 996556"/>
                    <a:gd name="connsiteX8" fmla="*/ 956688 w 1028957"/>
                    <a:gd name="connsiteY8" fmla="*/ 23866 h 996556"/>
                    <a:gd name="connsiteX9" fmla="*/ 948442 w 1028957"/>
                    <a:gd name="connsiteY9" fmla="*/ 21516 h 996556"/>
                    <a:gd name="connsiteX10" fmla="*/ 935372 w 1028957"/>
                    <a:gd name="connsiteY10" fmla="*/ 27948 h 996556"/>
                    <a:gd name="connsiteX11" fmla="*/ 925188 w 1028957"/>
                    <a:gd name="connsiteY11" fmla="*/ 48563 h 996556"/>
                    <a:gd name="connsiteX12" fmla="*/ 915663 w 1028957"/>
                    <a:gd name="connsiteY12" fmla="*/ 52686 h 996556"/>
                    <a:gd name="connsiteX13" fmla="*/ 916736 w 1028957"/>
                    <a:gd name="connsiteY13" fmla="*/ 28649 h 996556"/>
                    <a:gd name="connsiteX14" fmla="*/ 913066 w 1028957"/>
                    <a:gd name="connsiteY14" fmla="*/ 27412 h 996556"/>
                    <a:gd name="connsiteX15" fmla="*/ 898677 w 1028957"/>
                    <a:gd name="connsiteY15" fmla="*/ 22505 h 996556"/>
                    <a:gd name="connsiteX16" fmla="*/ 896574 w 1028957"/>
                    <a:gd name="connsiteY16" fmla="*/ 22011 h 996556"/>
                    <a:gd name="connsiteX17" fmla="*/ 892740 w 1028957"/>
                    <a:gd name="connsiteY17" fmla="*/ 21722 h 996556"/>
                    <a:gd name="connsiteX18" fmla="*/ 877443 w 1028957"/>
                    <a:gd name="connsiteY18" fmla="*/ 21928 h 996556"/>
                    <a:gd name="connsiteX19" fmla="*/ 878968 w 1028957"/>
                    <a:gd name="connsiteY19" fmla="*/ 26628 h 996556"/>
                    <a:gd name="connsiteX20" fmla="*/ 855220 w 1028957"/>
                    <a:gd name="connsiteY20" fmla="*/ 62994 h 996556"/>
                    <a:gd name="connsiteX21" fmla="*/ 855879 w 1028957"/>
                    <a:gd name="connsiteY21" fmla="*/ 23907 h 996556"/>
                    <a:gd name="connsiteX22" fmla="*/ 855879 w 1028957"/>
                    <a:gd name="connsiteY22" fmla="*/ 23536 h 996556"/>
                    <a:gd name="connsiteX23" fmla="*/ 845530 w 1028957"/>
                    <a:gd name="connsiteY23" fmla="*/ 21557 h 996556"/>
                    <a:gd name="connsiteX24" fmla="*/ 830482 w 1028957"/>
                    <a:gd name="connsiteY24" fmla="*/ 39657 h 996556"/>
                    <a:gd name="connsiteX25" fmla="*/ 792013 w 1028957"/>
                    <a:gd name="connsiteY25" fmla="*/ 83568 h 996556"/>
                    <a:gd name="connsiteX26" fmla="*/ 799105 w 1028957"/>
                    <a:gd name="connsiteY26" fmla="*/ 54088 h 996556"/>
                    <a:gd name="connsiteX27" fmla="*/ 825122 w 1028957"/>
                    <a:gd name="connsiteY27" fmla="*/ 18382 h 996556"/>
                    <a:gd name="connsiteX28" fmla="*/ 831883 w 1028957"/>
                    <a:gd name="connsiteY28" fmla="*/ 14012 h 996556"/>
                    <a:gd name="connsiteX29" fmla="*/ 821164 w 1028957"/>
                    <a:gd name="connsiteY29" fmla="*/ 901 h 996556"/>
                    <a:gd name="connsiteX30" fmla="*/ 820380 w 1028957"/>
                    <a:gd name="connsiteY30" fmla="*/ 571 h 996556"/>
                    <a:gd name="connsiteX31" fmla="*/ 798487 w 1028957"/>
                    <a:gd name="connsiteY31" fmla="*/ 21186 h 996556"/>
                    <a:gd name="connsiteX32" fmla="*/ 780510 w 1028957"/>
                    <a:gd name="connsiteY32" fmla="*/ 18465 h 996556"/>
                    <a:gd name="connsiteX33" fmla="*/ 764430 w 1028957"/>
                    <a:gd name="connsiteY33" fmla="*/ 24278 h 996556"/>
                    <a:gd name="connsiteX34" fmla="*/ 762946 w 1028957"/>
                    <a:gd name="connsiteY34" fmla="*/ 34875 h 996556"/>
                    <a:gd name="connsiteX35" fmla="*/ 754082 w 1028957"/>
                    <a:gd name="connsiteY35" fmla="*/ 41760 h 996556"/>
                    <a:gd name="connsiteX36" fmla="*/ 726251 w 1028957"/>
                    <a:gd name="connsiteY36" fmla="*/ 52727 h 996556"/>
                    <a:gd name="connsiteX37" fmla="*/ 716727 w 1028957"/>
                    <a:gd name="connsiteY37" fmla="*/ 70580 h 996556"/>
                    <a:gd name="connsiteX38" fmla="*/ 712603 w 1028957"/>
                    <a:gd name="connsiteY38" fmla="*/ 97339 h 996556"/>
                    <a:gd name="connsiteX39" fmla="*/ 697761 w 1028957"/>
                    <a:gd name="connsiteY39" fmla="*/ 67158 h 996556"/>
                    <a:gd name="connsiteX40" fmla="*/ 706007 w 1028957"/>
                    <a:gd name="connsiteY40" fmla="*/ 49305 h 996556"/>
                    <a:gd name="connsiteX41" fmla="*/ 725962 w 1028957"/>
                    <a:gd name="connsiteY41" fmla="*/ 31287 h 996556"/>
                    <a:gd name="connsiteX42" fmla="*/ 698173 w 1028957"/>
                    <a:gd name="connsiteY42" fmla="*/ 40935 h 996556"/>
                    <a:gd name="connsiteX43" fmla="*/ 672486 w 1028957"/>
                    <a:gd name="connsiteY43" fmla="*/ 39863 h 996556"/>
                    <a:gd name="connsiteX44" fmla="*/ 682918 w 1028957"/>
                    <a:gd name="connsiteY44" fmla="*/ 67818 h 996556"/>
                    <a:gd name="connsiteX45" fmla="*/ 671662 w 1028957"/>
                    <a:gd name="connsiteY45" fmla="*/ 77424 h 996556"/>
                    <a:gd name="connsiteX46" fmla="*/ 641440 w 1028957"/>
                    <a:gd name="connsiteY46" fmla="*/ 78125 h 996556"/>
                    <a:gd name="connsiteX47" fmla="*/ 663993 w 1028957"/>
                    <a:gd name="connsiteY47" fmla="*/ 101462 h 996556"/>
                    <a:gd name="connsiteX48" fmla="*/ 644985 w 1028957"/>
                    <a:gd name="connsiteY48" fmla="*/ 98699 h 996556"/>
                    <a:gd name="connsiteX49" fmla="*/ 623711 w 1028957"/>
                    <a:gd name="connsiteY49" fmla="*/ 83609 h 996556"/>
                    <a:gd name="connsiteX50" fmla="*/ 610682 w 1028957"/>
                    <a:gd name="connsiteY50" fmla="*/ 92515 h 996556"/>
                    <a:gd name="connsiteX51" fmla="*/ 620124 w 1028957"/>
                    <a:gd name="connsiteY51" fmla="*/ 122695 h 996556"/>
                    <a:gd name="connsiteX52" fmla="*/ 606518 w 1028957"/>
                    <a:gd name="connsiteY52" fmla="*/ 113089 h 996556"/>
                    <a:gd name="connsiteX53" fmla="*/ 584006 w 1028957"/>
                    <a:gd name="connsiteY53" fmla="*/ 111027 h 996556"/>
                    <a:gd name="connsiteX54" fmla="*/ 581078 w 1028957"/>
                    <a:gd name="connsiteY54" fmla="*/ 84269 h 996556"/>
                    <a:gd name="connsiteX55" fmla="*/ 553207 w 1028957"/>
                    <a:gd name="connsiteY55" fmla="*/ 87031 h 996556"/>
                    <a:gd name="connsiteX56" fmla="*/ 541992 w 1028957"/>
                    <a:gd name="connsiteY56" fmla="*/ 100060 h 996556"/>
                    <a:gd name="connsiteX57" fmla="*/ 538405 w 1028957"/>
                    <a:gd name="connsiteY57" fmla="*/ 121335 h 996556"/>
                    <a:gd name="connsiteX58" fmla="*/ 525376 w 1028957"/>
                    <a:gd name="connsiteY58" fmla="*/ 132302 h 996556"/>
                    <a:gd name="connsiteX59" fmla="*/ 520016 w 1028957"/>
                    <a:gd name="connsiteY59" fmla="*/ 140989 h 996556"/>
                    <a:gd name="connsiteX60" fmla="*/ 511317 w 1028957"/>
                    <a:gd name="connsiteY60" fmla="*/ 135638 h 996556"/>
                    <a:gd name="connsiteX61" fmla="*/ 511151 w 1028957"/>
                    <a:gd name="connsiteY61" fmla="*/ 134364 h 996556"/>
                    <a:gd name="connsiteX62" fmla="*/ 483898 w 1028957"/>
                    <a:gd name="connsiteY62" fmla="*/ 138487 h 996556"/>
                    <a:gd name="connsiteX63" fmla="*/ 463283 w 1028957"/>
                    <a:gd name="connsiteY63" fmla="*/ 170069 h 996556"/>
                    <a:gd name="connsiteX64" fmla="*/ 488722 w 1028957"/>
                    <a:gd name="connsiteY64" fmla="*/ 167966 h 996556"/>
                    <a:gd name="connsiteX65" fmla="*/ 494082 w 1028957"/>
                    <a:gd name="connsiteY65" fmla="*/ 184459 h 996556"/>
                    <a:gd name="connsiteX66" fmla="*/ 490536 w 1028957"/>
                    <a:gd name="connsiteY66" fmla="*/ 196828 h 996556"/>
                    <a:gd name="connsiteX67" fmla="*/ 469921 w 1028957"/>
                    <a:gd name="connsiteY67" fmla="*/ 199549 h 996556"/>
                    <a:gd name="connsiteX68" fmla="*/ 452151 w 1028957"/>
                    <a:gd name="connsiteY68" fmla="*/ 187180 h 996556"/>
                    <a:gd name="connsiteX69" fmla="*/ 430257 w 1028957"/>
                    <a:gd name="connsiteY69" fmla="*/ 199549 h 996556"/>
                    <a:gd name="connsiteX70" fmla="*/ 439741 w 1028957"/>
                    <a:gd name="connsiteY70" fmla="*/ 161163 h 996556"/>
                    <a:gd name="connsiteX71" fmla="*/ 416074 w 1028957"/>
                    <a:gd name="connsiteY71" fmla="*/ 183098 h 996556"/>
                    <a:gd name="connsiteX72" fmla="*/ 390635 w 1028957"/>
                    <a:gd name="connsiteY72" fmla="*/ 205734 h 996556"/>
                    <a:gd name="connsiteX73" fmla="*/ 373442 w 1028957"/>
                    <a:gd name="connsiteY73" fmla="*/ 230472 h 996556"/>
                    <a:gd name="connsiteX74" fmla="*/ 324254 w 1028957"/>
                    <a:gd name="connsiteY74" fmla="*/ 262054 h 996556"/>
                    <a:gd name="connsiteX75" fmla="*/ 337901 w 1028957"/>
                    <a:gd name="connsiteY75" fmla="*/ 263415 h 996556"/>
                    <a:gd name="connsiteX76" fmla="*/ 367505 w 1028957"/>
                    <a:gd name="connsiteY76" fmla="*/ 246263 h 996556"/>
                    <a:gd name="connsiteX77" fmla="*/ 406591 w 1028957"/>
                    <a:gd name="connsiteY77" fmla="*/ 229771 h 996556"/>
                    <a:gd name="connsiteX78" fmla="*/ 430257 w 1028957"/>
                    <a:gd name="connsiteY78" fmla="*/ 225648 h 996556"/>
                    <a:gd name="connsiteX79" fmla="*/ 454996 w 1028957"/>
                    <a:gd name="connsiteY79" fmla="*/ 223586 h 996556"/>
                    <a:gd name="connsiteX80" fmla="*/ 451409 w 1028957"/>
                    <a:gd name="connsiteY80" fmla="*/ 248325 h 996556"/>
                    <a:gd name="connsiteX81" fmla="*/ 440194 w 1028957"/>
                    <a:gd name="connsiteY81" fmla="*/ 255870 h 996556"/>
                    <a:gd name="connsiteX82" fmla="*/ 424197 w 1028957"/>
                    <a:gd name="connsiteY82" fmla="*/ 246923 h 996556"/>
                    <a:gd name="connsiteX83" fmla="*/ 405231 w 1028957"/>
                    <a:gd name="connsiteY83" fmla="*/ 266136 h 996556"/>
                    <a:gd name="connsiteX84" fmla="*/ 389233 w 1028957"/>
                    <a:gd name="connsiteY84" fmla="*/ 299780 h 996556"/>
                    <a:gd name="connsiteX85" fmla="*/ 374472 w 1028957"/>
                    <a:gd name="connsiteY85" fmla="*/ 314170 h 996556"/>
                    <a:gd name="connsiteX86" fmla="*/ 337736 w 1028957"/>
                    <a:gd name="connsiteY86" fmla="*/ 372469 h 996556"/>
                    <a:gd name="connsiteX87" fmla="*/ 331222 w 1028957"/>
                    <a:gd name="connsiteY87" fmla="*/ 406773 h 996556"/>
                    <a:gd name="connsiteX88" fmla="*/ 299845 w 1028957"/>
                    <a:gd name="connsiteY88" fmla="*/ 412917 h 996556"/>
                    <a:gd name="connsiteX89" fmla="*/ 294486 w 1028957"/>
                    <a:gd name="connsiteY89" fmla="*/ 455466 h 996556"/>
                    <a:gd name="connsiteX90" fmla="*/ 294486 w 1028957"/>
                    <a:gd name="connsiteY90" fmla="*/ 487008 h 996556"/>
                    <a:gd name="connsiteX91" fmla="*/ 269747 w 1028957"/>
                    <a:gd name="connsiteY91" fmla="*/ 491131 h 996556"/>
                    <a:gd name="connsiteX92" fmla="*/ 241917 w 1028957"/>
                    <a:gd name="connsiteY92" fmla="*/ 501438 h 996556"/>
                    <a:gd name="connsiteX93" fmla="*/ 264429 w 1028957"/>
                    <a:gd name="connsiteY93" fmla="*/ 530300 h 996556"/>
                    <a:gd name="connsiteX94" fmla="*/ 252059 w 1028957"/>
                    <a:gd name="connsiteY94" fmla="*/ 536484 h 996556"/>
                    <a:gd name="connsiteX95" fmla="*/ 237175 w 1028957"/>
                    <a:gd name="connsiteY95" fmla="*/ 539205 h 996556"/>
                    <a:gd name="connsiteX96" fmla="*/ 235320 w 1028957"/>
                    <a:gd name="connsiteY96" fmla="*/ 552729 h 996556"/>
                    <a:gd name="connsiteX97" fmla="*/ 145355 w 1028957"/>
                    <a:gd name="connsiteY97" fmla="*/ 642735 h 996556"/>
                    <a:gd name="connsiteX98" fmla="*/ 115092 w 1028957"/>
                    <a:gd name="connsiteY98" fmla="*/ 645621 h 996556"/>
                    <a:gd name="connsiteX99" fmla="*/ 102063 w 1028957"/>
                    <a:gd name="connsiteY99" fmla="*/ 648631 h 996556"/>
                    <a:gd name="connsiteX100" fmla="*/ 91137 w 1028957"/>
                    <a:gd name="connsiteY100" fmla="*/ 662278 h 996556"/>
                    <a:gd name="connsiteX101" fmla="*/ 91714 w 1028957"/>
                    <a:gd name="connsiteY101" fmla="*/ 665783 h 996556"/>
                    <a:gd name="connsiteX102" fmla="*/ 106351 w 1028957"/>
                    <a:gd name="connsiteY102" fmla="*/ 674359 h 996556"/>
                    <a:gd name="connsiteX103" fmla="*/ 92044 w 1028957"/>
                    <a:gd name="connsiteY103" fmla="*/ 678771 h 996556"/>
                    <a:gd name="connsiteX104" fmla="*/ 79922 w 1028957"/>
                    <a:gd name="connsiteY104" fmla="*/ 703303 h 996556"/>
                    <a:gd name="connsiteX105" fmla="*/ 28631 w 1028957"/>
                    <a:gd name="connsiteY105" fmla="*/ 732535 h 996556"/>
                    <a:gd name="connsiteX106" fmla="*/ 34362 w 1028957"/>
                    <a:gd name="connsiteY106" fmla="*/ 769065 h 996556"/>
                    <a:gd name="connsiteX107" fmla="*/ 16881 w 1028957"/>
                    <a:gd name="connsiteY107" fmla="*/ 815862 h 996556"/>
                    <a:gd name="connsiteX108" fmla="*/ 3605 w 1028957"/>
                    <a:gd name="connsiteY108" fmla="*/ 829385 h 996556"/>
                    <a:gd name="connsiteX109" fmla="*/ 2739 w 1028957"/>
                    <a:gd name="connsiteY109" fmla="*/ 845878 h 996556"/>
                    <a:gd name="connsiteX110" fmla="*/ 23354 w 1028957"/>
                    <a:gd name="connsiteY110" fmla="*/ 853423 h 996556"/>
                    <a:gd name="connsiteX111" fmla="*/ 51803 w 1028957"/>
                    <a:gd name="connsiteY111" fmla="*/ 841054 h 996556"/>
                    <a:gd name="connsiteX112" fmla="*/ 58895 w 1028957"/>
                    <a:gd name="connsiteY112" fmla="*/ 855484 h 996556"/>
                    <a:gd name="connsiteX113" fmla="*/ 38280 w 1028957"/>
                    <a:gd name="connsiteY113" fmla="*/ 874698 h 996556"/>
                    <a:gd name="connsiteX114" fmla="*/ 22282 w 1028957"/>
                    <a:gd name="connsiteY114" fmla="*/ 869874 h 996556"/>
                    <a:gd name="connsiteX115" fmla="*/ 8676 w 1028957"/>
                    <a:gd name="connsiteY115" fmla="*/ 883604 h 996556"/>
                    <a:gd name="connsiteX116" fmla="*/ 5707 w 1028957"/>
                    <a:gd name="connsiteY116" fmla="*/ 911022 h 996556"/>
                    <a:gd name="connsiteX117" fmla="*/ 28219 w 1028957"/>
                    <a:gd name="connsiteY117" fmla="*/ 907600 h 996556"/>
                    <a:gd name="connsiteX118" fmla="*/ 49535 w 1028957"/>
                    <a:gd name="connsiteY118" fmla="*/ 910362 h 996556"/>
                    <a:gd name="connsiteX119" fmla="*/ 39475 w 1028957"/>
                    <a:gd name="connsiteY119" fmla="*/ 928875 h 996556"/>
                    <a:gd name="connsiteX120" fmla="*/ 25787 w 1028957"/>
                    <a:gd name="connsiteY120" fmla="*/ 939801 h 996556"/>
                    <a:gd name="connsiteX121" fmla="*/ 35847 w 1028957"/>
                    <a:gd name="connsiteY121" fmla="*/ 950644 h 996556"/>
                    <a:gd name="connsiteX122" fmla="*/ 36135 w 1028957"/>
                    <a:gd name="connsiteY122" fmla="*/ 950644 h 996556"/>
                    <a:gd name="connsiteX123" fmla="*/ 37208 w 1028957"/>
                    <a:gd name="connsiteY123" fmla="*/ 951222 h 996556"/>
                    <a:gd name="connsiteX124" fmla="*/ 47144 w 1028957"/>
                    <a:gd name="connsiteY124" fmla="*/ 957200 h 996556"/>
                    <a:gd name="connsiteX125" fmla="*/ 75593 w 1028957"/>
                    <a:gd name="connsiteY125" fmla="*/ 978640 h 996556"/>
                    <a:gd name="connsiteX126" fmla="*/ 84128 w 1028957"/>
                    <a:gd name="connsiteY126" fmla="*/ 991669 h 996556"/>
                    <a:gd name="connsiteX127" fmla="*/ 111711 w 1028957"/>
                    <a:gd name="connsiteY127" fmla="*/ 995792 h 996556"/>
                    <a:gd name="connsiteX128" fmla="*/ 186338 w 1028957"/>
                    <a:gd name="connsiteY128" fmla="*/ 932008 h 996556"/>
                    <a:gd name="connsiteX129" fmla="*/ 214168 w 1028957"/>
                    <a:gd name="connsiteY129" fmla="*/ 925164 h 996556"/>
                    <a:gd name="connsiteX130" fmla="*/ 224270 w 1028957"/>
                    <a:gd name="connsiteY130" fmla="*/ 891561 h 996556"/>
                    <a:gd name="connsiteX131" fmla="*/ 240268 w 1028957"/>
                    <a:gd name="connsiteY131" fmla="*/ 916918 h 996556"/>
                    <a:gd name="connsiteX132" fmla="*/ 249709 w 1028957"/>
                    <a:gd name="connsiteY132" fmla="*/ 937945 h 996556"/>
                    <a:gd name="connsiteX133" fmla="*/ 262078 w 1028957"/>
                    <a:gd name="connsiteY133" fmla="*/ 940007 h 996556"/>
                    <a:gd name="connsiteX134" fmla="*/ 271603 w 1028957"/>
                    <a:gd name="connsiteY134" fmla="*/ 909166 h 996556"/>
                    <a:gd name="connsiteX135" fmla="*/ 277334 w 1028957"/>
                    <a:gd name="connsiteY135" fmla="*/ 871688 h 996556"/>
                    <a:gd name="connsiteX136" fmla="*/ 303968 w 1028957"/>
                    <a:gd name="connsiteY136" fmla="*/ 860679 h 996556"/>
                    <a:gd name="connsiteX137" fmla="*/ 302072 w 1028957"/>
                    <a:gd name="connsiteY137" fmla="*/ 816604 h 996556"/>
                    <a:gd name="connsiteX138" fmla="*/ 300134 w 1028957"/>
                    <a:gd name="connsiteY138" fmla="*/ 794546 h 996556"/>
                    <a:gd name="connsiteX139" fmla="*/ 315389 w 1028957"/>
                    <a:gd name="connsiteY139" fmla="*/ 770302 h 996556"/>
                    <a:gd name="connsiteX140" fmla="*/ 288755 w 1028957"/>
                    <a:gd name="connsiteY140" fmla="*/ 737318 h 996556"/>
                    <a:gd name="connsiteX141" fmla="*/ 290610 w 1028957"/>
                    <a:gd name="connsiteY141" fmla="*/ 693243 h 996556"/>
                    <a:gd name="connsiteX142" fmla="*/ 290610 w 1028957"/>
                    <a:gd name="connsiteY142" fmla="*/ 646941 h 996556"/>
                    <a:gd name="connsiteX143" fmla="*/ 294444 w 1028957"/>
                    <a:gd name="connsiteY143" fmla="*/ 600639 h 996556"/>
                    <a:gd name="connsiteX144" fmla="*/ 334397 w 1028957"/>
                    <a:gd name="connsiteY144" fmla="*/ 569840 h 996556"/>
                    <a:gd name="connsiteX145" fmla="*/ 361072 w 1028957"/>
                    <a:gd name="connsiteY145" fmla="*/ 567572 h 996556"/>
                    <a:gd name="connsiteX146" fmla="*/ 361072 w 1028957"/>
                    <a:gd name="connsiteY146" fmla="*/ 541102 h 996556"/>
                    <a:gd name="connsiteX147" fmla="*/ 351549 w 1028957"/>
                    <a:gd name="connsiteY147" fmla="*/ 516900 h 996556"/>
                    <a:gd name="connsiteX148" fmla="*/ 378183 w 1028957"/>
                    <a:gd name="connsiteY148" fmla="*/ 457404 h 996556"/>
                    <a:gd name="connsiteX149" fmla="*/ 380080 w 1028957"/>
                    <a:gd name="connsiteY149" fmla="*/ 415514 h 996556"/>
                    <a:gd name="connsiteX150" fmla="*/ 410508 w 1028957"/>
                    <a:gd name="connsiteY150" fmla="*/ 406732 h 996556"/>
                    <a:gd name="connsiteX151" fmla="*/ 418095 w 1028957"/>
                    <a:gd name="connsiteY151" fmla="*/ 380262 h 996556"/>
                    <a:gd name="connsiteX152" fmla="*/ 439039 w 1028957"/>
                    <a:gd name="connsiteY152" fmla="*/ 345010 h 996556"/>
                    <a:gd name="connsiteX153" fmla="*/ 448564 w 1028957"/>
                    <a:gd name="connsiteY153" fmla="*/ 320767 h 996556"/>
                    <a:gd name="connsiteX154" fmla="*/ 459984 w 1028957"/>
                    <a:gd name="connsiteY154" fmla="*/ 287782 h 996556"/>
                    <a:gd name="connsiteX155" fmla="*/ 490454 w 1028957"/>
                    <a:gd name="connsiteY155" fmla="*/ 261312 h 996556"/>
                    <a:gd name="connsiteX156" fmla="*/ 520882 w 1028957"/>
                    <a:gd name="connsiteY156" fmla="*/ 248119 h 996556"/>
                    <a:gd name="connsiteX157" fmla="*/ 530406 w 1028957"/>
                    <a:gd name="connsiteY157" fmla="*/ 215134 h 996556"/>
                    <a:gd name="connsiteX158" fmla="*/ 572255 w 1028957"/>
                    <a:gd name="connsiteY158" fmla="*/ 223957 h 996556"/>
                    <a:gd name="connsiteX159" fmla="*/ 598890 w 1028957"/>
                    <a:gd name="connsiteY159" fmla="*/ 215134 h 996556"/>
                    <a:gd name="connsiteX160" fmla="*/ 621732 w 1028957"/>
                    <a:gd name="connsiteY160" fmla="*/ 179882 h 996556"/>
                    <a:gd name="connsiteX161" fmla="*/ 625607 w 1028957"/>
                    <a:gd name="connsiteY161" fmla="*/ 182645 h 996556"/>
                    <a:gd name="connsiteX162" fmla="*/ 652160 w 1028957"/>
                    <a:gd name="connsiteY162" fmla="*/ 160009 h 996556"/>
                    <a:gd name="connsiteX163" fmla="*/ 695947 w 1028957"/>
                    <a:gd name="connsiteY163" fmla="*/ 197488 h 996556"/>
                    <a:gd name="connsiteX164" fmla="*/ 739692 w 1028957"/>
                    <a:gd name="connsiteY164" fmla="*/ 199673 h 996556"/>
                    <a:gd name="connsiteX165" fmla="*/ 770162 w 1028957"/>
                    <a:gd name="connsiteY165" fmla="*/ 201899 h 996556"/>
                    <a:gd name="connsiteX166" fmla="*/ 793003 w 1028957"/>
                    <a:gd name="connsiteY166" fmla="*/ 208537 h 996556"/>
                    <a:gd name="connsiteX167" fmla="*/ 810114 w 1028957"/>
                    <a:gd name="connsiteY167" fmla="*/ 182109 h 996556"/>
                    <a:gd name="connsiteX168" fmla="*/ 817741 w 1028957"/>
                    <a:gd name="connsiteY168" fmla="*/ 142404 h 996556"/>
                    <a:gd name="connsiteX169" fmla="*/ 842479 w 1028957"/>
                    <a:gd name="connsiteY169" fmla="*/ 111563 h 996556"/>
                    <a:gd name="connsiteX170" fmla="*/ 882432 w 1028957"/>
                    <a:gd name="connsiteY170" fmla="*/ 100513 h 996556"/>
                    <a:gd name="connsiteX171" fmla="*/ 914798 w 1028957"/>
                    <a:gd name="connsiteY171" fmla="*/ 100513 h 996556"/>
                    <a:gd name="connsiteX172" fmla="*/ 956647 w 1028957"/>
                    <a:gd name="connsiteY172" fmla="*/ 133498 h 996556"/>
                    <a:gd name="connsiteX173" fmla="*/ 956647 w 1028957"/>
                    <a:gd name="connsiteY173" fmla="*/ 159349 h 996556"/>
                    <a:gd name="connsiteX174" fmla="*/ 975077 w 1028957"/>
                    <a:gd name="connsiteY174" fmla="*/ 148794 h 996556"/>
                    <a:gd name="connsiteX175" fmla="*/ 1008061 w 1028957"/>
                    <a:gd name="connsiteY175" fmla="*/ 130983 h 996556"/>
                    <a:gd name="connsiteX176" fmla="*/ 1028429 w 1028957"/>
                    <a:gd name="connsiteY176" fmla="*/ 114491 h 996556"/>
                    <a:gd name="connsiteX177" fmla="*/ 998619 w 1028957"/>
                    <a:gd name="connsiteY177" fmla="*/ 115810 h 9965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</a:cxnLst>
                  <a:rect l="l" t="t" r="r" b="b"/>
                  <a:pathLst>
                    <a:path w="1028957" h="996556">
                      <a:moveTo>
                        <a:pt x="998619" y="115810"/>
                      </a:moveTo>
                      <a:cubicBezTo>
                        <a:pt x="996269" y="126117"/>
                        <a:pt x="980272" y="124056"/>
                        <a:pt x="980849" y="113748"/>
                      </a:cubicBezTo>
                      <a:cubicBezTo>
                        <a:pt x="981426" y="103441"/>
                        <a:pt x="956111" y="95236"/>
                        <a:pt x="954791" y="90412"/>
                      </a:cubicBezTo>
                      <a:cubicBezTo>
                        <a:pt x="953472" y="85588"/>
                        <a:pt x="965470" y="86289"/>
                        <a:pt x="974953" y="92474"/>
                      </a:cubicBezTo>
                      <a:cubicBezTo>
                        <a:pt x="984436" y="98658"/>
                        <a:pt x="990950" y="94535"/>
                        <a:pt x="1001588" y="82867"/>
                      </a:cubicBezTo>
                      <a:cubicBezTo>
                        <a:pt x="1012225" y="71199"/>
                        <a:pt x="1027068" y="80846"/>
                        <a:pt x="1028841" y="70498"/>
                      </a:cubicBezTo>
                      <a:cubicBezTo>
                        <a:pt x="1030614" y="60149"/>
                        <a:pt x="1011648" y="53346"/>
                        <a:pt x="1008226" y="47161"/>
                      </a:cubicBezTo>
                      <a:cubicBezTo>
                        <a:pt x="1004804" y="40977"/>
                        <a:pt x="991074" y="32772"/>
                        <a:pt x="978045" y="35534"/>
                      </a:cubicBezTo>
                      <a:cubicBezTo>
                        <a:pt x="965016" y="38297"/>
                        <a:pt x="964398" y="32071"/>
                        <a:pt x="956688" y="23866"/>
                      </a:cubicBezTo>
                      <a:cubicBezTo>
                        <a:pt x="954503" y="21751"/>
                        <a:pt x="951410" y="20869"/>
                        <a:pt x="948442" y="21516"/>
                      </a:cubicBezTo>
                      <a:cubicBezTo>
                        <a:pt x="944442" y="24328"/>
                        <a:pt x="940031" y="26496"/>
                        <a:pt x="935372" y="27948"/>
                      </a:cubicBezTo>
                      <a:cubicBezTo>
                        <a:pt x="929146" y="33019"/>
                        <a:pt x="925435" y="40540"/>
                        <a:pt x="925188" y="48563"/>
                      </a:cubicBezTo>
                      <a:cubicBezTo>
                        <a:pt x="925188" y="67776"/>
                        <a:pt x="910345" y="62952"/>
                        <a:pt x="915663" y="52686"/>
                      </a:cubicBezTo>
                      <a:cubicBezTo>
                        <a:pt x="920240" y="43863"/>
                        <a:pt x="911788" y="33555"/>
                        <a:pt x="916736" y="28649"/>
                      </a:cubicBezTo>
                      <a:cubicBezTo>
                        <a:pt x="915499" y="28298"/>
                        <a:pt x="914262" y="27886"/>
                        <a:pt x="913066" y="27412"/>
                      </a:cubicBezTo>
                      <a:cubicBezTo>
                        <a:pt x="908407" y="25433"/>
                        <a:pt x="903583" y="23792"/>
                        <a:pt x="898677" y="22505"/>
                      </a:cubicBezTo>
                      <a:cubicBezTo>
                        <a:pt x="897976" y="22435"/>
                        <a:pt x="897234" y="22266"/>
                        <a:pt x="896574" y="22011"/>
                      </a:cubicBezTo>
                      <a:cubicBezTo>
                        <a:pt x="895255" y="22011"/>
                        <a:pt x="894017" y="21763"/>
                        <a:pt x="892740" y="21722"/>
                      </a:cubicBezTo>
                      <a:cubicBezTo>
                        <a:pt x="887627" y="21524"/>
                        <a:pt x="882515" y="21590"/>
                        <a:pt x="877443" y="21928"/>
                      </a:cubicBezTo>
                      <a:cubicBezTo>
                        <a:pt x="877443" y="23614"/>
                        <a:pt x="877979" y="25255"/>
                        <a:pt x="878968" y="26628"/>
                      </a:cubicBezTo>
                      <a:cubicBezTo>
                        <a:pt x="884287" y="33514"/>
                        <a:pt x="864125" y="62994"/>
                        <a:pt x="855220" y="62994"/>
                      </a:cubicBezTo>
                      <a:cubicBezTo>
                        <a:pt x="846314" y="62994"/>
                        <a:pt x="856457" y="37637"/>
                        <a:pt x="855879" y="23907"/>
                      </a:cubicBezTo>
                      <a:cubicBezTo>
                        <a:pt x="855879" y="23784"/>
                        <a:pt x="855879" y="23660"/>
                        <a:pt x="855879" y="23536"/>
                      </a:cubicBezTo>
                      <a:cubicBezTo>
                        <a:pt x="852375" y="23260"/>
                        <a:pt x="848912" y="22596"/>
                        <a:pt x="845530" y="21557"/>
                      </a:cubicBezTo>
                      <a:cubicBezTo>
                        <a:pt x="840129" y="27247"/>
                        <a:pt x="835100" y="33295"/>
                        <a:pt x="830482" y="39657"/>
                      </a:cubicBezTo>
                      <a:cubicBezTo>
                        <a:pt x="813990" y="61633"/>
                        <a:pt x="801620" y="81506"/>
                        <a:pt x="792013" y="83568"/>
                      </a:cubicBezTo>
                      <a:cubicBezTo>
                        <a:pt x="782407" y="85629"/>
                        <a:pt x="783767" y="63653"/>
                        <a:pt x="799105" y="54088"/>
                      </a:cubicBezTo>
                      <a:cubicBezTo>
                        <a:pt x="814443" y="44522"/>
                        <a:pt x="815102" y="18382"/>
                        <a:pt x="825122" y="18382"/>
                      </a:cubicBezTo>
                      <a:cubicBezTo>
                        <a:pt x="828131" y="18692"/>
                        <a:pt x="830935" y="16873"/>
                        <a:pt x="831883" y="14012"/>
                      </a:cubicBezTo>
                      <a:cubicBezTo>
                        <a:pt x="827513" y="10363"/>
                        <a:pt x="823884" y="5910"/>
                        <a:pt x="821164" y="901"/>
                      </a:cubicBezTo>
                      <a:cubicBezTo>
                        <a:pt x="820875" y="901"/>
                        <a:pt x="820710" y="653"/>
                        <a:pt x="820380" y="571"/>
                      </a:cubicBezTo>
                      <a:cubicBezTo>
                        <a:pt x="805578" y="-3552"/>
                        <a:pt x="803228" y="15661"/>
                        <a:pt x="798487" y="21186"/>
                      </a:cubicBezTo>
                      <a:cubicBezTo>
                        <a:pt x="795889" y="24196"/>
                        <a:pt x="787519" y="21186"/>
                        <a:pt x="780510" y="18465"/>
                      </a:cubicBezTo>
                      <a:cubicBezTo>
                        <a:pt x="775645" y="21549"/>
                        <a:pt x="770162" y="23532"/>
                        <a:pt x="764430" y="24278"/>
                      </a:cubicBezTo>
                      <a:cubicBezTo>
                        <a:pt x="761091" y="26802"/>
                        <a:pt x="760431" y="31535"/>
                        <a:pt x="762946" y="34875"/>
                      </a:cubicBezTo>
                      <a:cubicBezTo>
                        <a:pt x="768842" y="45182"/>
                        <a:pt x="760018" y="54129"/>
                        <a:pt x="754082" y="41760"/>
                      </a:cubicBezTo>
                      <a:cubicBezTo>
                        <a:pt x="748144" y="29391"/>
                        <a:pt x="733466" y="38998"/>
                        <a:pt x="726251" y="52727"/>
                      </a:cubicBezTo>
                      <a:cubicBezTo>
                        <a:pt x="719036" y="66457"/>
                        <a:pt x="709759" y="65756"/>
                        <a:pt x="716727" y="70580"/>
                      </a:cubicBezTo>
                      <a:cubicBezTo>
                        <a:pt x="723695" y="75404"/>
                        <a:pt x="723283" y="93916"/>
                        <a:pt x="712603" y="97339"/>
                      </a:cubicBezTo>
                      <a:cubicBezTo>
                        <a:pt x="701925" y="100761"/>
                        <a:pt x="706048" y="63695"/>
                        <a:pt x="697761" y="67158"/>
                      </a:cubicBezTo>
                      <a:cubicBezTo>
                        <a:pt x="689473" y="70621"/>
                        <a:pt x="694792" y="49305"/>
                        <a:pt x="706007" y="49305"/>
                      </a:cubicBezTo>
                      <a:cubicBezTo>
                        <a:pt x="714253" y="49305"/>
                        <a:pt x="722499" y="38709"/>
                        <a:pt x="725962" y="31287"/>
                      </a:cubicBezTo>
                      <a:cubicBezTo>
                        <a:pt x="716768" y="34710"/>
                        <a:pt x="707697" y="38338"/>
                        <a:pt x="698173" y="40935"/>
                      </a:cubicBezTo>
                      <a:cubicBezTo>
                        <a:pt x="689721" y="43273"/>
                        <a:pt x="680732" y="42898"/>
                        <a:pt x="672486" y="39863"/>
                      </a:cubicBezTo>
                      <a:cubicBezTo>
                        <a:pt x="667044" y="45842"/>
                        <a:pt x="670384" y="59572"/>
                        <a:pt x="682918" y="67818"/>
                      </a:cubicBezTo>
                      <a:cubicBezTo>
                        <a:pt x="699410" y="78826"/>
                        <a:pt x="679949" y="85670"/>
                        <a:pt x="671662" y="77424"/>
                      </a:cubicBezTo>
                      <a:cubicBezTo>
                        <a:pt x="663375" y="69178"/>
                        <a:pt x="650346" y="73301"/>
                        <a:pt x="641440" y="78125"/>
                      </a:cubicBezTo>
                      <a:cubicBezTo>
                        <a:pt x="632534" y="82949"/>
                        <a:pt x="662797" y="95277"/>
                        <a:pt x="663993" y="101462"/>
                      </a:cubicBezTo>
                      <a:cubicBezTo>
                        <a:pt x="665188" y="107646"/>
                        <a:pt x="648572" y="93916"/>
                        <a:pt x="644985" y="98699"/>
                      </a:cubicBezTo>
                      <a:cubicBezTo>
                        <a:pt x="641398" y="103482"/>
                        <a:pt x="624865" y="95277"/>
                        <a:pt x="623711" y="83609"/>
                      </a:cubicBezTo>
                      <a:cubicBezTo>
                        <a:pt x="622556" y="71941"/>
                        <a:pt x="595839" y="88392"/>
                        <a:pt x="610682" y="92515"/>
                      </a:cubicBezTo>
                      <a:cubicBezTo>
                        <a:pt x="625525" y="96638"/>
                        <a:pt x="620124" y="107646"/>
                        <a:pt x="620124" y="122695"/>
                      </a:cubicBezTo>
                      <a:cubicBezTo>
                        <a:pt x="620124" y="137744"/>
                        <a:pt x="602931" y="126159"/>
                        <a:pt x="606518" y="113089"/>
                      </a:cubicBezTo>
                      <a:cubicBezTo>
                        <a:pt x="610105" y="100019"/>
                        <a:pt x="595839" y="102822"/>
                        <a:pt x="584006" y="111027"/>
                      </a:cubicBezTo>
                      <a:cubicBezTo>
                        <a:pt x="572173" y="119232"/>
                        <a:pt x="585820" y="95937"/>
                        <a:pt x="581078" y="84269"/>
                      </a:cubicBezTo>
                      <a:cubicBezTo>
                        <a:pt x="576337" y="72600"/>
                        <a:pt x="565617" y="84269"/>
                        <a:pt x="553207" y="87031"/>
                      </a:cubicBezTo>
                      <a:cubicBezTo>
                        <a:pt x="540796" y="89793"/>
                        <a:pt x="534282" y="90453"/>
                        <a:pt x="541992" y="100060"/>
                      </a:cubicBezTo>
                      <a:cubicBezTo>
                        <a:pt x="549702" y="109667"/>
                        <a:pt x="548507" y="123355"/>
                        <a:pt x="538405" y="121335"/>
                      </a:cubicBezTo>
                      <a:cubicBezTo>
                        <a:pt x="528303" y="119314"/>
                        <a:pt x="524222" y="121335"/>
                        <a:pt x="525376" y="132302"/>
                      </a:cubicBezTo>
                      <a:cubicBezTo>
                        <a:pt x="526283" y="136178"/>
                        <a:pt x="523892" y="140070"/>
                        <a:pt x="520016" y="140989"/>
                      </a:cubicBezTo>
                      <a:cubicBezTo>
                        <a:pt x="516140" y="141913"/>
                        <a:pt x="512265" y="139513"/>
                        <a:pt x="511317" y="135638"/>
                      </a:cubicBezTo>
                      <a:cubicBezTo>
                        <a:pt x="511234" y="135221"/>
                        <a:pt x="511193" y="134792"/>
                        <a:pt x="511151" y="134364"/>
                      </a:cubicBezTo>
                      <a:cubicBezTo>
                        <a:pt x="509997" y="124757"/>
                        <a:pt x="489835" y="127519"/>
                        <a:pt x="483898" y="138487"/>
                      </a:cubicBezTo>
                      <a:cubicBezTo>
                        <a:pt x="477961" y="149454"/>
                        <a:pt x="461387" y="157700"/>
                        <a:pt x="463283" y="170069"/>
                      </a:cubicBezTo>
                      <a:cubicBezTo>
                        <a:pt x="465179" y="182438"/>
                        <a:pt x="478085" y="163843"/>
                        <a:pt x="488722" y="167966"/>
                      </a:cubicBezTo>
                      <a:cubicBezTo>
                        <a:pt x="499360" y="172090"/>
                        <a:pt x="488145" y="178274"/>
                        <a:pt x="494082" y="184459"/>
                      </a:cubicBezTo>
                      <a:cubicBezTo>
                        <a:pt x="500019" y="190643"/>
                        <a:pt x="498782" y="205734"/>
                        <a:pt x="490536" y="196828"/>
                      </a:cubicBezTo>
                      <a:cubicBezTo>
                        <a:pt x="482290" y="187922"/>
                        <a:pt x="471570" y="185160"/>
                        <a:pt x="469921" y="199549"/>
                      </a:cubicBezTo>
                      <a:cubicBezTo>
                        <a:pt x="468272" y="213938"/>
                        <a:pt x="459284" y="197529"/>
                        <a:pt x="452151" y="187180"/>
                      </a:cubicBezTo>
                      <a:cubicBezTo>
                        <a:pt x="445018" y="176831"/>
                        <a:pt x="437967" y="206393"/>
                        <a:pt x="430257" y="199549"/>
                      </a:cubicBezTo>
                      <a:cubicBezTo>
                        <a:pt x="422547" y="192705"/>
                        <a:pt x="445677" y="171471"/>
                        <a:pt x="439741" y="161163"/>
                      </a:cubicBezTo>
                      <a:cubicBezTo>
                        <a:pt x="433803" y="150856"/>
                        <a:pt x="429639" y="167348"/>
                        <a:pt x="416074" y="183098"/>
                      </a:cubicBezTo>
                      <a:cubicBezTo>
                        <a:pt x="402509" y="198848"/>
                        <a:pt x="384121" y="198188"/>
                        <a:pt x="390635" y="205734"/>
                      </a:cubicBezTo>
                      <a:cubicBezTo>
                        <a:pt x="397149" y="213279"/>
                        <a:pt x="376987" y="217402"/>
                        <a:pt x="373442" y="230472"/>
                      </a:cubicBezTo>
                      <a:cubicBezTo>
                        <a:pt x="369896" y="243542"/>
                        <a:pt x="342024" y="248325"/>
                        <a:pt x="324254" y="262054"/>
                      </a:cubicBezTo>
                      <a:cubicBezTo>
                        <a:pt x="306483" y="275784"/>
                        <a:pt x="327800" y="276444"/>
                        <a:pt x="337901" y="263415"/>
                      </a:cubicBezTo>
                      <a:cubicBezTo>
                        <a:pt x="348003" y="250386"/>
                        <a:pt x="351549" y="257931"/>
                        <a:pt x="367505" y="246263"/>
                      </a:cubicBezTo>
                      <a:cubicBezTo>
                        <a:pt x="383461" y="234595"/>
                        <a:pt x="400489" y="224988"/>
                        <a:pt x="406591" y="229771"/>
                      </a:cubicBezTo>
                      <a:cubicBezTo>
                        <a:pt x="412693" y="234554"/>
                        <a:pt x="422589" y="238017"/>
                        <a:pt x="430257" y="225648"/>
                      </a:cubicBezTo>
                      <a:cubicBezTo>
                        <a:pt x="437926" y="213279"/>
                        <a:pt x="447451" y="216000"/>
                        <a:pt x="454996" y="223586"/>
                      </a:cubicBezTo>
                      <a:cubicBezTo>
                        <a:pt x="462541" y="231173"/>
                        <a:pt x="441967" y="237316"/>
                        <a:pt x="451409" y="248325"/>
                      </a:cubicBezTo>
                      <a:cubicBezTo>
                        <a:pt x="460851" y="259333"/>
                        <a:pt x="440194" y="265435"/>
                        <a:pt x="440194" y="255870"/>
                      </a:cubicBezTo>
                      <a:cubicBezTo>
                        <a:pt x="440194" y="246304"/>
                        <a:pt x="428361" y="238017"/>
                        <a:pt x="424197" y="246923"/>
                      </a:cubicBezTo>
                      <a:cubicBezTo>
                        <a:pt x="420032" y="255829"/>
                        <a:pt x="412941" y="265435"/>
                        <a:pt x="405231" y="266136"/>
                      </a:cubicBezTo>
                      <a:cubicBezTo>
                        <a:pt x="397521" y="266837"/>
                        <a:pt x="389233" y="283329"/>
                        <a:pt x="389233" y="299780"/>
                      </a:cubicBezTo>
                      <a:cubicBezTo>
                        <a:pt x="389233" y="316231"/>
                        <a:pt x="375627" y="299780"/>
                        <a:pt x="374472" y="314170"/>
                      </a:cubicBezTo>
                      <a:cubicBezTo>
                        <a:pt x="373318" y="328559"/>
                        <a:pt x="354311" y="353916"/>
                        <a:pt x="337736" y="372469"/>
                      </a:cubicBezTo>
                      <a:cubicBezTo>
                        <a:pt x="321162" y="391023"/>
                        <a:pt x="336541" y="395105"/>
                        <a:pt x="331222" y="406773"/>
                      </a:cubicBezTo>
                      <a:cubicBezTo>
                        <a:pt x="325903" y="418442"/>
                        <a:pt x="306483" y="408134"/>
                        <a:pt x="299845" y="412917"/>
                      </a:cubicBezTo>
                      <a:cubicBezTo>
                        <a:pt x="293207" y="417699"/>
                        <a:pt x="303391" y="446561"/>
                        <a:pt x="294486" y="455466"/>
                      </a:cubicBezTo>
                      <a:cubicBezTo>
                        <a:pt x="285580" y="464372"/>
                        <a:pt x="294486" y="476741"/>
                        <a:pt x="294486" y="487008"/>
                      </a:cubicBezTo>
                      <a:cubicBezTo>
                        <a:pt x="294486" y="497274"/>
                        <a:pt x="271438" y="480864"/>
                        <a:pt x="269747" y="491131"/>
                      </a:cubicBezTo>
                      <a:cubicBezTo>
                        <a:pt x="268057" y="501397"/>
                        <a:pt x="247813" y="498717"/>
                        <a:pt x="241917" y="501438"/>
                      </a:cubicBezTo>
                      <a:cubicBezTo>
                        <a:pt x="236021" y="504160"/>
                        <a:pt x="253750" y="520611"/>
                        <a:pt x="264429" y="530300"/>
                      </a:cubicBezTo>
                      <a:cubicBezTo>
                        <a:pt x="275107" y="539989"/>
                        <a:pt x="254327" y="547452"/>
                        <a:pt x="252059" y="536484"/>
                      </a:cubicBezTo>
                      <a:cubicBezTo>
                        <a:pt x="250698" y="530135"/>
                        <a:pt x="245132" y="533433"/>
                        <a:pt x="237175" y="539205"/>
                      </a:cubicBezTo>
                      <a:cubicBezTo>
                        <a:pt x="237505" y="543794"/>
                        <a:pt x="236886" y="548400"/>
                        <a:pt x="235320" y="552729"/>
                      </a:cubicBezTo>
                      <a:cubicBezTo>
                        <a:pt x="218168" y="598083"/>
                        <a:pt x="187699" y="623109"/>
                        <a:pt x="145355" y="642735"/>
                      </a:cubicBezTo>
                      <a:cubicBezTo>
                        <a:pt x="135954" y="647308"/>
                        <a:pt x="125193" y="648334"/>
                        <a:pt x="115092" y="645621"/>
                      </a:cubicBezTo>
                      <a:cubicBezTo>
                        <a:pt x="110845" y="647064"/>
                        <a:pt x="106516" y="648070"/>
                        <a:pt x="102063" y="648631"/>
                      </a:cubicBezTo>
                      <a:cubicBezTo>
                        <a:pt x="99383" y="653863"/>
                        <a:pt x="95672" y="658506"/>
                        <a:pt x="91137" y="662278"/>
                      </a:cubicBezTo>
                      <a:cubicBezTo>
                        <a:pt x="91384" y="663433"/>
                        <a:pt x="91549" y="664587"/>
                        <a:pt x="91714" y="665783"/>
                      </a:cubicBezTo>
                      <a:cubicBezTo>
                        <a:pt x="97445" y="668133"/>
                        <a:pt x="104537" y="670195"/>
                        <a:pt x="106351" y="674359"/>
                      </a:cubicBezTo>
                      <a:cubicBezTo>
                        <a:pt x="108165" y="678523"/>
                        <a:pt x="101115" y="679719"/>
                        <a:pt x="92044" y="678771"/>
                      </a:cubicBezTo>
                      <a:cubicBezTo>
                        <a:pt x="91095" y="688138"/>
                        <a:pt x="86767" y="696846"/>
                        <a:pt x="79922" y="703303"/>
                      </a:cubicBezTo>
                      <a:cubicBezTo>
                        <a:pt x="65657" y="717329"/>
                        <a:pt x="47969" y="727402"/>
                        <a:pt x="28631" y="732535"/>
                      </a:cubicBezTo>
                      <a:cubicBezTo>
                        <a:pt x="36012" y="743193"/>
                        <a:pt x="38156" y="756651"/>
                        <a:pt x="34362" y="769065"/>
                      </a:cubicBezTo>
                      <a:cubicBezTo>
                        <a:pt x="29992" y="785557"/>
                        <a:pt x="26611" y="801514"/>
                        <a:pt x="16881" y="815862"/>
                      </a:cubicBezTo>
                      <a:cubicBezTo>
                        <a:pt x="13335" y="821148"/>
                        <a:pt x="8841" y="825733"/>
                        <a:pt x="3605" y="829385"/>
                      </a:cubicBezTo>
                      <a:cubicBezTo>
                        <a:pt x="-848" y="833855"/>
                        <a:pt x="-1220" y="840963"/>
                        <a:pt x="2739" y="845878"/>
                      </a:cubicBezTo>
                      <a:cubicBezTo>
                        <a:pt x="12180" y="861628"/>
                        <a:pt x="19231" y="841755"/>
                        <a:pt x="23354" y="853423"/>
                      </a:cubicBezTo>
                      <a:cubicBezTo>
                        <a:pt x="27477" y="865091"/>
                        <a:pt x="38733" y="854825"/>
                        <a:pt x="51803" y="841054"/>
                      </a:cubicBezTo>
                      <a:cubicBezTo>
                        <a:pt x="64873" y="827283"/>
                        <a:pt x="69573" y="856144"/>
                        <a:pt x="58895" y="855484"/>
                      </a:cubicBezTo>
                      <a:cubicBezTo>
                        <a:pt x="48216" y="854825"/>
                        <a:pt x="35805" y="862329"/>
                        <a:pt x="38280" y="874698"/>
                      </a:cubicBezTo>
                      <a:cubicBezTo>
                        <a:pt x="40753" y="887067"/>
                        <a:pt x="21787" y="884964"/>
                        <a:pt x="22282" y="869874"/>
                      </a:cubicBezTo>
                      <a:cubicBezTo>
                        <a:pt x="22777" y="854783"/>
                        <a:pt x="388" y="872636"/>
                        <a:pt x="8676" y="883604"/>
                      </a:cubicBezTo>
                      <a:cubicBezTo>
                        <a:pt x="16963" y="894571"/>
                        <a:pt x="5707" y="900756"/>
                        <a:pt x="5707" y="911022"/>
                      </a:cubicBezTo>
                      <a:cubicBezTo>
                        <a:pt x="5707" y="921288"/>
                        <a:pt x="21705" y="919268"/>
                        <a:pt x="28219" y="907600"/>
                      </a:cubicBezTo>
                      <a:cubicBezTo>
                        <a:pt x="34734" y="895931"/>
                        <a:pt x="45371" y="898694"/>
                        <a:pt x="49535" y="910362"/>
                      </a:cubicBezTo>
                      <a:cubicBezTo>
                        <a:pt x="53700" y="922030"/>
                        <a:pt x="39475" y="913083"/>
                        <a:pt x="39475" y="928875"/>
                      </a:cubicBezTo>
                      <a:cubicBezTo>
                        <a:pt x="39475" y="942687"/>
                        <a:pt x="32672" y="933863"/>
                        <a:pt x="25787" y="939801"/>
                      </a:cubicBezTo>
                      <a:cubicBezTo>
                        <a:pt x="29580" y="943000"/>
                        <a:pt x="32919" y="946641"/>
                        <a:pt x="35847" y="950644"/>
                      </a:cubicBezTo>
                      <a:lnTo>
                        <a:pt x="36135" y="950644"/>
                      </a:lnTo>
                      <a:cubicBezTo>
                        <a:pt x="32012" y="944748"/>
                        <a:pt x="35187" y="948871"/>
                        <a:pt x="37208" y="951222"/>
                      </a:cubicBezTo>
                      <a:cubicBezTo>
                        <a:pt x="40547" y="953159"/>
                        <a:pt x="43763" y="955345"/>
                        <a:pt x="47144" y="957200"/>
                      </a:cubicBezTo>
                      <a:cubicBezTo>
                        <a:pt x="57616" y="962931"/>
                        <a:pt x="67182" y="970150"/>
                        <a:pt x="75593" y="978640"/>
                      </a:cubicBezTo>
                      <a:cubicBezTo>
                        <a:pt x="79180" y="982449"/>
                        <a:pt x="82066" y="986861"/>
                        <a:pt x="84128" y="991669"/>
                      </a:cubicBezTo>
                      <a:cubicBezTo>
                        <a:pt x="92580" y="996150"/>
                        <a:pt x="102310" y="997606"/>
                        <a:pt x="111711" y="995792"/>
                      </a:cubicBezTo>
                      <a:cubicBezTo>
                        <a:pt x="135418" y="991669"/>
                        <a:pt x="180442" y="940955"/>
                        <a:pt x="186338" y="932008"/>
                      </a:cubicBezTo>
                      <a:cubicBezTo>
                        <a:pt x="192234" y="923061"/>
                        <a:pt x="205304" y="933369"/>
                        <a:pt x="214168" y="925164"/>
                      </a:cubicBezTo>
                      <a:cubicBezTo>
                        <a:pt x="223033" y="916959"/>
                        <a:pt x="217755" y="895684"/>
                        <a:pt x="224270" y="891561"/>
                      </a:cubicBezTo>
                      <a:cubicBezTo>
                        <a:pt x="230784" y="887438"/>
                        <a:pt x="234330" y="914155"/>
                        <a:pt x="240268" y="916918"/>
                      </a:cubicBezTo>
                      <a:cubicBezTo>
                        <a:pt x="246204" y="919680"/>
                        <a:pt x="249503" y="924257"/>
                        <a:pt x="249709" y="937945"/>
                      </a:cubicBezTo>
                      <a:cubicBezTo>
                        <a:pt x="253956" y="936877"/>
                        <a:pt x="258409" y="937624"/>
                        <a:pt x="262078" y="940007"/>
                      </a:cubicBezTo>
                      <a:cubicBezTo>
                        <a:pt x="269706" y="946645"/>
                        <a:pt x="271603" y="917990"/>
                        <a:pt x="271603" y="909166"/>
                      </a:cubicBezTo>
                      <a:cubicBezTo>
                        <a:pt x="271603" y="900343"/>
                        <a:pt x="279189" y="882697"/>
                        <a:pt x="277334" y="871688"/>
                      </a:cubicBezTo>
                      <a:cubicBezTo>
                        <a:pt x="275478" y="860679"/>
                        <a:pt x="300134" y="869503"/>
                        <a:pt x="303968" y="860679"/>
                      </a:cubicBezTo>
                      <a:cubicBezTo>
                        <a:pt x="307803" y="851856"/>
                        <a:pt x="309658" y="821016"/>
                        <a:pt x="302072" y="816604"/>
                      </a:cubicBezTo>
                      <a:cubicBezTo>
                        <a:pt x="294486" y="812192"/>
                        <a:pt x="292547" y="794546"/>
                        <a:pt x="300134" y="794546"/>
                      </a:cubicBezTo>
                      <a:cubicBezTo>
                        <a:pt x="307721" y="794546"/>
                        <a:pt x="317244" y="787949"/>
                        <a:pt x="315389" y="770302"/>
                      </a:cubicBezTo>
                      <a:cubicBezTo>
                        <a:pt x="313534" y="752656"/>
                        <a:pt x="290651" y="754882"/>
                        <a:pt x="288755" y="737318"/>
                      </a:cubicBezTo>
                      <a:cubicBezTo>
                        <a:pt x="286858" y="719754"/>
                        <a:pt x="300134" y="715260"/>
                        <a:pt x="290610" y="693243"/>
                      </a:cubicBezTo>
                      <a:cubicBezTo>
                        <a:pt x="281086" y="671226"/>
                        <a:pt x="294403" y="657949"/>
                        <a:pt x="290610" y="646941"/>
                      </a:cubicBezTo>
                      <a:cubicBezTo>
                        <a:pt x="286816" y="635932"/>
                        <a:pt x="283024" y="622697"/>
                        <a:pt x="294444" y="600639"/>
                      </a:cubicBezTo>
                      <a:cubicBezTo>
                        <a:pt x="305865" y="578581"/>
                        <a:pt x="326810" y="567655"/>
                        <a:pt x="334397" y="569840"/>
                      </a:cubicBezTo>
                      <a:cubicBezTo>
                        <a:pt x="341983" y="572025"/>
                        <a:pt x="355341" y="580848"/>
                        <a:pt x="361072" y="567572"/>
                      </a:cubicBezTo>
                      <a:cubicBezTo>
                        <a:pt x="366804" y="554296"/>
                        <a:pt x="366762" y="543370"/>
                        <a:pt x="361072" y="541102"/>
                      </a:cubicBezTo>
                      <a:cubicBezTo>
                        <a:pt x="355383" y="538834"/>
                        <a:pt x="340128" y="534547"/>
                        <a:pt x="351549" y="516900"/>
                      </a:cubicBezTo>
                      <a:cubicBezTo>
                        <a:pt x="362969" y="499253"/>
                        <a:pt x="376287" y="477195"/>
                        <a:pt x="378183" y="457404"/>
                      </a:cubicBezTo>
                      <a:cubicBezTo>
                        <a:pt x="380080" y="437614"/>
                        <a:pt x="374390" y="422111"/>
                        <a:pt x="380080" y="415514"/>
                      </a:cubicBezTo>
                      <a:cubicBezTo>
                        <a:pt x="385769" y="408917"/>
                        <a:pt x="399128" y="415514"/>
                        <a:pt x="410508" y="406732"/>
                      </a:cubicBezTo>
                      <a:cubicBezTo>
                        <a:pt x="421887" y="397950"/>
                        <a:pt x="412405" y="386859"/>
                        <a:pt x="418095" y="380262"/>
                      </a:cubicBezTo>
                      <a:cubicBezTo>
                        <a:pt x="423784" y="373665"/>
                        <a:pt x="431453" y="351401"/>
                        <a:pt x="439039" y="345010"/>
                      </a:cubicBezTo>
                      <a:cubicBezTo>
                        <a:pt x="446626" y="338619"/>
                        <a:pt x="454254" y="329549"/>
                        <a:pt x="448564" y="320767"/>
                      </a:cubicBezTo>
                      <a:cubicBezTo>
                        <a:pt x="442874" y="311984"/>
                        <a:pt x="459984" y="303120"/>
                        <a:pt x="459984" y="287782"/>
                      </a:cubicBezTo>
                      <a:cubicBezTo>
                        <a:pt x="459984" y="272444"/>
                        <a:pt x="478992" y="261312"/>
                        <a:pt x="490454" y="261312"/>
                      </a:cubicBezTo>
                      <a:cubicBezTo>
                        <a:pt x="501916" y="261312"/>
                        <a:pt x="520882" y="261312"/>
                        <a:pt x="520882" y="248119"/>
                      </a:cubicBezTo>
                      <a:cubicBezTo>
                        <a:pt x="520882" y="234925"/>
                        <a:pt x="513254" y="206228"/>
                        <a:pt x="530406" y="215134"/>
                      </a:cubicBezTo>
                      <a:cubicBezTo>
                        <a:pt x="547558" y="224040"/>
                        <a:pt x="560834" y="212908"/>
                        <a:pt x="572255" y="223957"/>
                      </a:cubicBezTo>
                      <a:cubicBezTo>
                        <a:pt x="583676" y="235007"/>
                        <a:pt x="598890" y="232781"/>
                        <a:pt x="598890" y="215134"/>
                      </a:cubicBezTo>
                      <a:cubicBezTo>
                        <a:pt x="598890" y="197488"/>
                        <a:pt x="604621" y="168874"/>
                        <a:pt x="621732" y="179882"/>
                      </a:cubicBezTo>
                      <a:cubicBezTo>
                        <a:pt x="623092" y="180748"/>
                        <a:pt x="624329" y="181696"/>
                        <a:pt x="625607" y="182645"/>
                      </a:cubicBezTo>
                      <a:cubicBezTo>
                        <a:pt x="631256" y="167925"/>
                        <a:pt x="642099" y="158607"/>
                        <a:pt x="652160" y="160009"/>
                      </a:cubicBezTo>
                      <a:cubicBezTo>
                        <a:pt x="667415" y="162277"/>
                        <a:pt x="676898" y="192993"/>
                        <a:pt x="695947" y="197488"/>
                      </a:cubicBezTo>
                      <a:cubicBezTo>
                        <a:pt x="714995" y="201982"/>
                        <a:pt x="734002" y="210722"/>
                        <a:pt x="739692" y="199673"/>
                      </a:cubicBezTo>
                      <a:cubicBezTo>
                        <a:pt x="745382" y="188623"/>
                        <a:pt x="758741" y="206311"/>
                        <a:pt x="770162" y="201899"/>
                      </a:cubicBezTo>
                      <a:cubicBezTo>
                        <a:pt x="781582" y="197488"/>
                        <a:pt x="781582" y="226143"/>
                        <a:pt x="793003" y="208537"/>
                      </a:cubicBezTo>
                      <a:cubicBezTo>
                        <a:pt x="804424" y="190932"/>
                        <a:pt x="791106" y="179882"/>
                        <a:pt x="810114" y="182109"/>
                      </a:cubicBezTo>
                      <a:cubicBezTo>
                        <a:pt x="829121" y="184335"/>
                        <a:pt x="817741" y="157824"/>
                        <a:pt x="817741" y="142404"/>
                      </a:cubicBezTo>
                      <a:cubicBezTo>
                        <a:pt x="817741" y="126983"/>
                        <a:pt x="842479" y="124757"/>
                        <a:pt x="842479" y="111563"/>
                      </a:cubicBezTo>
                      <a:cubicBezTo>
                        <a:pt x="842479" y="98369"/>
                        <a:pt x="876742" y="109337"/>
                        <a:pt x="882432" y="100513"/>
                      </a:cubicBezTo>
                      <a:cubicBezTo>
                        <a:pt x="888122" y="91690"/>
                        <a:pt x="907170" y="85134"/>
                        <a:pt x="914798" y="100513"/>
                      </a:cubicBezTo>
                      <a:cubicBezTo>
                        <a:pt x="922425" y="115892"/>
                        <a:pt x="954750" y="120345"/>
                        <a:pt x="956647" y="133498"/>
                      </a:cubicBezTo>
                      <a:cubicBezTo>
                        <a:pt x="957142" y="142107"/>
                        <a:pt x="957142" y="150740"/>
                        <a:pt x="956647" y="159349"/>
                      </a:cubicBezTo>
                      <a:cubicBezTo>
                        <a:pt x="961924" y="153330"/>
                        <a:pt x="968645" y="148794"/>
                        <a:pt x="975077" y="148794"/>
                      </a:cubicBezTo>
                      <a:cubicBezTo>
                        <a:pt x="986910" y="148794"/>
                        <a:pt x="997547" y="128179"/>
                        <a:pt x="1008061" y="130983"/>
                      </a:cubicBezTo>
                      <a:cubicBezTo>
                        <a:pt x="1016926" y="133250"/>
                        <a:pt x="1025708" y="131519"/>
                        <a:pt x="1028429" y="114491"/>
                      </a:cubicBezTo>
                      <a:cubicBezTo>
                        <a:pt x="1018905" y="107234"/>
                        <a:pt x="1000804" y="106451"/>
                        <a:pt x="998619" y="11581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68" name="Freeform: Shape 467">
                  <a:extLst>
                    <a:ext uri="{FF2B5EF4-FFF2-40B4-BE49-F238E27FC236}">
                      <a16:creationId xmlns:a16="http://schemas.microsoft.com/office/drawing/2014/main" id="{4E67ABE6-2429-E823-F753-08A35DD1DD9A}"/>
                    </a:ext>
                  </a:extLst>
                </p:cNvPr>
                <p:cNvSpPr/>
                <p:nvPr>
                  <p:custDataLst>
                    <p:tags r:id="rId44"/>
                  </p:custDataLst>
                </p:nvPr>
              </p:nvSpPr>
              <p:spPr>
                <a:xfrm>
                  <a:off x="8203889" y="3498363"/>
                  <a:ext cx="166555" cy="82602"/>
                </a:xfrm>
                <a:custGeom>
                  <a:avLst/>
                  <a:gdLst>
                    <a:gd name="connsiteX0" fmla="*/ 103695 w 125876"/>
                    <a:gd name="connsiteY0" fmla="*/ 14151 h 62428"/>
                    <a:gd name="connsiteX1" fmla="*/ 79699 w 125876"/>
                    <a:gd name="connsiteY1" fmla="*/ 3843 h 62428"/>
                    <a:gd name="connsiteX2" fmla="*/ 55373 w 125876"/>
                    <a:gd name="connsiteY2" fmla="*/ 1287 h 62428"/>
                    <a:gd name="connsiteX3" fmla="*/ 61599 w 125876"/>
                    <a:gd name="connsiteY3" fmla="*/ 8296 h 62428"/>
                    <a:gd name="connsiteX4" fmla="*/ 48570 w 125876"/>
                    <a:gd name="connsiteY4" fmla="*/ 33652 h 62428"/>
                    <a:gd name="connsiteX5" fmla="*/ 29645 w 125876"/>
                    <a:gd name="connsiteY5" fmla="*/ 33652 h 62428"/>
                    <a:gd name="connsiteX6" fmla="*/ 2392 w 125876"/>
                    <a:gd name="connsiteY6" fmla="*/ 35714 h 62428"/>
                    <a:gd name="connsiteX7" fmla="*/ 1 w 125876"/>
                    <a:gd name="connsiteY7" fmla="*/ 46681 h 62428"/>
                    <a:gd name="connsiteX8" fmla="*/ 20245 w 125876"/>
                    <a:gd name="connsiteY8" fmla="*/ 55257 h 62428"/>
                    <a:gd name="connsiteX9" fmla="*/ 124393 w 125876"/>
                    <a:gd name="connsiteY9" fmla="*/ 60370 h 62428"/>
                    <a:gd name="connsiteX10" fmla="*/ 125877 w 125876"/>
                    <a:gd name="connsiteY10" fmla="*/ 29529 h 62428"/>
                    <a:gd name="connsiteX11" fmla="*/ 103695 w 125876"/>
                    <a:gd name="connsiteY11" fmla="*/ 14151 h 624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25876" h="62428">
                      <a:moveTo>
                        <a:pt x="103695" y="14151"/>
                      </a:moveTo>
                      <a:cubicBezTo>
                        <a:pt x="98335" y="17243"/>
                        <a:pt x="84111" y="11058"/>
                        <a:pt x="79699" y="3843"/>
                      </a:cubicBezTo>
                      <a:cubicBezTo>
                        <a:pt x="76112" y="-1929"/>
                        <a:pt x="65104" y="215"/>
                        <a:pt x="55373" y="1287"/>
                      </a:cubicBezTo>
                      <a:cubicBezTo>
                        <a:pt x="58053" y="3027"/>
                        <a:pt x="60197" y="5447"/>
                        <a:pt x="61599" y="8296"/>
                      </a:cubicBezTo>
                      <a:cubicBezTo>
                        <a:pt x="66917" y="19304"/>
                        <a:pt x="40283" y="20665"/>
                        <a:pt x="48570" y="33652"/>
                      </a:cubicBezTo>
                      <a:cubicBezTo>
                        <a:pt x="56857" y="46640"/>
                        <a:pt x="29645" y="47382"/>
                        <a:pt x="29645" y="33652"/>
                      </a:cubicBezTo>
                      <a:cubicBezTo>
                        <a:pt x="29645" y="19923"/>
                        <a:pt x="1196" y="26808"/>
                        <a:pt x="2392" y="35714"/>
                      </a:cubicBezTo>
                      <a:cubicBezTo>
                        <a:pt x="2722" y="39528"/>
                        <a:pt x="1897" y="43350"/>
                        <a:pt x="1" y="46681"/>
                      </a:cubicBezTo>
                      <a:cubicBezTo>
                        <a:pt x="7752" y="49897"/>
                        <a:pt x="16740" y="53649"/>
                        <a:pt x="20245" y="55257"/>
                      </a:cubicBezTo>
                      <a:cubicBezTo>
                        <a:pt x="25646" y="57731"/>
                        <a:pt x="96645" y="66307"/>
                        <a:pt x="124393" y="60370"/>
                      </a:cubicBezTo>
                      <a:cubicBezTo>
                        <a:pt x="122909" y="54350"/>
                        <a:pt x="125877" y="36415"/>
                        <a:pt x="125877" y="29529"/>
                      </a:cubicBezTo>
                      <a:cubicBezTo>
                        <a:pt x="125877" y="21325"/>
                        <a:pt x="108973" y="11058"/>
                        <a:pt x="103695" y="14151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69" name="Freeform: Shape 468">
                  <a:extLst>
                    <a:ext uri="{FF2B5EF4-FFF2-40B4-BE49-F238E27FC236}">
                      <a16:creationId xmlns:a16="http://schemas.microsoft.com/office/drawing/2014/main" id="{01B246D5-C355-2177-4F2C-CCC26F6C7704}"/>
                    </a:ext>
                  </a:extLst>
                </p:cNvPr>
                <p:cNvSpPr/>
                <p:nvPr>
                  <p:custDataLst>
                    <p:tags r:id="rId45"/>
                  </p:custDataLst>
                </p:nvPr>
              </p:nvSpPr>
              <p:spPr>
                <a:xfrm>
                  <a:off x="7612662" y="4632363"/>
                  <a:ext cx="89132" cy="162116"/>
                </a:xfrm>
                <a:custGeom>
                  <a:avLst/>
                  <a:gdLst>
                    <a:gd name="connsiteX0" fmla="*/ 29906 w 67364"/>
                    <a:gd name="connsiteY0" fmla="*/ 5925 h 122521"/>
                    <a:gd name="connsiteX1" fmla="*/ 1044 w 67364"/>
                    <a:gd name="connsiteY1" fmla="*/ 14171 h 122521"/>
                    <a:gd name="connsiteX2" fmla="*/ 15846 w 67364"/>
                    <a:gd name="connsiteY2" fmla="*/ 73873 h 122521"/>
                    <a:gd name="connsiteX3" fmla="*/ 32338 w 67364"/>
                    <a:gd name="connsiteY3" fmla="*/ 118484 h 122521"/>
                    <a:gd name="connsiteX4" fmla="*/ 60210 w 67364"/>
                    <a:gd name="connsiteY4" fmla="*/ 98570 h 122521"/>
                    <a:gd name="connsiteX5" fmla="*/ 66725 w 67364"/>
                    <a:gd name="connsiteY5" fmla="*/ 23118 h 122521"/>
                    <a:gd name="connsiteX6" fmla="*/ 29906 w 67364"/>
                    <a:gd name="connsiteY6" fmla="*/ 5925 h 1225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7364" h="122521">
                      <a:moveTo>
                        <a:pt x="29906" y="5925"/>
                      </a:moveTo>
                      <a:cubicBezTo>
                        <a:pt x="16918" y="18954"/>
                        <a:pt x="6157" y="3658"/>
                        <a:pt x="1044" y="14171"/>
                      </a:cubicBezTo>
                      <a:cubicBezTo>
                        <a:pt x="-5511" y="27241"/>
                        <a:pt x="21165" y="47156"/>
                        <a:pt x="15846" y="73873"/>
                      </a:cubicBezTo>
                      <a:cubicBezTo>
                        <a:pt x="10528" y="100591"/>
                        <a:pt x="18774" y="134234"/>
                        <a:pt x="32338" y="118484"/>
                      </a:cubicBezTo>
                      <a:cubicBezTo>
                        <a:pt x="45903" y="102734"/>
                        <a:pt x="52541" y="110238"/>
                        <a:pt x="60210" y="98570"/>
                      </a:cubicBezTo>
                      <a:cubicBezTo>
                        <a:pt x="67879" y="86902"/>
                        <a:pt x="61406" y="43692"/>
                        <a:pt x="66725" y="23118"/>
                      </a:cubicBezTo>
                      <a:cubicBezTo>
                        <a:pt x="72043" y="2544"/>
                        <a:pt x="42852" y="-7103"/>
                        <a:pt x="29906" y="5925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70" name="Freeform: Shape 469">
                  <a:extLst>
                    <a:ext uri="{FF2B5EF4-FFF2-40B4-BE49-F238E27FC236}">
                      <a16:creationId xmlns:a16="http://schemas.microsoft.com/office/drawing/2014/main" id="{2C0AF02B-87A6-587E-6D72-1B2E1F4979EE}"/>
                    </a:ext>
                  </a:extLst>
                </p:cNvPr>
                <p:cNvSpPr/>
                <p:nvPr>
                  <p:custDataLst>
                    <p:tags r:id="rId46"/>
                  </p:custDataLst>
                </p:nvPr>
              </p:nvSpPr>
              <p:spPr>
                <a:xfrm>
                  <a:off x="7846500" y="4842590"/>
                  <a:ext cx="151480" cy="106441"/>
                </a:xfrm>
                <a:custGeom>
                  <a:avLst/>
                  <a:gdLst>
                    <a:gd name="connsiteX0" fmla="*/ 82420 w 114483"/>
                    <a:gd name="connsiteY0" fmla="*/ 2769 h 80444"/>
                    <a:gd name="connsiteX1" fmla="*/ 33851 w 114483"/>
                    <a:gd name="connsiteY1" fmla="*/ 2769 h 80444"/>
                    <a:gd name="connsiteX2" fmla="*/ 1 w 114483"/>
                    <a:gd name="connsiteY2" fmla="*/ 16828 h 80444"/>
                    <a:gd name="connsiteX3" fmla="*/ 2062 w 114483"/>
                    <a:gd name="connsiteY3" fmla="*/ 18024 h 80444"/>
                    <a:gd name="connsiteX4" fmla="*/ 20121 w 114483"/>
                    <a:gd name="connsiteY4" fmla="*/ 39175 h 80444"/>
                    <a:gd name="connsiteX5" fmla="*/ 41520 w 114483"/>
                    <a:gd name="connsiteY5" fmla="*/ 47421 h 80444"/>
                    <a:gd name="connsiteX6" fmla="*/ 87162 w 114483"/>
                    <a:gd name="connsiteY6" fmla="*/ 80406 h 80444"/>
                    <a:gd name="connsiteX7" fmla="*/ 97799 w 114483"/>
                    <a:gd name="connsiteY7" fmla="*/ 48823 h 80444"/>
                    <a:gd name="connsiteX8" fmla="*/ 114291 w 114483"/>
                    <a:gd name="connsiteY8" fmla="*/ 5614 h 80444"/>
                    <a:gd name="connsiteX9" fmla="*/ 82420 w 114483"/>
                    <a:gd name="connsiteY9" fmla="*/ 2769 h 804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14483" h="80444">
                      <a:moveTo>
                        <a:pt x="82420" y="2769"/>
                      </a:moveTo>
                      <a:cubicBezTo>
                        <a:pt x="58095" y="8912"/>
                        <a:pt x="48034" y="11015"/>
                        <a:pt x="33851" y="2769"/>
                      </a:cubicBezTo>
                      <a:cubicBezTo>
                        <a:pt x="21482" y="-4405"/>
                        <a:pt x="2433" y="6603"/>
                        <a:pt x="1" y="16828"/>
                      </a:cubicBezTo>
                      <a:lnTo>
                        <a:pt x="2062" y="18024"/>
                      </a:lnTo>
                      <a:cubicBezTo>
                        <a:pt x="10267" y="22881"/>
                        <a:pt x="16616" y="30319"/>
                        <a:pt x="20121" y="39175"/>
                      </a:cubicBezTo>
                      <a:cubicBezTo>
                        <a:pt x="27007" y="42482"/>
                        <a:pt x="34181" y="45236"/>
                        <a:pt x="41520" y="47421"/>
                      </a:cubicBezTo>
                      <a:cubicBezTo>
                        <a:pt x="71164" y="56286"/>
                        <a:pt x="74504" y="79581"/>
                        <a:pt x="87162" y="80406"/>
                      </a:cubicBezTo>
                      <a:cubicBezTo>
                        <a:pt x="99820" y="81230"/>
                        <a:pt x="100768" y="67336"/>
                        <a:pt x="97799" y="48823"/>
                      </a:cubicBezTo>
                      <a:cubicBezTo>
                        <a:pt x="94831" y="30311"/>
                        <a:pt x="112601" y="9036"/>
                        <a:pt x="114291" y="5614"/>
                      </a:cubicBezTo>
                      <a:cubicBezTo>
                        <a:pt x="115982" y="2192"/>
                        <a:pt x="106664" y="-3416"/>
                        <a:pt x="82420" y="2769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71" name="Freeform: Shape 470">
                  <a:extLst>
                    <a:ext uri="{FF2B5EF4-FFF2-40B4-BE49-F238E27FC236}">
                      <a16:creationId xmlns:a16="http://schemas.microsoft.com/office/drawing/2014/main" id="{D2B7D573-ED24-5CDF-6DCE-4DC688E748C7}"/>
                    </a:ext>
                  </a:extLst>
                </p:cNvPr>
                <p:cNvSpPr/>
                <p:nvPr>
                  <p:custDataLst>
                    <p:tags r:id="rId47"/>
                  </p:custDataLst>
                </p:nvPr>
              </p:nvSpPr>
              <p:spPr>
                <a:xfrm>
                  <a:off x="8142184" y="4461761"/>
                  <a:ext cx="64100" cy="98525"/>
                </a:xfrm>
                <a:custGeom>
                  <a:avLst/>
                  <a:gdLst>
                    <a:gd name="connsiteX0" fmla="*/ 16987 w 48445"/>
                    <a:gd name="connsiteY0" fmla="*/ -4 h 74462"/>
                    <a:gd name="connsiteX1" fmla="*/ 1649 w 48445"/>
                    <a:gd name="connsiteY1" fmla="*/ 34423 h 74462"/>
                    <a:gd name="connsiteX2" fmla="*/ 1 w 48445"/>
                    <a:gd name="connsiteY2" fmla="*/ 48813 h 74462"/>
                    <a:gd name="connsiteX3" fmla="*/ 28326 w 48445"/>
                    <a:gd name="connsiteY3" fmla="*/ 73139 h 74462"/>
                    <a:gd name="connsiteX4" fmla="*/ 30429 w 48445"/>
                    <a:gd name="connsiteY4" fmla="*/ 74458 h 74462"/>
                    <a:gd name="connsiteX5" fmla="*/ 48446 w 48445"/>
                    <a:gd name="connsiteY5" fmla="*/ 41474 h 74462"/>
                    <a:gd name="connsiteX6" fmla="*/ 16987 w 48445"/>
                    <a:gd name="connsiteY6" fmla="*/ -4 h 744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8445" h="74462">
                      <a:moveTo>
                        <a:pt x="16987" y="-4"/>
                      </a:moveTo>
                      <a:cubicBezTo>
                        <a:pt x="8741" y="12819"/>
                        <a:pt x="742" y="29104"/>
                        <a:pt x="1649" y="34423"/>
                      </a:cubicBezTo>
                      <a:cubicBezTo>
                        <a:pt x="1773" y="39272"/>
                        <a:pt x="1196" y="44117"/>
                        <a:pt x="1" y="48813"/>
                      </a:cubicBezTo>
                      <a:cubicBezTo>
                        <a:pt x="10555" y="58667"/>
                        <a:pt x="20616" y="68603"/>
                        <a:pt x="28326" y="73139"/>
                      </a:cubicBezTo>
                      <a:lnTo>
                        <a:pt x="30429" y="74458"/>
                      </a:lnTo>
                      <a:cubicBezTo>
                        <a:pt x="32779" y="59203"/>
                        <a:pt x="41849" y="43453"/>
                        <a:pt x="48446" y="41474"/>
                      </a:cubicBezTo>
                      <a:cubicBezTo>
                        <a:pt x="39211" y="28569"/>
                        <a:pt x="25687" y="10097"/>
                        <a:pt x="16987" y="-4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grpSp>
              <p:nvGrpSpPr>
                <p:cNvPr id="472" name="United Kingdom">
                  <a:extLst>
                    <a:ext uri="{FF2B5EF4-FFF2-40B4-BE49-F238E27FC236}">
                      <a16:creationId xmlns:a16="http://schemas.microsoft.com/office/drawing/2014/main" id="{0834510A-79CA-111D-DB4A-C635D05149EF}"/>
                    </a:ext>
                  </a:extLst>
                </p:cNvPr>
                <p:cNvGrpSpPr/>
                <p:nvPr>
                  <p:custDataLst>
                    <p:tags r:id="rId48"/>
                  </p:custDataLst>
                </p:nvPr>
              </p:nvGrpSpPr>
              <p:grpSpPr>
                <a:xfrm>
                  <a:off x="6750564" y="3183913"/>
                  <a:ext cx="524823" cy="764277"/>
                  <a:chOff x="6447565" y="2490184"/>
                  <a:chExt cx="339683" cy="494665"/>
                </a:xfrm>
                <a:solidFill>
                  <a:schemeClr val="accent1"/>
                </a:solidFill>
              </p:grpSpPr>
              <p:sp>
                <p:nvSpPr>
                  <p:cNvPr id="571" name="UK group">
                    <a:extLst>
                      <a:ext uri="{FF2B5EF4-FFF2-40B4-BE49-F238E27FC236}">
                        <a16:creationId xmlns:a16="http://schemas.microsoft.com/office/drawing/2014/main" id="{E81489AC-051C-AD47-E2E7-CFE11EE565D1}"/>
                      </a:ext>
                    </a:extLst>
                  </p:cNvPr>
                  <p:cNvSpPr/>
                  <p:nvPr>
                    <p:custDataLst>
                      <p:tags r:id="rId147"/>
                    </p:custDataLst>
                  </p:nvPr>
                </p:nvSpPr>
                <p:spPr>
                  <a:xfrm>
                    <a:off x="6447565" y="2697805"/>
                    <a:ext cx="85284" cy="68551"/>
                  </a:xfrm>
                  <a:custGeom>
                    <a:avLst/>
                    <a:gdLst>
                      <a:gd name="connsiteX0" fmla="*/ 23135 w 99585"/>
                      <a:gd name="connsiteY0" fmla="*/ 14774 h 80046"/>
                      <a:gd name="connsiteX1" fmla="*/ 12210 w 99585"/>
                      <a:gd name="connsiteY1" fmla="*/ 41203 h 80046"/>
                      <a:gd name="connsiteX2" fmla="*/ 3263 w 99585"/>
                      <a:gd name="connsiteY2" fmla="*/ 68168 h 80046"/>
                      <a:gd name="connsiteX3" fmla="*/ 28331 w 99585"/>
                      <a:gd name="connsiteY3" fmla="*/ 74352 h 80046"/>
                      <a:gd name="connsiteX4" fmla="*/ 51585 w 99585"/>
                      <a:gd name="connsiteY4" fmla="*/ 66106 h 80046"/>
                      <a:gd name="connsiteX5" fmla="*/ 64820 w 99585"/>
                      <a:gd name="connsiteY5" fmla="*/ 80042 h 80046"/>
                      <a:gd name="connsiteX6" fmla="*/ 95743 w 99585"/>
                      <a:gd name="connsiteY6" fmla="*/ 57695 h 80046"/>
                      <a:gd name="connsiteX7" fmla="*/ 73272 w 99585"/>
                      <a:gd name="connsiteY7" fmla="*/ 5580 h 80046"/>
                      <a:gd name="connsiteX8" fmla="*/ 23135 w 99585"/>
                      <a:gd name="connsiteY8" fmla="*/ 14774 h 800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99585" h="80046">
                        <a:moveTo>
                          <a:pt x="23135" y="14774"/>
                        </a:moveTo>
                        <a:cubicBezTo>
                          <a:pt x="20538" y="28133"/>
                          <a:pt x="16415" y="37739"/>
                          <a:pt x="12210" y="41203"/>
                        </a:cubicBezTo>
                        <a:cubicBezTo>
                          <a:pt x="5943" y="46398"/>
                          <a:pt x="-5685" y="65941"/>
                          <a:pt x="3263" y="68168"/>
                        </a:cubicBezTo>
                        <a:cubicBezTo>
                          <a:pt x="12210" y="70394"/>
                          <a:pt x="26517" y="86804"/>
                          <a:pt x="28331" y="74352"/>
                        </a:cubicBezTo>
                        <a:cubicBezTo>
                          <a:pt x="30145" y="61900"/>
                          <a:pt x="36577" y="45491"/>
                          <a:pt x="51585" y="66106"/>
                        </a:cubicBezTo>
                        <a:cubicBezTo>
                          <a:pt x="55461" y="71231"/>
                          <a:pt x="59913" y="75907"/>
                          <a:pt x="64820" y="80042"/>
                        </a:cubicBezTo>
                        <a:cubicBezTo>
                          <a:pt x="67294" y="70641"/>
                          <a:pt x="86012" y="69033"/>
                          <a:pt x="95743" y="57695"/>
                        </a:cubicBezTo>
                        <a:cubicBezTo>
                          <a:pt x="107576" y="44007"/>
                          <a:pt x="89805" y="24092"/>
                          <a:pt x="73272" y="5580"/>
                        </a:cubicBezTo>
                        <a:cubicBezTo>
                          <a:pt x="58264" y="-11160"/>
                          <a:pt x="38845" y="15104"/>
                          <a:pt x="23135" y="14774"/>
                        </a:cubicBezTo>
                        <a:close/>
                      </a:path>
                    </a:pathLst>
                  </a:custGeom>
                  <a:grpFill/>
                  <a:ln w="6350" cap="flat">
                    <a:solidFill>
                      <a:schemeClr val="bg1"/>
                    </a:solidFill>
                    <a:prstDash val="solid"/>
                    <a:miter/>
                  </a:ln>
                </p:spPr>
                <p:txBody>
                  <a:bodyPr rtlCol="0" anchor="ctr"/>
                  <a:lstStyle>
                    <a:defPPr>
                      <a:defRPr lang="en-US"/>
                    </a:defPPr>
                  </a:lstStyle>
                  <a:p>
                    <a:pPr marL="0" marR="0" lvl="0" indent="0" algn="l" defTabSz="1462923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normalizeH="0" noProof="0">
                        <a:solidFill>
                          <a:srgbClr val="000000"/>
                        </a:solidFill>
                        <a:uLnTx/>
                        <a:uFillTx/>
                        <a:latin typeface="+mn-lt"/>
                        <a:ea typeface="+mn-ea"/>
                        <a:cs typeface="+mn-cs"/>
                      </a:defRPr>
                    </a:pPr>
                    <a:endParaRPr kumimoji="0" lang="en-US" sz="288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572" name="UK group">
                    <a:extLst>
                      <a:ext uri="{FF2B5EF4-FFF2-40B4-BE49-F238E27FC236}">
                        <a16:creationId xmlns:a16="http://schemas.microsoft.com/office/drawing/2014/main" id="{3A15B624-00FA-76EF-F1ED-DFEFE1625DE6}"/>
                      </a:ext>
                    </a:extLst>
                  </p:cNvPr>
                  <p:cNvSpPr/>
                  <p:nvPr>
                    <p:custDataLst>
                      <p:tags r:id="rId148"/>
                    </p:custDataLst>
                  </p:nvPr>
                </p:nvSpPr>
                <p:spPr>
                  <a:xfrm>
                    <a:off x="6494123" y="2490184"/>
                    <a:ext cx="293125" cy="494665"/>
                  </a:xfrm>
                  <a:custGeom>
                    <a:avLst/>
                    <a:gdLst>
                      <a:gd name="connsiteX0" fmla="*/ 334485 w 342276"/>
                      <a:gd name="connsiteY0" fmla="*/ 413884 h 577611"/>
                      <a:gd name="connsiteX1" fmla="*/ 329496 w 342276"/>
                      <a:gd name="connsiteY1" fmla="*/ 412152 h 577611"/>
                      <a:gd name="connsiteX2" fmla="*/ 303438 w 342276"/>
                      <a:gd name="connsiteY2" fmla="*/ 391537 h 577611"/>
                      <a:gd name="connsiteX3" fmla="*/ 300758 w 342276"/>
                      <a:gd name="connsiteY3" fmla="*/ 394258 h 577611"/>
                      <a:gd name="connsiteX4" fmla="*/ 281215 w 342276"/>
                      <a:gd name="connsiteY4" fmla="*/ 391578 h 577611"/>
                      <a:gd name="connsiteX5" fmla="*/ 280679 w 342276"/>
                      <a:gd name="connsiteY5" fmla="*/ 366180 h 577611"/>
                      <a:gd name="connsiteX6" fmla="*/ 267650 w 342276"/>
                      <a:gd name="connsiteY6" fmla="*/ 340782 h 577611"/>
                      <a:gd name="connsiteX7" fmla="*/ 267650 w 342276"/>
                      <a:gd name="connsiteY7" fmla="*/ 337814 h 577611"/>
                      <a:gd name="connsiteX8" fmla="*/ 247612 w 342276"/>
                      <a:gd name="connsiteY8" fmla="*/ 313735 h 577611"/>
                      <a:gd name="connsiteX9" fmla="*/ 242623 w 342276"/>
                      <a:gd name="connsiteY9" fmla="*/ 301366 h 577611"/>
                      <a:gd name="connsiteX10" fmla="*/ 239242 w 342276"/>
                      <a:gd name="connsiteY10" fmla="*/ 299593 h 577611"/>
                      <a:gd name="connsiteX11" fmla="*/ 219205 w 342276"/>
                      <a:gd name="connsiteY11" fmla="*/ 272670 h 577611"/>
                      <a:gd name="connsiteX12" fmla="*/ 217555 w 342276"/>
                      <a:gd name="connsiteY12" fmla="*/ 260300 h 577611"/>
                      <a:gd name="connsiteX13" fmla="*/ 214751 w 342276"/>
                      <a:gd name="connsiteY13" fmla="*/ 249787 h 577611"/>
                      <a:gd name="connsiteX14" fmla="*/ 192734 w 342276"/>
                      <a:gd name="connsiteY14" fmla="*/ 212927 h 577611"/>
                      <a:gd name="connsiteX15" fmla="*/ 184035 w 342276"/>
                      <a:gd name="connsiteY15" fmla="*/ 205052 h 577611"/>
                      <a:gd name="connsiteX16" fmla="*/ 147917 w 342276"/>
                      <a:gd name="connsiteY16" fmla="*/ 198207 h 577611"/>
                      <a:gd name="connsiteX17" fmla="*/ 156905 w 342276"/>
                      <a:gd name="connsiteY17" fmla="*/ 172644 h 577611"/>
                      <a:gd name="connsiteX18" fmla="*/ 154267 w 342276"/>
                      <a:gd name="connsiteY18" fmla="*/ 158131 h 577611"/>
                      <a:gd name="connsiteX19" fmla="*/ 180530 w 342276"/>
                      <a:gd name="connsiteY19" fmla="*/ 116901 h 577611"/>
                      <a:gd name="connsiteX20" fmla="*/ 188776 w 342276"/>
                      <a:gd name="connsiteY20" fmla="*/ 106140 h 577611"/>
                      <a:gd name="connsiteX21" fmla="*/ 189353 w 342276"/>
                      <a:gd name="connsiteY21" fmla="*/ 105686 h 577611"/>
                      <a:gd name="connsiteX22" fmla="*/ 192776 w 342276"/>
                      <a:gd name="connsiteY22" fmla="*/ 87256 h 577611"/>
                      <a:gd name="connsiteX23" fmla="*/ 118561 w 342276"/>
                      <a:gd name="connsiteY23" fmla="*/ 83133 h 577611"/>
                      <a:gd name="connsiteX24" fmla="*/ 104913 w 342276"/>
                      <a:gd name="connsiteY24" fmla="*/ 68043 h 577611"/>
                      <a:gd name="connsiteX25" fmla="*/ 135136 w 342276"/>
                      <a:gd name="connsiteY25" fmla="*/ 29616 h 577611"/>
                      <a:gd name="connsiteX26" fmla="*/ 141072 w 342276"/>
                      <a:gd name="connsiteY26" fmla="*/ 2198 h 577611"/>
                      <a:gd name="connsiteX27" fmla="*/ 123302 w 342276"/>
                      <a:gd name="connsiteY27" fmla="*/ 20710 h 577611"/>
                      <a:gd name="connsiteX28" fmla="*/ 80052 w 342276"/>
                      <a:gd name="connsiteY28" fmla="*/ 21411 h 577611"/>
                      <a:gd name="connsiteX29" fmla="*/ 73826 w 342276"/>
                      <a:gd name="connsiteY29" fmla="*/ 21411 h 577611"/>
                      <a:gd name="connsiteX30" fmla="*/ 56097 w 342276"/>
                      <a:gd name="connsiteY30" fmla="*/ 49118 h 577611"/>
                      <a:gd name="connsiteX31" fmla="*/ 55190 w 342276"/>
                      <a:gd name="connsiteY31" fmla="*/ 60580 h 577611"/>
                      <a:gd name="connsiteX32" fmla="*/ 37419 w 342276"/>
                      <a:gd name="connsiteY32" fmla="*/ 92121 h 577611"/>
                      <a:gd name="connsiteX33" fmla="*/ 27359 w 342276"/>
                      <a:gd name="connsiteY33" fmla="*/ 105109 h 577611"/>
                      <a:gd name="connsiteX34" fmla="*/ 3074 w 342276"/>
                      <a:gd name="connsiteY34" fmla="*/ 94843 h 577611"/>
                      <a:gd name="connsiteX35" fmla="*/ 31936 w 342276"/>
                      <a:gd name="connsiteY35" fmla="*/ 122302 h 577611"/>
                      <a:gd name="connsiteX36" fmla="*/ 17175 w 342276"/>
                      <a:gd name="connsiteY36" fmla="*/ 156565 h 577611"/>
                      <a:gd name="connsiteX37" fmla="*/ 38450 w 342276"/>
                      <a:gd name="connsiteY37" fmla="*/ 181303 h 577611"/>
                      <a:gd name="connsiteX38" fmla="*/ 33708 w 342276"/>
                      <a:gd name="connsiteY38" fmla="*/ 198496 h 577611"/>
                      <a:gd name="connsiteX39" fmla="*/ 50200 w 342276"/>
                      <a:gd name="connsiteY39" fmla="*/ 226574 h 577611"/>
                      <a:gd name="connsiteX40" fmla="*/ 73290 w 342276"/>
                      <a:gd name="connsiteY40" fmla="*/ 190250 h 577611"/>
                      <a:gd name="connsiteX41" fmla="*/ 76258 w 342276"/>
                      <a:gd name="connsiteY41" fmla="*/ 222451 h 577611"/>
                      <a:gd name="connsiteX42" fmla="*/ 62034 w 342276"/>
                      <a:gd name="connsiteY42" fmla="*/ 269124 h 577611"/>
                      <a:gd name="connsiteX43" fmla="*/ 119468 w 342276"/>
                      <a:gd name="connsiteY43" fmla="*/ 262981 h 577611"/>
                      <a:gd name="connsiteX44" fmla="*/ 130146 w 342276"/>
                      <a:gd name="connsiteY44" fmla="*/ 276710 h 577611"/>
                      <a:gd name="connsiteX45" fmla="*/ 136702 w 342276"/>
                      <a:gd name="connsiteY45" fmla="*/ 305571 h 577611"/>
                      <a:gd name="connsiteX46" fmla="*/ 147340 w 342276"/>
                      <a:gd name="connsiteY46" fmla="*/ 322641 h 577611"/>
                      <a:gd name="connsiteX47" fmla="*/ 143794 w 342276"/>
                      <a:gd name="connsiteY47" fmla="*/ 364490 h 577611"/>
                      <a:gd name="connsiteX48" fmla="*/ 102934 w 342276"/>
                      <a:gd name="connsiteY48" fmla="*/ 366593 h 577611"/>
                      <a:gd name="connsiteX49" fmla="*/ 90565 w 342276"/>
                      <a:gd name="connsiteY49" fmla="*/ 374096 h 577611"/>
                      <a:gd name="connsiteX50" fmla="*/ 78732 w 342276"/>
                      <a:gd name="connsiteY50" fmla="*/ 402958 h 577611"/>
                      <a:gd name="connsiteX51" fmla="*/ 102398 w 342276"/>
                      <a:gd name="connsiteY51" fmla="*/ 420811 h 577611"/>
                      <a:gd name="connsiteX52" fmla="*/ 63930 w 342276"/>
                      <a:gd name="connsiteY52" fmla="*/ 452352 h 577611"/>
                      <a:gd name="connsiteX53" fmla="*/ 79309 w 342276"/>
                      <a:gd name="connsiteY53" fmla="*/ 471524 h 577611"/>
                      <a:gd name="connsiteX54" fmla="*/ 103017 w 342276"/>
                      <a:gd name="connsiteY54" fmla="*/ 477709 h 577611"/>
                      <a:gd name="connsiteX55" fmla="*/ 145030 w 342276"/>
                      <a:gd name="connsiteY55" fmla="*/ 484594 h 577611"/>
                      <a:gd name="connsiteX56" fmla="*/ 148577 w 342276"/>
                      <a:gd name="connsiteY56" fmla="*/ 496262 h 577611"/>
                      <a:gd name="connsiteX57" fmla="*/ 104171 w 342276"/>
                      <a:gd name="connsiteY57" fmla="*/ 503107 h 577611"/>
                      <a:gd name="connsiteX58" fmla="*/ 53252 w 342276"/>
                      <a:gd name="connsiteY58" fmla="*/ 575837 h 577611"/>
                      <a:gd name="connsiteX59" fmla="*/ 82855 w 342276"/>
                      <a:gd name="connsiteY59" fmla="*/ 556624 h 577611"/>
                      <a:gd name="connsiteX60" fmla="*/ 101326 w 342276"/>
                      <a:gd name="connsiteY60" fmla="*/ 556954 h 577611"/>
                      <a:gd name="connsiteX61" fmla="*/ 117530 w 342276"/>
                      <a:gd name="connsiteY61" fmla="*/ 539843 h 577611"/>
                      <a:gd name="connsiteX62" fmla="*/ 151215 w 342276"/>
                      <a:gd name="connsiteY62" fmla="*/ 535308 h 577611"/>
                      <a:gd name="connsiteX63" fmla="*/ 157977 w 342276"/>
                      <a:gd name="connsiteY63" fmla="*/ 537988 h 577611"/>
                      <a:gd name="connsiteX64" fmla="*/ 159255 w 342276"/>
                      <a:gd name="connsiteY64" fmla="*/ 537988 h 577611"/>
                      <a:gd name="connsiteX65" fmla="*/ 190632 w 342276"/>
                      <a:gd name="connsiteY65" fmla="*/ 527680 h 577611"/>
                      <a:gd name="connsiteX66" fmla="*/ 222626 w 342276"/>
                      <a:gd name="connsiteY66" fmla="*/ 536586 h 577611"/>
                      <a:gd name="connsiteX67" fmla="*/ 267650 w 342276"/>
                      <a:gd name="connsiteY67" fmla="*/ 526979 h 577611"/>
                      <a:gd name="connsiteX68" fmla="*/ 323270 w 342276"/>
                      <a:gd name="connsiteY68" fmla="*/ 500220 h 577611"/>
                      <a:gd name="connsiteX69" fmla="*/ 306159 w 342276"/>
                      <a:gd name="connsiteY69" fmla="*/ 490655 h 577611"/>
                      <a:gd name="connsiteX70" fmla="*/ 309087 w 342276"/>
                      <a:gd name="connsiteY70" fmla="*/ 463196 h 577611"/>
                      <a:gd name="connsiteX71" fmla="*/ 342277 w 342276"/>
                      <a:gd name="connsiteY71" fmla="*/ 418626 h 577611"/>
                      <a:gd name="connsiteX72" fmla="*/ 342277 w 342276"/>
                      <a:gd name="connsiteY72" fmla="*/ 418626 h 577611"/>
                      <a:gd name="connsiteX73" fmla="*/ 334485 w 342276"/>
                      <a:gd name="connsiteY73" fmla="*/ 413884 h 5776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</a:cxnLst>
                    <a:rect l="l" t="t" r="r" b="b"/>
                    <a:pathLst>
                      <a:path w="342276" h="577611">
                        <a:moveTo>
                          <a:pt x="334485" y="413884"/>
                        </a:moveTo>
                        <a:cubicBezTo>
                          <a:pt x="332835" y="413265"/>
                          <a:pt x="331227" y="412647"/>
                          <a:pt x="329496" y="412152"/>
                        </a:cubicBezTo>
                        <a:cubicBezTo>
                          <a:pt x="318529" y="408825"/>
                          <a:pt x="309210" y="401457"/>
                          <a:pt x="303438" y="391537"/>
                        </a:cubicBezTo>
                        <a:cubicBezTo>
                          <a:pt x="302242" y="392085"/>
                          <a:pt x="301294" y="393054"/>
                          <a:pt x="300758" y="394258"/>
                        </a:cubicBezTo>
                        <a:cubicBezTo>
                          <a:pt x="296635" y="405226"/>
                          <a:pt x="287771" y="403906"/>
                          <a:pt x="281215" y="391578"/>
                        </a:cubicBezTo>
                        <a:cubicBezTo>
                          <a:pt x="274659" y="379250"/>
                          <a:pt x="287152" y="367500"/>
                          <a:pt x="280679" y="366180"/>
                        </a:cubicBezTo>
                        <a:cubicBezTo>
                          <a:pt x="274206" y="364861"/>
                          <a:pt x="265836" y="347627"/>
                          <a:pt x="267650" y="340782"/>
                        </a:cubicBezTo>
                        <a:cubicBezTo>
                          <a:pt x="267774" y="339797"/>
                          <a:pt x="267774" y="338799"/>
                          <a:pt x="267650" y="337814"/>
                        </a:cubicBezTo>
                        <a:cubicBezTo>
                          <a:pt x="259981" y="330664"/>
                          <a:pt x="253260" y="322575"/>
                          <a:pt x="247612" y="313735"/>
                        </a:cubicBezTo>
                        <a:cubicBezTo>
                          <a:pt x="245179" y="309975"/>
                          <a:pt x="243489" y="305773"/>
                          <a:pt x="242623" y="301366"/>
                        </a:cubicBezTo>
                        <a:lnTo>
                          <a:pt x="239242" y="299593"/>
                        </a:lnTo>
                        <a:cubicBezTo>
                          <a:pt x="229141" y="294398"/>
                          <a:pt x="222750" y="283431"/>
                          <a:pt x="219205" y="272670"/>
                        </a:cubicBezTo>
                        <a:cubicBezTo>
                          <a:pt x="217967" y="268666"/>
                          <a:pt x="217431" y="264485"/>
                          <a:pt x="217555" y="260300"/>
                        </a:cubicBezTo>
                        <a:cubicBezTo>
                          <a:pt x="216483" y="256878"/>
                          <a:pt x="215535" y="253332"/>
                          <a:pt x="214751" y="249787"/>
                        </a:cubicBezTo>
                        <a:cubicBezTo>
                          <a:pt x="201929" y="241755"/>
                          <a:pt x="193724" y="228038"/>
                          <a:pt x="192734" y="212927"/>
                        </a:cubicBezTo>
                        <a:cubicBezTo>
                          <a:pt x="189189" y="211137"/>
                          <a:pt x="186179" y="208416"/>
                          <a:pt x="184035" y="205052"/>
                        </a:cubicBezTo>
                        <a:cubicBezTo>
                          <a:pt x="173974" y="189961"/>
                          <a:pt x="156782" y="197507"/>
                          <a:pt x="147917" y="198207"/>
                        </a:cubicBezTo>
                        <a:cubicBezTo>
                          <a:pt x="140166" y="198785"/>
                          <a:pt x="145897" y="183777"/>
                          <a:pt x="156905" y="172644"/>
                        </a:cubicBezTo>
                        <a:cubicBezTo>
                          <a:pt x="155421" y="167936"/>
                          <a:pt x="154514" y="163063"/>
                          <a:pt x="154267" y="158131"/>
                        </a:cubicBezTo>
                        <a:cubicBezTo>
                          <a:pt x="154349" y="140472"/>
                          <a:pt x="164574" y="124425"/>
                          <a:pt x="180530" y="116901"/>
                        </a:cubicBezTo>
                        <a:cubicBezTo>
                          <a:pt x="182839" y="112996"/>
                          <a:pt x="185602" y="109384"/>
                          <a:pt x="188776" y="106140"/>
                        </a:cubicBezTo>
                        <a:lnTo>
                          <a:pt x="189353" y="105686"/>
                        </a:lnTo>
                        <a:cubicBezTo>
                          <a:pt x="191085" y="99671"/>
                          <a:pt x="192240" y="93498"/>
                          <a:pt x="192776" y="87256"/>
                        </a:cubicBezTo>
                        <a:cubicBezTo>
                          <a:pt x="192776" y="75588"/>
                          <a:pt x="130600" y="76248"/>
                          <a:pt x="118561" y="83133"/>
                        </a:cubicBezTo>
                        <a:cubicBezTo>
                          <a:pt x="106521" y="90019"/>
                          <a:pt x="94853" y="72826"/>
                          <a:pt x="104913" y="68043"/>
                        </a:cubicBezTo>
                        <a:cubicBezTo>
                          <a:pt x="114974" y="63260"/>
                          <a:pt x="136331" y="39181"/>
                          <a:pt x="135136" y="29616"/>
                        </a:cubicBezTo>
                        <a:cubicBezTo>
                          <a:pt x="133940" y="20050"/>
                          <a:pt x="149978" y="11104"/>
                          <a:pt x="141072" y="2198"/>
                        </a:cubicBezTo>
                        <a:cubicBezTo>
                          <a:pt x="132167" y="-6708"/>
                          <a:pt x="130971" y="13825"/>
                          <a:pt x="123302" y="20710"/>
                        </a:cubicBezTo>
                        <a:cubicBezTo>
                          <a:pt x="115634" y="27596"/>
                          <a:pt x="98564" y="25534"/>
                          <a:pt x="80052" y="21411"/>
                        </a:cubicBezTo>
                        <a:cubicBezTo>
                          <a:pt x="77990" y="20937"/>
                          <a:pt x="75887" y="20937"/>
                          <a:pt x="73826" y="21411"/>
                        </a:cubicBezTo>
                        <a:cubicBezTo>
                          <a:pt x="71806" y="32622"/>
                          <a:pt x="65415" y="42583"/>
                          <a:pt x="56097" y="49118"/>
                        </a:cubicBezTo>
                        <a:cubicBezTo>
                          <a:pt x="55395" y="52895"/>
                          <a:pt x="55066" y="56737"/>
                          <a:pt x="55190" y="60580"/>
                        </a:cubicBezTo>
                        <a:cubicBezTo>
                          <a:pt x="55767" y="73609"/>
                          <a:pt x="33832" y="81195"/>
                          <a:pt x="37419" y="92121"/>
                        </a:cubicBezTo>
                        <a:cubicBezTo>
                          <a:pt x="41006" y="103047"/>
                          <a:pt x="33296" y="111335"/>
                          <a:pt x="27359" y="105109"/>
                        </a:cubicBezTo>
                        <a:cubicBezTo>
                          <a:pt x="21422" y="98883"/>
                          <a:pt x="14990" y="83875"/>
                          <a:pt x="3074" y="94843"/>
                        </a:cubicBezTo>
                        <a:cubicBezTo>
                          <a:pt x="-8841" y="105810"/>
                          <a:pt x="16680" y="120241"/>
                          <a:pt x="31936" y="122302"/>
                        </a:cubicBezTo>
                        <a:cubicBezTo>
                          <a:pt x="47191" y="124364"/>
                          <a:pt x="20144" y="137392"/>
                          <a:pt x="17175" y="156565"/>
                        </a:cubicBezTo>
                        <a:cubicBezTo>
                          <a:pt x="14206" y="175737"/>
                          <a:pt x="37296" y="167573"/>
                          <a:pt x="38450" y="181303"/>
                        </a:cubicBezTo>
                        <a:cubicBezTo>
                          <a:pt x="39604" y="195033"/>
                          <a:pt x="33708" y="198496"/>
                          <a:pt x="33708" y="198496"/>
                        </a:cubicBezTo>
                        <a:cubicBezTo>
                          <a:pt x="33708" y="198496"/>
                          <a:pt x="29008" y="230697"/>
                          <a:pt x="50200" y="226574"/>
                        </a:cubicBezTo>
                        <a:cubicBezTo>
                          <a:pt x="71393" y="222451"/>
                          <a:pt x="65580" y="188889"/>
                          <a:pt x="73290" y="190250"/>
                        </a:cubicBezTo>
                        <a:cubicBezTo>
                          <a:pt x="81000" y="191611"/>
                          <a:pt x="69744" y="208062"/>
                          <a:pt x="76258" y="222451"/>
                        </a:cubicBezTo>
                        <a:cubicBezTo>
                          <a:pt x="82773" y="236840"/>
                          <a:pt x="60879" y="258857"/>
                          <a:pt x="62034" y="269124"/>
                        </a:cubicBezTo>
                        <a:cubicBezTo>
                          <a:pt x="63188" y="279390"/>
                          <a:pt x="105862" y="279431"/>
                          <a:pt x="119468" y="262981"/>
                        </a:cubicBezTo>
                        <a:cubicBezTo>
                          <a:pt x="133074" y="246529"/>
                          <a:pt x="139630" y="264341"/>
                          <a:pt x="130146" y="276710"/>
                        </a:cubicBezTo>
                        <a:cubicBezTo>
                          <a:pt x="120664" y="289079"/>
                          <a:pt x="124828" y="300665"/>
                          <a:pt x="136702" y="305571"/>
                        </a:cubicBezTo>
                        <a:cubicBezTo>
                          <a:pt x="148577" y="310478"/>
                          <a:pt x="152658" y="311715"/>
                          <a:pt x="147340" y="322641"/>
                        </a:cubicBezTo>
                        <a:cubicBezTo>
                          <a:pt x="142021" y="333567"/>
                          <a:pt x="146721" y="354224"/>
                          <a:pt x="143794" y="364490"/>
                        </a:cubicBezTo>
                        <a:cubicBezTo>
                          <a:pt x="140867" y="374756"/>
                          <a:pt x="104089" y="373437"/>
                          <a:pt x="102934" y="366593"/>
                        </a:cubicBezTo>
                        <a:cubicBezTo>
                          <a:pt x="101780" y="359748"/>
                          <a:pt x="86442" y="364490"/>
                          <a:pt x="90565" y="374096"/>
                        </a:cubicBezTo>
                        <a:cubicBezTo>
                          <a:pt x="94688" y="383703"/>
                          <a:pt x="77536" y="394011"/>
                          <a:pt x="78732" y="402958"/>
                        </a:cubicBezTo>
                        <a:cubicBezTo>
                          <a:pt x="79928" y="411905"/>
                          <a:pt x="101780" y="409802"/>
                          <a:pt x="102398" y="420811"/>
                        </a:cubicBezTo>
                        <a:cubicBezTo>
                          <a:pt x="103017" y="431819"/>
                          <a:pt x="86401" y="444807"/>
                          <a:pt x="63930" y="452352"/>
                        </a:cubicBezTo>
                        <a:cubicBezTo>
                          <a:pt x="41460" y="459897"/>
                          <a:pt x="68631" y="480471"/>
                          <a:pt x="79309" y="471524"/>
                        </a:cubicBezTo>
                        <a:cubicBezTo>
                          <a:pt x="89988" y="462577"/>
                          <a:pt x="87555" y="477709"/>
                          <a:pt x="103017" y="477709"/>
                        </a:cubicBezTo>
                        <a:cubicBezTo>
                          <a:pt x="118478" y="477709"/>
                          <a:pt x="127755" y="492139"/>
                          <a:pt x="145030" y="484594"/>
                        </a:cubicBezTo>
                        <a:cubicBezTo>
                          <a:pt x="162306" y="477049"/>
                          <a:pt x="161523" y="484594"/>
                          <a:pt x="148577" y="496262"/>
                        </a:cubicBezTo>
                        <a:cubicBezTo>
                          <a:pt x="135630" y="507931"/>
                          <a:pt x="116046" y="495561"/>
                          <a:pt x="104171" y="503107"/>
                        </a:cubicBezTo>
                        <a:cubicBezTo>
                          <a:pt x="92297" y="510652"/>
                          <a:pt x="44140" y="562973"/>
                          <a:pt x="53252" y="575837"/>
                        </a:cubicBezTo>
                        <a:cubicBezTo>
                          <a:pt x="58612" y="583382"/>
                          <a:pt x="65621" y="564870"/>
                          <a:pt x="82855" y="556624"/>
                        </a:cubicBezTo>
                        <a:cubicBezTo>
                          <a:pt x="92008" y="552253"/>
                          <a:pt x="97121" y="554067"/>
                          <a:pt x="101326" y="556954"/>
                        </a:cubicBezTo>
                        <a:cubicBezTo>
                          <a:pt x="105326" y="550056"/>
                          <a:pt x="110851" y="544197"/>
                          <a:pt x="117530" y="539843"/>
                        </a:cubicBezTo>
                        <a:cubicBezTo>
                          <a:pt x="127673" y="533819"/>
                          <a:pt x="139836" y="532182"/>
                          <a:pt x="151215" y="535308"/>
                        </a:cubicBezTo>
                        <a:cubicBezTo>
                          <a:pt x="153524" y="536013"/>
                          <a:pt x="155792" y="536911"/>
                          <a:pt x="157977" y="537988"/>
                        </a:cubicBezTo>
                        <a:lnTo>
                          <a:pt x="159255" y="537988"/>
                        </a:lnTo>
                        <a:cubicBezTo>
                          <a:pt x="170799" y="540193"/>
                          <a:pt x="182633" y="536297"/>
                          <a:pt x="190632" y="527680"/>
                        </a:cubicBezTo>
                        <a:cubicBezTo>
                          <a:pt x="197764" y="520836"/>
                          <a:pt x="216689" y="541368"/>
                          <a:pt x="222626" y="536586"/>
                        </a:cubicBezTo>
                        <a:cubicBezTo>
                          <a:pt x="228563" y="531803"/>
                          <a:pt x="254621" y="526278"/>
                          <a:pt x="267650" y="526979"/>
                        </a:cubicBezTo>
                        <a:cubicBezTo>
                          <a:pt x="280679" y="527680"/>
                          <a:pt x="314406" y="509827"/>
                          <a:pt x="323270" y="500220"/>
                        </a:cubicBezTo>
                        <a:cubicBezTo>
                          <a:pt x="332134" y="490614"/>
                          <a:pt x="317951" y="488593"/>
                          <a:pt x="306159" y="490655"/>
                        </a:cubicBezTo>
                        <a:cubicBezTo>
                          <a:pt x="294368" y="492717"/>
                          <a:pt x="296635" y="476925"/>
                          <a:pt x="309087" y="463196"/>
                        </a:cubicBezTo>
                        <a:cubicBezTo>
                          <a:pt x="321538" y="449466"/>
                          <a:pt x="341082" y="439199"/>
                          <a:pt x="342277" y="418626"/>
                        </a:cubicBezTo>
                        <a:lnTo>
                          <a:pt x="342277" y="418626"/>
                        </a:lnTo>
                        <a:cubicBezTo>
                          <a:pt x="340051" y="416605"/>
                          <a:pt x="337288" y="415162"/>
                          <a:pt x="334485" y="413884"/>
                        </a:cubicBez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>
                    <a:defPPr>
                      <a:defRPr lang="en-US"/>
                    </a:defPPr>
                  </a:lstStyle>
                  <a:p>
                    <a:pPr marL="0" marR="0" lvl="0" indent="0" algn="l" defTabSz="1462923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normalizeH="0" noProof="0">
                        <a:solidFill>
                          <a:srgbClr val="000000"/>
                        </a:solidFill>
                        <a:uLnTx/>
                        <a:uFillTx/>
                        <a:latin typeface="+mn-lt"/>
                        <a:ea typeface="+mn-ea"/>
                        <a:cs typeface="+mn-cs"/>
                      </a:defRPr>
                    </a:pPr>
                    <a:endParaRPr kumimoji="0" lang="en-US" sz="288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itchFamily="34" charset="0"/>
                      <a:cs typeface="Arial" pitchFamily="34" charset="0"/>
                    </a:endParaRPr>
                  </a:p>
                </p:txBody>
              </p:sp>
            </p:grpSp>
            <p:sp>
              <p:nvSpPr>
                <p:cNvPr id="473" name="Ukraine">
                  <a:extLst>
                    <a:ext uri="{FF2B5EF4-FFF2-40B4-BE49-F238E27FC236}">
                      <a16:creationId xmlns:a16="http://schemas.microsoft.com/office/drawing/2014/main" id="{BAC5AE86-121D-CFB9-A79F-9A54552B74C5}"/>
                    </a:ext>
                  </a:extLst>
                </p:cNvPr>
                <p:cNvSpPr/>
                <p:nvPr>
                  <p:custDataLst>
                    <p:tags r:id="rId49"/>
                  </p:custDataLst>
                </p:nvPr>
              </p:nvSpPr>
              <p:spPr>
                <a:xfrm>
                  <a:off x="8338531" y="3746837"/>
                  <a:ext cx="944285" cy="628978"/>
                </a:xfrm>
                <a:custGeom>
                  <a:avLst/>
                  <a:gdLst>
                    <a:gd name="connsiteX0" fmla="*/ 635321 w 713656"/>
                    <a:gd name="connsiteY0" fmla="*/ 297667 h 475358"/>
                    <a:gd name="connsiteX1" fmla="*/ 666408 w 713656"/>
                    <a:gd name="connsiteY1" fmla="*/ 272928 h 475358"/>
                    <a:gd name="connsiteX2" fmla="*/ 699393 w 713656"/>
                    <a:gd name="connsiteY2" fmla="*/ 274000 h 475358"/>
                    <a:gd name="connsiteX3" fmla="*/ 706526 w 713656"/>
                    <a:gd name="connsiteY3" fmla="*/ 246211 h 475358"/>
                    <a:gd name="connsiteX4" fmla="*/ 697661 w 713656"/>
                    <a:gd name="connsiteY4" fmla="*/ 228688 h 475358"/>
                    <a:gd name="connsiteX5" fmla="*/ 711845 w 713656"/>
                    <a:gd name="connsiteY5" fmla="*/ 217391 h 475358"/>
                    <a:gd name="connsiteX6" fmla="*/ 702072 w 713656"/>
                    <a:gd name="connsiteY6" fmla="*/ 204032 h 475358"/>
                    <a:gd name="connsiteX7" fmla="*/ 713617 w 713656"/>
                    <a:gd name="connsiteY7" fmla="*/ 184489 h 475358"/>
                    <a:gd name="connsiteX8" fmla="*/ 690528 w 713656"/>
                    <a:gd name="connsiteY8" fmla="*/ 167997 h 475358"/>
                    <a:gd name="connsiteX9" fmla="*/ 656760 w 713656"/>
                    <a:gd name="connsiteY9" fmla="*/ 157689 h 475358"/>
                    <a:gd name="connsiteX10" fmla="*/ 623776 w 713656"/>
                    <a:gd name="connsiteY10" fmla="*/ 151505 h 475358"/>
                    <a:gd name="connsiteX11" fmla="*/ 606006 w 713656"/>
                    <a:gd name="connsiteY11" fmla="*/ 126766 h 475358"/>
                    <a:gd name="connsiteX12" fmla="*/ 583824 w 713656"/>
                    <a:gd name="connsiteY12" fmla="*/ 128828 h 475358"/>
                    <a:gd name="connsiteX13" fmla="*/ 563209 w 713656"/>
                    <a:gd name="connsiteY13" fmla="*/ 130889 h 475358"/>
                    <a:gd name="connsiteX14" fmla="*/ 543665 w 713656"/>
                    <a:gd name="connsiteY14" fmla="*/ 120582 h 475358"/>
                    <a:gd name="connsiteX15" fmla="*/ 528575 w 713656"/>
                    <a:gd name="connsiteY15" fmla="*/ 111346 h 475358"/>
                    <a:gd name="connsiteX16" fmla="*/ 510805 w 713656"/>
                    <a:gd name="connsiteY16" fmla="*/ 75352 h 475358"/>
                    <a:gd name="connsiteX17" fmla="*/ 481489 w 713656"/>
                    <a:gd name="connsiteY17" fmla="*/ 67106 h 475358"/>
                    <a:gd name="connsiteX18" fmla="*/ 472584 w 713656"/>
                    <a:gd name="connsiteY18" fmla="*/ 41378 h 475358"/>
                    <a:gd name="connsiteX19" fmla="*/ 467265 w 713656"/>
                    <a:gd name="connsiteY19" fmla="*/ 6373 h 475358"/>
                    <a:gd name="connsiteX20" fmla="*/ 434281 w 713656"/>
                    <a:gd name="connsiteY20" fmla="*/ 2250 h 475358"/>
                    <a:gd name="connsiteX21" fmla="*/ 407605 w 713656"/>
                    <a:gd name="connsiteY21" fmla="*/ 3240 h 475358"/>
                    <a:gd name="connsiteX22" fmla="*/ 388969 w 713656"/>
                    <a:gd name="connsiteY22" fmla="*/ 14578 h 475358"/>
                    <a:gd name="connsiteX23" fmla="*/ 378001 w 713656"/>
                    <a:gd name="connsiteY23" fmla="*/ 9260 h 475358"/>
                    <a:gd name="connsiteX24" fmla="*/ 352273 w 713656"/>
                    <a:gd name="connsiteY24" fmla="*/ 15279 h 475358"/>
                    <a:gd name="connsiteX25" fmla="*/ 328525 w 713656"/>
                    <a:gd name="connsiteY25" fmla="*/ 45419 h 475358"/>
                    <a:gd name="connsiteX26" fmla="*/ 321433 w 713656"/>
                    <a:gd name="connsiteY26" fmla="*/ 60550 h 475358"/>
                    <a:gd name="connsiteX27" fmla="*/ 284738 w 713656"/>
                    <a:gd name="connsiteY27" fmla="*/ 57788 h 475358"/>
                    <a:gd name="connsiteX28" fmla="*/ 258680 w 713656"/>
                    <a:gd name="connsiteY28" fmla="*/ 48222 h 475358"/>
                    <a:gd name="connsiteX29" fmla="*/ 232581 w 713656"/>
                    <a:gd name="connsiteY29" fmla="*/ 45419 h 475358"/>
                    <a:gd name="connsiteX30" fmla="*/ 205369 w 713656"/>
                    <a:gd name="connsiteY30" fmla="*/ 41296 h 475358"/>
                    <a:gd name="connsiteX31" fmla="*/ 168633 w 713656"/>
                    <a:gd name="connsiteY31" fmla="*/ 34410 h 475358"/>
                    <a:gd name="connsiteX32" fmla="*/ 99943 w 713656"/>
                    <a:gd name="connsiteY32" fmla="*/ 24804 h 475358"/>
                    <a:gd name="connsiteX33" fmla="*/ 73885 w 713656"/>
                    <a:gd name="connsiteY33" fmla="*/ 42656 h 475358"/>
                    <a:gd name="connsiteX34" fmla="*/ 52446 w 713656"/>
                    <a:gd name="connsiteY34" fmla="*/ 48222 h 475358"/>
                    <a:gd name="connsiteX35" fmla="*/ 55826 w 713656"/>
                    <a:gd name="connsiteY35" fmla="*/ 63931 h 475358"/>
                    <a:gd name="connsiteX36" fmla="*/ 71782 w 713656"/>
                    <a:gd name="connsiteY36" fmla="*/ 109285 h 475358"/>
                    <a:gd name="connsiteX37" fmla="*/ 54012 w 713656"/>
                    <a:gd name="connsiteY37" fmla="*/ 125777 h 475358"/>
                    <a:gd name="connsiteX38" fmla="*/ 16905 w 713656"/>
                    <a:gd name="connsiteY38" fmla="*/ 170017 h 475358"/>
                    <a:gd name="connsiteX39" fmla="*/ 17771 w 713656"/>
                    <a:gd name="connsiteY39" fmla="*/ 201930 h 475358"/>
                    <a:gd name="connsiteX40" fmla="*/ 1 w 713656"/>
                    <a:gd name="connsiteY40" fmla="*/ 235862 h 475358"/>
                    <a:gd name="connsiteX41" fmla="*/ 17771 w 713656"/>
                    <a:gd name="connsiteY41" fmla="*/ 258498 h 475358"/>
                    <a:gd name="connsiteX42" fmla="*/ 24285 w 713656"/>
                    <a:gd name="connsiteY42" fmla="*/ 263816 h 475358"/>
                    <a:gd name="connsiteX43" fmla="*/ 39747 w 713656"/>
                    <a:gd name="connsiteY43" fmla="*/ 262291 h 475358"/>
                    <a:gd name="connsiteX44" fmla="*/ 79946 w 713656"/>
                    <a:gd name="connsiteY44" fmla="*/ 270537 h 475358"/>
                    <a:gd name="connsiteX45" fmla="*/ 103654 w 713656"/>
                    <a:gd name="connsiteY45" fmla="*/ 278783 h 475358"/>
                    <a:gd name="connsiteX46" fmla="*/ 121424 w 713656"/>
                    <a:gd name="connsiteY46" fmla="*/ 273258 h 475358"/>
                    <a:gd name="connsiteX47" fmla="*/ 141586 w 713656"/>
                    <a:gd name="connsiteY47" fmla="*/ 270537 h 475358"/>
                    <a:gd name="connsiteX48" fmla="*/ 164097 w 713656"/>
                    <a:gd name="connsiteY48" fmla="*/ 256807 h 475358"/>
                    <a:gd name="connsiteX49" fmla="*/ 212626 w 713656"/>
                    <a:gd name="connsiteY49" fmla="*/ 237594 h 475358"/>
                    <a:gd name="connsiteX50" fmla="*/ 244621 w 713656"/>
                    <a:gd name="connsiteY50" fmla="*/ 258209 h 475358"/>
                    <a:gd name="connsiteX51" fmla="*/ 273070 w 713656"/>
                    <a:gd name="connsiteY51" fmla="*/ 282947 h 475358"/>
                    <a:gd name="connsiteX52" fmla="*/ 297808 w 713656"/>
                    <a:gd name="connsiteY52" fmla="*/ 329579 h 475358"/>
                    <a:gd name="connsiteX53" fmla="*/ 307250 w 713656"/>
                    <a:gd name="connsiteY53" fmla="*/ 359760 h 475358"/>
                    <a:gd name="connsiteX54" fmla="*/ 279996 w 713656"/>
                    <a:gd name="connsiteY54" fmla="*/ 354276 h 475358"/>
                    <a:gd name="connsiteX55" fmla="*/ 264617 w 713656"/>
                    <a:gd name="connsiteY55" fmla="*/ 374891 h 475358"/>
                    <a:gd name="connsiteX56" fmla="*/ 240951 w 713656"/>
                    <a:gd name="connsiteY56" fmla="*/ 417441 h 475358"/>
                    <a:gd name="connsiteX57" fmla="*/ 256371 w 713656"/>
                    <a:gd name="connsiteY57" fmla="*/ 428367 h 475358"/>
                    <a:gd name="connsiteX58" fmla="*/ 278842 w 713656"/>
                    <a:gd name="connsiteY58" fmla="*/ 417441 h 475358"/>
                    <a:gd name="connsiteX59" fmla="*/ 292943 w 713656"/>
                    <a:gd name="connsiteY59" fmla="*/ 428945 h 475358"/>
                    <a:gd name="connsiteX60" fmla="*/ 311991 w 713656"/>
                    <a:gd name="connsiteY60" fmla="*/ 394146 h 475358"/>
                    <a:gd name="connsiteX61" fmla="*/ 346336 w 713656"/>
                    <a:gd name="connsiteY61" fmla="*/ 347473 h 475358"/>
                    <a:gd name="connsiteX62" fmla="*/ 390782 w 713656"/>
                    <a:gd name="connsiteY62" fmla="*/ 339928 h 475358"/>
                    <a:gd name="connsiteX63" fmla="*/ 394905 w 713656"/>
                    <a:gd name="connsiteY63" fmla="*/ 370067 h 475358"/>
                    <a:gd name="connsiteX64" fmla="*/ 460091 w 713656"/>
                    <a:gd name="connsiteY64" fmla="*/ 381076 h 475358"/>
                    <a:gd name="connsiteX65" fmla="*/ 406780 w 713656"/>
                    <a:gd name="connsiteY65" fmla="*/ 415380 h 475358"/>
                    <a:gd name="connsiteX66" fmla="*/ 447062 w 713656"/>
                    <a:gd name="connsiteY66" fmla="*/ 436613 h 475358"/>
                    <a:gd name="connsiteX67" fmla="*/ 448835 w 713656"/>
                    <a:gd name="connsiteY67" fmla="*/ 472319 h 475358"/>
                    <a:gd name="connsiteX68" fmla="*/ 481407 w 713656"/>
                    <a:gd name="connsiteY68" fmla="*/ 463372 h 475358"/>
                    <a:gd name="connsiteX69" fmla="*/ 519875 w 713656"/>
                    <a:gd name="connsiteY69" fmla="*/ 444200 h 475358"/>
                    <a:gd name="connsiteX70" fmla="*/ 573227 w 713656"/>
                    <a:gd name="connsiteY70" fmla="*/ 435294 h 475358"/>
                    <a:gd name="connsiteX71" fmla="*/ 532904 w 713656"/>
                    <a:gd name="connsiteY71" fmla="*/ 422925 h 475358"/>
                    <a:gd name="connsiteX72" fmla="*/ 500332 w 713656"/>
                    <a:gd name="connsiteY72" fmla="*/ 385158 h 475358"/>
                    <a:gd name="connsiteX73" fmla="*/ 550674 w 713656"/>
                    <a:gd name="connsiteY73" fmla="*/ 348050 h 475358"/>
                    <a:gd name="connsiteX74" fmla="*/ 601635 w 713656"/>
                    <a:gd name="connsiteY74" fmla="*/ 330198 h 475358"/>
                    <a:gd name="connsiteX75" fmla="*/ 634207 w 713656"/>
                    <a:gd name="connsiteY75" fmla="*/ 319601 h 475358"/>
                    <a:gd name="connsiteX76" fmla="*/ 635321 w 713656"/>
                    <a:gd name="connsiteY76" fmla="*/ 297667 h 4753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</a:cxnLst>
                  <a:rect l="l" t="t" r="r" b="b"/>
                  <a:pathLst>
                    <a:path w="713656" h="475358">
                      <a:moveTo>
                        <a:pt x="635321" y="297667"/>
                      </a:moveTo>
                      <a:cubicBezTo>
                        <a:pt x="641546" y="296677"/>
                        <a:pt x="660059" y="272928"/>
                        <a:pt x="666408" y="272928"/>
                      </a:cubicBezTo>
                      <a:cubicBezTo>
                        <a:pt x="672758" y="272928"/>
                        <a:pt x="699393" y="279113"/>
                        <a:pt x="699393" y="274000"/>
                      </a:cubicBezTo>
                      <a:cubicBezTo>
                        <a:pt x="699393" y="268888"/>
                        <a:pt x="708298" y="251365"/>
                        <a:pt x="706526" y="246211"/>
                      </a:cubicBezTo>
                      <a:cubicBezTo>
                        <a:pt x="704753" y="241057"/>
                        <a:pt x="695847" y="233842"/>
                        <a:pt x="697661" y="228688"/>
                      </a:cubicBezTo>
                      <a:cubicBezTo>
                        <a:pt x="699475" y="223534"/>
                        <a:pt x="711845" y="223576"/>
                        <a:pt x="711845" y="217391"/>
                      </a:cubicBezTo>
                      <a:cubicBezTo>
                        <a:pt x="711845" y="211207"/>
                        <a:pt x="702072" y="208114"/>
                        <a:pt x="702072" y="204032"/>
                      </a:cubicBezTo>
                      <a:cubicBezTo>
                        <a:pt x="702072" y="199950"/>
                        <a:pt x="714442" y="192694"/>
                        <a:pt x="713617" y="184489"/>
                      </a:cubicBezTo>
                      <a:cubicBezTo>
                        <a:pt x="712793" y="176284"/>
                        <a:pt x="702072" y="175212"/>
                        <a:pt x="690528" y="167997"/>
                      </a:cubicBezTo>
                      <a:cubicBezTo>
                        <a:pt x="678983" y="160782"/>
                        <a:pt x="667439" y="163874"/>
                        <a:pt x="656760" y="157689"/>
                      </a:cubicBezTo>
                      <a:cubicBezTo>
                        <a:pt x="646082" y="151505"/>
                        <a:pt x="623776" y="155628"/>
                        <a:pt x="623776" y="151505"/>
                      </a:cubicBezTo>
                      <a:cubicBezTo>
                        <a:pt x="623776" y="147382"/>
                        <a:pt x="609552" y="134023"/>
                        <a:pt x="606006" y="126766"/>
                      </a:cubicBezTo>
                      <a:cubicBezTo>
                        <a:pt x="602460" y="119510"/>
                        <a:pt x="590915" y="123674"/>
                        <a:pt x="583824" y="128828"/>
                      </a:cubicBezTo>
                      <a:cubicBezTo>
                        <a:pt x="576732" y="133982"/>
                        <a:pt x="570465" y="136002"/>
                        <a:pt x="563209" y="130889"/>
                      </a:cubicBezTo>
                      <a:cubicBezTo>
                        <a:pt x="555952" y="125777"/>
                        <a:pt x="549891" y="117490"/>
                        <a:pt x="543665" y="120582"/>
                      </a:cubicBezTo>
                      <a:cubicBezTo>
                        <a:pt x="537439" y="123674"/>
                        <a:pt x="525895" y="121613"/>
                        <a:pt x="528575" y="111346"/>
                      </a:cubicBezTo>
                      <a:cubicBezTo>
                        <a:pt x="531255" y="101080"/>
                        <a:pt x="517031" y="78362"/>
                        <a:pt x="510805" y="75352"/>
                      </a:cubicBezTo>
                      <a:cubicBezTo>
                        <a:pt x="504579" y="72342"/>
                        <a:pt x="486066" y="77372"/>
                        <a:pt x="481489" y="67106"/>
                      </a:cubicBezTo>
                      <a:cubicBezTo>
                        <a:pt x="476913" y="56840"/>
                        <a:pt x="469120" y="48552"/>
                        <a:pt x="472584" y="41378"/>
                      </a:cubicBezTo>
                      <a:cubicBezTo>
                        <a:pt x="476047" y="34204"/>
                        <a:pt x="471718" y="14619"/>
                        <a:pt x="467265" y="6373"/>
                      </a:cubicBezTo>
                      <a:cubicBezTo>
                        <a:pt x="462812" y="-1873"/>
                        <a:pt x="440630" y="-801"/>
                        <a:pt x="434281" y="2250"/>
                      </a:cubicBezTo>
                      <a:cubicBezTo>
                        <a:pt x="427931" y="5302"/>
                        <a:pt x="413666" y="-842"/>
                        <a:pt x="407605" y="3240"/>
                      </a:cubicBezTo>
                      <a:cubicBezTo>
                        <a:pt x="401544" y="7322"/>
                        <a:pt x="397874" y="14578"/>
                        <a:pt x="388969" y="14578"/>
                      </a:cubicBezTo>
                      <a:cubicBezTo>
                        <a:pt x="384557" y="15246"/>
                        <a:pt x="380186" y="13131"/>
                        <a:pt x="378001" y="9260"/>
                      </a:cubicBezTo>
                      <a:cubicBezTo>
                        <a:pt x="369838" y="12698"/>
                        <a:pt x="361138" y="14735"/>
                        <a:pt x="352273" y="15279"/>
                      </a:cubicBezTo>
                      <a:cubicBezTo>
                        <a:pt x="352273" y="15279"/>
                        <a:pt x="328525" y="37214"/>
                        <a:pt x="328525" y="45419"/>
                      </a:cubicBezTo>
                      <a:cubicBezTo>
                        <a:pt x="328525" y="53624"/>
                        <a:pt x="327411" y="67395"/>
                        <a:pt x="321433" y="60550"/>
                      </a:cubicBezTo>
                      <a:cubicBezTo>
                        <a:pt x="315455" y="53706"/>
                        <a:pt x="290675" y="53665"/>
                        <a:pt x="284738" y="57788"/>
                      </a:cubicBezTo>
                      <a:cubicBezTo>
                        <a:pt x="278801" y="61911"/>
                        <a:pt x="269318" y="41296"/>
                        <a:pt x="258680" y="48222"/>
                      </a:cubicBezTo>
                      <a:cubicBezTo>
                        <a:pt x="248043" y="55149"/>
                        <a:pt x="233942" y="38574"/>
                        <a:pt x="232581" y="45419"/>
                      </a:cubicBezTo>
                      <a:cubicBezTo>
                        <a:pt x="231221" y="52263"/>
                        <a:pt x="216089" y="46820"/>
                        <a:pt x="205369" y="41296"/>
                      </a:cubicBezTo>
                      <a:cubicBezTo>
                        <a:pt x="194649" y="35771"/>
                        <a:pt x="175725" y="44058"/>
                        <a:pt x="168633" y="34410"/>
                      </a:cubicBezTo>
                      <a:cubicBezTo>
                        <a:pt x="161541" y="24762"/>
                        <a:pt x="115322" y="24804"/>
                        <a:pt x="99943" y="24804"/>
                      </a:cubicBezTo>
                      <a:cubicBezTo>
                        <a:pt x="84564" y="24804"/>
                        <a:pt x="80977" y="34410"/>
                        <a:pt x="73885" y="42656"/>
                      </a:cubicBezTo>
                      <a:cubicBezTo>
                        <a:pt x="67453" y="50160"/>
                        <a:pt x="59991" y="48594"/>
                        <a:pt x="52446" y="48222"/>
                      </a:cubicBezTo>
                      <a:cubicBezTo>
                        <a:pt x="52693" y="53611"/>
                        <a:pt x="53806" y="58922"/>
                        <a:pt x="55826" y="63931"/>
                      </a:cubicBezTo>
                      <a:cubicBezTo>
                        <a:pt x="59372" y="70116"/>
                        <a:pt x="76441" y="99925"/>
                        <a:pt x="71782" y="109285"/>
                      </a:cubicBezTo>
                      <a:cubicBezTo>
                        <a:pt x="67123" y="118644"/>
                        <a:pt x="59413" y="118520"/>
                        <a:pt x="54012" y="125777"/>
                      </a:cubicBezTo>
                      <a:cubicBezTo>
                        <a:pt x="48611" y="133034"/>
                        <a:pt x="17606" y="164905"/>
                        <a:pt x="16905" y="170017"/>
                      </a:cubicBezTo>
                      <a:cubicBezTo>
                        <a:pt x="16204" y="175130"/>
                        <a:pt x="22224" y="197807"/>
                        <a:pt x="17771" y="201930"/>
                      </a:cubicBezTo>
                      <a:cubicBezTo>
                        <a:pt x="13318" y="206053"/>
                        <a:pt x="1" y="227657"/>
                        <a:pt x="1" y="235862"/>
                      </a:cubicBezTo>
                      <a:cubicBezTo>
                        <a:pt x="1" y="244067"/>
                        <a:pt x="9772" y="255405"/>
                        <a:pt x="17771" y="258498"/>
                      </a:cubicBezTo>
                      <a:cubicBezTo>
                        <a:pt x="20533" y="259372"/>
                        <a:pt x="22883" y="261272"/>
                        <a:pt x="24285" y="263816"/>
                      </a:cubicBezTo>
                      <a:cubicBezTo>
                        <a:pt x="29398" y="262963"/>
                        <a:pt x="34552" y="262456"/>
                        <a:pt x="39747" y="262291"/>
                      </a:cubicBezTo>
                      <a:cubicBezTo>
                        <a:pt x="45642" y="262291"/>
                        <a:pt x="71700" y="270537"/>
                        <a:pt x="79946" y="270537"/>
                      </a:cubicBezTo>
                      <a:cubicBezTo>
                        <a:pt x="88193" y="270537"/>
                        <a:pt x="100108" y="274660"/>
                        <a:pt x="103654" y="278783"/>
                      </a:cubicBezTo>
                      <a:cubicBezTo>
                        <a:pt x="107200" y="282906"/>
                        <a:pt x="115487" y="280144"/>
                        <a:pt x="121424" y="273258"/>
                      </a:cubicBezTo>
                      <a:cubicBezTo>
                        <a:pt x="127361" y="266373"/>
                        <a:pt x="134453" y="270537"/>
                        <a:pt x="141586" y="270537"/>
                      </a:cubicBezTo>
                      <a:cubicBezTo>
                        <a:pt x="150739" y="269453"/>
                        <a:pt x="158944" y="264439"/>
                        <a:pt x="164097" y="256807"/>
                      </a:cubicBezTo>
                      <a:cubicBezTo>
                        <a:pt x="167643" y="249963"/>
                        <a:pt x="203184" y="238955"/>
                        <a:pt x="212626" y="237594"/>
                      </a:cubicBezTo>
                      <a:cubicBezTo>
                        <a:pt x="222068" y="236233"/>
                        <a:pt x="236333" y="258209"/>
                        <a:pt x="244621" y="258209"/>
                      </a:cubicBezTo>
                      <a:cubicBezTo>
                        <a:pt x="258433" y="259450"/>
                        <a:pt x="269936" y="269424"/>
                        <a:pt x="273070" y="282947"/>
                      </a:cubicBezTo>
                      <a:cubicBezTo>
                        <a:pt x="278471" y="299848"/>
                        <a:pt x="286841" y="315643"/>
                        <a:pt x="297808" y="329579"/>
                      </a:cubicBezTo>
                      <a:cubicBezTo>
                        <a:pt x="303704" y="336464"/>
                        <a:pt x="307250" y="354317"/>
                        <a:pt x="307250" y="359760"/>
                      </a:cubicBezTo>
                      <a:cubicBezTo>
                        <a:pt x="307250" y="365202"/>
                        <a:pt x="294221" y="358399"/>
                        <a:pt x="279996" y="354276"/>
                      </a:cubicBezTo>
                      <a:cubicBezTo>
                        <a:pt x="265772" y="350153"/>
                        <a:pt x="264617" y="366645"/>
                        <a:pt x="264617" y="374891"/>
                      </a:cubicBezTo>
                      <a:cubicBezTo>
                        <a:pt x="264617" y="383137"/>
                        <a:pt x="244497" y="411999"/>
                        <a:pt x="240951" y="417441"/>
                      </a:cubicBezTo>
                      <a:cubicBezTo>
                        <a:pt x="237405" y="422884"/>
                        <a:pt x="248084" y="427048"/>
                        <a:pt x="256371" y="428367"/>
                      </a:cubicBezTo>
                      <a:cubicBezTo>
                        <a:pt x="259876" y="428986"/>
                        <a:pt x="274101" y="417441"/>
                        <a:pt x="278842" y="417441"/>
                      </a:cubicBezTo>
                      <a:cubicBezTo>
                        <a:pt x="280780" y="417441"/>
                        <a:pt x="286676" y="422719"/>
                        <a:pt x="292943" y="428945"/>
                      </a:cubicBezTo>
                      <a:cubicBezTo>
                        <a:pt x="291623" y="407505"/>
                        <a:pt x="295458" y="408700"/>
                        <a:pt x="311991" y="394146"/>
                      </a:cubicBezTo>
                      <a:cubicBezTo>
                        <a:pt x="329184" y="379056"/>
                        <a:pt x="330958" y="350936"/>
                        <a:pt x="346336" y="347473"/>
                      </a:cubicBezTo>
                      <a:cubicBezTo>
                        <a:pt x="361715" y="344010"/>
                        <a:pt x="368271" y="335805"/>
                        <a:pt x="390782" y="339928"/>
                      </a:cubicBezTo>
                      <a:cubicBezTo>
                        <a:pt x="413295" y="344051"/>
                        <a:pt x="379527" y="360543"/>
                        <a:pt x="394905" y="370067"/>
                      </a:cubicBezTo>
                      <a:cubicBezTo>
                        <a:pt x="410285" y="379592"/>
                        <a:pt x="457700" y="367387"/>
                        <a:pt x="460091" y="381076"/>
                      </a:cubicBezTo>
                      <a:cubicBezTo>
                        <a:pt x="462482" y="394764"/>
                        <a:pt x="405585" y="408535"/>
                        <a:pt x="406780" y="415380"/>
                      </a:cubicBezTo>
                      <a:cubicBezTo>
                        <a:pt x="407976" y="422224"/>
                        <a:pt x="437002" y="429109"/>
                        <a:pt x="447062" y="436613"/>
                      </a:cubicBezTo>
                      <a:cubicBezTo>
                        <a:pt x="457123" y="444117"/>
                        <a:pt x="444094" y="465475"/>
                        <a:pt x="448835" y="472319"/>
                      </a:cubicBezTo>
                      <a:cubicBezTo>
                        <a:pt x="453577" y="479163"/>
                        <a:pt x="468956" y="473680"/>
                        <a:pt x="481407" y="463372"/>
                      </a:cubicBezTo>
                      <a:cubicBezTo>
                        <a:pt x="493859" y="453064"/>
                        <a:pt x="503919" y="456528"/>
                        <a:pt x="519875" y="444200"/>
                      </a:cubicBezTo>
                      <a:cubicBezTo>
                        <a:pt x="535831" y="431872"/>
                        <a:pt x="569022" y="442798"/>
                        <a:pt x="573227" y="435294"/>
                      </a:cubicBezTo>
                      <a:cubicBezTo>
                        <a:pt x="577433" y="427790"/>
                        <a:pt x="563703" y="420204"/>
                        <a:pt x="532904" y="422925"/>
                      </a:cubicBezTo>
                      <a:cubicBezTo>
                        <a:pt x="502105" y="425646"/>
                        <a:pt x="500332" y="392043"/>
                        <a:pt x="500332" y="385158"/>
                      </a:cubicBezTo>
                      <a:cubicBezTo>
                        <a:pt x="500332" y="378272"/>
                        <a:pt x="532327" y="350194"/>
                        <a:pt x="550674" y="348050"/>
                      </a:cubicBezTo>
                      <a:cubicBezTo>
                        <a:pt x="569022" y="345906"/>
                        <a:pt x="583659" y="339804"/>
                        <a:pt x="601635" y="330198"/>
                      </a:cubicBezTo>
                      <a:cubicBezTo>
                        <a:pt x="612025" y="325353"/>
                        <a:pt x="622951" y="321795"/>
                        <a:pt x="634207" y="319601"/>
                      </a:cubicBezTo>
                      <a:cubicBezTo>
                        <a:pt x="632517" y="310036"/>
                        <a:pt x="630043" y="298450"/>
                        <a:pt x="635321" y="297667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74" name="Switzerland">
                  <a:extLst>
                    <a:ext uri="{FF2B5EF4-FFF2-40B4-BE49-F238E27FC236}">
                      <a16:creationId xmlns:a16="http://schemas.microsoft.com/office/drawing/2014/main" id="{84CF7083-BD19-A652-573D-67C479DB138E}"/>
                    </a:ext>
                  </a:extLst>
                </p:cNvPr>
                <p:cNvSpPr/>
                <p:nvPr>
                  <p:custDataLst>
                    <p:tags r:id="rId50"/>
                  </p:custDataLst>
                </p:nvPr>
              </p:nvSpPr>
              <p:spPr>
                <a:xfrm>
                  <a:off x="7510652" y="4128250"/>
                  <a:ext cx="236994" cy="145624"/>
                </a:xfrm>
                <a:custGeom>
                  <a:avLst/>
                  <a:gdLst>
                    <a:gd name="connsiteX0" fmla="*/ 159446 w 179112"/>
                    <a:gd name="connsiteY0" fmla="*/ 46517 h 110056"/>
                    <a:gd name="connsiteX1" fmla="*/ 138830 w 179112"/>
                    <a:gd name="connsiteY1" fmla="*/ 34148 h 110056"/>
                    <a:gd name="connsiteX2" fmla="*/ 138830 w 179112"/>
                    <a:gd name="connsiteY2" fmla="*/ 14646 h 110056"/>
                    <a:gd name="connsiteX3" fmla="*/ 115700 w 179112"/>
                    <a:gd name="connsiteY3" fmla="*/ 2936 h 110056"/>
                    <a:gd name="connsiteX4" fmla="*/ 88447 w 179112"/>
                    <a:gd name="connsiteY4" fmla="*/ 4297 h 110056"/>
                    <a:gd name="connsiteX5" fmla="*/ 54473 w 179112"/>
                    <a:gd name="connsiteY5" fmla="*/ 5657 h 110056"/>
                    <a:gd name="connsiteX6" fmla="*/ 49072 w 179112"/>
                    <a:gd name="connsiteY6" fmla="*/ 12502 h 110056"/>
                    <a:gd name="connsiteX7" fmla="*/ 28457 w 179112"/>
                    <a:gd name="connsiteY7" fmla="*/ 32086 h 110056"/>
                    <a:gd name="connsiteX8" fmla="*/ 2688 w 179112"/>
                    <a:gd name="connsiteY8" fmla="*/ 69193 h 110056"/>
                    <a:gd name="connsiteX9" fmla="*/ 8047 w 179112"/>
                    <a:gd name="connsiteY9" fmla="*/ 84614 h 110056"/>
                    <a:gd name="connsiteX10" fmla="*/ 25818 w 179112"/>
                    <a:gd name="connsiteY10" fmla="*/ 86675 h 110056"/>
                    <a:gd name="connsiteX11" fmla="*/ 32909 w 179112"/>
                    <a:gd name="connsiteY11" fmla="*/ 109311 h 110056"/>
                    <a:gd name="connsiteX12" fmla="*/ 32909 w 179112"/>
                    <a:gd name="connsiteY12" fmla="*/ 110053 h 110056"/>
                    <a:gd name="connsiteX13" fmla="*/ 67090 w 179112"/>
                    <a:gd name="connsiteY13" fmla="*/ 107249 h 110056"/>
                    <a:gd name="connsiteX14" fmla="*/ 87251 w 179112"/>
                    <a:gd name="connsiteY14" fmla="*/ 74265 h 110056"/>
                    <a:gd name="connsiteX15" fmla="*/ 109722 w 179112"/>
                    <a:gd name="connsiteY15" fmla="*/ 105889 h 110056"/>
                    <a:gd name="connsiteX16" fmla="*/ 120400 w 179112"/>
                    <a:gd name="connsiteY16" fmla="*/ 89397 h 110056"/>
                    <a:gd name="connsiteX17" fmla="*/ 134625 w 179112"/>
                    <a:gd name="connsiteY17" fmla="*/ 79790 h 110056"/>
                    <a:gd name="connsiteX18" fmla="*/ 153591 w 179112"/>
                    <a:gd name="connsiteY18" fmla="*/ 74265 h 110056"/>
                    <a:gd name="connsiteX19" fmla="*/ 165424 w 179112"/>
                    <a:gd name="connsiteY19" fmla="*/ 68822 h 110056"/>
                    <a:gd name="connsiteX20" fmla="*/ 171361 w 179112"/>
                    <a:gd name="connsiteY20" fmla="*/ 57855 h 110056"/>
                    <a:gd name="connsiteX21" fmla="*/ 179113 w 179112"/>
                    <a:gd name="connsiteY21" fmla="*/ 49609 h 110056"/>
                    <a:gd name="connsiteX22" fmla="*/ 159446 w 179112"/>
                    <a:gd name="connsiteY22" fmla="*/ 46517 h 110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179112" h="110056">
                      <a:moveTo>
                        <a:pt x="159446" y="46517"/>
                      </a:moveTo>
                      <a:cubicBezTo>
                        <a:pt x="151447" y="50640"/>
                        <a:pt x="138830" y="38271"/>
                        <a:pt x="138830" y="34148"/>
                      </a:cubicBezTo>
                      <a:cubicBezTo>
                        <a:pt x="138830" y="31261"/>
                        <a:pt x="137181" y="21036"/>
                        <a:pt x="138830" y="14646"/>
                      </a:cubicBezTo>
                      <a:cubicBezTo>
                        <a:pt x="131492" y="10053"/>
                        <a:pt x="123740" y="6132"/>
                        <a:pt x="115700" y="2936"/>
                      </a:cubicBezTo>
                      <a:cubicBezTo>
                        <a:pt x="103826" y="-1187"/>
                        <a:pt x="97930" y="-1187"/>
                        <a:pt x="88447" y="4297"/>
                      </a:cubicBezTo>
                      <a:cubicBezTo>
                        <a:pt x="82427" y="7801"/>
                        <a:pt x="65770" y="6812"/>
                        <a:pt x="54473" y="5657"/>
                      </a:cubicBezTo>
                      <a:cubicBezTo>
                        <a:pt x="53483" y="9781"/>
                        <a:pt x="51917" y="12502"/>
                        <a:pt x="49072" y="12502"/>
                      </a:cubicBezTo>
                      <a:cubicBezTo>
                        <a:pt x="41073" y="12502"/>
                        <a:pt x="30394" y="21778"/>
                        <a:pt x="28457" y="32086"/>
                      </a:cubicBezTo>
                      <a:cubicBezTo>
                        <a:pt x="26519" y="42394"/>
                        <a:pt x="7842" y="50599"/>
                        <a:pt x="2688" y="69193"/>
                      </a:cubicBezTo>
                      <a:cubicBezTo>
                        <a:pt x="-2466" y="87788"/>
                        <a:pt x="49" y="95952"/>
                        <a:pt x="8047" y="84614"/>
                      </a:cubicBezTo>
                      <a:cubicBezTo>
                        <a:pt x="16046" y="73275"/>
                        <a:pt x="25818" y="77440"/>
                        <a:pt x="25818" y="86675"/>
                      </a:cubicBezTo>
                      <a:cubicBezTo>
                        <a:pt x="25818" y="95911"/>
                        <a:pt x="36455" y="96942"/>
                        <a:pt x="32909" y="109311"/>
                      </a:cubicBezTo>
                      <a:cubicBezTo>
                        <a:pt x="32909" y="109599"/>
                        <a:pt x="32909" y="109764"/>
                        <a:pt x="32909" y="110053"/>
                      </a:cubicBezTo>
                      <a:cubicBezTo>
                        <a:pt x="45279" y="108816"/>
                        <a:pt x="61771" y="107249"/>
                        <a:pt x="67090" y="107249"/>
                      </a:cubicBezTo>
                      <a:cubicBezTo>
                        <a:pt x="75336" y="107249"/>
                        <a:pt x="83582" y="77110"/>
                        <a:pt x="87251" y="74265"/>
                      </a:cubicBezTo>
                      <a:cubicBezTo>
                        <a:pt x="90921" y="71420"/>
                        <a:pt x="100280" y="96241"/>
                        <a:pt x="109722" y="105889"/>
                      </a:cubicBezTo>
                      <a:cubicBezTo>
                        <a:pt x="119164" y="115536"/>
                        <a:pt x="120400" y="97643"/>
                        <a:pt x="120400" y="89397"/>
                      </a:cubicBezTo>
                      <a:cubicBezTo>
                        <a:pt x="120400" y="81150"/>
                        <a:pt x="128646" y="78429"/>
                        <a:pt x="134625" y="79790"/>
                      </a:cubicBezTo>
                      <a:cubicBezTo>
                        <a:pt x="140603" y="81150"/>
                        <a:pt x="153591" y="83913"/>
                        <a:pt x="153591" y="74265"/>
                      </a:cubicBezTo>
                      <a:cubicBezTo>
                        <a:pt x="153591" y="64617"/>
                        <a:pt x="160683" y="68822"/>
                        <a:pt x="165424" y="68822"/>
                      </a:cubicBezTo>
                      <a:cubicBezTo>
                        <a:pt x="170166" y="68822"/>
                        <a:pt x="171361" y="57855"/>
                        <a:pt x="171361" y="57855"/>
                      </a:cubicBezTo>
                      <a:lnTo>
                        <a:pt x="179113" y="49609"/>
                      </a:lnTo>
                      <a:cubicBezTo>
                        <a:pt x="173052" y="45610"/>
                        <a:pt x="165713" y="43136"/>
                        <a:pt x="159446" y="46517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75" name="Sweden">
                  <a:extLst>
                    <a:ext uri="{FF2B5EF4-FFF2-40B4-BE49-F238E27FC236}">
                      <a16:creationId xmlns:a16="http://schemas.microsoft.com/office/drawing/2014/main" id="{D4A54B1E-6564-CC8A-1786-A5E12D26A8C0}"/>
                    </a:ext>
                  </a:extLst>
                </p:cNvPr>
                <p:cNvSpPr/>
                <p:nvPr>
                  <p:custDataLst>
                    <p:tags r:id="rId51"/>
                  </p:custDataLst>
                </p:nvPr>
              </p:nvSpPr>
              <p:spPr>
                <a:xfrm>
                  <a:off x="7779517" y="2171201"/>
                  <a:ext cx="660918" cy="1324470"/>
                </a:xfrm>
                <a:custGeom>
                  <a:avLst/>
                  <a:gdLst>
                    <a:gd name="connsiteX0" fmla="*/ 493974 w 499498"/>
                    <a:gd name="connsiteY0" fmla="*/ 231606 h 1000986"/>
                    <a:gd name="connsiteX1" fmla="*/ 486305 w 499498"/>
                    <a:gd name="connsiteY1" fmla="*/ 207404 h 1000986"/>
                    <a:gd name="connsiteX2" fmla="*/ 488243 w 499498"/>
                    <a:gd name="connsiteY2" fmla="*/ 167740 h 1000986"/>
                    <a:gd name="connsiteX3" fmla="*/ 478678 w 499498"/>
                    <a:gd name="connsiteY3" fmla="*/ 125891 h 1000986"/>
                    <a:gd name="connsiteX4" fmla="*/ 476822 w 499498"/>
                    <a:gd name="connsiteY4" fmla="*/ 81775 h 1000986"/>
                    <a:gd name="connsiteX5" fmla="*/ 419718 w 499498"/>
                    <a:gd name="connsiteY5" fmla="*/ 42111 h 1000986"/>
                    <a:gd name="connsiteX6" fmla="*/ 372138 w 499498"/>
                    <a:gd name="connsiteY6" fmla="*/ 2447 h 1000986"/>
                    <a:gd name="connsiteX7" fmla="*/ 349296 w 499498"/>
                    <a:gd name="connsiteY7" fmla="*/ 37700 h 1000986"/>
                    <a:gd name="connsiteX8" fmla="*/ 322661 w 499498"/>
                    <a:gd name="connsiteY8" fmla="*/ 46523 h 1000986"/>
                    <a:gd name="connsiteX9" fmla="*/ 280813 w 499498"/>
                    <a:gd name="connsiteY9" fmla="*/ 37700 h 1000986"/>
                    <a:gd name="connsiteX10" fmla="*/ 271288 w 499498"/>
                    <a:gd name="connsiteY10" fmla="*/ 70684 h 1000986"/>
                    <a:gd name="connsiteX11" fmla="*/ 240860 w 499498"/>
                    <a:gd name="connsiteY11" fmla="*/ 83878 h 1000986"/>
                    <a:gd name="connsiteX12" fmla="*/ 210391 w 499498"/>
                    <a:gd name="connsiteY12" fmla="*/ 110348 h 1000986"/>
                    <a:gd name="connsiteX13" fmla="*/ 198970 w 499498"/>
                    <a:gd name="connsiteY13" fmla="*/ 143332 h 1000986"/>
                    <a:gd name="connsiteX14" fmla="*/ 189446 w 499498"/>
                    <a:gd name="connsiteY14" fmla="*/ 167575 h 1000986"/>
                    <a:gd name="connsiteX15" fmla="*/ 168501 w 499498"/>
                    <a:gd name="connsiteY15" fmla="*/ 202827 h 1000986"/>
                    <a:gd name="connsiteX16" fmla="*/ 160914 w 499498"/>
                    <a:gd name="connsiteY16" fmla="*/ 229297 h 1000986"/>
                    <a:gd name="connsiteX17" fmla="*/ 130486 w 499498"/>
                    <a:gd name="connsiteY17" fmla="*/ 238080 h 1000986"/>
                    <a:gd name="connsiteX18" fmla="*/ 128590 w 499498"/>
                    <a:gd name="connsiteY18" fmla="*/ 279970 h 1000986"/>
                    <a:gd name="connsiteX19" fmla="*/ 101955 w 499498"/>
                    <a:gd name="connsiteY19" fmla="*/ 339465 h 1000986"/>
                    <a:gd name="connsiteX20" fmla="*/ 111479 w 499498"/>
                    <a:gd name="connsiteY20" fmla="*/ 363668 h 1000986"/>
                    <a:gd name="connsiteX21" fmla="*/ 111479 w 499498"/>
                    <a:gd name="connsiteY21" fmla="*/ 390137 h 1000986"/>
                    <a:gd name="connsiteX22" fmla="*/ 84803 w 499498"/>
                    <a:gd name="connsiteY22" fmla="*/ 392405 h 1000986"/>
                    <a:gd name="connsiteX23" fmla="*/ 44850 w 499498"/>
                    <a:gd name="connsiteY23" fmla="*/ 423204 h 1000986"/>
                    <a:gd name="connsiteX24" fmla="*/ 41016 w 499498"/>
                    <a:gd name="connsiteY24" fmla="*/ 469506 h 1000986"/>
                    <a:gd name="connsiteX25" fmla="*/ 41016 w 499498"/>
                    <a:gd name="connsiteY25" fmla="*/ 515808 h 1000986"/>
                    <a:gd name="connsiteX26" fmla="*/ 39160 w 499498"/>
                    <a:gd name="connsiteY26" fmla="*/ 559883 h 1000986"/>
                    <a:gd name="connsiteX27" fmla="*/ 65796 w 499498"/>
                    <a:gd name="connsiteY27" fmla="*/ 592868 h 1000986"/>
                    <a:gd name="connsiteX28" fmla="*/ 50540 w 499498"/>
                    <a:gd name="connsiteY28" fmla="*/ 617111 h 1000986"/>
                    <a:gd name="connsiteX29" fmla="*/ 52478 w 499498"/>
                    <a:gd name="connsiteY29" fmla="*/ 639170 h 1000986"/>
                    <a:gd name="connsiteX30" fmla="*/ 54375 w 499498"/>
                    <a:gd name="connsiteY30" fmla="*/ 683245 h 1000986"/>
                    <a:gd name="connsiteX31" fmla="*/ 27740 w 499498"/>
                    <a:gd name="connsiteY31" fmla="*/ 694253 h 1000986"/>
                    <a:gd name="connsiteX32" fmla="*/ 22009 w 499498"/>
                    <a:gd name="connsiteY32" fmla="*/ 731732 h 1000986"/>
                    <a:gd name="connsiteX33" fmla="*/ 12484 w 499498"/>
                    <a:gd name="connsiteY33" fmla="*/ 762572 h 1000986"/>
                    <a:gd name="connsiteX34" fmla="*/ 115 w 499498"/>
                    <a:gd name="connsiteY34" fmla="*/ 760511 h 1000986"/>
                    <a:gd name="connsiteX35" fmla="*/ 115 w 499498"/>
                    <a:gd name="connsiteY35" fmla="*/ 764881 h 1000986"/>
                    <a:gd name="connsiteX36" fmla="*/ 17886 w 499498"/>
                    <a:gd name="connsiteY36" fmla="*/ 811513 h 1000986"/>
                    <a:gd name="connsiteX37" fmla="*/ 32110 w 499498"/>
                    <a:gd name="connsiteY37" fmla="*/ 859505 h 1000986"/>
                    <a:gd name="connsiteX38" fmla="*/ 52231 w 499498"/>
                    <a:gd name="connsiteY38" fmla="*/ 901395 h 1000986"/>
                    <a:gd name="connsiteX39" fmla="*/ 60477 w 499498"/>
                    <a:gd name="connsiteY39" fmla="*/ 936359 h 1000986"/>
                    <a:gd name="connsiteX40" fmla="*/ 71733 w 499498"/>
                    <a:gd name="connsiteY40" fmla="*/ 957592 h 1000986"/>
                    <a:gd name="connsiteX41" fmla="*/ 72351 w 499498"/>
                    <a:gd name="connsiteY41" fmla="*/ 996720 h 1000986"/>
                    <a:gd name="connsiteX42" fmla="*/ 103769 w 499498"/>
                    <a:gd name="connsiteY42" fmla="*/ 996019 h 1000986"/>
                    <a:gd name="connsiteX43" fmla="*/ 118529 w 499498"/>
                    <a:gd name="connsiteY43" fmla="*/ 968601 h 1000986"/>
                    <a:gd name="connsiteX44" fmla="*/ 130898 w 499498"/>
                    <a:gd name="connsiteY44" fmla="*/ 953511 h 1000986"/>
                    <a:gd name="connsiteX45" fmla="*/ 163883 w 499498"/>
                    <a:gd name="connsiteY45" fmla="*/ 950047 h 1000986"/>
                    <a:gd name="connsiteX46" fmla="*/ 186972 w 499498"/>
                    <a:gd name="connsiteY46" fmla="*/ 928772 h 1000986"/>
                    <a:gd name="connsiteX47" fmla="*/ 201155 w 499498"/>
                    <a:gd name="connsiteY47" fmla="*/ 935616 h 1000986"/>
                    <a:gd name="connsiteX48" fmla="*/ 223667 w 499498"/>
                    <a:gd name="connsiteY48" fmla="*/ 891747 h 1000986"/>
                    <a:gd name="connsiteX49" fmla="*/ 209442 w 499498"/>
                    <a:gd name="connsiteY49" fmla="*/ 894510 h 1000986"/>
                    <a:gd name="connsiteX50" fmla="*/ 208865 w 499498"/>
                    <a:gd name="connsiteY50" fmla="*/ 862268 h 1000986"/>
                    <a:gd name="connsiteX51" fmla="*/ 215380 w 499498"/>
                    <a:gd name="connsiteY51" fmla="*/ 796299 h 1000986"/>
                    <a:gd name="connsiteX52" fmla="*/ 237850 w 499498"/>
                    <a:gd name="connsiteY52" fmla="*/ 768180 h 1000986"/>
                    <a:gd name="connsiteX53" fmla="*/ 274051 w 499498"/>
                    <a:gd name="connsiteY53" fmla="*/ 729093 h 1000986"/>
                    <a:gd name="connsiteX54" fmla="*/ 297717 w 499498"/>
                    <a:gd name="connsiteY54" fmla="*/ 691367 h 1000986"/>
                    <a:gd name="connsiteX55" fmla="*/ 259785 w 499498"/>
                    <a:gd name="connsiteY55" fmla="*/ 642674 h 1000986"/>
                    <a:gd name="connsiteX56" fmla="*/ 231377 w 499498"/>
                    <a:gd name="connsiteY56" fmla="*/ 633727 h 1000986"/>
                    <a:gd name="connsiteX57" fmla="*/ 226636 w 499498"/>
                    <a:gd name="connsiteY57" fmla="*/ 581571 h 1000986"/>
                    <a:gd name="connsiteX58" fmla="*/ 240324 w 499498"/>
                    <a:gd name="connsiteY58" fmla="*/ 542855 h 1000986"/>
                    <a:gd name="connsiteX59" fmla="*/ 241973 w 499498"/>
                    <a:gd name="connsiteY59" fmla="*/ 500924 h 1000986"/>
                    <a:gd name="connsiteX60" fmla="*/ 276483 w 499498"/>
                    <a:gd name="connsiteY60" fmla="*/ 458745 h 1000986"/>
                    <a:gd name="connsiteX61" fmla="*/ 292646 w 499498"/>
                    <a:gd name="connsiteY61" fmla="*/ 447901 h 1000986"/>
                    <a:gd name="connsiteX62" fmla="*/ 298912 w 499498"/>
                    <a:gd name="connsiteY62" fmla="*/ 443036 h 1000986"/>
                    <a:gd name="connsiteX63" fmla="*/ 310333 w 499498"/>
                    <a:gd name="connsiteY63" fmla="*/ 436316 h 1000986"/>
                    <a:gd name="connsiteX64" fmla="*/ 323074 w 499498"/>
                    <a:gd name="connsiteY64" fmla="*/ 404692 h 1000986"/>
                    <a:gd name="connsiteX65" fmla="*/ 328928 w 499498"/>
                    <a:gd name="connsiteY65" fmla="*/ 398672 h 1000986"/>
                    <a:gd name="connsiteX66" fmla="*/ 353667 w 499498"/>
                    <a:gd name="connsiteY66" fmla="*/ 386303 h 1000986"/>
                    <a:gd name="connsiteX67" fmla="*/ 360923 w 499498"/>
                    <a:gd name="connsiteY67" fmla="*/ 376202 h 1000986"/>
                    <a:gd name="connsiteX68" fmla="*/ 377415 w 499498"/>
                    <a:gd name="connsiteY68" fmla="*/ 365853 h 1000986"/>
                    <a:gd name="connsiteX69" fmla="*/ 388919 w 499498"/>
                    <a:gd name="connsiteY69" fmla="*/ 333982 h 1000986"/>
                    <a:gd name="connsiteX70" fmla="*/ 394320 w 499498"/>
                    <a:gd name="connsiteY70" fmla="*/ 319675 h 1000986"/>
                    <a:gd name="connsiteX71" fmla="*/ 409740 w 499498"/>
                    <a:gd name="connsiteY71" fmla="*/ 281949 h 1000986"/>
                    <a:gd name="connsiteX72" fmla="*/ 435798 w 499498"/>
                    <a:gd name="connsiteY72" fmla="*/ 257953 h 1000986"/>
                    <a:gd name="connsiteX73" fmla="*/ 477811 w 499498"/>
                    <a:gd name="connsiteY73" fmla="*/ 253129 h 1000986"/>
                    <a:gd name="connsiteX74" fmla="*/ 499499 w 499498"/>
                    <a:gd name="connsiteY74" fmla="*/ 254242 h 1000986"/>
                    <a:gd name="connsiteX75" fmla="*/ 493974 w 499498"/>
                    <a:gd name="connsiteY75" fmla="*/ 231606 h 10009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</a:cxnLst>
                  <a:rect l="l" t="t" r="r" b="b"/>
                  <a:pathLst>
                    <a:path w="499498" h="1000986">
                      <a:moveTo>
                        <a:pt x="493974" y="231606"/>
                      </a:moveTo>
                      <a:cubicBezTo>
                        <a:pt x="488243" y="225051"/>
                        <a:pt x="476822" y="207404"/>
                        <a:pt x="486305" y="207404"/>
                      </a:cubicBezTo>
                      <a:cubicBezTo>
                        <a:pt x="495788" y="207404"/>
                        <a:pt x="499622" y="174420"/>
                        <a:pt x="488243" y="167740"/>
                      </a:cubicBezTo>
                      <a:cubicBezTo>
                        <a:pt x="476863" y="161061"/>
                        <a:pt x="488243" y="132447"/>
                        <a:pt x="478678" y="125891"/>
                      </a:cubicBezTo>
                      <a:cubicBezTo>
                        <a:pt x="469112" y="119336"/>
                        <a:pt x="474925" y="97030"/>
                        <a:pt x="476822" y="81775"/>
                      </a:cubicBezTo>
                      <a:cubicBezTo>
                        <a:pt x="478719" y="66520"/>
                        <a:pt x="440622" y="53120"/>
                        <a:pt x="419718" y="42111"/>
                      </a:cubicBezTo>
                      <a:cubicBezTo>
                        <a:pt x="398814" y="31103"/>
                        <a:pt x="389290" y="13456"/>
                        <a:pt x="372138" y="2447"/>
                      </a:cubicBezTo>
                      <a:cubicBezTo>
                        <a:pt x="354986" y="-8561"/>
                        <a:pt x="349296" y="20053"/>
                        <a:pt x="349296" y="37700"/>
                      </a:cubicBezTo>
                      <a:cubicBezTo>
                        <a:pt x="349296" y="55346"/>
                        <a:pt x="334082" y="57573"/>
                        <a:pt x="322661" y="46523"/>
                      </a:cubicBezTo>
                      <a:cubicBezTo>
                        <a:pt x="311241" y="35473"/>
                        <a:pt x="297923" y="46523"/>
                        <a:pt x="280813" y="37700"/>
                      </a:cubicBezTo>
                      <a:cubicBezTo>
                        <a:pt x="263702" y="28876"/>
                        <a:pt x="271288" y="57573"/>
                        <a:pt x="271288" y="70684"/>
                      </a:cubicBezTo>
                      <a:cubicBezTo>
                        <a:pt x="271288" y="83795"/>
                        <a:pt x="252240" y="83878"/>
                        <a:pt x="240860" y="83878"/>
                      </a:cubicBezTo>
                      <a:cubicBezTo>
                        <a:pt x="229480" y="83878"/>
                        <a:pt x="210391" y="94927"/>
                        <a:pt x="210391" y="110348"/>
                      </a:cubicBezTo>
                      <a:cubicBezTo>
                        <a:pt x="210391" y="125768"/>
                        <a:pt x="193280" y="134591"/>
                        <a:pt x="198970" y="143332"/>
                      </a:cubicBezTo>
                      <a:cubicBezTo>
                        <a:pt x="204660" y="152073"/>
                        <a:pt x="197073" y="160937"/>
                        <a:pt x="189446" y="167575"/>
                      </a:cubicBezTo>
                      <a:cubicBezTo>
                        <a:pt x="181818" y="174214"/>
                        <a:pt x="174231" y="196189"/>
                        <a:pt x="168501" y="202827"/>
                      </a:cubicBezTo>
                      <a:cubicBezTo>
                        <a:pt x="162770" y="209466"/>
                        <a:pt x="172335" y="220474"/>
                        <a:pt x="160914" y="229297"/>
                      </a:cubicBezTo>
                      <a:cubicBezTo>
                        <a:pt x="149493" y="238121"/>
                        <a:pt x="136176" y="231441"/>
                        <a:pt x="130486" y="238080"/>
                      </a:cubicBezTo>
                      <a:cubicBezTo>
                        <a:pt x="124796" y="244718"/>
                        <a:pt x="130486" y="260138"/>
                        <a:pt x="128590" y="279970"/>
                      </a:cubicBezTo>
                      <a:cubicBezTo>
                        <a:pt x="126693" y="299802"/>
                        <a:pt x="113335" y="321819"/>
                        <a:pt x="101955" y="339465"/>
                      </a:cubicBezTo>
                      <a:cubicBezTo>
                        <a:pt x="90575" y="357112"/>
                        <a:pt x="105748" y="361524"/>
                        <a:pt x="111479" y="363668"/>
                      </a:cubicBezTo>
                      <a:cubicBezTo>
                        <a:pt x="117210" y="365811"/>
                        <a:pt x="117169" y="376944"/>
                        <a:pt x="111479" y="390137"/>
                      </a:cubicBezTo>
                      <a:cubicBezTo>
                        <a:pt x="105789" y="403331"/>
                        <a:pt x="92430" y="394549"/>
                        <a:pt x="84803" y="392405"/>
                      </a:cubicBezTo>
                      <a:cubicBezTo>
                        <a:pt x="77175" y="390261"/>
                        <a:pt x="56271" y="401187"/>
                        <a:pt x="44850" y="423204"/>
                      </a:cubicBezTo>
                      <a:cubicBezTo>
                        <a:pt x="33430" y="445221"/>
                        <a:pt x="37223" y="458456"/>
                        <a:pt x="41016" y="469506"/>
                      </a:cubicBezTo>
                      <a:cubicBezTo>
                        <a:pt x="44810" y="480556"/>
                        <a:pt x="31533" y="493750"/>
                        <a:pt x="41016" y="515808"/>
                      </a:cubicBezTo>
                      <a:cubicBezTo>
                        <a:pt x="50499" y="537866"/>
                        <a:pt x="37223" y="542237"/>
                        <a:pt x="39160" y="559883"/>
                      </a:cubicBezTo>
                      <a:cubicBezTo>
                        <a:pt x="41099" y="577530"/>
                        <a:pt x="63899" y="575303"/>
                        <a:pt x="65796" y="592868"/>
                      </a:cubicBezTo>
                      <a:cubicBezTo>
                        <a:pt x="67692" y="610432"/>
                        <a:pt x="58168" y="617111"/>
                        <a:pt x="50540" y="617111"/>
                      </a:cubicBezTo>
                      <a:cubicBezTo>
                        <a:pt x="42913" y="617111"/>
                        <a:pt x="44850" y="634758"/>
                        <a:pt x="52478" y="639170"/>
                      </a:cubicBezTo>
                      <a:cubicBezTo>
                        <a:pt x="60106" y="643581"/>
                        <a:pt x="58168" y="674422"/>
                        <a:pt x="54375" y="683245"/>
                      </a:cubicBezTo>
                      <a:cubicBezTo>
                        <a:pt x="50581" y="692068"/>
                        <a:pt x="25802" y="683245"/>
                        <a:pt x="27740" y="694253"/>
                      </a:cubicBezTo>
                      <a:cubicBezTo>
                        <a:pt x="29678" y="705262"/>
                        <a:pt x="22009" y="723115"/>
                        <a:pt x="22009" y="731732"/>
                      </a:cubicBezTo>
                      <a:cubicBezTo>
                        <a:pt x="22009" y="740349"/>
                        <a:pt x="20112" y="769210"/>
                        <a:pt x="12484" y="762572"/>
                      </a:cubicBezTo>
                      <a:cubicBezTo>
                        <a:pt x="8815" y="760189"/>
                        <a:pt x="4362" y="759443"/>
                        <a:pt x="115" y="760511"/>
                      </a:cubicBezTo>
                      <a:cubicBezTo>
                        <a:pt x="115" y="761913"/>
                        <a:pt x="115" y="763273"/>
                        <a:pt x="115" y="764881"/>
                      </a:cubicBezTo>
                      <a:cubicBezTo>
                        <a:pt x="-957" y="782260"/>
                        <a:pt x="5517" y="799259"/>
                        <a:pt x="17886" y="811513"/>
                      </a:cubicBezTo>
                      <a:cubicBezTo>
                        <a:pt x="30914" y="823882"/>
                        <a:pt x="20854" y="842353"/>
                        <a:pt x="32110" y="859505"/>
                      </a:cubicBezTo>
                      <a:cubicBezTo>
                        <a:pt x="43366" y="876657"/>
                        <a:pt x="39779" y="889026"/>
                        <a:pt x="52231" y="901395"/>
                      </a:cubicBezTo>
                      <a:cubicBezTo>
                        <a:pt x="64682" y="913764"/>
                        <a:pt x="65878" y="920567"/>
                        <a:pt x="60477" y="936359"/>
                      </a:cubicBezTo>
                      <a:cubicBezTo>
                        <a:pt x="55076" y="952150"/>
                        <a:pt x="71155" y="948027"/>
                        <a:pt x="71733" y="957592"/>
                      </a:cubicBezTo>
                      <a:cubicBezTo>
                        <a:pt x="72310" y="967158"/>
                        <a:pt x="68228" y="987072"/>
                        <a:pt x="72351" y="996720"/>
                      </a:cubicBezTo>
                      <a:cubicBezTo>
                        <a:pt x="76474" y="1006368"/>
                        <a:pt x="84720" y="996720"/>
                        <a:pt x="103769" y="996019"/>
                      </a:cubicBezTo>
                      <a:cubicBezTo>
                        <a:pt x="122817" y="995318"/>
                        <a:pt x="117952" y="981630"/>
                        <a:pt x="118529" y="968601"/>
                      </a:cubicBezTo>
                      <a:cubicBezTo>
                        <a:pt x="119106" y="955572"/>
                        <a:pt x="128631" y="961715"/>
                        <a:pt x="130898" y="953511"/>
                      </a:cubicBezTo>
                      <a:cubicBezTo>
                        <a:pt x="133166" y="945306"/>
                        <a:pt x="150442" y="943203"/>
                        <a:pt x="163883" y="950047"/>
                      </a:cubicBezTo>
                      <a:cubicBezTo>
                        <a:pt x="177324" y="956891"/>
                        <a:pt x="184498" y="945264"/>
                        <a:pt x="186972" y="928772"/>
                      </a:cubicBezTo>
                      <a:cubicBezTo>
                        <a:pt x="189446" y="912280"/>
                        <a:pt x="196991" y="932236"/>
                        <a:pt x="201155" y="935616"/>
                      </a:cubicBezTo>
                      <a:cubicBezTo>
                        <a:pt x="205319" y="938997"/>
                        <a:pt x="217647" y="910301"/>
                        <a:pt x="223667" y="891747"/>
                      </a:cubicBezTo>
                      <a:cubicBezTo>
                        <a:pt x="229687" y="873194"/>
                        <a:pt x="223049" y="876698"/>
                        <a:pt x="209442" y="894510"/>
                      </a:cubicBezTo>
                      <a:cubicBezTo>
                        <a:pt x="195836" y="912321"/>
                        <a:pt x="203547" y="876698"/>
                        <a:pt x="208865" y="862268"/>
                      </a:cubicBezTo>
                      <a:cubicBezTo>
                        <a:pt x="214184" y="847837"/>
                        <a:pt x="213607" y="805988"/>
                        <a:pt x="215380" y="796299"/>
                      </a:cubicBezTo>
                      <a:cubicBezTo>
                        <a:pt x="217153" y="786610"/>
                        <a:pt x="220740" y="772303"/>
                        <a:pt x="237850" y="768180"/>
                      </a:cubicBezTo>
                      <a:cubicBezTo>
                        <a:pt x="254961" y="764057"/>
                        <a:pt x="277555" y="739318"/>
                        <a:pt x="274051" y="729093"/>
                      </a:cubicBezTo>
                      <a:cubicBezTo>
                        <a:pt x="270546" y="718868"/>
                        <a:pt x="297717" y="701675"/>
                        <a:pt x="297717" y="691367"/>
                      </a:cubicBezTo>
                      <a:cubicBezTo>
                        <a:pt x="297717" y="681060"/>
                        <a:pt x="269268" y="649477"/>
                        <a:pt x="259785" y="642674"/>
                      </a:cubicBezTo>
                      <a:cubicBezTo>
                        <a:pt x="250302" y="635871"/>
                        <a:pt x="229604" y="641272"/>
                        <a:pt x="231377" y="633727"/>
                      </a:cubicBezTo>
                      <a:cubicBezTo>
                        <a:pt x="233150" y="626182"/>
                        <a:pt x="228986" y="596620"/>
                        <a:pt x="226636" y="581571"/>
                      </a:cubicBezTo>
                      <a:cubicBezTo>
                        <a:pt x="224616" y="568748"/>
                        <a:pt x="236654" y="555430"/>
                        <a:pt x="240324" y="542855"/>
                      </a:cubicBezTo>
                      <a:cubicBezTo>
                        <a:pt x="234057" y="529431"/>
                        <a:pt x="234675" y="513812"/>
                        <a:pt x="241973" y="500924"/>
                      </a:cubicBezTo>
                      <a:cubicBezTo>
                        <a:pt x="251828" y="485256"/>
                        <a:pt x="264609" y="472598"/>
                        <a:pt x="276483" y="458745"/>
                      </a:cubicBezTo>
                      <a:cubicBezTo>
                        <a:pt x="280813" y="453756"/>
                        <a:pt x="286379" y="450012"/>
                        <a:pt x="292646" y="447901"/>
                      </a:cubicBezTo>
                      <a:cubicBezTo>
                        <a:pt x="294377" y="445877"/>
                        <a:pt x="296521" y="444224"/>
                        <a:pt x="298912" y="443036"/>
                      </a:cubicBezTo>
                      <a:cubicBezTo>
                        <a:pt x="302953" y="441181"/>
                        <a:pt x="306746" y="438930"/>
                        <a:pt x="310333" y="436316"/>
                      </a:cubicBezTo>
                      <a:cubicBezTo>
                        <a:pt x="310498" y="424553"/>
                        <a:pt x="315034" y="413272"/>
                        <a:pt x="323074" y="404692"/>
                      </a:cubicBezTo>
                      <a:lnTo>
                        <a:pt x="328928" y="398672"/>
                      </a:lnTo>
                      <a:cubicBezTo>
                        <a:pt x="335608" y="391964"/>
                        <a:pt x="344307" y="387618"/>
                        <a:pt x="353667" y="386303"/>
                      </a:cubicBezTo>
                      <a:cubicBezTo>
                        <a:pt x="355646" y="382634"/>
                        <a:pt x="358078" y="379236"/>
                        <a:pt x="360923" y="376202"/>
                      </a:cubicBezTo>
                      <a:cubicBezTo>
                        <a:pt x="365582" y="371571"/>
                        <a:pt x="371231" y="368038"/>
                        <a:pt x="377415" y="365853"/>
                      </a:cubicBezTo>
                      <a:cubicBezTo>
                        <a:pt x="377250" y="354185"/>
                        <a:pt x="381333" y="342854"/>
                        <a:pt x="388919" y="333982"/>
                      </a:cubicBezTo>
                      <a:cubicBezTo>
                        <a:pt x="387723" y="328564"/>
                        <a:pt x="389826" y="322948"/>
                        <a:pt x="394320" y="319675"/>
                      </a:cubicBezTo>
                      <a:cubicBezTo>
                        <a:pt x="411513" y="304584"/>
                        <a:pt x="397289" y="287391"/>
                        <a:pt x="409740" y="281949"/>
                      </a:cubicBezTo>
                      <a:cubicBezTo>
                        <a:pt x="422192" y="276506"/>
                        <a:pt x="426892" y="268920"/>
                        <a:pt x="435798" y="257953"/>
                      </a:cubicBezTo>
                      <a:cubicBezTo>
                        <a:pt x="444704" y="246985"/>
                        <a:pt x="456413" y="257252"/>
                        <a:pt x="477811" y="253129"/>
                      </a:cubicBezTo>
                      <a:cubicBezTo>
                        <a:pt x="485027" y="251801"/>
                        <a:pt x="492448" y="252180"/>
                        <a:pt x="499499" y="254242"/>
                      </a:cubicBezTo>
                      <a:cubicBezTo>
                        <a:pt x="498427" y="243604"/>
                        <a:pt x="496324" y="234657"/>
                        <a:pt x="493974" y="231606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76" name="Serbia">
                  <a:extLst>
                    <a:ext uri="{FF2B5EF4-FFF2-40B4-BE49-F238E27FC236}">
                      <a16:creationId xmlns:a16="http://schemas.microsoft.com/office/drawing/2014/main" id="{96886B8D-2B95-BD07-2A42-4C05376AC557}"/>
                    </a:ext>
                  </a:extLst>
                </p:cNvPr>
                <p:cNvSpPr/>
                <p:nvPr>
                  <p:custDataLst>
                    <p:tags r:id="rId52"/>
                  </p:custDataLst>
                </p:nvPr>
              </p:nvSpPr>
              <p:spPr>
                <a:xfrm>
                  <a:off x="8157952" y="4242396"/>
                  <a:ext cx="212480" cy="305942"/>
                </a:xfrm>
                <a:custGeom>
                  <a:avLst/>
                  <a:gdLst>
                    <a:gd name="connsiteX0" fmla="*/ 145502 w 160585"/>
                    <a:gd name="connsiteY0" fmla="*/ 154569 h 231220"/>
                    <a:gd name="connsiteX1" fmla="*/ 145502 w 160585"/>
                    <a:gd name="connsiteY1" fmla="*/ 122615 h 231220"/>
                    <a:gd name="connsiteX2" fmla="*/ 146369 w 160585"/>
                    <a:gd name="connsiteY2" fmla="*/ 97877 h 231220"/>
                    <a:gd name="connsiteX3" fmla="*/ 101963 w 160585"/>
                    <a:gd name="connsiteY3" fmla="*/ 82457 h 231220"/>
                    <a:gd name="connsiteX4" fmla="*/ 96644 w 160585"/>
                    <a:gd name="connsiteY4" fmla="*/ 53595 h 231220"/>
                    <a:gd name="connsiteX5" fmla="*/ 83286 w 160585"/>
                    <a:gd name="connsiteY5" fmla="*/ 37103 h 231220"/>
                    <a:gd name="connsiteX6" fmla="*/ 69102 w 160585"/>
                    <a:gd name="connsiteY6" fmla="*/ 10303 h 231220"/>
                    <a:gd name="connsiteX7" fmla="*/ 70216 w 160585"/>
                    <a:gd name="connsiteY7" fmla="*/ 8242 h 231220"/>
                    <a:gd name="connsiteX8" fmla="*/ 58918 w 160585"/>
                    <a:gd name="connsiteY8" fmla="*/ 6098 h 231220"/>
                    <a:gd name="connsiteX9" fmla="*/ 41726 w 160585"/>
                    <a:gd name="connsiteY9" fmla="*/ -4 h 231220"/>
                    <a:gd name="connsiteX10" fmla="*/ 1 w 160585"/>
                    <a:gd name="connsiteY10" fmla="*/ 15251 h 231220"/>
                    <a:gd name="connsiteX11" fmla="*/ 10431 w 160585"/>
                    <a:gd name="connsiteY11" fmla="*/ 43329 h 231220"/>
                    <a:gd name="connsiteX12" fmla="*/ 23172 w 160585"/>
                    <a:gd name="connsiteY12" fmla="*/ 76313 h 231220"/>
                    <a:gd name="connsiteX13" fmla="*/ 19997 w 160585"/>
                    <a:gd name="connsiteY13" fmla="*/ 148219 h 231220"/>
                    <a:gd name="connsiteX14" fmla="*/ 5072 w 160585"/>
                    <a:gd name="connsiteY14" fmla="*/ 165454 h 231220"/>
                    <a:gd name="connsiteX15" fmla="*/ 36531 w 160585"/>
                    <a:gd name="connsiteY15" fmla="*/ 207096 h 231220"/>
                    <a:gd name="connsiteX16" fmla="*/ 37726 w 160585"/>
                    <a:gd name="connsiteY16" fmla="*/ 206684 h 231220"/>
                    <a:gd name="connsiteX17" fmla="*/ 74833 w 160585"/>
                    <a:gd name="connsiteY17" fmla="*/ 231216 h 231220"/>
                    <a:gd name="connsiteX18" fmla="*/ 143812 w 160585"/>
                    <a:gd name="connsiteY18" fmla="*/ 216621 h 231220"/>
                    <a:gd name="connsiteX19" fmla="*/ 144596 w 160585"/>
                    <a:gd name="connsiteY19" fmla="*/ 202561 h 231220"/>
                    <a:gd name="connsiteX20" fmla="*/ 157913 w 160585"/>
                    <a:gd name="connsiteY20" fmla="*/ 184049 h 231220"/>
                    <a:gd name="connsiteX21" fmla="*/ 145502 w 160585"/>
                    <a:gd name="connsiteY21" fmla="*/ 154569 h 2312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160585" h="231217">
                      <a:moveTo>
                        <a:pt x="145502" y="154569"/>
                      </a:moveTo>
                      <a:cubicBezTo>
                        <a:pt x="136597" y="145251"/>
                        <a:pt x="137504" y="128841"/>
                        <a:pt x="145502" y="122615"/>
                      </a:cubicBezTo>
                      <a:cubicBezTo>
                        <a:pt x="153501" y="116389"/>
                        <a:pt x="146369" y="108226"/>
                        <a:pt x="146369" y="97877"/>
                      </a:cubicBezTo>
                      <a:cubicBezTo>
                        <a:pt x="146369" y="87528"/>
                        <a:pt x="108189" y="84477"/>
                        <a:pt x="101963" y="82457"/>
                      </a:cubicBezTo>
                      <a:cubicBezTo>
                        <a:pt x="95738" y="80436"/>
                        <a:pt x="106416" y="53595"/>
                        <a:pt x="96644" y="53595"/>
                      </a:cubicBezTo>
                      <a:cubicBezTo>
                        <a:pt x="86873" y="53595"/>
                        <a:pt x="83286" y="45349"/>
                        <a:pt x="83286" y="37103"/>
                      </a:cubicBezTo>
                      <a:cubicBezTo>
                        <a:pt x="83286" y="28857"/>
                        <a:pt x="68195" y="15457"/>
                        <a:pt x="69102" y="10303"/>
                      </a:cubicBezTo>
                      <a:cubicBezTo>
                        <a:pt x="69267" y="9528"/>
                        <a:pt x="69680" y="8819"/>
                        <a:pt x="70216" y="8242"/>
                      </a:cubicBezTo>
                      <a:cubicBezTo>
                        <a:pt x="64691" y="7252"/>
                        <a:pt x="60485" y="6469"/>
                        <a:pt x="58918" y="6098"/>
                      </a:cubicBezTo>
                      <a:cubicBezTo>
                        <a:pt x="53064" y="4477"/>
                        <a:pt x="47292" y="2441"/>
                        <a:pt x="41726" y="-4"/>
                      </a:cubicBezTo>
                      <a:cubicBezTo>
                        <a:pt x="41726" y="-4"/>
                        <a:pt x="16987" y="9190"/>
                        <a:pt x="1" y="15251"/>
                      </a:cubicBezTo>
                      <a:cubicBezTo>
                        <a:pt x="1155" y="27332"/>
                        <a:pt x="3876" y="40484"/>
                        <a:pt x="10431" y="43329"/>
                      </a:cubicBezTo>
                      <a:cubicBezTo>
                        <a:pt x="23172" y="48854"/>
                        <a:pt x="18430" y="63573"/>
                        <a:pt x="23172" y="76313"/>
                      </a:cubicBezTo>
                      <a:cubicBezTo>
                        <a:pt x="27913" y="89053"/>
                        <a:pt x="26346" y="148219"/>
                        <a:pt x="19997" y="148219"/>
                      </a:cubicBezTo>
                      <a:cubicBezTo>
                        <a:pt x="17276" y="148219"/>
                        <a:pt x="11133" y="155888"/>
                        <a:pt x="5072" y="165454"/>
                      </a:cubicBezTo>
                      <a:cubicBezTo>
                        <a:pt x="13771" y="175555"/>
                        <a:pt x="27295" y="194026"/>
                        <a:pt x="36531" y="207096"/>
                      </a:cubicBezTo>
                      <a:cubicBezTo>
                        <a:pt x="36902" y="206903"/>
                        <a:pt x="37314" y="206766"/>
                        <a:pt x="37726" y="206684"/>
                      </a:cubicBezTo>
                      <a:cubicBezTo>
                        <a:pt x="45684" y="206684"/>
                        <a:pt x="74833" y="231216"/>
                        <a:pt x="74833" y="231216"/>
                      </a:cubicBezTo>
                      <a:cubicBezTo>
                        <a:pt x="74833" y="231216"/>
                        <a:pt x="116064" y="221280"/>
                        <a:pt x="143812" y="216621"/>
                      </a:cubicBezTo>
                      <a:cubicBezTo>
                        <a:pt x="144472" y="211966"/>
                        <a:pt x="144761" y="207261"/>
                        <a:pt x="144596" y="202561"/>
                      </a:cubicBezTo>
                      <a:cubicBezTo>
                        <a:pt x="143689" y="196376"/>
                        <a:pt x="149956" y="184049"/>
                        <a:pt x="157913" y="184049"/>
                      </a:cubicBezTo>
                      <a:cubicBezTo>
                        <a:pt x="165871" y="184049"/>
                        <a:pt x="154367" y="163804"/>
                        <a:pt x="145502" y="154569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77" name="Romania">
                  <a:extLst>
                    <a:ext uri="{FF2B5EF4-FFF2-40B4-BE49-F238E27FC236}">
                      <a16:creationId xmlns:a16="http://schemas.microsoft.com/office/drawing/2014/main" id="{ED3CC49B-D951-A2DF-ABE5-D17B863E7747}"/>
                    </a:ext>
                  </a:extLst>
                </p:cNvPr>
                <p:cNvSpPr/>
                <p:nvPr>
                  <p:custDataLst>
                    <p:tags r:id="rId53"/>
                  </p:custDataLst>
                </p:nvPr>
              </p:nvSpPr>
              <p:spPr>
                <a:xfrm>
                  <a:off x="8249517" y="4072512"/>
                  <a:ext cx="477530" cy="360552"/>
                </a:xfrm>
                <a:custGeom>
                  <a:avLst/>
                  <a:gdLst>
                    <a:gd name="connsiteX0" fmla="*/ 323893 w 360900"/>
                    <a:gd name="connsiteY0" fmla="*/ 182069 h 272492"/>
                    <a:gd name="connsiteX1" fmla="*/ 308473 w 360900"/>
                    <a:gd name="connsiteY1" fmla="*/ 171143 h 272492"/>
                    <a:gd name="connsiteX2" fmla="*/ 309503 w 360900"/>
                    <a:gd name="connsiteY2" fmla="*/ 169577 h 272492"/>
                    <a:gd name="connsiteX3" fmla="*/ 302576 w 360900"/>
                    <a:gd name="connsiteY3" fmla="*/ 117296 h 272492"/>
                    <a:gd name="connsiteX4" fmla="*/ 277220 w 360900"/>
                    <a:gd name="connsiteY4" fmla="*/ 52317 h 272492"/>
                    <a:gd name="connsiteX5" fmla="*/ 250832 w 360900"/>
                    <a:gd name="connsiteY5" fmla="*/ -4 h 272492"/>
                    <a:gd name="connsiteX6" fmla="*/ 231495 w 360900"/>
                    <a:gd name="connsiteY6" fmla="*/ 10633 h 272492"/>
                    <a:gd name="connsiteX7" fmla="*/ 208983 w 360900"/>
                    <a:gd name="connsiteY7" fmla="*/ 24363 h 272492"/>
                    <a:gd name="connsiteX8" fmla="*/ 188822 w 360900"/>
                    <a:gd name="connsiteY8" fmla="*/ 27084 h 272492"/>
                    <a:gd name="connsiteX9" fmla="*/ 171051 w 360900"/>
                    <a:gd name="connsiteY9" fmla="*/ 32609 h 272492"/>
                    <a:gd name="connsiteX10" fmla="*/ 147344 w 360900"/>
                    <a:gd name="connsiteY10" fmla="*/ 24363 h 272492"/>
                    <a:gd name="connsiteX11" fmla="*/ 107144 w 360900"/>
                    <a:gd name="connsiteY11" fmla="*/ 16117 h 272492"/>
                    <a:gd name="connsiteX12" fmla="*/ 91683 w 360900"/>
                    <a:gd name="connsiteY12" fmla="*/ 17643 h 272492"/>
                    <a:gd name="connsiteX13" fmla="*/ 87848 w 360900"/>
                    <a:gd name="connsiteY13" fmla="*/ 27785 h 272492"/>
                    <a:gd name="connsiteX14" fmla="*/ 61213 w 360900"/>
                    <a:gd name="connsiteY14" fmla="*/ 47328 h 272492"/>
                    <a:gd name="connsiteX15" fmla="*/ 24766 w 360900"/>
                    <a:gd name="connsiteY15" fmla="*/ 117420 h 272492"/>
                    <a:gd name="connsiteX16" fmla="*/ 27 w 360900"/>
                    <a:gd name="connsiteY16" fmla="*/ 138984 h 272492"/>
                    <a:gd name="connsiteX17" fmla="*/ 14211 w 360900"/>
                    <a:gd name="connsiteY17" fmla="*/ 165784 h 272492"/>
                    <a:gd name="connsiteX18" fmla="*/ 27569 w 360900"/>
                    <a:gd name="connsiteY18" fmla="*/ 182276 h 272492"/>
                    <a:gd name="connsiteX19" fmla="*/ 32888 w 360900"/>
                    <a:gd name="connsiteY19" fmla="*/ 211137 h 272492"/>
                    <a:gd name="connsiteX20" fmla="*/ 77293 w 360900"/>
                    <a:gd name="connsiteY20" fmla="*/ 226557 h 272492"/>
                    <a:gd name="connsiteX21" fmla="*/ 79685 w 360900"/>
                    <a:gd name="connsiteY21" fmla="*/ 246843 h 272492"/>
                    <a:gd name="connsiteX22" fmla="*/ 102485 w 360900"/>
                    <a:gd name="connsiteY22" fmla="*/ 264613 h 272492"/>
                    <a:gd name="connsiteX23" fmla="*/ 145118 w 360900"/>
                    <a:gd name="connsiteY23" fmla="*/ 270097 h 272492"/>
                    <a:gd name="connsiteX24" fmla="*/ 187791 w 360900"/>
                    <a:gd name="connsiteY24" fmla="*/ 271498 h 272492"/>
                    <a:gd name="connsiteX25" fmla="*/ 216199 w 360900"/>
                    <a:gd name="connsiteY25" fmla="*/ 257769 h 272492"/>
                    <a:gd name="connsiteX26" fmla="*/ 263614 w 360900"/>
                    <a:gd name="connsiteY26" fmla="*/ 248162 h 272492"/>
                    <a:gd name="connsiteX27" fmla="*/ 295567 w 360900"/>
                    <a:gd name="connsiteY27" fmla="*/ 259170 h 272492"/>
                    <a:gd name="connsiteX28" fmla="*/ 319894 w 360900"/>
                    <a:gd name="connsiteY28" fmla="*/ 272488 h 272492"/>
                    <a:gd name="connsiteX29" fmla="*/ 319894 w 360900"/>
                    <a:gd name="connsiteY29" fmla="*/ 248162 h 272492"/>
                    <a:gd name="connsiteX30" fmla="*/ 340055 w 360900"/>
                    <a:gd name="connsiteY30" fmla="*/ 210436 h 272492"/>
                    <a:gd name="connsiteX31" fmla="*/ 360670 w 360900"/>
                    <a:gd name="connsiteY31" fmla="*/ 185079 h 272492"/>
                    <a:gd name="connsiteX32" fmla="*/ 360670 w 360900"/>
                    <a:gd name="connsiteY32" fmla="*/ 182853 h 272492"/>
                    <a:gd name="connsiteX33" fmla="*/ 346570 w 360900"/>
                    <a:gd name="connsiteY33" fmla="*/ 171350 h 272492"/>
                    <a:gd name="connsiteX34" fmla="*/ 323893 w 360900"/>
                    <a:gd name="connsiteY34" fmla="*/ 182069 h 2724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</a:cxnLst>
                  <a:rect l="l" t="t" r="r" b="b"/>
                  <a:pathLst>
                    <a:path w="360900" h="272492">
                      <a:moveTo>
                        <a:pt x="323893" y="182069"/>
                      </a:moveTo>
                      <a:cubicBezTo>
                        <a:pt x="315647" y="180750"/>
                        <a:pt x="304886" y="176627"/>
                        <a:pt x="308473" y="171143"/>
                      </a:cubicBezTo>
                      <a:cubicBezTo>
                        <a:pt x="308473" y="170772"/>
                        <a:pt x="309173" y="170113"/>
                        <a:pt x="309503" y="169577"/>
                      </a:cubicBezTo>
                      <a:cubicBezTo>
                        <a:pt x="298412" y="159187"/>
                        <a:pt x="295485" y="125543"/>
                        <a:pt x="302576" y="117296"/>
                      </a:cubicBezTo>
                      <a:cubicBezTo>
                        <a:pt x="311606" y="106824"/>
                        <a:pt x="288063" y="66995"/>
                        <a:pt x="277220" y="52317"/>
                      </a:cubicBezTo>
                      <a:cubicBezTo>
                        <a:pt x="272148" y="45432"/>
                        <a:pt x="261140" y="22508"/>
                        <a:pt x="250832" y="-4"/>
                      </a:cubicBezTo>
                      <a:cubicBezTo>
                        <a:pt x="241432" y="3542"/>
                        <a:pt x="233103" y="7500"/>
                        <a:pt x="231495" y="10633"/>
                      </a:cubicBezTo>
                      <a:cubicBezTo>
                        <a:pt x="226341" y="18265"/>
                        <a:pt x="218137" y="23279"/>
                        <a:pt x="208983" y="24363"/>
                      </a:cubicBezTo>
                      <a:cubicBezTo>
                        <a:pt x="201851" y="24363"/>
                        <a:pt x="194759" y="20240"/>
                        <a:pt x="188822" y="27084"/>
                      </a:cubicBezTo>
                      <a:cubicBezTo>
                        <a:pt x="182884" y="33928"/>
                        <a:pt x="174638" y="36691"/>
                        <a:pt x="171051" y="32609"/>
                      </a:cubicBezTo>
                      <a:cubicBezTo>
                        <a:pt x="167464" y="28527"/>
                        <a:pt x="155672" y="24363"/>
                        <a:pt x="147344" y="24363"/>
                      </a:cubicBezTo>
                      <a:cubicBezTo>
                        <a:pt x="139016" y="24363"/>
                        <a:pt x="113040" y="16117"/>
                        <a:pt x="107144" y="16117"/>
                      </a:cubicBezTo>
                      <a:cubicBezTo>
                        <a:pt x="101949" y="16282"/>
                        <a:pt x="96795" y="16789"/>
                        <a:pt x="91683" y="17643"/>
                      </a:cubicBezTo>
                      <a:cubicBezTo>
                        <a:pt x="93043" y="20611"/>
                        <a:pt x="91971" y="24198"/>
                        <a:pt x="87848" y="27785"/>
                      </a:cubicBezTo>
                      <a:cubicBezTo>
                        <a:pt x="80757" y="33970"/>
                        <a:pt x="66532" y="43205"/>
                        <a:pt x="61213" y="47328"/>
                      </a:cubicBezTo>
                      <a:cubicBezTo>
                        <a:pt x="55895" y="51451"/>
                        <a:pt x="37217" y="102866"/>
                        <a:pt x="24766" y="117420"/>
                      </a:cubicBezTo>
                      <a:cubicBezTo>
                        <a:pt x="12314" y="131975"/>
                        <a:pt x="770" y="133912"/>
                        <a:pt x="27" y="138984"/>
                      </a:cubicBezTo>
                      <a:cubicBezTo>
                        <a:pt x="-715" y="144055"/>
                        <a:pt x="14211" y="157537"/>
                        <a:pt x="14211" y="165784"/>
                      </a:cubicBezTo>
                      <a:cubicBezTo>
                        <a:pt x="14211" y="174030"/>
                        <a:pt x="17757" y="182276"/>
                        <a:pt x="27569" y="182276"/>
                      </a:cubicBezTo>
                      <a:cubicBezTo>
                        <a:pt x="37382" y="182276"/>
                        <a:pt x="26662" y="209076"/>
                        <a:pt x="32888" y="211137"/>
                      </a:cubicBezTo>
                      <a:cubicBezTo>
                        <a:pt x="39114" y="213199"/>
                        <a:pt x="77293" y="216250"/>
                        <a:pt x="77293" y="226557"/>
                      </a:cubicBezTo>
                      <a:cubicBezTo>
                        <a:pt x="77293" y="234556"/>
                        <a:pt x="81416" y="241318"/>
                        <a:pt x="79685" y="246843"/>
                      </a:cubicBezTo>
                      <a:cubicBezTo>
                        <a:pt x="90405" y="248945"/>
                        <a:pt x="98280" y="265850"/>
                        <a:pt x="102485" y="264613"/>
                      </a:cubicBezTo>
                      <a:cubicBezTo>
                        <a:pt x="106690" y="263376"/>
                        <a:pt x="139221" y="271498"/>
                        <a:pt x="145118" y="270097"/>
                      </a:cubicBezTo>
                      <a:cubicBezTo>
                        <a:pt x="151013" y="268695"/>
                        <a:pt x="178102" y="270097"/>
                        <a:pt x="187791" y="271498"/>
                      </a:cubicBezTo>
                      <a:cubicBezTo>
                        <a:pt x="197480" y="272900"/>
                        <a:pt x="207911" y="267375"/>
                        <a:pt x="216199" y="257769"/>
                      </a:cubicBezTo>
                      <a:cubicBezTo>
                        <a:pt x="224486" y="248162"/>
                        <a:pt x="254131" y="246801"/>
                        <a:pt x="263614" y="248162"/>
                      </a:cubicBezTo>
                      <a:cubicBezTo>
                        <a:pt x="273097" y="249523"/>
                        <a:pt x="292022" y="252285"/>
                        <a:pt x="295567" y="259170"/>
                      </a:cubicBezTo>
                      <a:cubicBezTo>
                        <a:pt x="297464" y="262716"/>
                        <a:pt x="308596" y="268118"/>
                        <a:pt x="319894" y="272488"/>
                      </a:cubicBezTo>
                      <a:cubicBezTo>
                        <a:pt x="321213" y="265685"/>
                        <a:pt x="319481" y="256862"/>
                        <a:pt x="319894" y="248162"/>
                      </a:cubicBezTo>
                      <a:cubicBezTo>
                        <a:pt x="320512" y="233731"/>
                        <a:pt x="327604" y="211797"/>
                        <a:pt x="340055" y="210436"/>
                      </a:cubicBezTo>
                      <a:cubicBezTo>
                        <a:pt x="352506" y="209076"/>
                        <a:pt x="362567" y="209076"/>
                        <a:pt x="360670" y="185079"/>
                      </a:cubicBezTo>
                      <a:cubicBezTo>
                        <a:pt x="360670" y="184213"/>
                        <a:pt x="360670" y="183636"/>
                        <a:pt x="360670" y="182853"/>
                      </a:cubicBezTo>
                      <a:cubicBezTo>
                        <a:pt x="354403" y="176627"/>
                        <a:pt x="348301" y="171350"/>
                        <a:pt x="346570" y="171350"/>
                      </a:cubicBezTo>
                      <a:cubicBezTo>
                        <a:pt x="341622" y="171102"/>
                        <a:pt x="327397" y="182688"/>
                        <a:pt x="323893" y="182069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78" name="Poland">
                  <a:extLst>
                    <a:ext uri="{FF2B5EF4-FFF2-40B4-BE49-F238E27FC236}">
                      <a16:creationId xmlns:a16="http://schemas.microsoft.com/office/drawing/2014/main" id="{7EFAC84A-3650-3EAA-0243-6A3AE636FCA6}"/>
                    </a:ext>
                  </a:extLst>
                </p:cNvPr>
                <p:cNvSpPr/>
                <p:nvPr>
                  <p:custDataLst>
                    <p:tags r:id="rId54"/>
                  </p:custDataLst>
                </p:nvPr>
              </p:nvSpPr>
              <p:spPr>
                <a:xfrm>
                  <a:off x="7930798" y="3535683"/>
                  <a:ext cx="503792" cy="476328"/>
                </a:xfrm>
                <a:custGeom>
                  <a:avLst/>
                  <a:gdLst>
                    <a:gd name="connsiteX0" fmla="*/ 4447 w 380748"/>
                    <a:gd name="connsiteY0" fmla="*/ 72364 h 359991"/>
                    <a:gd name="connsiteX1" fmla="*/ 3540 w 380748"/>
                    <a:gd name="connsiteY1" fmla="*/ 120727 h 359991"/>
                    <a:gd name="connsiteX2" fmla="*/ 6220 w 380748"/>
                    <a:gd name="connsiteY2" fmla="*/ 139198 h 359991"/>
                    <a:gd name="connsiteX3" fmla="*/ 15125 w 380748"/>
                    <a:gd name="connsiteY3" fmla="*/ 161875 h 359991"/>
                    <a:gd name="connsiteX4" fmla="*/ 20444 w 380748"/>
                    <a:gd name="connsiteY4" fmla="*/ 186613 h 359991"/>
                    <a:gd name="connsiteX5" fmla="*/ 30216 w 380748"/>
                    <a:gd name="connsiteY5" fmla="*/ 223721 h 359991"/>
                    <a:gd name="connsiteX6" fmla="*/ 31412 w 380748"/>
                    <a:gd name="connsiteY6" fmla="*/ 244336 h 359991"/>
                    <a:gd name="connsiteX7" fmla="*/ 54583 w 380748"/>
                    <a:gd name="connsiteY7" fmla="*/ 259880 h 359991"/>
                    <a:gd name="connsiteX8" fmla="*/ 81012 w 380748"/>
                    <a:gd name="connsiteY8" fmla="*/ 281361 h 359991"/>
                    <a:gd name="connsiteX9" fmla="*/ 102245 w 380748"/>
                    <a:gd name="connsiteY9" fmla="*/ 292081 h 359991"/>
                    <a:gd name="connsiteX10" fmla="*/ 124716 w 380748"/>
                    <a:gd name="connsiteY10" fmla="*/ 287504 h 359991"/>
                    <a:gd name="connsiteX11" fmla="*/ 135271 w 380748"/>
                    <a:gd name="connsiteY11" fmla="*/ 304368 h 359991"/>
                    <a:gd name="connsiteX12" fmla="*/ 161782 w 380748"/>
                    <a:gd name="connsiteY12" fmla="*/ 312037 h 359991"/>
                    <a:gd name="connsiteX13" fmla="*/ 180295 w 380748"/>
                    <a:gd name="connsiteY13" fmla="*/ 339620 h 359991"/>
                    <a:gd name="connsiteX14" fmla="*/ 204126 w 380748"/>
                    <a:gd name="connsiteY14" fmla="*/ 336527 h 359991"/>
                    <a:gd name="connsiteX15" fmla="*/ 238512 w 380748"/>
                    <a:gd name="connsiteY15" fmla="*/ 341145 h 359991"/>
                    <a:gd name="connsiteX16" fmla="*/ 268940 w 380748"/>
                    <a:gd name="connsiteY16" fmla="*/ 344238 h 359991"/>
                    <a:gd name="connsiteX17" fmla="*/ 303326 w 380748"/>
                    <a:gd name="connsiteY17" fmla="*/ 353391 h 359991"/>
                    <a:gd name="connsiteX18" fmla="*/ 326787 w 380748"/>
                    <a:gd name="connsiteY18" fmla="*/ 359987 h 359991"/>
                    <a:gd name="connsiteX19" fmla="*/ 325138 w 380748"/>
                    <a:gd name="connsiteY19" fmla="*/ 329518 h 359991"/>
                    <a:gd name="connsiteX20" fmla="*/ 362245 w 380748"/>
                    <a:gd name="connsiteY20" fmla="*/ 285278 h 359991"/>
                    <a:gd name="connsiteX21" fmla="*/ 380015 w 380748"/>
                    <a:gd name="connsiteY21" fmla="*/ 268786 h 359991"/>
                    <a:gd name="connsiteX22" fmla="*/ 364059 w 380748"/>
                    <a:gd name="connsiteY22" fmla="*/ 223432 h 359991"/>
                    <a:gd name="connsiteX23" fmla="*/ 361379 w 380748"/>
                    <a:gd name="connsiteY23" fmla="*/ 182202 h 359991"/>
                    <a:gd name="connsiteX24" fmla="*/ 348061 w 380748"/>
                    <a:gd name="connsiteY24" fmla="*/ 158577 h 359991"/>
                    <a:gd name="connsiteX25" fmla="*/ 371150 w 380748"/>
                    <a:gd name="connsiteY25" fmla="*/ 134911 h 359991"/>
                    <a:gd name="connsiteX26" fmla="*/ 369378 w 380748"/>
                    <a:gd name="connsiteY26" fmla="*/ 94752 h 359991"/>
                    <a:gd name="connsiteX27" fmla="*/ 363152 w 380748"/>
                    <a:gd name="connsiteY27" fmla="*/ 59788 h 359991"/>
                    <a:gd name="connsiteX28" fmla="*/ 332064 w 380748"/>
                    <a:gd name="connsiteY28" fmla="*/ 34061 h 359991"/>
                    <a:gd name="connsiteX29" fmla="*/ 330580 w 380748"/>
                    <a:gd name="connsiteY29" fmla="*/ 31958 h 359991"/>
                    <a:gd name="connsiteX30" fmla="*/ 226432 w 380748"/>
                    <a:gd name="connsiteY30" fmla="*/ 26845 h 359991"/>
                    <a:gd name="connsiteX31" fmla="*/ 206188 w 380748"/>
                    <a:gd name="connsiteY31" fmla="*/ 18270 h 359991"/>
                    <a:gd name="connsiteX32" fmla="*/ 184294 w 380748"/>
                    <a:gd name="connsiteY32" fmla="*/ 31340 h 359991"/>
                    <a:gd name="connsiteX33" fmla="*/ 165328 w 380748"/>
                    <a:gd name="connsiteY33" fmla="*/ 2478 h 359991"/>
                    <a:gd name="connsiteX34" fmla="*/ 77672 w 380748"/>
                    <a:gd name="connsiteY34" fmla="*/ 31340 h 359991"/>
                    <a:gd name="connsiteX35" fmla="*/ 15538 w 380748"/>
                    <a:gd name="connsiteY35" fmla="*/ 56078 h 359991"/>
                    <a:gd name="connsiteX36" fmla="*/ 4076 w 380748"/>
                    <a:gd name="connsiteY36" fmla="*/ 66592 h 359991"/>
                    <a:gd name="connsiteX37" fmla="*/ 4447 w 380748"/>
                    <a:gd name="connsiteY37" fmla="*/ 72364 h 3599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</a:cxnLst>
                  <a:rect l="l" t="t" r="r" b="b"/>
                  <a:pathLst>
                    <a:path w="380748" h="359991">
                      <a:moveTo>
                        <a:pt x="4447" y="72364"/>
                      </a:moveTo>
                      <a:cubicBezTo>
                        <a:pt x="7086" y="80610"/>
                        <a:pt x="9766" y="109471"/>
                        <a:pt x="3540" y="120727"/>
                      </a:cubicBezTo>
                      <a:cubicBezTo>
                        <a:pt x="-2686" y="131983"/>
                        <a:pt x="-6" y="135117"/>
                        <a:pt x="6220" y="139198"/>
                      </a:cubicBezTo>
                      <a:cubicBezTo>
                        <a:pt x="12445" y="143280"/>
                        <a:pt x="15125" y="153629"/>
                        <a:pt x="15125" y="161875"/>
                      </a:cubicBezTo>
                      <a:cubicBezTo>
                        <a:pt x="15125" y="170121"/>
                        <a:pt x="19537" y="169049"/>
                        <a:pt x="20444" y="186613"/>
                      </a:cubicBezTo>
                      <a:cubicBezTo>
                        <a:pt x="21351" y="204178"/>
                        <a:pt x="24897" y="216423"/>
                        <a:pt x="30216" y="223721"/>
                      </a:cubicBezTo>
                      <a:cubicBezTo>
                        <a:pt x="34339" y="229328"/>
                        <a:pt x="33597" y="237987"/>
                        <a:pt x="31412" y="244336"/>
                      </a:cubicBezTo>
                      <a:cubicBezTo>
                        <a:pt x="38338" y="250616"/>
                        <a:pt x="46131" y="255852"/>
                        <a:pt x="54583" y="259880"/>
                      </a:cubicBezTo>
                      <a:cubicBezTo>
                        <a:pt x="73096" y="267590"/>
                        <a:pt x="79734" y="273692"/>
                        <a:pt x="81012" y="281361"/>
                      </a:cubicBezTo>
                      <a:cubicBezTo>
                        <a:pt x="82290" y="289030"/>
                        <a:pt x="98246" y="302842"/>
                        <a:pt x="102245" y="292081"/>
                      </a:cubicBezTo>
                      <a:cubicBezTo>
                        <a:pt x="106245" y="281320"/>
                        <a:pt x="116759" y="287504"/>
                        <a:pt x="124716" y="287504"/>
                      </a:cubicBezTo>
                      <a:cubicBezTo>
                        <a:pt x="132673" y="287504"/>
                        <a:pt x="133993" y="298224"/>
                        <a:pt x="135271" y="304368"/>
                      </a:cubicBezTo>
                      <a:cubicBezTo>
                        <a:pt x="136549" y="310511"/>
                        <a:pt x="155103" y="307460"/>
                        <a:pt x="161782" y="312037"/>
                      </a:cubicBezTo>
                      <a:cubicBezTo>
                        <a:pt x="168462" y="316613"/>
                        <a:pt x="171018" y="333476"/>
                        <a:pt x="180295" y="339620"/>
                      </a:cubicBezTo>
                      <a:cubicBezTo>
                        <a:pt x="189572" y="345763"/>
                        <a:pt x="197447" y="331951"/>
                        <a:pt x="204126" y="336527"/>
                      </a:cubicBezTo>
                      <a:cubicBezTo>
                        <a:pt x="210806" y="341104"/>
                        <a:pt x="227916" y="345722"/>
                        <a:pt x="238512" y="341145"/>
                      </a:cubicBezTo>
                      <a:cubicBezTo>
                        <a:pt x="249108" y="336569"/>
                        <a:pt x="255705" y="345722"/>
                        <a:pt x="268940" y="344238"/>
                      </a:cubicBezTo>
                      <a:cubicBezTo>
                        <a:pt x="282175" y="342753"/>
                        <a:pt x="299368" y="348773"/>
                        <a:pt x="303326" y="353391"/>
                      </a:cubicBezTo>
                      <a:cubicBezTo>
                        <a:pt x="305429" y="355823"/>
                        <a:pt x="316603" y="358215"/>
                        <a:pt x="326787" y="359987"/>
                      </a:cubicBezTo>
                      <a:cubicBezTo>
                        <a:pt x="329425" y="353679"/>
                        <a:pt x="324313" y="334301"/>
                        <a:pt x="325138" y="329518"/>
                      </a:cubicBezTo>
                      <a:cubicBezTo>
                        <a:pt x="325962" y="324735"/>
                        <a:pt x="357091" y="292411"/>
                        <a:pt x="362245" y="285278"/>
                      </a:cubicBezTo>
                      <a:cubicBezTo>
                        <a:pt x="367399" y="278145"/>
                        <a:pt x="375604" y="278063"/>
                        <a:pt x="380015" y="268786"/>
                      </a:cubicBezTo>
                      <a:cubicBezTo>
                        <a:pt x="384427" y="259509"/>
                        <a:pt x="367646" y="229699"/>
                        <a:pt x="364059" y="223432"/>
                      </a:cubicBezTo>
                      <a:cubicBezTo>
                        <a:pt x="360472" y="217165"/>
                        <a:pt x="358740" y="192551"/>
                        <a:pt x="361379" y="182202"/>
                      </a:cubicBezTo>
                      <a:cubicBezTo>
                        <a:pt x="364018" y="171853"/>
                        <a:pt x="348061" y="165710"/>
                        <a:pt x="348061" y="158577"/>
                      </a:cubicBezTo>
                      <a:cubicBezTo>
                        <a:pt x="348061" y="151444"/>
                        <a:pt x="363152" y="138992"/>
                        <a:pt x="371150" y="134911"/>
                      </a:cubicBezTo>
                      <a:cubicBezTo>
                        <a:pt x="379149" y="130829"/>
                        <a:pt x="376511" y="101926"/>
                        <a:pt x="369378" y="94752"/>
                      </a:cubicBezTo>
                      <a:cubicBezTo>
                        <a:pt x="362245" y="87578"/>
                        <a:pt x="358740" y="74137"/>
                        <a:pt x="363152" y="59788"/>
                      </a:cubicBezTo>
                      <a:cubicBezTo>
                        <a:pt x="367563" y="45440"/>
                        <a:pt x="336517" y="34061"/>
                        <a:pt x="332064" y="34061"/>
                      </a:cubicBezTo>
                      <a:cubicBezTo>
                        <a:pt x="331322" y="34061"/>
                        <a:pt x="330910" y="33154"/>
                        <a:pt x="330580" y="31958"/>
                      </a:cubicBezTo>
                      <a:cubicBezTo>
                        <a:pt x="302832" y="37895"/>
                        <a:pt x="231627" y="29319"/>
                        <a:pt x="226432" y="26845"/>
                      </a:cubicBezTo>
                      <a:cubicBezTo>
                        <a:pt x="222927" y="25237"/>
                        <a:pt x="214062" y="21485"/>
                        <a:pt x="206188" y="18270"/>
                      </a:cubicBezTo>
                      <a:cubicBezTo>
                        <a:pt x="201982" y="26462"/>
                        <a:pt x="193488" y="31542"/>
                        <a:pt x="184294" y="31340"/>
                      </a:cubicBezTo>
                      <a:cubicBezTo>
                        <a:pt x="167142" y="31340"/>
                        <a:pt x="165947" y="11425"/>
                        <a:pt x="165328" y="2478"/>
                      </a:cubicBezTo>
                      <a:cubicBezTo>
                        <a:pt x="164710" y="-6469"/>
                        <a:pt x="96061" y="10065"/>
                        <a:pt x="77672" y="31340"/>
                      </a:cubicBezTo>
                      <a:cubicBezTo>
                        <a:pt x="59284" y="52614"/>
                        <a:pt x="16692" y="44368"/>
                        <a:pt x="15538" y="56078"/>
                      </a:cubicBezTo>
                      <a:cubicBezTo>
                        <a:pt x="14631" y="64571"/>
                        <a:pt x="8240" y="68942"/>
                        <a:pt x="4076" y="66592"/>
                      </a:cubicBezTo>
                      <a:cubicBezTo>
                        <a:pt x="3746" y="68517"/>
                        <a:pt x="3870" y="70492"/>
                        <a:pt x="4447" y="72364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79" name="Netherlands">
                  <a:extLst>
                    <a:ext uri="{FF2B5EF4-FFF2-40B4-BE49-F238E27FC236}">
                      <a16:creationId xmlns:a16="http://schemas.microsoft.com/office/drawing/2014/main" id="{08F968B5-EE73-A7F9-0AA8-7245019C46C3}"/>
                    </a:ext>
                  </a:extLst>
                </p:cNvPr>
                <p:cNvSpPr/>
                <p:nvPr>
                  <p:custDataLst>
                    <p:tags r:id="rId55"/>
                  </p:custDataLst>
                </p:nvPr>
              </p:nvSpPr>
              <p:spPr>
                <a:xfrm>
                  <a:off x="7349341" y="3660190"/>
                  <a:ext cx="216997" cy="215382"/>
                </a:xfrm>
                <a:custGeom>
                  <a:avLst/>
                  <a:gdLst>
                    <a:gd name="connsiteX0" fmla="*/ 161995 w 163999"/>
                    <a:gd name="connsiteY0" fmla="*/ 31455 h 162778"/>
                    <a:gd name="connsiteX1" fmla="*/ 160841 w 163999"/>
                    <a:gd name="connsiteY1" fmla="*/ -4 h 162778"/>
                    <a:gd name="connsiteX2" fmla="*/ 150739 w 163999"/>
                    <a:gd name="connsiteY2" fmla="*/ 4655 h 162778"/>
                    <a:gd name="connsiteX3" fmla="*/ 145379 w 163999"/>
                    <a:gd name="connsiteY3" fmla="*/ 2305 h 162778"/>
                    <a:gd name="connsiteX4" fmla="*/ 111117 w 163999"/>
                    <a:gd name="connsiteY4" fmla="*/ 19869 h 162778"/>
                    <a:gd name="connsiteX5" fmla="*/ 93882 w 163999"/>
                    <a:gd name="connsiteY5" fmla="*/ 19168 h 162778"/>
                    <a:gd name="connsiteX6" fmla="*/ 93882 w 163999"/>
                    <a:gd name="connsiteY6" fmla="*/ 38258 h 162778"/>
                    <a:gd name="connsiteX7" fmla="*/ 76730 w 163999"/>
                    <a:gd name="connsiteY7" fmla="*/ 43246 h 162778"/>
                    <a:gd name="connsiteX8" fmla="*/ 71288 w 163999"/>
                    <a:gd name="connsiteY8" fmla="*/ 53884 h 162778"/>
                    <a:gd name="connsiteX9" fmla="*/ 62712 w 163999"/>
                    <a:gd name="connsiteY9" fmla="*/ 65635 h 162778"/>
                    <a:gd name="connsiteX10" fmla="*/ 36407 w 163999"/>
                    <a:gd name="connsiteY10" fmla="*/ 99279 h 162778"/>
                    <a:gd name="connsiteX11" fmla="*/ 6268 w 163999"/>
                    <a:gd name="connsiteY11" fmla="*/ 131562 h 162778"/>
                    <a:gd name="connsiteX12" fmla="*/ 1 w 163999"/>
                    <a:gd name="connsiteY12" fmla="*/ 135685 h 162778"/>
                    <a:gd name="connsiteX13" fmla="*/ 14267 w 163999"/>
                    <a:gd name="connsiteY13" fmla="*/ 141499 h 162778"/>
                    <a:gd name="connsiteX14" fmla="*/ 52281 w 163999"/>
                    <a:gd name="connsiteY14" fmla="*/ 126862 h 162778"/>
                    <a:gd name="connsiteX15" fmla="*/ 79452 w 163999"/>
                    <a:gd name="connsiteY15" fmla="*/ 130985 h 162778"/>
                    <a:gd name="connsiteX16" fmla="*/ 108313 w 163999"/>
                    <a:gd name="connsiteY16" fmla="*/ 153992 h 162778"/>
                    <a:gd name="connsiteX17" fmla="*/ 117095 w 163999"/>
                    <a:gd name="connsiteY17" fmla="*/ 162774 h 162778"/>
                    <a:gd name="connsiteX18" fmla="*/ 121672 w 163999"/>
                    <a:gd name="connsiteY18" fmla="*/ 127233 h 162778"/>
                    <a:gd name="connsiteX19" fmla="*/ 124022 w 163999"/>
                    <a:gd name="connsiteY19" fmla="*/ 105299 h 162778"/>
                    <a:gd name="connsiteX20" fmla="*/ 146534 w 163999"/>
                    <a:gd name="connsiteY20" fmla="*/ 92929 h 162778"/>
                    <a:gd name="connsiteX21" fmla="*/ 154780 w 163999"/>
                    <a:gd name="connsiteY21" fmla="*/ 77798 h 162778"/>
                    <a:gd name="connsiteX22" fmla="*/ 141751 w 163999"/>
                    <a:gd name="connsiteY22" fmla="*/ 53059 h 162778"/>
                    <a:gd name="connsiteX23" fmla="*/ 161995 w 163999"/>
                    <a:gd name="connsiteY23" fmla="*/ 31455 h 1627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163999" h="162778">
                      <a:moveTo>
                        <a:pt x="161995" y="31455"/>
                      </a:moveTo>
                      <a:cubicBezTo>
                        <a:pt x="165458" y="25435"/>
                        <a:pt x="164015" y="13190"/>
                        <a:pt x="160841" y="-4"/>
                      </a:cubicBezTo>
                      <a:cubicBezTo>
                        <a:pt x="159274" y="4861"/>
                        <a:pt x="156099" y="8242"/>
                        <a:pt x="150739" y="4655"/>
                      </a:cubicBezTo>
                      <a:cubicBezTo>
                        <a:pt x="149090" y="3583"/>
                        <a:pt x="147276" y="2787"/>
                        <a:pt x="145379" y="2305"/>
                      </a:cubicBezTo>
                      <a:cubicBezTo>
                        <a:pt x="137133" y="13396"/>
                        <a:pt x="124764" y="21106"/>
                        <a:pt x="111117" y="19869"/>
                      </a:cubicBezTo>
                      <a:cubicBezTo>
                        <a:pt x="105345" y="19374"/>
                        <a:pt x="99613" y="19292"/>
                        <a:pt x="93882" y="19168"/>
                      </a:cubicBezTo>
                      <a:cubicBezTo>
                        <a:pt x="90460" y="26053"/>
                        <a:pt x="90378" y="33846"/>
                        <a:pt x="93882" y="38258"/>
                      </a:cubicBezTo>
                      <a:cubicBezTo>
                        <a:pt x="99572" y="45432"/>
                        <a:pt x="82503" y="49431"/>
                        <a:pt x="76730" y="43246"/>
                      </a:cubicBezTo>
                      <a:cubicBezTo>
                        <a:pt x="75123" y="46887"/>
                        <a:pt x="73308" y="50437"/>
                        <a:pt x="71288" y="53884"/>
                      </a:cubicBezTo>
                      <a:cubicBezTo>
                        <a:pt x="68732" y="58011"/>
                        <a:pt x="65846" y="61940"/>
                        <a:pt x="62712" y="65635"/>
                      </a:cubicBezTo>
                      <a:cubicBezTo>
                        <a:pt x="60115" y="80535"/>
                        <a:pt x="50219" y="93152"/>
                        <a:pt x="36407" y="99279"/>
                      </a:cubicBezTo>
                      <a:cubicBezTo>
                        <a:pt x="31254" y="112761"/>
                        <a:pt x="16534" y="124512"/>
                        <a:pt x="6268" y="131562"/>
                      </a:cubicBezTo>
                      <a:lnTo>
                        <a:pt x="1" y="135685"/>
                      </a:lnTo>
                      <a:cubicBezTo>
                        <a:pt x="4371" y="138448"/>
                        <a:pt x="9195" y="140419"/>
                        <a:pt x="14267" y="141499"/>
                      </a:cubicBezTo>
                      <a:cubicBezTo>
                        <a:pt x="25151" y="141499"/>
                        <a:pt x="45024" y="135232"/>
                        <a:pt x="52281" y="126862"/>
                      </a:cubicBezTo>
                      <a:cubicBezTo>
                        <a:pt x="59538" y="118492"/>
                        <a:pt x="72195" y="122739"/>
                        <a:pt x="79452" y="130985"/>
                      </a:cubicBezTo>
                      <a:cubicBezTo>
                        <a:pt x="86708" y="139231"/>
                        <a:pt x="97552" y="141416"/>
                        <a:pt x="108313" y="153992"/>
                      </a:cubicBezTo>
                      <a:cubicBezTo>
                        <a:pt x="111034" y="157121"/>
                        <a:pt x="113962" y="160057"/>
                        <a:pt x="117095" y="162774"/>
                      </a:cubicBezTo>
                      <a:cubicBezTo>
                        <a:pt x="118085" y="153950"/>
                        <a:pt x="118291" y="136345"/>
                        <a:pt x="121672" y="127233"/>
                      </a:cubicBezTo>
                      <a:cubicBezTo>
                        <a:pt x="125053" y="118121"/>
                        <a:pt x="118085" y="105299"/>
                        <a:pt x="124022" y="105299"/>
                      </a:cubicBezTo>
                      <a:cubicBezTo>
                        <a:pt x="129959" y="105299"/>
                        <a:pt x="146534" y="105299"/>
                        <a:pt x="146534" y="92929"/>
                      </a:cubicBezTo>
                      <a:cubicBezTo>
                        <a:pt x="146534" y="80560"/>
                        <a:pt x="151275" y="84683"/>
                        <a:pt x="154780" y="77798"/>
                      </a:cubicBezTo>
                      <a:cubicBezTo>
                        <a:pt x="158284" y="70912"/>
                        <a:pt x="144143" y="57182"/>
                        <a:pt x="141751" y="53059"/>
                      </a:cubicBezTo>
                      <a:cubicBezTo>
                        <a:pt x="139360" y="48936"/>
                        <a:pt x="152512" y="47865"/>
                        <a:pt x="161995" y="31455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80" name="Italy">
                  <a:extLst>
                    <a:ext uri="{FF2B5EF4-FFF2-40B4-BE49-F238E27FC236}">
                      <a16:creationId xmlns:a16="http://schemas.microsoft.com/office/drawing/2014/main" id="{1B1F70D8-8516-23B5-A00C-4595F227DA3E}"/>
                    </a:ext>
                  </a:extLst>
                </p:cNvPr>
                <p:cNvSpPr/>
                <p:nvPr>
                  <p:custDataLst>
                    <p:tags r:id="rId56"/>
                  </p:custDataLst>
                </p:nvPr>
              </p:nvSpPr>
              <p:spPr>
                <a:xfrm>
                  <a:off x="7536762" y="4178513"/>
                  <a:ext cx="604580" cy="677569"/>
                </a:xfrm>
                <a:custGeom>
                  <a:avLst/>
                  <a:gdLst>
                    <a:gd name="connsiteX0" fmla="*/ 377490 w 456919"/>
                    <a:gd name="connsiteY0" fmla="*/ 326995 h 512082"/>
                    <a:gd name="connsiteX1" fmla="*/ 347886 w 456919"/>
                    <a:gd name="connsiteY1" fmla="*/ 299535 h 512082"/>
                    <a:gd name="connsiteX2" fmla="*/ 285710 w 456919"/>
                    <a:gd name="connsiteY2" fmla="*/ 225320 h 512082"/>
                    <a:gd name="connsiteX3" fmla="*/ 229431 w 456919"/>
                    <a:gd name="connsiteY3" fmla="*/ 158816 h 512082"/>
                    <a:gd name="connsiteX4" fmla="*/ 230049 w 456919"/>
                    <a:gd name="connsiteY4" fmla="*/ 112143 h 512082"/>
                    <a:gd name="connsiteX5" fmla="*/ 247696 w 456919"/>
                    <a:gd name="connsiteY5" fmla="*/ 85755 h 512082"/>
                    <a:gd name="connsiteX6" fmla="*/ 249799 w 456919"/>
                    <a:gd name="connsiteY6" fmla="*/ 24239 h 512082"/>
                    <a:gd name="connsiteX7" fmla="*/ 229431 w 456919"/>
                    <a:gd name="connsiteY7" fmla="*/ 19580 h 512082"/>
                    <a:gd name="connsiteX8" fmla="*/ 221432 w 456919"/>
                    <a:gd name="connsiteY8" fmla="*/ -4 h 512082"/>
                    <a:gd name="connsiteX9" fmla="*/ 189437 w 456919"/>
                    <a:gd name="connsiteY9" fmla="*/ 5150 h 512082"/>
                    <a:gd name="connsiteX10" fmla="*/ 164699 w 456919"/>
                    <a:gd name="connsiteY10" fmla="*/ 14426 h 512082"/>
                    <a:gd name="connsiteX11" fmla="*/ 159751 w 456919"/>
                    <a:gd name="connsiteY11" fmla="*/ 11211 h 512082"/>
                    <a:gd name="connsiteX12" fmla="*/ 152000 w 456919"/>
                    <a:gd name="connsiteY12" fmla="*/ 19457 h 512082"/>
                    <a:gd name="connsiteX13" fmla="*/ 146063 w 456919"/>
                    <a:gd name="connsiteY13" fmla="*/ 30424 h 512082"/>
                    <a:gd name="connsiteX14" fmla="*/ 134230 w 456919"/>
                    <a:gd name="connsiteY14" fmla="*/ 35866 h 512082"/>
                    <a:gd name="connsiteX15" fmla="*/ 115264 w 456919"/>
                    <a:gd name="connsiteY15" fmla="*/ 41391 h 512082"/>
                    <a:gd name="connsiteX16" fmla="*/ 101039 w 456919"/>
                    <a:gd name="connsiteY16" fmla="*/ 50998 h 512082"/>
                    <a:gd name="connsiteX17" fmla="*/ 90361 w 456919"/>
                    <a:gd name="connsiteY17" fmla="*/ 67490 h 512082"/>
                    <a:gd name="connsiteX18" fmla="*/ 67890 w 456919"/>
                    <a:gd name="connsiteY18" fmla="*/ 35866 h 512082"/>
                    <a:gd name="connsiteX19" fmla="*/ 47728 w 456919"/>
                    <a:gd name="connsiteY19" fmla="*/ 68851 h 512082"/>
                    <a:gd name="connsiteX20" fmla="*/ 13548 w 456919"/>
                    <a:gd name="connsiteY20" fmla="*/ 71654 h 512082"/>
                    <a:gd name="connsiteX21" fmla="*/ 18125 w 456919"/>
                    <a:gd name="connsiteY21" fmla="*/ 93589 h 512082"/>
                    <a:gd name="connsiteX22" fmla="*/ 10126 w 456919"/>
                    <a:gd name="connsiteY22" fmla="*/ 112060 h 512082"/>
                    <a:gd name="connsiteX23" fmla="*/ 2127 w 456919"/>
                    <a:gd name="connsiteY23" fmla="*/ 123399 h 512082"/>
                    <a:gd name="connsiteX24" fmla="*/ 13672 w 456919"/>
                    <a:gd name="connsiteY24" fmla="*/ 147065 h 512082"/>
                    <a:gd name="connsiteX25" fmla="*/ 22578 w 456919"/>
                    <a:gd name="connsiteY25" fmla="*/ 169701 h 512082"/>
                    <a:gd name="connsiteX26" fmla="*/ 41214 w 456919"/>
                    <a:gd name="connsiteY26" fmla="*/ 176916 h 512082"/>
                    <a:gd name="connsiteX27" fmla="*/ 36720 w 456919"/>
                    <a:gd name="connsiteY27" fmla="*/ 192625 h 512082"/>
                    <a:gd name="connsiteX28" fmla="*/ 56057 w 456919"/>
                    <a:gd name="connsiteY28" fmla="*/ 186151 h 512082"/>
                    <a:gd name="connsiteX29" fmla="*/ 83846 w 456919"/>
                    <a:gd name="connsiteY29" fmla="*/ 158733 h 512082"/>
                    <a:gd name="connsiteX30" fmla="*/ 140126 w 456919"/>
                    <a:gd name="connsiteY30" fmla="*/ 186151 h 512082"/>
                    <a:gd name="connsiteX31" fmla="*/ 152495 w 456919"/>
                    <a:gd name="connsiteY31" fmla="*/ 213611 h 512082"/>
                    <a:gd name="connsiteX32" fmla="*/ 190386 w 456919"/>
                    <a:gd name="connsiteY32" fmla="*/ 269849 h 512082"/>
                    <a:gd name="connsiteX33" fmla="*/ 244851 w 456919"/>
                    <a:gd name="connsiteY33" fmla="*/ 324026 h 512082"/>
                    <a:gd name="connsiteX34" fmla="*/ 283361 w 456919"/>
                    <a:gd name="connsiteY34" fmla="*/ 343239 h 512082"/>
                    <a:gd name="connsiteX35" fmla="*/ 318324 w 456919"/>
                    <a:gd name="connsiteY35" fmla="*/ 369998 h 512082"/>
                    <a:gd name="connsiteX36" fmla="*/ 346732 w 456919"/>
                    <a:gd name="connsiteY36" fmla="*/ 397458 h 512082"/>
                    <a:gd name="connsiteX37" fmla="*/ 359760 w 456919"/>
                    <a:gd name="connsiteY37" fmla="*/ 424876 h 512082"/>
                    <a:gd name="connsiteX38" fmla="*/ 361575 w 456919"/>
                    <a:gd name="connsiteY38" fmla="*/ 474971 h 512082"/>
                    <a:gd name="connsiteX39" fmla="*/ 363306 w 456919"/>
                    <a:gd name="connsiteY39" fmla="*/ 512078 h 512082"/>
                    <a:gd name="connsiteX40" fmla="*/ 383468 w 456919"/>
                    <a:gd name="connsiteY40" fmla="*/ 473651 h 512082"/>
                    <a:gd name="connsiteX41" fmla="*/ 406516 w 456919"/>
                    <a:gd name="connsiteY41" fmla="*/ 446233 h 512082"/>
                    <a:gd name="connsiteX42" fmla="*/ 388209 w 456919"/>
                    <a:gd name="connsiteY42" fmla="*/ 409868 h 512082"/>
                    <a:gd name="connsiteX43" fmla="*/ 426678 w 456919"/>
                    <a:gd name="connsiteY43" fmla="*/ 389954 h 512082"/>
                    <a:gd name="connsiteX44" fmla="*/ 456899 w 456919"/>
                    <a:gd name="connsiteY44" fmla="*/ 392015 h 512082"/>
                    <a:gd name="connsiteX45" fmla="*/ 377490 w 456919"/>
                    <a:gd name="connsiteY45" fmla="*/ 326995 h 5120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</a:cxnLst>
                  <a:rect l="l" t="t" r="r" b="b"/>
                  <a:pathLst>
                    <a:path w="456918" h="512082">
                      <a:moveTo>
                        <a:pt x="377490" y="326995"/>
                      </a:moveTo>
                      <a:cubicBezTo>
                        <a:pt x="362111" y="316027"/>
                        <a:pt x="372171" y="298133"/>
                        <a:pt x="347886" y="299535"/>
                      </a:cubicBezTo>
                      <a:cubicBezTo>
                        <a:pt x="323602" y="300937"/>
                        <a:pt x="294575" y="265932"/>
                        <a:pt x="285710" y="225320"/>
                      </a:cubicBezTo>
                      <a:cubicBezTo>
                        <a:pt x="276846" y="184708"/>
                        <a:pt x="238914" y="182853"/>
                        <a:pt x="229431" y="158816"/>
                      </a:cubicBezTo>
                      <a:cubicBezTo>
                        <a:pt x="219948" y="134778"/>
                        <a:pt x="238337" y="132057"/>
                        <a:pt x="230049" y="112143"/>
                      </a:cubicBezTo>
                      <a:cubicBezTo>
                        <a:pt x="225432" y="101093"/>
                        <a:pt x="235657" y="91527"/>
                        <a:pt x="247696" y="85755"/>
                      </a:cubicBezTo>
                      <a:cubicBezTo>
                        <a:pt x="247078" y="65226"/>
                        <a:pt x="247779" y="44677"/>
                        <a:pt x="249799" y="24239"/>
                      </a:cubicBezTo>
                      <a:cubicBezTo>
                        <a:pt x="242789" y="23876"/>
                        <a:pt x="235904" y="22297"/>
                        <a:pt x="229431" y="19580"/>
                      </a:cubicBezTo>
                      <a:cubicBezTo>
                        <a:pt x="224978" y="16488"/>
                        <a:pt x="224112" y="-4"/>
                        <a:pt x="221432" y="-4"/>
                      </a:cubicBezTo>
                      <a:cubicBezTo>
                        <a:pt x="218752" y="-4"/>
                        <a:pt x="193890" y="-4"/>
                        <a:pt x="189437" y="5150"/>
                      </a:cubicBezTo>
                      <a:cubicBezTo>
                        <a:pt x="184985" y="10303"/>
                        <a:pt x="171667" y="19580"/>
                        <a:pt x="164699" y="14426"/>
                      </a:cubicBezTo>
                      <a:cubicBezTo>
                        <a:pt x="163091" y="13264"/>
                        <a:pt x="161442" y="12192"/>
                        <a:pt x="159751" y="11211"/>
                      </a:cubicBezTo>
                      <a:lnTo>
                        <a:pt x="152000" y="19457"/>
                      </a:lnTo>
                      <a:cubicBezTo>
                        <a:pt x="152000" y="19457"/>
                        <a:pt x="150805" y="30424"/>
                        <a:pt x="146063" y="30424"/>
                      </a:cubicBezTo>
                      <a:cubicBezTo>
                        <a:pt x="141321" y="30424"/>
                        <a:pt x="134230" y="26301"/>
                        <a:pt x="134230" y="35866"/>
                      </a:cubicBezTo>
                      <a:cubicBezTo>
                        <a:pt x="134230" y="45432"/>
                        <a:pt x="121160" y="42752"/>
                        <a:pt x="115264" y="41391"/>
                      </a:cubicBezTo>
                      <a:cubicBezTo>
                        <a:pt x="109368" y="40031"/>
                        <a:pt x="101039" y="42752"/>
                        <a:pt x="101039" y="50998"/>
                      </a:cubicBezTo>
                      <a:cubicBezTo>
                        <a:pt x="101039" y="59244"/>
                        <a:pt x="99844" y="77097"/>
                        <a:pt x="90361" y="67490"/>
                      </a:cubicBezTo>
                      <a:cubicBezTo>
                        <a:pt x="80878" y="57883"/>
                        <a:pt x="71436" y="33145"/>
                        <a:pt x="67890" y="35866"/>
                      </a:cubicBezTo>
                      <a:cubicBezTo>
                        <a:pt x="64344" y="38587"/>
                        <a:pt x="56057" y="68851"/>
                        <a:pt x="47728" y="68851"/>
                      </a:cubicBezTo>
                      <a:cubicBezTo>
                        <a:pt x="42616" y="68851"/>
                        <a:pt x="25711" y="70417"/>
                        <a:pt x="13548" y="71654"/>
                      </a:cubicBezTo>
                      <a:cubicBezTo>
                        <a:pt x="10373" y="83487"/>
                        <a:pt x="13796" y="90538"/>
                        <a:pt x="18125" y="93589"/>
                      </a:cubicBezTo>
                      <a:cubicBezTo>
                        <a:pt x="22454" y="96640"/>
                        <a:pt x="15445" y="109009"/>
                        <a:pt x="10126" y="112060"/>
                      </a:cubicBezTo>
                      <a:cubicBezTo>
                        <a:pt x="4807" y="115111"/>
                        <a:pt x="-4099" y="112060"/>
                        <a:pt x="2127" y="123399"/>
                      </a:cubicBezTo>
                      <a:cubicBezTo>
                        <a:pt x="8353" y="134737"/>
                        <a:pt x="19898" y="135768"/>
                        <a:pt x="13672" y="147065"/>
                      </a:cubicBezTo>
                      <a:cubicBezTo>
                        <a:pt x="7446" y="158362"/>
                        <a:pt x="13672" y="168670"/>
                        <a:pt x="22578" y="169701"/>
                      </a:cubicBezTo>
                      <a:cubicBezTo>
                        <a:pt x="31483" y="170731"/>
                        <a:pt x="43894" y="168670"/>
                        <a:pt x="41214" y="176916"/>
                      </a:cubicBezTo>
                      <a:cubicBezTo>
                        <a:pt x="39152" y="181979"/>
                        <a:pt x="37668" y="187244"/>
                        <a:pt x="36720" y="192625"/>
                      </a:cubicBezTo>
                      <a:cubicBezTo>
                        <a:pt x="43688" y="190274"/>
                        <a:pt x="49872" y="189862"/>
                        <a:pt x="56057" y="186151"/>
                      </a:cubicBezTo>
                      <a:cubicBezTo>
                        <a:pt x="68426" y="178647"/>
                        <a:pt x="63149" y="165536"/>
                        <a:pt x="83846" y="158733"/>
                      </a:cubicBezTo>
                      <a:cubicBezTo>
                        <a:pt x="104544" y="151930"/>
                        <a:pt x="131839" y="171762"/>
                        <a:pt x="140126" y="186151"/>
                      </a:cubicBezTo>
                      <a:cubicBezTo>
                        <a:pt x="148413" y="200541"/>
                        <a:pt x="150805" y="201943"/>
                        <a:pt x="152495" y="213611"/>
                      </a:cubicBezTo>
                      <a:cubicBezTo>
                        <a:pt x="154185" y="225279"/>
                        <a:pt x="161978" y="248615"/>
                        <a:pt x="190386" y="269849"/>
                      </a:cubicBezTo>
                      <a:cubicBezTo>
                        <a:pt x="218794" y="291083"/>
                        <a:pt x="230091" y="315203"/>
                        <a:pt x="244851" y="324026"/>
                      </a:cubicBezTo>
                      <a:cubicBezTo>
                        <a:pt x="259612" y="332849"/>
                        <a:pt x="274496" y="330912"/>
                        <a:pt x="283361" y="343239"/>
                      </a:cubicBezTo>
                      <a:cubicBezTo>
                        <a:pt x="292225" y="355567"/>
                        <a:pt x="303976" y="362453"/>
                        <a:pt x="318324" y="369998"/>
                      </a:cubicBezTo>
                      <a:cubicBezTo>
                        <a:pt x="332672" y="377543"/>
                        <a:pt x="333084" y="395355"/>
                        <a:pt x="346732" y="397458"/>
                      </a:cubicBezTo>
                      <a:cubicBezTo>
                        <a:pt x="360379" y="399560"/>
                        <a:pt x="351473" y="413208"/>
                        <a:pt x="359760" y="424876"/>
                      </a:cubicBezTo>
                      <a:cubicBezTo>
                        <a:pt x="368048" y="436544"/>
                        <a:pt x="370439" y="461241"/>
                        <a:pt x="361575" y="474971"/>
                      </a:cubicBezTo>
                      <a:cubicBezTo>
                        <a:pt x="352710" y="488701"/>
                        <a:pt x="357452" y="512078"/>
                        <a:pt x="363306" y="512078"/>
                      </a:cubicBezTo>
                      <a:cubicBezTo>
                        <a:pt x="369161" y="512078"/>
                        <a:pt x="381654" y="487340"/>
                        <a:pt x="383468" y="473651"/>
                      </a:cubicBezTo>
                      <a:cubicBezTo>
                        <a:pt x="385282" y="459963"/>
                        <a:pt x="397074" y="460623"/>
                        <a:pt x="406516" y="446233"/>
                      </a:cubicBezTo>
                      <a:cubicBezTo>
                        <a:pt x="415957" y="431844"/>
                        <a:pt x="392332" y="428380"/>
                        <a:pt x="388209" y="409868"/>
                      </a:cubicBezTo>
                      <a:cubicBezTo>
                        <a:pt x="384086" y="391355"/>
                        <a:pt x="405980" y="374863"/>
                        <a:pt x="426678" y="389954"/>
                      </a:cubicBezTo>
                      <a:cubicBezTo>
                        <a:pt x="447375" y="405044"/>
                        <a:pt x="455539" y="415351"/>
                        <a:pt x="456899" y="392015"/>
                      </a:cubicBezTo>
                      <a:cubicBezTo>
                        <a:pt x="458260" y="368679"/>
                        <a:pt x="392951" y="337962"/>
                        <a:pt x="377490" y="326995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81" name="Germany">
                  <a:extLst>
                    <a:ext uri="{FF2B5EF4-FFF2-40B4-BE49-F238E27FC236}">
                      <a16:creationId xmlns:a16="http://schemas.microsoft.com/office/drawing/2014/main" id="{0A3DD451-0DA2-04EE-4A11-391E2BABF161}"/>
                    </a:ext>
                  </a:extLst>
                </p:cNvPr>
                <p:cNvSpPr/>
                <p:nvPr>
                  <p:custDataLst>
                    <p:tags r:id="rId57"/>
                  </p:custDataLst>
                </p:nvPr>
              </p:nvSpPr>
              <p:spPr>
                <a:xfrm>
                  <a:off x="7504068" y="3540005"/>
                  <a:ext cx="470950" cy="614558"/>
                </a:xfrm>
                <a:custGeom>
                  <a:avLst/>
                  <a:gdLst>
                    <a:gd name="connsiteX0" fmla="*/ 45060 w 355927"/>
                    <a:gd name="connsiteY0" fmla="*/ 122285 h 464460"/>
                    <a:gd name="connsiteX1" fmla="*/ 24940 w 355927"/>
                    <a:gd name="connsiteY1" fmla="*/ 144179 h 464460"/>
                    <a:gd name="connsiteX2" fmla="*/ 37969 w 355927"/>
                    <a:gd name="connsiteY2" fmla="*/ 168917 h 464460"/>
                    <a:gd name="connsiteX3" fmla="*/ 29723 w 355927"/>
                    <a:gd name="connsiteY3" fmla="*/ 184049 h 464460"/>
                    <a:gd name="connsiteX4" fmla="*/ 7211 w 355927"/>
                    <a:gd name="connsiteY4" fmla="*/ 196418 h 464460"/>
                    <a:gd name="connsiteX5" fmla="*/ 4861 w 355927"/>
                    <a:gd name="connsiteY5" fmla="*/ 218352 h 464460"/>
                    <a:gd name="connsiteX6" fmla="*/ 78 w 355927"/>
                    <a:gd name="connsiteY6" fmla="*/ 255460 h 464460"/>
                    <a:gd name="connsiteX7" fmla="*/ 10757 w 355927"/>
                    <a:gd name="connsiteY7" fmla="*/ 284321 h 464460"/>
                    <a:gd name="connsiteX8" fmla="*/ 2511 w 355927"/>
                    <a:gd name="connsiteY8" fmla="*/ 302132 h 464460"/>
                    <a:gd name="connsiteX9" fmla="*/ 15168 w 355927"/>
                    <a:gd name="connsiteY9" fmla="*/ 340601 h 464460"/>
                    <a:gd name="connsiteX10" fmla="*/ 24074 w 355927"/>
                    <a:gd name="connsiteY10" fmla="*/ 346043 h 464460"/>
                    <a:gd name="connsiteX11" fmla="*/ 49843 w 355927"/>
                    <a:gd name="connsiteY11" fmla="*/ 360474 h 464460"/>
                    <a:gd name="connsiteX12" fmla="*/ 71159 w 355927"/>
                    <a:gd name="connsiteY12" fmla="*/ 368720 h 464460"/>
                    <a:gd name="connsiteX13" fmla="*/ 79158 w 355927"/>
                    <a:gd name="connsiteY13" fmla="*/ 384181 h 464460"/>
                    <a:gd name="connsiteX14" fmla="*/ 63161 w 355927"/>
                    <a:gd name="connsiteY14" fmla="*/ 422237 h 464460"/>
                    <a:gd name="connsiteX15" fmla="*/ 59697 w 355927"/>
                    <a:gd name="connsiteY15" fmla="*/ 450356 h 464460"/>
                    <a:gd name="connsiteX16" fmla="*/ 93671 w 355927"/>
                    <a:gd name="connsiteY16" fmla="*/ 448995 h 464460"/>
                    <a:gd name="connsiteX17" fmla="*/ 120925 w 355927"/>
                    <a:gd name="connsiteY17" fmla="*/ 447635 h 464460"/>
                    <a:gd name="connsiteX18" fmla="*/ 144055 w 355927"/>
                    <a:gd name="connsiteY18" fmla="*/ 459344 h 464460"/>
                    <a:gd name="connsiteX19" fmla="*/ 148466 w 355927"/>
                    <a:gd name="connsiteY19" fmla="*/ 454108 h 464460"/>
                    <a:gd name="connsiteX20" fmla="*/ 171556 w 355927"/>
                    <a:gd name="connsiteY20" fmla="*/ 461323 h 464460"/>
                    <a:gd name="connsiteX21" fmla="*/ 195552 w 355927"/>
                    <a:gd name="connsiteY21" fmla="*/ 457200 h 464460"/>
                    <a:gd name="connsiteX22" fmla="*/ 218641 w 355927"/>
                    <a:gd name="connsiteY22" fmla="*/ 455139 h 464460"/>
                    <a:gd name="connsiteX23" fmla="*/ 259500 w 355927"/>
                    <a:gd name="connsiteY23" fmla="*/ 445903 h 464460"/>
                    <a:gd name="connsiteX24" fmla="*/ 275498 w 355927"/>
                    <a:gd name="connsiteY24" fmla="*/ 432503 h 464460"/>
                    <a:gd name="connsiteX25" fmla="*/ 291495 w 355927"/>
                    <a:gd name="connsiteY25" fmla="*/ 403642 h 464460"/>
                    <a:gd name="connsiteX26" fmla="*/ 313718 w 355927"/>
                    <a:gd name="connsiteY26" fmla="*/ 383027 h 464460"/>
                    <a:gd name="connsiteX27" fmla="*/ 271952 w 355927"/>
                    <a:gd name="connsiteY27" fmla="*/ 346991 h 464460"/>
                    <a:gd name="connsiteX28" fmla="*/ 258593 w 355927"/>
                    <a:gd name="connsiteY28" fmla="*/ 307905 h 464460"/>
                    <a:gd name="connsiteX29" fmla="*/ 255954 w 355927"/>
                    <a:gd name="connsiteY29" fmla="*/ 283167 h 464460"/>
                    <a:gd name="connsiteX30" fmla="*/ 297721 w 355927"/>
                    <a:gd name="connsiteY30" fmla="*/ 264654 h 464460"/>
                    <a:gd name="connsiteX31" fmla="*/ 330705 w 355927"/>
                    <a:gd name="connsiteY31" fmla="*/ 247172 h 464460"/>
                    <a:gd name="connsiteX32" fmla="*/ 352021 w 355927"/>
                    <a:gd name="connsiteY32" fmla="*/ 246100 h 464460"/>
                    <a:gd name="connsiteX33" fmla="*/ 352928 w 355927"/>
                    <a:gd name="connsiteY33" fmla="*/ 220414 h 464460"/>
                    <a:gd name="connsiteX34" fmla="*/ 343157 w 355927"/>
                    <a:gd name="connsiteY34" fmla="*/ 183306 h 464460"/>
                    <a:gd name="connsiteX35" fmla="*/ 337838 w 355927"/>
                    <a:gd name="connsiteY35" fmla="*/ 158568 h 464460"/>
                    <a:gd name="connsiteX36" fmla="*/ 328932 w 355927"/>
                    <a:gd name="connsiteY36" fmla="*/ 135891 h 464460"/>
                    <a:gd name="connsiteX37" fmla="*/ 326252 w 355927"/>
                    <a:gd name="connsiteY37" fmla="*/ 117420 h 464460"/>
                    <a:gd name="connsiteX38" fmla="*/ 327159 w 355927"/>
                    <a:gd name="connsiteY38" fmla="*/ 69057 h 464460"/>
                    <a:gd name="connsiteX39" fmla="*/ 327159 w 355927"/>
                    <a:gd name="connsiteY39" fmla="*/ 63408 h 464460"/>
                    <a:gd name="connsiteX40" fmla="*/ 323778 w 355927"/>
                    <a:gd name="connsiteY40" fmla="*/ 57718 h 464460"/>
                    <a:gd name="connsiteX41" fmla="*/ 300112 w 355927"/>
                    <a:gd name="connsiteY41" fmla="*/ 42628 h 464460"/>
                    <a:gd name="connsiteX42" fmla="*/ 303658 w 355927"/>
                    <a:gd name="connsiteY42" fmla="*/ 15869 h 464460"/>
                    <a:gd name="connsiteX43" fmla="*/ 268158 w 355927"/>
                    <a:gd name="connsiteY43" fmla="*/ 26837 h 464460"/>
                    <a:gd name="connsiteX44" fmla="*/ 223135 w 355927"/>
                    <a:gd name="connsiteY44" fmla="*/ 57017 h 464460"/>
                    <a:gd name="connsiteX45" fmla="*/ 202519 w 355927"/>
                    <a:gd name="connsiteY45" fmla="*/ 39165 h 464460"/>
                    <a:gd name="connsiteX46" fmla="*/ 188295 w 355927"/>
                    <a:gd name="connsiteY46" fmla="*/ 30919 h 464460"/>
                    <a:gd name="connsiteX47" fmla="*/ 158691 w 355927"/>
                    <a:gd name="connsiteY47" fmla="*/ 14426 h 464460"/>
                    <a:gd name="connsiteX48" fmla="*/ 156341 w 355927"/>
                    <a:gd name="connsiteY48" fmla="*/ 3748 h 464460"/>
                    <a:gd name="connsiteX49" fmla="*/ 141540 w 355927"/>
                    <a:gd name="connsiteY49" fmla="*/ 4119 h 464460"/>
                    <a:gd name="connsiteX50" fmla="*/ 104968 w 355927"/>
                    <a:gd name="connsiteY50" fmla="*/ -4 h 464460"/>
                    <a:gd name="connsiteX51" fmla="*/ 111895 w 355927"/>
                    <a:gd name="connsiteY51" fmla="*/ 21971 h 464460"/>
                    <a:gd name="connsiteX52" fmla="*/ 122574 w 355927"/>
                    <a:gd name="connsiteY52" fmla="*/ 61759 h 464460"/>
                    <a:gd name="connsiteX53" fmla="*/ 105381 w 355927"/>
                    <a:gd name="connsiteY53" fmla="*/ 80271 h 464460"/>
                    <a:gd name="connsiteX54" fmla="*/ 75777 w 355927"/>
                    <a:gd name="connsiteY54" fmla="*/ 75489 h 464460"/>
                    <a:gd name="connsiteX55" fmla="*/ 45555 w 355927"/>
                    <a:gd name="connsiteY55" fmla="*/ 80972 h 464460"/>
                    <a:gd name="connsiteX56" fmla="*/ 44401 w 355927"/>
                    <a:gd name="connsiteY56" fmla="*/ 90703 h 464460"/>
                    <a:gd name="connsiteX57" fmla="*/ 45060 w 355927"/>
                    <a:gd name="connsiteY57" fmla="*/ 122285 h 4644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</a:cxnLst>
                  <a:rect l="l" t="t" r="r" b="b"/>
                  <a:pathLst>
                    <a:path w="355927" h="464460">
                      <a:moveTo>
                        <a:pt x="45060" y="122285"/>
                      </a:moveTo>
                      <a:cubicBezTo>
                        <a:pt x="35577" y="138777"/>
                        <a:pt x="22590" y="140056"/>
                        <a:pt x="24940" y="144179"/>
                      </a:cubicBezTo>
                      <a:cubicBezTo>
                        <a:pt x="27290" y="148302"/>
                        <a:pt x="41432" y="162031"/>
                        <a:pt x="37969" y="168917"/>
                      </a:cubicBezTo>
                      <a:cubicBezTo>
                        <a:pt x="34505" y="175803"/>
                        <a:pt x="29723" y="171679"/>
                        <a:pt x="29723" y="184049"/>
                      </a:cubicBezTo>
                      <a:cubicBezTo>
                        <a:pt x="29723" y="196418"/>
                        <a:pt x="13231" y="196418"/>
                        <a:pt x="7211" y="196418"/>
                      </a:cubicBezTo>
                      <a:cubicBezTo>
                        <a:pt x="1191" y="196418"/>
                        <a:pt x="8406" y="208787"/>
                        <a:pt x="4861" y="218352"/>
                      </a:cubicBezTo>
                      <a:cubicBezTo>
                        <a:pt x="1315" y="227918"/>
                        <a:pt x="1274" y="247213"/>
                        <a:pt x="78" y="255460"/>
                      </a:cubicBezTo>
                      <a:cubicBezTo>
                        <a:pt x="-1117" y="263706"/>
                        <a:pt x="11952" y="277394"/>
                        <a:pt x="10757" y="284321"/>
                      </a:cubicBezTo>
                      <a:cubicBezTo>
                        <a:pt x="9561" y="291248"/>
                        <a:pt x="78" y="296690"/>
                        <a:pt x="2511" y="302132"/>
                      </a:cubicBezTo>
                      <a:cubicBezTo>
                        <a:pt x="4943" y="307575"/>
                        <a:pt x="13272" y="315244"/>
                        <a:pt x="15168" y="340601"/>
                      </a:cubicBezTo>
                      <a:cubicBezTo>
                        <a:pt x="18632" y="341434"/>
                        <a:pt x="21765" y="343338"/>
                        <a:pt x="24074" y="346043"/>
                      </a:cubicBezTo>
                      <a:cubicBezTo>
                        <a:pt x="29599" y="354990"/>
                        <a:pt x="39329" y="360449"/>
                        <a:pt x="49843" y="360474"/>
                      </a:cubicBezTo>
                      <a:cubicBezTo>
                        <a:pt x="61388" y="360474"/>
                        <a:pt x="65841" y="369751"/>
                        <a:pt x="71159" y="368720"/>
                      </a:cubicBezTo>
                      <a:cubicBezTo>
                        <a:pt x="76478" y="367689"/>
                        <a:pt x="90702" y="372843"/>
                        <a:pt x="79158" y="384181"/>
                      </a:cubicBezTo>
                      <a:cubicBezTo>
                        <a:pt x="67613" y="395520"/>
                        <a:pt x="65841" y="408919"/>
                        <a:pt x="63161" y="422237"/>
                      </a:cubicBezTo>
                      <a:cubicBezTo>
                        <a:pt x="61429" y="430895"/>
                        <a:pt x="61553" y="442852"/>
                        <a:pt x="59697" y="450356"/>
                      </a:cubicBezTo>
                      <a:cubicBezTo>
                        <a:pt x="70995" y="451511"/>
                        <a:pt x="87651" y="452500"/>
                        <a:pt x="93671" y="448995"/>
                      </a:cubicBezTo>
                      <a:cubicBezTo>
                        <a:pt x="103154" y="443553"/>
                        <a:pt x="109050" y="443553"/>
                        <a:pt x="120925" y="447635"/>
                      </a:cubicBezTo>
                      <a:cubicBezTo>
                        <a:pt x="128964" y="450830"/>
                        <a:pt x="136716" y="454751"/>
                        <a:pt x="144055" y="459344"/>
                      </a:cubicBezTo>
                      <a:cubicBezTo>
                        <a:pt x="144756" y="456541"/>
                        <a:pt x="146034" y="454479"/>
                        <a:pt x="148466" y="454108"/>
                      </a:cubicBezTo>
                      <a:cubicBezTo>
                        <a:pt x="156465" y="453118"/>
                        <a:pt x="166237" y="471631"/>
                        <a:pt x="171556" y="461323"/>
                      </a:cubicBezTo>
                      <a:cubicBezTo>
                        <a:pt x="176874" y="451016"/>
                        <a:pt x="189326" y="453077"/>
                        <a:pt x="195552" y="457200"/>
                      </a:cubicBezTo>
                      <a:cubicBezTo>
                        <a:pt x="201777" y="461323"/>
                        <a:pt x="211549" y="463385"/>
                        <a:pt x="218641" y="455139"/>
                      </a:cubicBezTo>
                      <a:cubicBezTo>
                        <a:pt x="225732" y="446893"/>
                        <a:pt x="253274" y="442770"/>
                        <a:pt x="259500" y="445903"/>
                      </a:cubicBezTo>
                      <a:cubicBezTo>
                        <a:pt x="265726" y="449037"/>
                        <a:pt x="281723" y="457200"/>
                        <a:pt x="275498" y="432503"/>
                      </a:cubicBezTo>
                      <a:cubicBezTo>
                        <a:pt x="269272" y="407806"/>
                        <a:pt x="288815" y="412960"/>
                        <a:pt x="291495" y="403642"/>
                      </a:cubicBezTo>
                      <a:cubicBezTo>
                        <a:pt x="294175" y="394324"/>
                        <a:pt x="317264" y="390283"/>
                        <a:pt x="313718" y="383027"/>
                      </a:cubicBezTo>
                      <a:cubicBezTo>
                        <a:pt x="310173" y="375770"/>
                        <a:pt x="280734" y="354165"/>
                        <a:pt x="271952" y="346991"/>
                      </a:cubicBezTo>
                      <a:cubicBezTo>
                        <a:pt x="263170" y="339817"/>
                        <a:pt x="263087" y="317140"/>
                        <a:pt x="258593" y="307905"/>
                      </a:cubicBezTo>
                      <a:cubicBezTo>
                        <a:pt x="254099" y="298669"/>
                        <a:pt x="244410" y="286300"/>
                        <a:pt x="255954" y="283167"/>
                      </a:cubicBezTo>
                      <a:cubicBezTo>
                        <a:pt x="267499" y="280033"/>
                        <a:pt x="287949" y="274920"/>
                        <a:pt x="297721" y="264654"/>
                      </a:cubicBezTo>
                      <a:cubicBezTo>
                        <a:pt x="307492" y="254388"/>
                        <a:pt x="325221" y="253316"/>
                        <a:pt x="330705" y="247172"/>
                      </a:cubicBezTo>
                      <a:cubicBezTo>
                        <a:pt x="336189" y="241029"/>
                        <a:pt x="348475" y="252326"/>
                        <a:pt x="352021" y="246100"/>
                      </a:cubicBezTo>
                      <a:cubicBezTo>
                        <a:pt x="355567" y="239875"/>
                        <a:pt x="358247" y="227588"/>
                        <a:pt x="352928" y="220414"/>
                      </a:cubicBezTo>
                      <a:cubicBezTo>
                        <a:pt x="347610" y="213240"/>
                        <a:pt x="344023" y="200870"/>
                        <a:pt x="343157" y="183306"/>
                      </a:cubicBezTo>
                      <a:cubicBezTo>
                        <a:pt x="342291" y="165742"/>
                        <a:pt x="337838" y="166814"/>
                        <a:pt x="337838" y="158568"/>
                      </a:cubicBezTo>
                      <a:cubicBezTo>
                        <a:pt x="337838" y="150322"/>
                        <a:pt x="335158" y="140014"/>
                        <a:pt x="328932" y="135891"/>
                      </a:cubicBezTo>
                      <a:cubicBezTo>
                        <a:pt x="322706" y="131768"/>
                        <a:pt x="320067" y="128717"/>
                        <a:pt x="326252" y="117420"/>
                      </a:cubicBezTo>
                      <a:cubicBezTo>
                        <a:pt x="332437" y="106123"/>
                        <a:pt x="329798" y="77262"/>
                        <a:pt x="327159" y="69057"/>
                      </a:cubicBezTo>
                      <a:cubicBezTo>
                        <a:pt x="326747" y="67197"/>
                        <a:pt x="326747" y="65268"/>
                        <a:pt x="327159" y="63408"/>
                      </a:cubicBezTo>
                      <a:cubicBezTo>
                        <a:pt x="325221" y="62142"/>
                        <a:pt x="323943" y="60040"/>
                        <a:pt x="323778" y="57718"/>
                      </a:cubicBezTo>
                      <a:cubicBezTo>
                        <a:pt x="322006" y="46710"/>
                        <a:pt x="315532" y="42628"/>
                        <a:pt x="300112" y="42628"/>
                      </a:cubicBezTo>
                      <a:cubicBezTo>
                        <a:pt x="284692" y="42628"/>
                        <a:pt x="309595" y="24775"/>
                        <a:pt x="303658" y="15869"/>
                      </a:cubicBezTo>
                      <a:cubicBezTo>
                        <a:pt x="297721" y="6964"/>
                        <a:pt x="282342" y="32362"/>
                        <a:pt x="268158" y="26837"/>
                      </a:cubicBezTo>
                      <a:cubicBezTo>
                        <a:pt x="253975" y="21312"/>
                        <a:pt x="235586" y="46091"/>
                        <a:pt x="223135" y="57017"/>
                      </a:cubicBezTo>
                      <a:cubicBezTo>
                        <a:pt x="210683" y="67944"/>
                        <a:pt x="192913" y="54997"/>
                        <a:pt x="202519" y="39165"/>
                      </a:cubicBezTo>
                      <a:cubicBezTo>
                        <a:pt x="212126" y="23332"/>
                        <a:pt x="202519" y="24775"/>
                        <a:pt x="188295" y="30919"/>
                      </a:cubicBezTo>
                      <a:cubicBezTo>
                        <a:pt x="174071" y="37062"/>
                        <a:pt x="156919" y="29558"/>
                        <a:pt x="158691" y="14426"/>
                      </a:cubicBezTo>
                      <a:cubicBezTo>
                        <a:pt x="159022" y="10707"/>
                        <a:pt x="158197" y="6976"/>
                        <a:pt x="156341" y="3748"/>
                      </a:cubicBezTo>
                      <a:cubicBezTo>
                        <a:pt x="151476" y="4919"/>
                        <a:pt x="146446" y="5042"/>
                        <a:pt x="141540" y="4119"/>
                      </a:cubicBezTo>
                      <a:cubicBezTo>
                        <a:pt x="135190" y="1686"/>
                        <a:pt x="120718" y="367"/>
                        <a:pt x="104968" y="-4"/>
                      </a:cubicBezTo>
                      <a:cubicBezTo>
                        <a:pt x="109669" y="7994"/>
                        <a:pt x="114740" y="15787"/>
                        <a:pt x="111895" y="21971"/>
                      </a:cubicBezTo>
                      <a:cubicBezTo>
                        <a:pt x="106576" y="33640"/>
                        <a:pt x="114864" y="44607"/>
                        <a:pt x="122574" y="61759"/>
                      </a:cubicBezTo>
                      <a:cubicBezTo>
                        <a:pt x="130284" y="78911"/>
                        <a:pt x="106082" y="69304"/>
                        <a:pt x="105381" y="80271"/>
                      </a:cubicBezTo>
                      <a:cubicBezTo>
                        <a:pt x="104680" y="91239"/>
                        <a:pt x="82869" y="79612"/>
                        <a:pt x="75777" y="75489"/>
                      </a:cubicBezTo>
                      <a:cubicBezTo>
                        <a:pt x="68685" y="71366"/>
                        <a:pt x="44978" y="74087"/>
                        <a:pt x="45555" y="80972"/>
                      </a:cubicBezTo>
                      <a:cubicBezTo>
                        <a:pt x="45762" y="84259"/>
                        <a:pt x="45390" y="87561"/>
                        <a:pt x="44401" y="90703"/>
                      </a:cubicBezTo>
                      <a:cubicBezTo>
                        <a:pt x="47081" y="104020"/>
                        <a:pt x="48524" y="116266"/>
                        <a:pt x="45060" y="122285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82" name="Bulgaria">
                  <a:extLst>
                    <a:ext uri="{FF2B5EF4-FFF2-40B4-BE49-F238E27FC236}">
                      <a16:creationId xmlns:a16="http://schemas.microsoft.com/office/drawing/2014/main" id="{DD38B617-0529-3C12-5F5A-E2FD28D0AEAD}"/>
                    </a:ext>
                  </a:extLst>
                </p:cNvPr>
                <p:cNvSpPr/>
                <p:nvPr>
                  <p:custDataLst>
                    <p:tags r:id="rId58"/>
                  </p:custDataLst>
                </p:nvPr>
              </p:nvSpPr>
              <p:spPr>
                <a:xfrm>
                  <a:off x="8342082" y="4398860"/>
                  <a:ext cx="330157" cy="210526"/>
                </a:xfrm>
                <a:custGeom>
                  <a:avLst/>
                  <a:gdLst>
                    <a:gd name="connsiteX0" fmla="*/ 193531 w 249520"/>
                    <a:gd name="connsiteY0" fmla="*/ 1315 h 159108"/>
                    <a:gd name="connsiteX1" fmla="*/ 146116 w 249520"/>
                    <a:gd name="connsiteY1" fmla="*/ 10922 h 159108"/>
                    <a:gd name="connsiteX2" fmla="*/ 117708 w 249520"/>
                    <a:gd name="connsiteY2" fmla="*/ 24652 h 159108"/>
                    <a:gd name="connsiteX3" fmla="*/ 75034 w 249520"/>
                    <a:gd name="connsiteY3" fmla="*/ 23250 h 159108"/>
                    <a:gd name="connsiteX4" fmla="*/ 32402 w 249520"/>
                    <a:gd name="connsiteY4" fmla="*/ 17766 h 159108"/>
                    <a:gd name="connsiteX5" fmla="*/ 9602 w 249520"/>
                    <a:gd name="connsiteY5" fmla="*/ -4 h 159108"/>
                    <a:gd name="connsiteX6" fmla="*/ 6344 w 249520"/>
                    <a:gd name="connsiteY6" fmla="*/ 4366 h 159108"/>
                    <a:gd name="connsiteX7" fmla="*/ 6344 w 249520"/>
                    <a:gd name="connsiteY7" fmla="*/ 36320 h 159108"/>
                    <a:gd name="connsiteX8" fmla="*/ 18713 w 249520"/>
                    <a:gd name="connsiteY8" fmla="*/ 66129 h 159108"/>
                    <a:gd name="connsiteX9" fmla="*/ 5396 w 249520"/>
                    <a:gd name="connsiteY9" fmla="*/ 84642 h 159108"/>
                    <a:gd name="connsiteX10" fmla="*/ 5396 w 249520"/>
                    <a:gd name="connsiteY10" fmla="*/ 107278 h 159108"/>
                    <a:gd name="connsiteX11" fmla="*/ 27578 w 249520"/>
                    <a:gd name="connsiteY11" fmla="*/ 137128 h 159108"/>
                    <a:gd name="connsiteX12" fmla="*/ 35453 w 249520"/>
                    <a:gd name="connsiteY12" fmla="*/ 150116 h 159108"/>
                    <a:gd name="connsiteX13" fmla="*/ 89053 w 249520"/>
                    <a:gd name="connsiteY13" fmla="*/ 150858 h 159108"/>
                    <a:gd name="connsiteX14" fmla="*/ 131685 w 249520"/>
                    <a:gd name="connsiteY14" fmla="*/ 159104 h 159108"/>
                    <a:gd name="connsiteX15" fmla="*/ 147105 w 249520"/>
                    <a:gd name="connsiteY15" fmla="*/ 148178 h 159108"/>
                    <a:gd name="connsiteX16" fmla="*/ 166360 w 249520"/>
                    <a:gd name="connsiteY16" fmla="*/ 137499 h 159108"/>
                    <a:gd name="connsiteX17" fmla="*/ 166030 w 249520"/>
                    <a:gd name="connsiteY17" fmla="*/ 124800 h 159108"/>
                    <a:gd name="connsiteX18" fmla="*/ 206889 w 249520"/>
                    <a:gd name="connsiteY18" fmla="*/ 124800 h 159108"/>
                    <a:gd name="connsiteX19" fmla="*/ 223093 w 249520"/>
                    <a:gd name="connsiteY19" fmla="*/ 121296 h 159108"/>
                    <a:gd name="connsiteX20" fmla="*/ 217568 w 249520"/>
                    <a:gd name="connsiteY20" fmla="*/ 110411 h 159108"/>
                    <a:gd name="connsiteX21" fmla="*/ 209322 w 249520"/>
                    <a:gd name="connsiteY21" fmla="*/ 75406 h 159108"/>
                    <a:gd name="connsiteX22" fmla="*/ 241275 w 249520"/>
                    <a:gd name="connsiteY22" fmla="*/ 35660 h 159108"/>
                    <a:gd name="connsiteX23" fmla="*/ 249521 w 249520"/>
                    <a:gd name="connsiteY23" fmla="*/ 25682 h 159108"/>
                    <a:gd name="connsiteX24" fmla="*/ 225196 w 249520"/>
                    <a:gd name="connsiteY24" fmla="*/ 12365 h 159108"/>
                    <a:gd name="connsiteX25" fmla="*/ 193531 w 249520"/>
                    <a:gd name="connsiteY25" fmla="*/ 1315 h 1591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249520" h="159108">
                      <a:moveTo>
                        <a:pt x="193531" y="1315"/>
                      </a:moveTo>
                      <a:cubicBezTo>
                        <a:pt x="184047" y="-45"/>
                        <a:pt x="154403" y="1315"/>
                        <a:pt x="146116" y="10922"/>
                      </a:cubicBezTo>
                      <a:cubicBezTo>
                        <a:pt x="137828" y="20528"/>
                        <a:pt x="127150" y="26012"/>
                        <a:pt x="117708" y="24652"/>
                      </a:cubicBezTo>
                      <a:cubicBezTo>
                        <a:pt x="108266" y="23291"/>
                        <a:pt x="80971" y="21889"/>
                        <a:pt x="75034" y="23250"/>
                      </a:cubicBezTo>
                      <a:cubicBezTo>
                        <a:pt x="69097" y="24610"/>
                        <a:pt x="37185" y="16447"/>
                        <a:pt x="32402" y="17766"/>
                      </a:cubicBezTo>
                      <a:cubicBezTo>
                        <a:pt x="27619" y="19086"/>
                        <a:pt x="20321" y="2099"/>
                        <a:pt x="9602" y="-4"/>
                      </a:cubicBezTo>
                      <a:cubicBezTo>
                        <a:pt x="8983" y="1760"/>
                        <a:pt x="7870" y="3286"/>
                        <a:pt x="6344" y="4366"/>
                      </a:cubicBezTo>
                      <a:cubicBezTo>
                        <a:pt x="-1654" y="10592"/>
                        <a:pt x="-2562" y="27002"/>
                        <a:pt x="6344" y="36320"/>
                      </a:cubicBezTo>
                      <a:cubicBezTo>
                        <a:pt x="15250" y="45638"/>
                        <a:pt x="26959" y="66129"/>
                        <a:pt x="18713" y="66129"/>
                      </a:cubicBezTo>
                      <a:cubicBezTo>
                        <a:pt x="10467" y="66129"/>
                        <a:pt x="4489" y="78498"/>
                        <a:pt x="5396" y="84642"/>
                      </a:cubicBezTo>
                      <a:cubicBezTo>
                        <a:pt x="6303" y="90785"/>
                        <a:pt x="2716" y="104185"/>
                        <a:pt x="5396" y="107278"/>
                      </a:cubicBezTo>
                      <a:cubicBezTo>
                        <a:pt x="8076" y="110370"/>
                        <a:pt x="26712" y="130985"/>
                        <a:pt x="27578" y="137128"/>
                      </a:cubicBezTo>
                      <a:cubicBezTo>
                        <a:pt x="28402" y="142571"/>
                        <a:pt x="35824" y="145374"/>
                        <a:pt x="35453" y="150116"/>
                      </a:cubicBezTo>
                      <a:cubicBezTo>
                        <a:pt x="50379" y="148796"/>
                        <a:pt x="82043" y="146735"/>
                        <a:pt x="89053" y="150858"/>
                      </a:cubicBezTo>
                      <a:cubicBezTo>
                        <a:pt x="98535" y="156383"/>
                        <a:pt x="131685" y="159104"/>
                        <a:pt x="131685" y="159104"/>
                      </a:cubicBezTo>
                      <a:cubicBezTo>
                        <a:pt x="141127" y="159104"/>
                        <a:pt x="149455" y="154981"/>
                        <a:pt x="147105" y="148178"/>
                      </a:cubicBezTo>
                      <a:cubicBezTo>
                        <a:pt x="145085" y="142364"/>
                        <a:pt x="157454" y="138530"/>
                        <a:pt x="166360" y="137499"/>
                      </a:cubicBezTo>
                      <a:cubicBezTo>
                        <a:pt x="164793" y="131150"/>
                        <a:pt x="163721" y="125914"/>
                        <a:pt x="166030" y="124800"/>
                      </a:cubicBezTo>
                      <a:cubicBezTo>
                        <a:pt x="170483" y="122780"/>
                        <a:pt x="196252" y="118616"/>
                        <a:pt x="206889" y="124800"/>
                      </a:cubicBezTo>
                      <a:cubicBezTo>
                        <a:pt x="212291" y="127975"/>
                        <a:pt x="218393" y="124800"/>
                        <a:pt x="223093" y="121296"/>
                      </a:cubicBezTo>
                      <a:cubicBezTo>
                        <a:pt x="221650" y="115565"/>
                        <a:pt x="220289" y="110988"/>
                        <a:pt x="217568" y="110411"/>
                      </a:cubicBezTo>
                      <a:cubicBezTo>
                        <a:pt x="211012" y="109050"/>
                        <a:pt x="201076" y="77426"/>
                        <a:pt x="209322" y="75406"/>
                      </a:cubicBezTo>
                      <a:cubicBezTo>
                        <a:pt x="217568" y="73386"/>
                        <a:pt x="228247" y="40443"/>
                        <a:pt x="241275" y="35660"/>
                      </a:cubicBezTo>
                      <a:cubicBezTo>
                        <a:pt x="245687" y="34151"/>
                        <a:pt x="248862" y="30296"/>
                        <a:pt x="249521" y="25682"/>
                      </a:cubicBezTo>
                      <a:cubicBezTo>
                        <a:pt x="238224" y="21312"/>
                        <a:pt x="227092" y="15911"/>
                        <a:pt x="225196" y="12365"/>
                      </a:cubicBezTo>
                      <a:cubicBezTo>
                        <a:pt x="221938" y="5438"/>
                        <a:pt x="202973" y="2799"/>
                        <a:pt x="193531" y="1315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635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83" name="pole tekstowe 291">
                  <a:extLst>
                    <a:ext uri="{FF2B5EF4-FFF2-40B4-BE49-F238E27FC236}">
                      <a16:creationId xmlns:a16="http://schemas.microsoft.com/office/drawing/2014/main" id="{DDAD5CF1-8613-5C89-738F-DB229E8A1F4D}"/>
                    </a:ext>
                  </a:extLst>
                </p:cNvPr>
                <p:cNvSpPr txBox="1"/>
                <p:nvPr>
                  <p:custDataLst>
                    <p:tags r:id="rId59"/>
                  </p:custDataLst>
                </p:nvPr>
              </p:nvSpPr>
              <p:spPr>
                <a:xfrm>
                  <a:off x="6191395" y="3028975"/>
                  <a:ext cx="1111812" cy="9246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>
                  <a:spAutoFit/>
                </a:bodyPr>
                <a:lstStyle>
                  <a:defPPr>
                    <a:defRPr lang="en-US"/>
                  </a:defPPr>
                </a:lstStyle>
                <a:p>
                  <a:pPr marL="0" marR="0" lvl="0" indent="0" algn="ctr" defTabSz="1462923" rtl="0" eaLnBrk="1" fontAlgn="auto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ts val="40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r>
                    <a:rPr kumimoji="0" lang="en-US" sz="7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itchFamily="34" charset="0"/>
                      <a:cs typeface="Arial" pitchFamily="34" charset="0"/>
                    </a:rPr>
                    <a:t>United Kingdom</a:t>
                  </a:r>
                </a:p>
              </p:txBody>
            </p:sp>
            <p:sp>
              <p:nvSpPr>
                <p:cNvPr id="484" name="pole tekstowe 310">
                  <a:extLst>
                    <a:ext uri="{FF2B5EF4-FFF2-40B4-BE49-F238E27FC236}">
                      <a16:creationId xmlns:a16="http://schemas.microsoft.com/office/drawing/2014/main" id="{14B5A4B3-0B7E-62DE-EB7B-D661DD1BBB3C}"/>
                    </a:ext>
                  </a:extLst>
                </p:cNvPr>
                <p:cNvSpPr txBox="1"/>
                <p:nvPr>
                  <p:custDataLst>
                    <p:tags r:id="rId60"/>
                  </p:custDataLst>
                </p:nvPr>
              </p:nvSpPr>
              <p:spPr>
                <a:xfrm>
                  <a:off x="7900284" y="2486585"/>
                  <a:ext cx="463915" cy="10274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anchor="ctr">
                  <a:spAutoFit/>
                </a:bodyPr>
                <a:lstStyle>
                  <a:defPPr>
                    <a:defRPr lang="en-US"/>
                  </a:defPPr>
                </a:lstStyle>
                <a:p>
                  <a:pPr marL="0" marR="0" lvl="0" indent="0" algn="ctr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r>
                    <a:rPr kumimoji="0" lang="en-US" sz="7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itchFamily="34" charset="0"/>
                      <a:cs typeface="Arial" pitchFamily="34" charset="0"/>
                    </a:rPr>
                    <a:t>Sweden</a:t>
                  </a:r>
                </a:p>
              </p:txBody>
            </p:sp>
            <p:sp>
              <p:nvSpPr>
                <p:cNvPr id="485" name="pole tekstowe 310">
                  <a:extLst>
                    <a:ext uri="{FF2B5EF4-FFF2-40B4-BE49-F238E27FC236}">
                      <a16:creationId xmlns:a16="http://schemas.microsoft.com/office/drawing/2014/main" id="{A5A43956-A66D-0016-8842-15A76C4C4683}"/>
                    </a:ext>
                  </a:extLst>
                </p:cNvPr>
                <p:cNvSpPr txBox="1"/>
                <p:nvPr>
                  <p:custDataLst>
                    <p:tags r:id="rId61"/>
                  </p:custDataLst>
                </p:nvPr>
              </p:nvSpPr>
              <p:spPr>
                <a:xfrm>
                  <a:off x="8553979" y="4346544"/>
                  <a:ext cx="626546" cy="10274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>
                  <a:spAutoFit/>
                </a:bodyPr>
                <a:lstStyle>
                  <a:defPPr>
                    <a:defRPr lang="en-US"/>
                  </a:defPPr>
                </a:lstStyle>
                <a:p>
                  <a:pPr marL="0" marR="0" lvl="0" indent="0" algn="ctr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r>
                    <a:rPr kumimoji="0" lang="en-US" sz="7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itchFamily="34" charset="0"/>
                      <a:cs typeface="Arial" pitchFamily="34" charset="0"/>
                    </a:rPr>
                    <a:t>Romania</a:t>
                  </a:r>
                </a:p>
              </p:txBody>
            </p:sp>
            <p:grpSp>
              <p:nvGrpSpPr>
                <p:cNvPr id="486" name="Group 485">
                  <a:extLst>
                    <a:ext uri="{FF2B5EF4-FFF2-40B4-BE49-F238E27FC236}">
                      <a16:creationId xmlns:a16="http://schemas.microsoft.com/office/drawing/2014/main" id="{7D96A7DC-F8B7-346E-9098-8B8FB884BD90}"/>
                    </a:ext>
                  </a:extLst>
                </p:cNvPr>
                <p:cNvGrpSpPr/>
                <p:nvPr>
                  <p:custDataLst>
                    <p:tags r:id="rId62"/>
                  </p:custDataLst>
                </p:nvPr>
              </p:nvGrpSpPr>
              <p:grpSpPr>
                <a:xfrm>
                  <a:off x="8766599" y="3834149"/>
                  <a:ext cx="417852" cy="417850"/>
                  <a:chOff x="561117" y="1845055"/>
                  <a:chExt cx="547744" cy="547744"/>
                </a:xfrm>
              </p:grpSpPr>
              <p:sp>
                <p:nvSpPr>
                  <p:cNvPr id="569" name="Oval 568">
                    <a:extLst>
                      <a:ext uri="{FF2B5EF4-FFF2-40B4-BE49-F238E27FC236}">
                        <a16:creationId xmlns:a16="http://schemas.microsoft.com/office/drawing/2014/main" id="{11DADCF1-FF97-B91B-2A81-42A426D019F1}"/>
                      </a:ext>
                    </a:extLst>
                  </p:cNvPr>
                  <p:cNvSpPr/>
                  <p:nvPr>
                    <p:custDataLst>
                      <p:tags r:id="rId145"/>
                    </p:custDataLst>
                  </p:nvPr>
                </p:nvSpPr>
                <p:spPr>
                  <a:xfrm>
                    <a:off x="561117" y="1845055"/>
                    <a:ext cx="547744" cy="547744"/>
                  </a:xfrm>
                  <a:prstGeom prst="ellipse">
                    <a:avLst/>
                  </a:prstGeom>
                  <a:solidFill>
                    <a:schemeClr val="accent3"/>
                  </a:solidFill>
                  <a:ln>
                    <a:noFill/>
                  </a:ln>
                </p:spPr>
                <p:style>
                  <a:lnRef idx="0">
                    <a:schemeClr val="accent1"/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>
                    <a:defPPr>
                      <a:defRPr lang="en-US"/>
                    </a:defPPr>
                    <a:lvl1pPr marL="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1pPr>
                    <a:lvl2pPr marL="54864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2pPr>
                    <a:lvl3pPr marL="109728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3pPr>
                    <a:lvl4pPr marL="164592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4pPr>
                    <a:lvl5pPr marL="219456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5pPr>
                    <a:lvl6pPr marL="274320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6pPr>
                    <a:lvl7pPr marL="329184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7pPr>
                    <a:lvl8pPr marL="384048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8pPr>
                    <a:lvl9pPr marL="438912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9pPr>
                  </a:lstStyle>
                  <a:p>
                    <a:pPr marL="0" marR="0" lvl="0" indent="0" algn="ctr" defTabSz="1462923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cap="none" spc="0" normalizeH="0" baseline="0" noProof="0">
                        <a:solidFill>
                          <a:srgbClr val="FFFFFF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itchFamily="34" charset="0"/>
                      <a:cs typeface="Arial" pitchFamily="34" charset="0"/>
                      <a:sym typeface="Wingdings" charset="2"/>
                    </a:endParaRPr>
                  </a:p>
                </p:txBody>
              </p:sp>
              <p:sp>
                <p:nvSpPr>
                  <p:cNvPr id="570" name="TextBox 569">
                    <a:extLst>
                      <a:ext uri="{FF2B5EF4-FFF2-40B4-BE49-F238E27FC236}">
                        <a16:creationId xmlns:a16="http://schemas.microsoft.com/office/drawing/2014/main" id="{6E9C67AB-5261-D26F-A6DD-FC5A5CF771EC}"/>
                      </a:ext>
                    </a:extLst>
                  </p:cNvPr>
                  <p:cNvSpPr txBox="1"/>
                  <p:nvPr>
                    <p:custDataLst>
                      <p:tags r:id="rId146"/>
                    </p:custDataLst>
                  </p:nvPr>
                </p:nvSpPr>
                <p:spPr>
                  <a:xfrm>
                    <a:off x="581920" y="1976383"/>
                    <a:ext cx="503446" cy="271285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>
                    <a:defPPr>
                      <a:defRPr lang="en-US"/>
                    </a:defPPr>
                  </a:lstStyle>
                  <a:p>
                    <a:pPr marL="0" marR="0" lvl="0" indent="0" algn="ctr" defTabSz="1462923" rtl="0" eaLnBrk="1" fontAlgn="auto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ts val="400"/>
                      </a:spcAft>
                      <a:buClrTx/>
                      <a:buSzTx/>
                      <a:buFontTx/>
                      <a:buNone/>
                      <a:defRPr kumimoji="0" sz="2160" b="0" i="0" normalizeH="0" noProof="0">
                        <a:solidFill>
                          <a:srgbClr val="000000"/>
                        </a:solidFill>
                        <a:uLnTx/>
                        <a:uFillTx/>
                        <a:latin typeface="+mn-lt"/>
                        <a:ea typeface="+mn-ea"/>
                        <a:cs typeface="+mn-cs"/>
                      </a:defRPr>
                    </a:pPr>
                    <a:r>
                      <a:rPr kumimoji="0" lang="en-US" sz="900" b="0" i="0" normalizeH="0" noProof="0" dirty="0">
                        <a:solidFill>
                          <a:srgbClr val="FFFFFF"/>
                        </a:solidFill>
                        <a:uLnTx/>
                        <a:uFillTx/>
                        <a:latin typeface="Arial" pitchFamily="34" charset="0"/>
                        <a:cs typeface="Arial" pitchFamily="34" charset="0"/>
                      </a:rPr>
                      <a:t>3.0</a:t>
                    </a:r>
                    <a:r>
                      <a: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itchFamily="34" charset="0"/>
                        <a:cs typeface="Arial" pitchFamily="34" charset="0"/>
                      </a:rPr>
                      <a:t>k</a:t>
                    </a:r>
                  </a:p>
                </p:txBody>
              </p:sp>
            </p:grpSp>
            <p:sp>
              <p:nvSpPr>
                <p:cNvPr id="487" name="pole tekstowe 310">
                  <a:extLst>
                    <a:ext uri="{FF2B5EF4-FFF2-40B4-BE49-F238E27FC236}">
                      <a16:creationId xmlns:a16="http://schemas.microsoft.com/office/drawing/2014/main" id="{9E84036C-40F9-EE4D-6E47-90FDEE91B78C}"/>
                    </a:ext>
                  </a:extLst>
                </p:cNvPr>
                <p:cNvSpPr txBox="1"/>
                <p:nvPr>
                  <p:custDataLst>
                    <p:tags r:id="rId63"/>
                  </p:custDataLst>
                </p:nvPr>
              </p:nvSpPr>
              <p:spPr>
                <a:xfrm>
                  <a:off x="6257783" y="3484833"/>
                  <a:ext cx="488278" cy="10274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>
                  <a:spAutoFit/>
                </a:bodyPr>
                <a:lstStyle>
                  <a:defPPr>
                    <a:defRPr lang="en-US"/>
                  </a:defPPr>
                </a:lstStyle>
                <a:p>
                  <a:pPr marL="0" marR="0" lvl="0" indent="0" algn="ctr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r>
                    <a:rPr kumimoji="0" lang="en-US" sz="7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itchFamily="34" charset="0"/>
                      <a:cs typeface="Arial" pitchFamily="34" charset="0"/>
                    </a:rPr>
                    <a:t>Ireland</a:t>
                  </a:r>
                  <a:endParaRPr kumimoji="0" lang="pl-PL" sz="5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88" name="Oval 487">
                  <a:extLst>
                    <a:ext uri="{FF2B5EF4-FFF2-40B4-BE49-F238E27FC236}">
                      <a16:creationId xmlns:a16="http://schemas.microsoft.com/office/drawing/2014/main" id="{CF6FD134-87D1-0837-50E4-C216A93B4FF4}"/>
                    </a:ext>
                  </a:extLst>
                </p:cNvPr>
                <p:cNvSpPr/>
                <p:nvPr>
                  <p:custDataLst>
                    <p:tags r:id="rId64"/>
                  </p:custDataLst>
                </p:nvPr>
              </p:nvSpPr>
              <p:spPr>
                <a:xfrm>
                  <a:off x="6559514" y="3584324"/>
                  <a:ext cx="185879" cy="185879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1pPr>
                  <a:lvl2pPr marL="54864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2pPr>
                  <a:lvl3pPr marL="109728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3pPr>
                  <a:lvl4pPr marL="164592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4pPr>
                  <a:lvl5pPr marL="219456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5pPr>
                  <a:lvl6pPr marL="274320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6pPr>
                  <a:lvl7pPr marL="329184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7pPr>
                  <a:lvl8pPr marL="384048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8pPr>
                  <a:lvl9pPr marL="438912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9pPr>
                </a:lstStyle>
                <a:p>
                  <a:pPr marL="0" marR="0" lvl="0" indent="0" algn="ctr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cap="none" spc="0" normalizeH="0" baseline="0" noProof="0">
                      <a:solidFill>
                        <a:srgbClr val="FFFFFF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  <a:sym typeface="Wingdings" charset="2"/>
                  </a:endParaRPr>
                </a:p>
              </p:txBody>
            </p:sp>
            <p:grpSp>
              <p:nvGrpSpPr>
                <p:cNvPr id="489" name="Group 488">
                  <a:extLst>
                    <a:ext uri="{FF2B5EF4-FFF2-40B4-BE49-F238E27FC236}">
                      <a16:creationId xmlns:a16="http://schemas.microsoft.com/office/drawing/2014/main" id="{C9C5ADA0-7144-5FA0-9A45-6B15C57ACD0F}"/>
                    </a:ext>
                  </a:extLst>
                </p:cNvPr>
                <p:cNvGrpSpPr/>
                <p:nvPr>
                  <p:custDataLst>
                    <p:tags r:id="rId65"/>
                  </p:custDataLst>
                </p:nvPr>
              </p:nvGrpSpPr>
              <p:grpSpPr>
                <a:xfrm>
                  <a:off x="6892089" y="3140509"/>
                  <a:ext cx="500792" cy="500792"/>
                  <a:chOff x="561110" y="1845053"/>
                  <a:chExt cx="547742" cy="547742"/>
                </a:xfrm>
              </p:grpSpPr>
              <p:sp>
                <p:nvSpPr>
                  <p:cNvPr id="567" name="Oval 566">
                    <a:extLst>
                      <a:ext uri="{FF2B5EF4-FFF2-40B4-BE49-F238E27FC236}">
                        <a16:creationId xmlns:a16="http://schemas.microsoft.com/office/drawing/2014/main" id="{18C06FDE-5472-48EE-B95E-532D433755E0}"/>
                      </a:ext>
                    </a:extLst>
                  </p:cNvPr>
                  <p:cNvSpPr/>
                  <p:nvPr>
                    <p:custDataLst>
                      <p:tags r:id="rId143"/>
                    </p:custDataLst>
                  </p:nvPr>
                </p:nvSpPr>
                <p:spPr>
                  <a:xfrm>
                    <a:off x="561110" y="1845053"/>
                    <a:ext cx="547742" cy="547742"/>
                  </a:xfrm>
                  <a:prstGeom prst="ellipse">
                    <a:avLst/>
                  </a:prstGeom>
                  <a:solidFill>
                    <a:schemeClr val="accent2"/>
                  </a:solidFill>
                  <a:ln>
                    <a:noFill/>
                  </a:ln>
                </p:spPr>
                <p:style>
                  <a:lnRef idx="0">
                    <a:schemeClr val="accent1"/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>
                    <a:defPPr>
                      <a:defRPr lang="en-US"/>
                    </a:defPPr>
                    <a:lvl1pPr marL="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1pPr>
                    <a:lvl2pPr marL="54864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2pPr>
                    <a:lvl3pPr marL="109728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3pPr>
                    <a:lvl4pPr marL="164592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4pPr>
                    <a:lvl5pPr marL="219456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5pPr>
                    <a:lvl6pPr marL="274320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6pPr>
                    <a:lvl7pPr marL="329184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7pPr>
                    <a:lvl8pPr marL="384048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8pPr>
                    <a:lvl9pPr marL="438912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9pPr>
                  </a:lstStyle>
                  <a:p>
                    <a:pPr marL="0" marR="0" lvl="0" indent="0" algn="ctr" defTabSz="1462923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cap="none" spc="0" normalizeH="0" baseline="0" noProof="0">
                        <a:solidFill>
                          <a:srgbClr val="FFFFFF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pPr>
                    <a:endParaRPr kumimoji="0" lang="en-US" sz="288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itchFamily="34" charset="0"/>
                      <a:cs typeface="Arial" pitchFamily="34" charset="0"/>
                      <a:sym typeface="Wingdings" charset="2"/>
                    </a:endParaRPr>
                  </a:p>
                </p:txBody>
              </p:sp>
              <p:sp>
                <p:nvSpPr>
                  <p:cNvPr id="568" name="TextBox 567">
                    <a:extLst>
                      <a:ext uri="{FF2B5EF4-FFF2-40B4-BE49-F238E27FC236}">
                        <a16:creationId xmlns:a16="http://schemas.microsoft.com/office/drawing/2014/main" id="{E64BEA88-F78F-45CF-42FE-FA76410F0E0B}"/>
                      </a:ext>
                    </a:extLst>
                  </p:cNvPr>
                  <p:cNvSpPr txBox="1"/>
                  <p:nvPr>
                    <p:custDataLst>
                      <p:tags r:id="rId144"/>
                    </p:custDataLst>
                  </p:nvPr>
                </p:nvSpPr>
                <p:spPr>
                  <a:xfrm>
                    <a:off x="585986" y="1976380"/>
                    <a:ext cx="495316" cy="269698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>
                    <a:defPPr>
                      <a:defRPr lang="en-US"/>
                    </a:defPPr>
                  </a:lstStyle>
                  <a:p>
                    <a:pPr marL="0" marR="0" lvl="0" indent="0" algn="ctr" defTabSz="1462923" rtl="0" eaLnBrk="1" fontAlgn="auto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ts val="400"/>
                      </a:spcAft>
                      <a:buClrTx/>
                      <a:buSzTx/>
                      <a:buFontTx/>
                      <a:buNone/>
                      <a:defRPr kumimoji="0" sz="2160" b="0" i="0" normalizeH="0" noProof="0">
                        <a:solidFill>
                          <a:srgbClr val="000000"/>
                        </a:solidFill>
                        <a:uLnTx/>
                        <a:uFillTx/>
                        <a:latin typeface="+mn-lt"/>
                        <a:ea typeface="+mn-ea"/>
                        <a:cs typeface="+mn-cs"/>
                      </a:defRPr>
                    </a:pPr>
                    <a:r>
                      <a: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itchFamily="34" charset="0"/>
                        <a:cs typeface="Arial" pitchFamily="34" charset="0"/>
                      </a:rPr>
                      <a:t>7.1k</a:t>
                    </a:r>
                  </a:p>
                </p:txBody>
              </p:sp>
            </p:grpSp>
            <p:sp>
              <p:nvSpPr>
                <p:cNvPr id="490" name="Oval 489">
                  <a:extLst>
                    <a:ext uri="{FF2B5EF4-FFF2-40B4-BE49-F238E27FC236}">
                      <a16:creationId xmlns:a16="http://schemas.microsoft.com/office/drawing/2014/main" id="{3C8CE997-517A-4144-D287-7734DF3514E9}"/>
                    </a:ext>
                  </a:extLst>
                </p:cNvPr>
                <p:cNvSpPr/>
                <p:nvPr>
                  <p:custDataLst>
                    <p:tags r:id="rId66"/>
                  </p:custDataLst>
                </p:nvPr>
              </p:nvSpPr>
              <p:spPr>
                <a:xfrm>
                  <a:off x="7936647" y="2639707"/>
                  <a:ext cx="185879" cy="185879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1pPr>
                  <a:lvl2pPr marL="54864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2pPr>
                  <a:lvl3pPr marL="109728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3pPr>
                  <a:lvl4pPr marL="164592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4pPr>
                  <a:lvl5pPr marL="219456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5pPr>
                  <a:lvl6pPr marL="274320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6pPr>
                  <a:lvl7pPr marL="329184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7pPr>
                  <a:lvl8pPr marL="384048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8pPr>
                  <a:lvl9pPr marL="438912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9pPr>
                </a:lstStyle>
                <a:p>
                  <a:pPr marL="0" marR="0" lvl="0" indent="0" algn="ctr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cap="none" spc="0" normalizeH="0" baseline="0" noProof="0">
                      <a:solidFill>
                        <a:srgbClr val="FFFFFF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  <a:sym typeface="Wingdings" charset="2"/>
                  </a:endParaRPr>
                </a:p>
              </p:txBody>
            </p:sp>
            <p:grpSp>
              <p:nvGrpSpPr>
                <p:cNvPr id="491" name="Group 490">
                  <a:extLst>
                    <a:ext uri="{FF2B5EF4-FFF2-40B4-BE49-F238E27FC236}">
                      <a16:creationId xmlns:a16="http://schemas.microsoft.com/office/drawing/2014/main" id="{792E2E33-E004-7C80-785F-CCD18D0BEE3F}"/>
                    </a:ext>
                  </a:extLst>
                </p:cNvPr>
                <p:cNvGrpSpPr/>
                <p:nvPr>
                  <p:custDataLst>
                    <p:tags r:id="rId67"/>
                  </p:custDataLst>
                </p:nvPr>
              </p:nvGrpSpPr>
              <p:grpSpPr>
                <a:xfrm>
                  <a:off x="7927396" y="3577829"/>
                  <a:ext cx="378872" cy="352407"/>
                  <a:chOff x="519976" y="1845053"/>
                  <a:chExt cx="588877" cy="547742"/>
                </a:xfrm>
              </p:grpSpPr>
              <p:sp>
                <p:nvSpPr>
                  <p:cNvPr id="565" name="Oval 564">
                    <a:extLst>
                      <a:ext uri="{FF2B5EF4-FFF2-40B4-BE49-F238E27FC236}">
                        <a16:creationId xmlns:a16="http://schemas.microsoft.com/office/drawing/2014/main" id="{559D9618-AEAF-DDE2-26BC-5FC94CFA75E7}"/>
                      </a:ext>
                    </a:extLst>
                  </p:cNvPr>
                  <p:cNvSpPr/>
                  <p:nvPr>
                    <p:custDataLst>
                      <p:tags r:id="rId141"/>
                    </p:custDataLst>
                  </p:nvPr>
                </p:nvSpPr>
                <p:spPr>
                  <a:xfrm>
                    <a:off x="561109" y="1845053"/>
                    <a:ext cx="547744" cy="547742"/>
                  </a:xfrm>
                  <a:prstGeom prst="ellipse">
                    <a:avLst/>
                  </a:prstGeom>
                  <a:solidFill>
                    <a:schemeClr val="accent2"/>
                  </a:solidFill>
                  <a:ln>
                    <a:noFill/>
                  </a:ln>
                </p:spPr>
                <p:style>
                  <a:lnRef idx="0">
                    <a:schemeClr val="accent1"/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>
                    <a:defPPr>
                      <a:defRPr lang="en-US"/>
                    </a:defPPr>
                    <a:lvl1pPr marL="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1pPr>
                    <a:lvl2pPr marL="54864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2pPr>
                    <a:lvl3pPr marL="109728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3pPr>
                    <a:lvl4pPr marL="164592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4pPr>
                    <a:lvl5pPr marL="219456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5pPr>
                    <a:lvl6pPr marL="274320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6pPr>
                    <a:lvl7pPr marL="329184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7pPr>
                    <a:lvl8pPr marL="384048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8pPr>
                    <a:lvl9pPr marL="438912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9pPr>
                  </a:lstStyle>
                  <a:p>
                    <a:pPr marL="0" marR="0" lvl="0" indent="0" algn="ctr" defTabSz="1462923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cap="none" spc="0" normalizeH="0" baseline="0" noProof="0">
                        <a:solidFill>
                          <a:srgbClr val="FFFFFF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itchFamily="34" charset="0"/>
                      <a:cs typeface="Arial" pitchFamily="34" charset="0"/>
                      <a:sym typeface="Wingdings" charset="2"/>
                    </a:endParaRPr>
                  </a:p>
                </p:txBody>
              </p:sp>
              <p:sp>
                <p:nvSpPr>
                  <p:cNvPr id="566" name="TextBox 565">
                    <a:extLst>
                      <a:ext uri="{FF2B5EF4-FFF2-40B4-BE49-F238E27FC236}">
                        <a16:creationId xmlns:a16="http://schemas.microsoft.com/office/drawing/2014/main" id="{E63F9602-03B0-2D16-CA37-997CFA24D335}"/>
                      </a:ext>
                    </a:extLst>
                  </p:cNvPr>
                  <p:cNvSpPr txBox="1"/>
                  <p:nvPr>
                    <p:custDataLst>
                      <p:tags r:id="rId142"/>
                    </p:custDataLst>
                  </p:nvPr>
                </p:nvSpPr>
                <p:spPr>
                  <a:xfrm>
                    <a:off x="519976" y="1976380"/>
                    <a:ext cx="525649" cy="280600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>
                    <a:defPPr>
                      <a:defRPr lang="en-US"/>
                    </a:defPPr>
                  </a:lstStyle>
                  <a:p>
                    <a:pPr marL="0" marR="0" lvl="0" indent="0" algn="ctr" defTabSz="1462923" rtl="0" eaLnBrk="1" fontAlgn="auto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ts val="400"/>
                      </a:spcAft>
                      <a:buClrTx/>
                      <a:buSzTx/>
                      <a:buFontTx/>
                      <a:buNone/>
                      <a:defRPr kumimoji="0" sz="2160" b="0" i="0" normalizeH="0" noProof="0">
                        <a:solidFill>
                          <a:srgbClr val="000000"/>
                        </a:solidFill>
                        <a:uLnTx/>
                        <a:uFillTx/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700" u="none" strike="noStrike" kern="1200" cap="none" spc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itchFamily="34" charset="0"/>
                        <a:cs typeface="Arial" pitchFamily="34" charset="0"/>
                      </a:rPr>
                      <a:t>2.0</a:t>
                    </a:r>
                    <a:r>
                      <a:rPr kumimoji="0" 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itchFamily="34" charset="0"/>
                        <a:cs typeface="Arial" pitchFamily="34" charset="0"/>
                      </a:rPr>
                      <a:t>k</a:t>
                    </a:r>
                  </a:p>
                </p:txBody>
              </p:sp>
            </p:grpSp>
            <p:grpSp>
              <p:nvGrpSpPr>
                <p:cNvPr id="492" name="Group 491">
                  <a:extLst>
                    <a:ext uri="{FF2B5EF4-FFF2-40B4-BE49-F238E27FC236}">
                      <a16:creationId xmlns:a16="http://schemas.microsoft.com/office/drawing/2014/main" id="{0EF2323A-4D40-54A1-156C-C467A67C6F8D}"/>
                    </a:ext>
                  </a:extLst>
                </p:cNvPr>
                <p:cNvGrpSpPr/>
                <p:nvPr>
                  <p:custDataLst>
                    <p:tags r:id="rId68"/>
                  </p:custDataLst>
                </p:nvPr>
              </p:nvGrpSpPr>
              <p:grpSpPr>
                <a:xfrm>
                  <a:off x="7120557" y="4179367"/>
                  <a:ext cx="384058" cy="314438"/>
                  <a:chOff x="499124" y="1845054"/>
                  <a:chExt cx="669020" cy="547744"/>
                </a:xfrm>
              </p:grpSpPr>
              <p:sp>
                <p:nvSpPr>
                  <p:cNvPr id="563" name="Oval 562">
                    <a:extLst>
                      <a:ext uri="{FF2B5EF4-FFF2-40B4-BE49-F238E27FC236}">
                        <a16:creationId xmlns:a16="http://schemas.microsoft.com/office/drawing/2014/main" id="{8D2AA439-8B98-B218-BB66-D41A932720AC}"/>
                      </a:ext>
                    </a:extLst>
                  </p:cNvPr>
                  <p:cNvSpPr/>
                  <p:nvPr>
                    <p:custDataLst>
                      <p:tags r:id="rId139"/>
                    </p:custDataLst>
                  </p:nvPr>
                </p:nvSpPr>
                <p:spPr>
                  <a:xfrm>
                    <a:off x="561108" y="1845054"/>
                    <a:ext cx="547742" cy="547744"/>
                  </a:xfrm>
                  <a:prstGeom prst="ellipse">
                    <a:avLst/>
                  </a:prstGeom>
                  <a:solidFill>
                    <a:schemeClr val="accent2"/>
                  </a:solidFill>
                  <a:ln>
                    <a:noFill/>
                  </a:ln>
                </p:spPr>
                <p:style>
                  <a:lnRef idx="0">
                    <a:schemeClr val="accent1"/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>
                    <a:defPPr>
                      <a:defRPr lang="en-US"/>
                    </a:defPPr>
                    <a:lvl1pPr marL="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1pPr>
                    <a:lvl2pPr marL="54864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2pPr>
                    <a:lvl3pPr marL="109728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3pPr>
                    <a:lvl4pPr marL="164592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4pPr>
                    <a:lvl5pPr marL="219456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5pPr>
                    <a:lvl6pPr marL="274320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6pPr>
                    <a:lvl7pPr marL="329184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7pPr>
                    <a:lvl8pPr marL="384048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8pPr>
                    <a:lvl9pPr marL="438912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9pPr>
                  </a:lstStyle>
                  <a:p>
                    <a:pPr marL="0" marR="0" lvl="0" indent="0" algn="ctr" defTabSz="1462923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cap="none" spc="0" normalizeH="0" baseline="0" noProof="0">
                        <a:solidFill>
                          <a:srgbClr val="FFFFFF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itchFamily="34" charset="0"/>
                      <a:cs typeface="Arial" pitchFamily="34" charset="0"/>
                      <a:sym typeface="Wingdings" charset="2"/>
                    </a:endParaRPr>
                  </a:p>
                </p:txBody>
              </p:sp>
              <p:sp>
                <p:nvSpPr>
                  <p:cNvPr id="564" name="TextBox 563">
                    <a:extLst>
                      <a:ext uri="{FF2B5EF4-FFF2-40B4-BE49-F238E27FC236}">
                        <a16:creationId xmlns:a16="http://schemas.microsoft.com/office/drawing/2014/main" id="{CBB5FACB-3271-CF34-F3A8-1F57B6D8AF9B}"/>
                      </a:ext>
                    </a:extLst>
                  </p:cNvPr>
                  <p:cNvSpPr txBox="1"/>
                  <p:nvPr>
                    <p:custDataLst>
                      <p:tags r:id="rId140"/>
                    </p:custDataLst>
                  </p:nvPr>
                </p:nvSpPr>
                <p:spPr>
                  <a:xfrm>
                    <a:off x="499124" y="1976377"/>
                    <a:ext cx="669020" cy="360505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>
                    <a:defPPr>
                      <a:defRPr lang="en-US"/>
                    </a:defPPr>
                  </a:lstStyle>
                  <a:p>
                    <a:pPr marL="0" marR="0" lvl="0" indent="0" algn="ctr" defTabSz="1462923" rtl="0" eaLnBrk="1" fontAlgn="auto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ts val="400"/>
                      </a:spcAft>
                      <a:buClrTx/>
                      <a:buSzTx/>
                      <a:buFontTx/>
                      <a:buNone/>
                      <a:defRPr kumimoji="0" sz="2160" b="0" i="0" normalizeH="0" noProof="0">
                        <a:solidFill>
                          <a:srgbClr val="000000"/>
                        </a:solidFill>
                        <a:uLnTx/>
                        <a:uFillTx/>
                        <a:latin typeface="+mn-lt"/>
                        <a:ea typeface="+mn-ea"/>
                        <a:cs typeface="+mn-cs"/>
                      </a:defRPr>
                    </a:pPr>
                    <a:r>
                      <a:rPr kumimoji="0" lang="ru-RU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itchFamily="34" charset="0"/>
                        <a:cs typeface="Arial" pitchFamily="34" charset="0"/>
                      </a:rPr>
                      <a:t>1</a:t>
                    </a:r>
                    <a:r>
                      <a: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itchFamily="34" charset="0"/>
                        <a:cs typeface="Arial" pitchFamily="34" charset="0"/>
                      </a:rPr>
                      <a:t>.</a:t>
                    </a:r>
                    <a:r>
                      <a:rPr lang="en-US" sz="900" dirty="0">
                        <a:solidFill>
                          <a:srgbClr val="FFFFFF"/>
                        </a:solidFill>
                        <a:latin typeface="Arial" pitchFamily="34" charset="0"/>
                        <a:cs typeface="Arial" pitchFamily="34" charset="0"/>
                      </a:rPr>
                      <a:t>6</a:t>
                    </a:r>
                    <a:r>
                      <a: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itchFamily="34" charset="0"/>
                        <a:cs typeface="Arial" pitchFamily="34" charset="0"/>
                      </a:rPr>
                      <a:t>k</a:t>
                    </a:r>
                  </a:p>
                </p:txBody>
              </p:sp>
            </p:grpSp>
            <p:sp>
              <p:nvSpPr>
                <p:cNvPr id="493" name="pole tekstowe 310">
                  <a:extLst>
                    <a:ext uri="{FF2B5EF4-FFF2-40B4-BE49-F238E27FC236}">
                      <a16:creationId xmlns:a16="http://schemas.microsoft.com/office/drawing/2014/main" id="{D966E955-9DA8-EAE8-8285-A6986C1E927D}"/>
                    </a:ext>
                  </a:extLst>
                </p:cNvPr>
                <p:cNvSpPr txBox="1"/>
                <p:nvPr>
                  <p:custDataLst>
                    <p:tags r:id="rId69"/>
                  </p:custDataLst>
                </p:nvPr>
              </p:nvSpPr>
              <p:spPr>
                <a:xfrm>
                  <a:off x="7180378" y="4122441"/>
                  <a:ext cx="276551" cy="10274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>
                  <a:spAutoFit/>
                </a:bodyPr>
                <a:lstStyle>
                  <a:defPPr>
                    <a:defRPr lang="en-US"/>
                  </a:defPPr>
                </a:lstStyle>
                <a:p>
                  <a:pPr marL="0" marR="0" lvl="0" indent="0" algn="ctr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r>
                    <a:rPr kumimoji="0" lang="en-US" sz="7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itchFamily="34" charset="0"/>
                      <a:cs typeface="Arial" pitchFamily="34" charset="0"/>
                    </a:rPr>
                    <a:t>France</a:t>
                  </a:r>
                  <a:endParaRPr kumimoji="0" lang="pl-PL" sz="5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grpSp>
              <p:nvGrpSpPr>
                <p:cNvPr id="494" name="Group 493">
                  <a:extLst>
                    <a:ext uri="{FF2B5EF4-FFF2-40B4-BE49-F238E27FC236}">
                      <a16:creationId xmlns:a16="http://schemas.microsoft.com/office/drawing/2014/main" id="{A24E513F-5D8D-2CE3-3BDD-0DEE2F099723}"/>
                    </a:ext>
                  </a:extLst>
                </p:cNvPr>
                <p:cNvGrpSpPr/>
                <p:nvPr>
                  <p:custDataLst>
                    <p:tags r:id="rId70"/>
                  </p:custDataLst>
                </p:nvPr>
              </p:nvGrpSpPr>
              <p:grpSpPr>
                <a:xfrm>
                  <a:off x="6831337" y="4549163"/>
                  <a:ext cx="500794" cy="500792"/>
                  <a:chOff x="561110" y="1845054"/>
                  <a:chExt cx="547744" cy="547742"/>
                </a:xfrm>
              </p:grpSpPr>
              <p:sp>
                <p:nvSpPr>
                  <p:cNvPr id="561" name="Oval 560">
                    <a:extLst>
                      <a:ext uri="{FF2B5EF4-FFF2-40B4-BE49-F238E27FC236}">
                        <a16:creationId xmlns:a16="http://schemas.microsoft.com/office/drawing/2014/main" id="{90D28DE7-E53E-0B32-358F-409FA37EFF3E}"/>
                      </a:ext>
                    </a:extLst>
                  </p:cNvPr>
                  <p:cNvSpPr/>
                  <p:nvPr>
                    <p:custDataLst>
                      <p:tags r:id="rId137"/>
                    </p:custDataLst>
                  </p:nvPr>
                </p:nvSpPr>
                <p:spPr>
                  <a:xfrm>
                    <a:off x="561110" y="1845054"/>
                    <a:ext cx="547744" cy="547742"/>
                  </a:xfrm>
                  <a:prstGeom prst="ellipse">
                    <a:avLst/>
                  </a:prstGeom>
                  <a:solidFill>
                    <a:schemeClr val="accent2"/>
                  </a:solidFill>
                  <a:ln>
                    <a:noFill/>
                  </a:ln>
                </p:spPr>
                <p:style>
                  <a:lnRef idx="0">
                    <a:schemeClr val="accent1"/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>
                    <a:defPPr>
                      <a:defRPr lang="en-US"/>
                    </a:defPPr>
                    <a:lvl1pPr marL="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1pPr>
                    <a:lvl2pPr marL="54864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2pPr>
                    <a:lvl3pPr marL="109728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3pPr>
                    <a:lvl4pPr marL="164592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4pPr>
                    <a:lvl5pPr marL="219456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5pPr>
                    <a:lvl6pPr marL="274320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6pPr>
                    <a:lvl7pPr marL="329184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7pPr>
                    <a:lvl8pPr marL="384048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8pPr>
                    <a:lvl9pPr marL="438912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9pPr>
                  </a:lstStyle>
                  <a:p>
                    <a:pPr marL="0" marR="0" lvl="0" indent="0" algn="ctr" defTabSz="1462923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cap="none" spc="0" normalizeH="0" baseline="0" noProof="0">
                        <a:solidFill>
                          <a:srgbClr val="FFFFFF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pPr>
                    <a:endParaRPr kumimoji="0" lang="en-US" sz="288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itchFamily="34" charset="0"/>
                      <a:cs typeface="Arial" pitchFamily="34" charset="0"/>
                      <a:sym typeface="Wingdings" charset="2"/>
                    </a:endParaRPr>
                  </a:p>
                </p:txBody>
              </p:sp>
              <p:sp>
                <p:nvSpPr>
                  <p:cNvPr id="562" name="TextBox 561">
                    <a:extLst>
                      <a:ext uri="{FF2B5EF4-FFF2-40B4-BE49-F238E27FC236}">
                        <a16:creationId xmlns:a16="http://schemas.microsoft.com/office/drawing/2014/main" id="{CA20C51F-DD55-C959-478F-82526D3FEE56}"/>
                      </a:ext>
                    </a:extLst>
                  </p:cNvPr>
                  <p:cNvSpPr txBox="1"/>
                  <p:nvPr>
                    <p:custDataLst>
                      <p:tags r:id="rId138"/>
                    </p:custDataLst>
                  </p:nvPr>
                </p:nvSpPr>
                <p:spPr>
                  <a:xfrm>
                    <a:off x="585980" y="1976380"/>
                    <a:ext cx="495315" cy="269698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>
                    <a:defPPr>
                      <a:defRPr lang="en-US"/>
                    </a:defPPr>
                  </a:lstStyle>
                  <a:p>
                    <a:pPr marL="0" marR="0" lvl="0" indent="0" algn="ctr" defTabSz="1462923" rtl="0" eaLnBrk="1" fontAlgn="auto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ts val="400"/>
                      </a:spcAft>
                      <a:buClrTx/>
                      <a:buSzTx/>
                      <a:buFontTx/>
                      <a:buNone/>
                      <a:defRPr kumimoji="0" sz="2160" b="0" i="0" normalizeH="0" noProof="0">
                        <a:solidFill>
                          <a:srgbClr val="000000"/>
                        </a:solidFill>
                        <a:uLnTx/>
                        <a:uFillTx/>
                        <a:latin typeface="+mn-lt"/>
                        <a:ea typeface="+mn-ea"/>
                        <a:cs typeface="+mn-cs"/>
                      </a:defRPr>
                    </a:pPr>
                    <a:r>
                      <a: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itchFamily="34" charset="0"/>
                        <a:cs typeface="Arial" pitchFamily="34" charset="0"/>
                      </a:rPr>
                      <a:t>8.</a:t>
                    </a:r>
                    <a:r>
                      <a: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itchFamily="34" charset="0"/>
                        <a:cs typeface="Arial" pitchFamily="34" charset="0"/>
                      </a:rPr>
                      <a:t>7k</a:t>
                    </a:r>
                  </a:p>
                </p:txBody>
              </p:sp>
            </p:grpSp>
            <p:sp>
              <p:nvSpPr>
                <p:cNvPr id="495" name="pole tekstowe 310">
                  <a:extLst>
                    <a:ext uri="{FF2B5EF4-FFF2-40B4-BE49-F238E27FC236}">
                      <a16:creationId xmlns:a16="http://schemas.microsoft.com/office/drawing/2014/main" id="{762DC1C5-C6CD-6B88-B642-72087FB6F411}"/>
                    </a:ext>
                  </a:extLst>
                </p:cNvPr>
                <p:cNvSpPr txBox="1"/>
                <p:nvPr>
                  <p:custDataLst>
                    <p:tags r:id="rId71"/>
                  </p:custDataLst>
                </p:nvPr>
              </p:nvSpPr>
              <p:spPr>
                <a:xfrm>
                  <a:off x="6928648" y="4611910"/>
                  <a:ext cx="276551" cy="10274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>
                  <a:spAutoFit/>
                </a:bodyPr>
                <a:lstStyle>
                  <a:defPPr>
                    <a:defRPr lang="en-US"/>
                  </a:defPPr>
                </a:lstStyle>
                <a:p>
                  <a:pPr marL="0" marR="0" lvl="0" indent="0" algn="ctr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r>
                    <a:rPr kumimoji="0" lang="pl-PL" sz="700" b="0" i="0" normalizeH="0" noProof="0">
                      <a:solidFill>
                        <a:schemeClr val="bg1"/>
                      </a:solidFill>
                      <a:uLnTx/>
                      <a:uFillTx/>
                      <a:latin typeface="Arial" pitchFamily="34" charset="0"/>
                      <a:cs typeface="Arial" pitchFamily="34" charset="0"/>
                    </a:rPr>
                    <a:t>Spain</a:t>
                  </a:r>
                </a:p>
              </p:txBody>
            </p:sp>
            <p:sp>
              <p:nvSpPr>
                <p:cNvPr id="496" name="pole tekstowe 310">
                  <a:extLst>
                    <a:ext uri="{FF2B5EF4-FFF2-40B4-BE49-F238E27FC236}">
                      <a16:creationId xmlns:a16="http://schemas.microsoft.com/office/drawing/2014/main" id="{821FA5F0-BAFB-87AD-2884-F669B998B3D4}"/>
                    </a:ext>
                  </a:extLst>
                </p:cNvPr>
                <p:cNvSpPr txBox="1"/>
                <p:nvPr>
                  <p:custDataLst>
                    <p:tags r:id="rId72"/>
                  </p:custDataLst>
                </p:nvPr>
              </p:nvSpPr>
              <p:spPr>
                <a:xfrm>
                  <a:off x="6271803" y="4596815"/>
                  <a:ext cx="488278" cy="10274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>
                  <a:spAutoFit/>
                </a:bodyPr>
                <a:lstStyle>
                  <a:defPPr>
                    <a:defRPr lang="en-US"/>
                  </a:defPPr>
                </a:lstStyle>
                <a:p>
                  <a:pPr marL="0" marR="0" lvl="0" indent="0" algn="ctr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r>
                    <a:rPr kumimoji="0" lang="en-US" sz="7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itchFamily="34" charset="0"/>
                      <a:cs typeface="Arial" pitchFamily="34" charset="0"/>
                    </a:rPr>
                    <a:t>Portugal</a:t>
                  </a:r>
                  <a:endParaRPr kumimoji="0" lang="pl-PL" sz="500" b="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97" name="Oval 496">
                  <a:extLst>
                    <a:ext uri="{FF2B5EF4-FFF2-40B4-BE49-F238E27FC236}">
                      <a16:creationId xmlns:a16="http://schemas.microsoft.com/office/drawing/2014/main" id="{C6D6FBE1-9ACA-B941-8D37-2E603F792CD5}"/>
                    </a:ext>
                  </a:extLst>
                </p:cNvPr>
                <p:cNvSpPr/>
                <p:nvPr>
                  <p:custDataLst>
                    <p:tags r:id="rId73"/>
                  </p:custDataLst>
                </p:nvPr>
              </p:nvSpPr>
              <p:spPr>
                <a:xfrm>
                  <a:off x="6618196" y="4667774"/>
                  <a:ext cx="185879" cy="185879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1pPr>
                  <a:lvl2pPr marL="54864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2pPr>
                  <a:lvl3pPr marL="109728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3pPr>
                  <a:lvl4pPr marL="164592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4pPr>
                  <a:lvl5pPr marL="219456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5pPr>
                  <a:lvl6pPr marL="274320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6pPr>
                  <a:lvl7pPr marL="329184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7pPr>
                  <a:lvl8pPr marL="384048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8pPr>
                  <a:lvl9pPr marL="438912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9pPr>
                </a:lstStyle>
                <a:p>
                  <a:pPr marL="0" marR="0" lvl="0" indent="0" algn="ctr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cap="none" spc="0" normalizeH="0" baseline="0" noProof="0">
                      <a:solidFill>
                        <a:srgbClr val="FFFFFF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  <a:sym typeface="Wingdings" charset="2"/>
                  </a:endParaRPr>
                </a:p>
              </p:txBody>
            </p:sp>
            <p:grpSp>
              <p:nvGrpSpPr>
                <p:cNvPr id="498" name="Group 497">
                  <a:extLst>
                    <a:ext uri="{FF2B5EF4-FFF2-40B4-BE49-F238E27FC236}">
                      <a16:creationId xmlns:a16="http://schemas.microsoft.com/office/drawing/2014/main" id="{8C8296FF-8493-06FC-C7E0-B80231246064}"/>
                    </a:ext>
                  </a:extLst>
                </p:cNvPr>
                <p:cNvGrpSpPr/>
                <p:nvPr>
                  <p:custDataLst>
                    <p:tags r:id="rId74"/>
                  </p:custDataLst>
                </p:nvPr>
              </p:nvGrpSpPr>
              <p:grpSpPr>
                <a:xfrm>
                  <a:off x="8077167" y="3850449"/>
                  <a:ext cx="362655" cy="317839"/>
                  <a:chOff x="521156" y="1845055"/>
                  <a:chExt cx="624973" cy="547744"/>
                </a:xfrm>
              </p:grpSpPr>
              <p:sp>
                <p:nvSpPr>
                  <p:cNvPr id="559" name="Oval 558">
                    <a:extLst>
                      <a:ext uri="{FF2B5EF4-FFF2-40B4-BE49-F238E27FC236}">
                        <a16:creationId xmlns:a16="http://schemas.microsoft.com/office/drawing/2014/main" id="{DBA82BE1-A653-F608-2027-1853E9ECEBEA}"/>
                      </a:ext>
                    </a:extLst>
                  </p:cNvPr>
                  <p:cNvSpPr/>
                  <p:nvPr>
                    <p:custDataLst>
                      <p:tags r:id="rId135"/>
                    </p:custDataLst>
                  </p:nvPr>
                </p:nvSpPr>
                <p:spPr>
                  <a:xfrm>
                    <a:off x="561118" y="1845055"/>
                    <a:ext cx="547744" cy="547744"/>
                  </a:xfrm>
                  <a:prstGeom prst="ellipse">
                    <a:avLst/>
                  </a:prstGeom>
                  <a:solidFill>
                    <a:schemeClr val="accent2"/>
                  </a:solidFill>
                  <a:ln>
                    <a:noFill/>
                  </a:ln>
                </p:spPr>
                <p:style>
                  <a:lnRef idx="0">
                    <a:schemeClr val="accent1"/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>
                    <a:defPPr>
                      <a:defRPr lang="en-US"/>
                    </a:defPPr>
                    <a:lvl1pPr marL="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1pPr>
                    <a:lvl2pPr marL="54864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2pPr>
                    <a:lvl3pPr marL="109728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3pPr>
                    <a:lvl4pPr marL="164592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4pPr>
                    <a:lvl5pPr marL="219456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5pPr>
                    <a:lvl6pPr marL="274320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6pPr>
                    <a:lvl7pPr marL="329184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7pPr>
                    <a:lvl8pPr marL="384048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8pPr>
                    <a:lvl9pPr marL="438912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9pPr>
                  </a:lstStyle>
                  <a:p>
                    <a:pPr marL="0" marR="0" lvl="0" indent="0" algn="ctr" defTabSz="1462923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cap="none" spc="0" normalizeH="0" baseline="0" noProof="0">
                        <a:solidFill>
                          <a:srgbClr val="FFFFFF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pPr>
                    <a:endParaRPr kumimoji="0" lang="en-US" sz="288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itchFamily="34" charset="0"/>
                      <a:cs typeface="Arial" pitchFamily="34" charset="0"/>
                      <a:sym typeface="Wingdings" charset="2"/>
                    </a:endParaRPr>
                  </a:p>
                </p:txBody>
              </p:sp>
              <p:sp>
                <p:nvSpPr>
                  <p:cNvPr id="560" name="TextBox 559">
                    <a:extLst>
                      <a:ext uri="{FF2B5EF4-FFF2-40B4-BE49-F238E27FC236}">
                        <a16:creationId xmlns:a16="http://schemas.microsoft.com/office/drawing/2014/main" id="{F3F79722-7B4A-373F-A61E-911552CE9DED}"/>
                      </a:ext>
                    </a:extLst>
                  </p:cNvPr>
                  <p:cNvSpPr txBox="1"/>
                  <p:nvPr>
                    <p:custDataLst>
                      <p:tags r:id="rId136"/>
                    </p:custDataLst>
                  </p:nvPr>
                </p:nvSpPr>
                <p:spPr>
                  <a:xfrm>
                    <a:off x="521156" y="1943485"/>
                    <a:ext cx="624973" cy="333884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>
                    <a:defPPr>
                      <a:defRPr lang="en-US"/>
                    </a:defPPr>
                  </a:lstStyle>
                  <a:p>
                    <a:pPr marL="0" marR="0" lvl="0" indent="0" algn="ctr" defTabSz="1462923" rtl="0" eaLnBrk="1" fontAlgn="auto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ts val="400"/>
                      </a:spcAft>
                      <a:buClrTx/>
                      <a:buSzTx/>
                      <a:buFontTx/>
                      <a:buNone/>
                      <a:defRPr kumimoji="0" sz="2160" b="0" i="0" normalizeH="0" noProof="0">
                        <a:solidFill>
                          <a:srgbClr val="000000"/>
                        </a:solidFill>
                        <a:uLnTx/>
                        <a:uFillTx/>
                        <a:latin typeface="+mn-lt"/>
                        <a:ea typeface="+mn-ea"/>
                        <a:cs typeface="+mn-cs"/>
                      </a:defRPr>
                    </a:pPr>
                    <a:r>
                      <a: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itchFamily="34" charset="0"/>
                        <a:cs typeface="Arial" pitchFamily="34" charset="0"/>
                      </a:rPr>
                      <a:t>1.2k</a:t>
                    </a:r>
                  </a:p>
                </p:txBody>
              </p:sp>
            </p:grpSp>
            <p:sp>
              <p:nvSpPr>
                <p:cNvPr id="499" name="pole tekstowe 310">
                  <a:extLst>
                    <a:ext uri="{FF2B5EF4-FFF2-40B4-BE49-F238E27FC236}">
                      <a16:creationId xmlns:a16="http://schemas.microsoft.com/office/drawing/2014/main" id="{A03B06FA-0183-664C-6939-69F77DA9C041}"/>
                    </a:ext>
                  </a:extLst>
                </p:cNvPr>
                <p:cNvSpPr txBox="1"/>
                <p:nvPr>
                  <p:custDataLst>
                    <p:tags r:id="rId75"/>
                  </p:custDataLst>
                </p:nvPr>
              </p:nvSpPr>
              <p:spPr>
                <a:xfrm>
                  <a:off x="8529249" y="3907541"/>
                  <a:ext cx="293549" cy="102742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>
                  <a:spAutoFit/>
                </a:bodyPr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r>
                    <a:rPr kumimoji="0" lang="en-US" sz="7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itchFamily="34" charset="0"/>
                      <a:cs typeface="Arial" pitchFamily="34" charset="0"/>
                    </a:rPr>
                    <a:t>Ukraine</a:t>
                  </a:r>
                </a:p>
              </p:txBody>
            </p:sp>
            <p:grpSp>
              <p:nvGrpSpPr>
                <p:cNvPr id="500" name="Group 499">
                  <a:extLst>
                    <a:ext uri="{FF2B5EF4-FFF2-40B4-BE49-F238E27FC236}">
                      <a16:creationId xmlns:a16="http://schemas.microsoft.com/office/drawing/2014/main" id="{7A2AFCB6-2D40-63C0-9A2A-47766B8254CD}"/>
                    </a:ext>
                  </a:extLst>
                </p:cNvPr>
                <p:cNvGrpSpPr/>
                <p:nvPr>
                  <p:custDataLst>
                    <p:tags r:id="rId76"/>
                  </p:custDataLst>
                </p:nvPr>
              </p:nvGrpSpPr>
              <p:grpSpPr>
                <a:xfrm>
                  <a:off x="8329773" y="4452767"/>
                  <a:ext cx="417852" cy="417850"/>
                  <a:chOff x="561111" y="1845053"/>
                  <a:chExt cx="547744" cy="547744"/>
                </a:xfrm>
              </p:grpSpPr>
              <p:sp>
                <p:nvSpPr>
                  <p:cNvPr id="557" name="Oval 556">
                    <a:extLst>
                      <a:ext uri="{FF2B5EF4-FFF2-40B4-BE49-F238E27FC236}">
                        <a16:creationId xmlns:a16="http://schemas.microsoft.com/office/drawing/2014/main" id="{F20FBA8C-7950-C0A3-EF23-F6384145C80B}"/>
                      </a:ext>
                    </a:extLst>
                  </p:cNvPr>
                  <p:cNvSpPr/>
                  <p:nvPr>
                    <p:custDataLst>
                      <p:tags r:id="rId133"/>
                    </p:custDataLst>
                  </p:nvPr>
                </p:nvSpPr>
                <p:spPr>
                  <a:xfrm>
                    <a:off x="561111" y="1845053"/>
                    <a:ext cx="547744" cy="547744"/>
                  </a:xfrm>
                  <a:prstGeom prst="ellipse">
                    <a:avLst/>
                  </a:prstGeom>
                  <a:solidFill>
                    <a:schemeClr val="accent2"/>
                  </a:solidFill>
                  <a:ln>
                    <a:noFill/>
                  </a:ln>
                </p:spPr>
                <p:style>
                  <a:lnRef idx="0">
                    <a:schemeClr val="accent1"/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>
                    <a:defPPr>
                      <a:defRPr lang="en-US"/>
                    </a:defPPr>
                    <a:lvl1pPr marL="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1pPr>
                    <a:lvl2pPr marL="54864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2pPr>
                    <a:lvl3pPr marL="109728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3pPr>
                    <a:lvl4pPr marL="164592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4pPr>
                    <a:lvl5pPr marL="219456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5pPr>
                    <a:lvl6pPr marL="274320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6pPr>
                    <a:lvl7pPr marL="329184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7pPr>
                    <a:lvl8pPr marL="384048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8pPr>
                    <a:lvl9pPr marL="438912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9pPr>
                  </a:lstStyle>
                  <a:p>
                    <a:pPr marL="0" marR="0" lvl="0" indent="0" algn="ctr" defTabSz="1462923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cap="none" spc="0" normalizeH="0" baseline="0" noProof="0">
                        <a:solidFill>
                          <a:srgbClr val="FFFFFF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itchFamily="34" charset="0"/>
                      <a:cs typeface="Arial" pitchFamily="34" charset="0"/>
                      <a:sym typeface="Wingdings" charset="2"/>
                    </a:endParaRPr>
                  </a:p>
                </p:txBody>
              </p:sp>
              <p:sp>
                <p:nvSpPr>
                  <p:cNvPr id="558" name="TextBox 557">
                    <a:extLst>
                      <a:ext uri="{FF2B5EF4-FFF2-40B4-BE49-F238E27FC236}">
                        <a16:creationId xmlns:a16="http://schemas.microsoft.com/office/drawing/2014/main" id="{78327FB8-DF7D-3CB8-9F7C-A102C07BEDF7}"/>
                      </a:ext>
                    </a:extLst>
                  </p:cNvPr>
                  <p:cNvSpPr txBox="1"/>
                  <p:nvPr>
                    <p:custDataLst>
                      <p:tags r:id="rId134"/>
                    </p:custDataLst>
                  </p:nvPr>
                </p:nvSpPr>
                <p:spPr>
                  <a:xfrm>
                    <a:off x="581918" y="1976383"/>
                    <a:ext cx="503446" cy="271285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>
                    <a:defPPr>
                      <a:defRPr lang="en-US"/>
                    </a:defPPr>
                  </a:lstStyle>
                  <a:p>
                    <a:pPr marL="0" marR="0" lvl="0" indent="0" algn="ctr" defTabSz="1462923" rtl="0" eaLnBrk="1" fontAlgn="auto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ts val="400"/>
                      </a:spcAft>
                      <a:buClrTx/>
                      <a:buSzTx/>
                      <a:buFontTx/>
                      <a:buNone/>
                      <a:defRPr kumimoji="0" sz="2160" b="0" i="0" normalizeH="0" noProof="0">
                        <a:solidFill>
                          <a:srgbClr val="000000"/>
                        </a:solidFill>
                        <a:uLnTx/>
                        <a:uFillTx/>
                        <a:latin typeface="+mn-lt"/>
                        <a:ea typeface="+mn-ea"/>
                        <a:cs typeface="+mn-cs"/>
                      </a:defRPr>
                    </a:pPr>
                    <a:r>
                      <a: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itchFamily="34" charset="0"/>
                        <a:cs typeface="Arial" pitchFamily="34" charset="0"/>
                      </a:rPr>
                      <a:t>3.8k</a:t>
                    </a:r>
                  </a:p>
                </p:txBody>
              </p:sp>
            </p:grpSp>
            <p:sp>
              <p:nvSpPr>
                <p:cNvPr id="501" name="pole tekstowe 310">
                  <a:extLst>
                    <a:ext uri="{FF2B5EF4-FFF2-40B4-BE49-F238E27FC236}">
                      <a16:creationId xmlns:a16="http://schemas.microsoft.com/office/drawing/2014/main" id="{1686DDFF-1532-19A6-6B39-63EE7EFA4767}"/>
                    </a:ext>
                  </a:extLst>
                </p:cNvPr>
                <p:cNvSpPr txBox="1"/>
                <p:nvPr>
                  <p:custDataLst>
                    <p:tags r:id="rId77"/>
                  </p:custDataLst>
                </p:nvPr>
              </p:nvSpPr>
              <p:spPr>
                <a:xfrm>
                  <a:off x="8562891" y="4514938"/>
                  <a:ext cx="521653" cy="10274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>
                  <a:spAutoFit/>
                </a:bodyPr>
                <a:lstStyle>
                  <a:defPPr>
                    <a:defRPr lang="en-US"/>
                  </a:defPPr>
                </a:lstStyle>
                <a:p>
                  <a:pPr marL="0" marR="0" lvl="0" indent="0" algn="ctr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r>
                    <a:rPr kumimoji="0" lang="en-US" sz="7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itchFamily="34" charset="0"/>
                      <a:cs typeface="Arial" pitchFamily="34" charset="0"/>
                    </a:rPr>
                    <a:t>Bulgaria</a:t>
                  </a:r>
                </a:p>
              </p:txBody>
            </p:sp>
            <p:grpSp>
              <p:nvGrpSpPr>
                <p:cNvPr id="502" name="Group 501">
                  <a:extLst>
                    <a:ext uri="{FF2B5EF4-FFF2-40B4-BE49-F238E27FC236}">
                      <a16:creationId xmlns:a16="http://schemas.microsoft.com/office/drawing/2014/main" id="{73722923-F437-2A1C-BBAB-52A26F6EC0AA}"/>
                    </a:ext>
                  </a:extLst>
                </p:cNvPr>
                <p:cNvGrpSpPr/>
                <p:nvPr>
                  <p:custDataLst>
                    <p:tags r:id="rId78"/>
                  </p:custDataLst>
                </p:nvPr>
              </p:nvGrpSpPr>
              <p:grpSpPr>
                <a:xfrm>
                  <a:off x="7613274" y="4685557"/>
                  <a:ext cx="384058" cy="373650"/>
                  <a:chOff x="552139" y="1845054"/>
                  <a:chExt cx="563000" cy="547742"/>
                </a:xfrm>
              </p:grpSpPr>
              <p:sp>
                <p:nvSpPr>
                  <p:cNvPr id="555" name="Oval 554">
                    <a:extLst>
                      <a:ext uri="{FF2B5EF4-FFF2-40B4-BE49-F238E27FC236}">
                        <a16:creationId xmlns:a16="http://schemas.microsoft.com/office/drawing/2014/main" id="{BB677410-228A-C3A4-4072-3ADA77511554}"/>
                      </a:ext>
                    </a:extLst>
                  </p:cNvPr>
                  <p:cNvSpPr/>
                  <p:nvPr>
                    <p:custDataLst>
                      <p:tags r:id="rId131"/>
                    </p:custDataLst>
                  </p:nvPr>
                </p:nvSpPr>
                <p:spPr>
                  <a:xfrm>
                    <a:off x="561117" y="1845054"/>
                    <a:ext cx="547742" cy="547742"/>
                  </a:xfrm>
                  <a:prstGeom prst="ellipse">
                    <a:avLst/>
                  </a:prstGeom>
                  <a:solidFill>
                    <a:schemeClr val="accent2"/>
                  </a:solidFill>
                  <a:ln>
                    <a:noFill/>
                  </a:ln>
                </p:spPr>
                <p:style>
                  <a:lnRef idx="0">
                    <a:schemeClr val="accent1"/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>
                    <a:defPPr>
                      <a:defRPr lang="en-US"/>
                    </a:defPPr>
                    <a:lvl1pPr marL="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1pPr>
                    <a:lvl2pPr marL="54864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2pPr>
                    <a:lvl3pPr marL="109728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3pPr>
                    <a:lvl4pPr marL="164592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4pPr>
                    <a:lvl5pPr marL="219456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5pPr>
                    <a:lvl6pPr marL="274320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6pPr>
                    <a:lvl7pPr marL="329184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7pPr>
                    <a:lvl8pPr marL="384048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8pPr>
                    <a:lvl9pPr marL="438912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9pPr>
                  </a:lstStyle>
                  <a:p>
                    <a:pPr marL="0" marR="0" lvl="0" indent="0" algn="ctr" defTabSz="1462923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cap="none" spc="0" normalizeH="0" baseline="0" noProof="0">
                        <a:solidFill>
                          <a:srgbClr val="FFFFFF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itchFamily="34" charset="0"/>
                      <a:cs typeface="Arial" pitchFamily="34" charset="0"/>
                      <a:sym typeface="Wingdings" charset="2"/>
                    </a:endParaRPr>
                  </a:p>
                </p:txBody>
              </p:sp>
              <p:sp>
                <p:nvSpPr>
                  <p:cNvPr id="556" name="TextBox 555">
                    <a:extLst>
                      <a:ext uri="{FF2B5EF4-FFF2-40B4-BE49-F238E27FC236}">
                        <a16:creationId xmlns:a16="http://schemas.microsoft.com/office/drawing/2014/main" id="{D8D3CDCD-903F-264B-6865-7D6FEA5DE468}"/>
                      </a:ext>
                    </a:extLst>
                  </p:cNvPr>
                  <p:cNvSpPr txBox="1"/>
                  <p:nvPr>
                    <p:custDataLst>
                      <p:tags r:id="rId132"/>
                    </p:custDataLst>
                  </p:nvPr>
                </p:nvSpPr>
                <p:spPr>
                  <a:xfrm>
                    <a:off x="552139" y="1976377"/>
                    <a:ext cx="563000" cy="303375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>
                    <a:defPPr>
                      <a:defRPr lang="en-US"/>
                    </a:defPPr>
                  </a:lstStyle>
                  <a:p>
                    <a:pPr marL="0" marR="0" lvl="0" indent="0" algn="ctr" defTabSz="1462923" rtl="0" eaLnBrk="1" fontAlgn="auto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ts val="400"/>
                      </a:spcAft>
                      <a:buClrTx/>
                      <a:buSzTx/>
                      <a:buFontTx/>
                      <a:buNone/>
                      <a:defRPr kumimoji="0" sz="2160" b="0" i="0" normalizeH="0" noProof="0">
                        <a:solidFill>
                          <a:srgbClr val="000000"/>
                        </a:solidFill>
                        <a:uLnTx/>
                        <a:uFillTx/>
                        <a:latin typeface="+mn-lt"/>
                        <a:ea typeface="+mn-ea"/>
                        <a:cs typeface="+mn-cs"/>
                      </a:defRPr>
                    </a:pPr>
                    <a:r>
                      <a: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itchFamily="34" charset="0"/>
                        <a:cs typeface="Arial" pitchFamily="34" charset="0"/>
                      </a:rPr>
                      <a:t>3.2k</a:t>
                    </a:r>
                  </a:p>
                </p:txBody>
              </p:sp>
            </p:grpSp>
            <p:sp>
              <p:nvSpPr>
                <p:cNvPr id="503" name="pole tekstowe 310">
                  <a:extLst>
                    <a:ext uri="{FF2B5EF4-FFF2-40B4-BE49-F238E27FC236}">
                      <a16:creationId xmlns:a16="http://schemas.microsoft.com/office/drawing/2014/main" id="{35210B27-86EF-B8E3-0716-095DAB49C7B6}"/>
                    </a:ext>
                  </a:extLst>
                </p:cNvPr>
                <p:cNvSpPr txBox="1"/>
                <p:nvPr>
                  <p:custDataLst>
                    <p:tags r:id="rId79"/>
                  </p:custDataLst>
                </p:nvPr>
              </p:nvSpPr>
              <p:spPr>
                <a:xfrm>
                  <a:off x="7655405" y="4712507"/>
                  <a:ext cx="292406" cy="10274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>
                  <a:spAutoFit/>
                </a:bodyPr>
                <a:lstStyle>
                  <a:defPPr>
                    <a:defRPr lang="en-US"/>
                  </a:defPPr>
                </a:lstStyle>
                <a:p>
                  <a:pPr marL="0" marR="0" lvl="0" indent="0" algn="ctr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r>
                    <a:rPr kumimoji="0" lang="en-US" sz="7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itchFamily="34" charset="0"/>
                      <a:cs typeface="Arial" pitchFamily="34" charset="0"/>
                    </a:rPr>
                    <a:t>Italy</a:t>
                  </a:r>
                </a:p>
              </p:txBody>
            </p:sp>
            <p:sp>
              <p:nvSpPr>
                <p:cNvPr id="504" name="Oval 503">
                  <a:extLst>
                    <a:ext uri="{FF2B5EF4-FFF2-40B4-BE49-F238E27FC236}">
                      <a16:creationId xmlns:a16="http://schemas.microsoft.com/office/drawing/2014/main" id="{9B771BA6-B2CD-CCEC-AD11-99E484DC8B55}"/>
                    </a:ext>
                  </a:extLst>
                </p:cNvPr>
                <p:cNvSpPr/>
                <p:nvPr>
                  <p:custDataLst>
                    <p:tags r:id="rId80"/>
                  </p:custDataLst>
                </p:nvPr>
              </p:nvSpPr>
              <p:spPr>
                <a:xfrm>
                  <a:off x="7556139" y="4095998"/>
                  <a:ext cx="185879" cy="185879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1pPr>
                  <a:lvl2pPr marL="54864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2pPr>
                  <a:lvl3pPr marL="109728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3pPr>
                  <a:lvl4pPr marL="164592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4pPr>
                  <a:lvl5pPr marL="219456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5pPr>
                  <a:lvl6pPr marL="274320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6pPr>
                  <a:lvl7pPr marL="329184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7pPr>
                  <a:lvl8pPr marL="384048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8pPr>
                  <a:lvl9pPr marL="438912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9pPr>
                </a:lstStyle>
                <a:p>
                  <a:pPr marL="0" marR="0" lvl="0" indent="0" algn="ctr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cap="none" spc="0" normalizeH="0" baseline="0" noProof="0">
                      <a:solidFill>
                        <a:srgbClr val="FFFFFF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  <a:sym typeface="Wingdings" charset="2"/>
                  </a:endParaRPr>
                </a:p>
              </p:txBody>
            </p:sp>
            <p:sp>
              <p:nvSpPr>
                <p:cNvPr id="505" name="Oval 504">
                  <a:extLst>
                    <a:ext uri="{FF2B5EF4-FFF2-40B4-BE49-F238E27FC236}">
                      <a16:creationId xmlns:a16="http://schemas.microsoft.com/office/drawing/2014/main" id="{799EB7E7-9CED-2917-9DC0-ED1D63896687}"/>
                    </a:ext>
                  </a:extLst>
                </p:cNvPr>
                <p:cNvSpPr/>
                <p:nvPr>
                  <p:custDataLst>
                    <p:tags r:id="rId81"/>
                  </p:custDataLst>
                </p:nvPr>
              </p:nvSpPr>
              <p:spPr>
                <a:xfrm>
                  <a:off x="7510575" y="3676640"/>
                  <a:ext cx="298871" cy="288074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1pPr>
                  <a:lvl2pPr marL="54864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2pPr>
                  <a:lvl3pPr marL="109728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3pPr>
                  <a:lvl4pPr marL="164592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4pPr>
                  <a:lvl5pPr marL="219456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5pPr>
                  <a:lvl6pPr marL="274320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6pPr>
                  <a:lvl7pPr marL="329184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7pPr>
                  <a:lvl8pPr marL="384048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8pPr>
                  <a:lvl9pPr marL="438912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9pPr>
                </a:lstStyle>
                <a:p>
                  <a:pPr marL="0" marR="0" lvl="0" indent="0" algn="ctr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cap="none" spc="0" normalizeH="0" baseline="0" noProof="0">
                      <a:solidFill>
                        <a:srgbClr val="FFFFFF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  <a:sym typeface="Wingdings" charset="2"/>
                  </a:endParaRPr>
                </a:p>
              </p:txBody>
            </p:sp>
            <p:sp>
              <p:nvSpPr>
                <p:cNvPr id="506" name="Oval 505">
                  <a:extLst>
                    <a:ext uri="{FF2B5EF4-FFF2-40B4-BE49-F238E27FC236}">
                      <a16:creationId xmlns:a16="http://schemas.microsoft.com/office/drawing/2014/main" id="{0923FE72-CB31-3B7E-0678-E5CA884C7FE4}"/>
                    </a:ext>
                  </a:extLst>
                </p:cNvPr>
                <p:cNvSpPr/>
                <p:nvPr>
                  <p:custDataLst>
                    <p:tags r:id="rId82"/>
                  </p:custDataLst>
                </p:nvPr>
              </p:nvSpPr>
              <p:spPr>
                <a:xfrm>
                  <a:off x="7307038" y="3573011"/>
                  <a:ext cx="241649" cy="241649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1pPr>
                  <a:lvl2pPr marL="54864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2pPr>
                  <a:lvl3pPr marL="109728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3pPr>
                  <a:lvl4pPr marL="164592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4pPr>
                  <a:lvl5pPr marL="219456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5pPr>
                  <a:lvl6pPr marL="274320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6pPr>
                  <a:lvl7pPr marL="329184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7pPr>
                  <a:lvl8pPr marL="384048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8pPr>
                  <a:lvl9pPr marL="438912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9pPr>
                </a:lstStyle>
                <a:p>
                  <a:pPr marL="0" marR="0" lvl="0" indent="0" algn="ctr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cap="none" spc="0" normalizeH="0" baseline="0" noProof="0">
                      <a:solidFill>
                        <a:srgbClr val="FFFFFF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  <a:sym typeface="Wingdings" charset="2"/>
                  </a:endParaRPr>
                </a:p>
              </p:txBody>
            </p:sp>
            <p:grpSp>
              <p:nvGrpSpPr>
                <p:cNvPr id="507" name="Group 506">
                  <a:extLst>
                    <a:ext uri="{FF2B5EF4-FFF2-40B4-BE49-F238E27FC236}">
                      <a16:creationId xmlns:a16="http://schemas.microsoft.com/office/drawing/2014/main" id="{76D35579-63ED-AAF8-D3D5-3F88AFFA823C}"/>
                    </a:ext>
                  </a:extLst>
                </p:cNvPr>
                <p:cNvGrpSpPr/>
                <p:nvPr>
                  <p:custDataLst>
                    <p:tags r:id="rId83"/>
                  </p:custDataLst>
                </p:nvPr>
              </p:nvGrpSpPr>
              <p:grpSpPr>
                <a:xfrm>
                  <a:off x="7416278" y="3440758"/>
                  <a:ext cx="946876" cy="248106"/>
                  <a:chOff x="7416277" y="3440756"/>
                  <a:chExt cx="946876" cy="248106"/>
                </a:xfrm>
              </p:grpSpPr>
              <p:sp>
                <p:nvSpPr>
                  <p:cNvPr id="553" name="pole tekstowe 310">
                    <a:extLst>
                      <a:ext uri="{FF2B5EF4-FFF2-40B4-BE49-F238E27FC236}">
                        <a16:creationId xmlns:a16="http://schemas.microsoft.com/office/drawing/2014/main" id="{C211F23C-E2E6-5FFB-107E-4672C9E82FA6}"/>
                      </a:ext>
                    </a:extLst>
                  </p:cNvPr>
                  <p:cNvSpPr txBox="1"/>
                  <p:nvPr>
                    <p:custDataLst>
                      <p:tags r:id="rId129"/>
                    </p:custDataLst>
                  </p:nvPr>
                </p:nvSpPr>
                <p:spPr>
                  <a:xfrm>
                    <a:off x="7794966" y="3440756"/>
                    <a:ext cx="568187" cy="102742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>
                    <a:spAutoFit/>
                  </a:bodyPr>
                  <a:lstStyle>
                    <a:defPPr>
                      <a:defRPr lang="en-US"/>
                    </a:defPPr>
                  </a:lstStyle>
                  <a:p>
                    <a:pPr marL="0" marR="0" lvl="0" indent="0" algn="ctr" defTabSz="1462923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normalizeH="0" noProof="0">
                        <a:solidFill>
                          <a:srgbClr val="000000"/>
                        </a:solidFill>
                        <a:uLnTx/>
                        <a:uFillTx/>
                        <a:latin typeface="+mn-lt"/>
                        <a:ea typeface="+mn-ea"/>
                        <a:cs typeface="+mn-cs"/>
                      </a:defRPr>
                    </a:pPr>
                    <a:r>
                      <a:rPr kumimoji="0" lang="en-US" sz="7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cs typeface="Arial" pitchFamily="34" charset="0"/>
                      </a:rPr>
                      <a:t>Netherlands</a:t>
                    </a:r>
                  </a:p>
                </p:txBody>
              </p:sp>
              <p:cxnSp>
                <p:nvCxnSpPr>
                  <p:cNvPr id="554" name="Straight Connector 553">
                    <a:extLst>
                      <a:ext uri="{FF2B5EF4-FFF2-40B4-BE49-F238E27FC236}">
                        <a16:creationId xmlns:a16="http://schemas.microsoft.com/office/drawing/2014/main" id="{5F64E730-553B-08FE-4626-30DC1FB31E4D}"/>
                      </a:ext>
                    </a:extLst>
                  </p:cNvPr>
                  <p:cNvCxnSpPr/>
                  <p:nvPr>
                    <p:custDataLst>
                      <p:tags r:id="rId130"/>
                    </p:custDataLst>
                  </p:nvPr>
                </p:nvCxnSpPr>
                <p:spPr>
                  <a:xfrm flipV="1">
                    <a:off x="7416277" y="3525522"/>
                    <a:ext cx="552517" cy="163340"/>
                  </a:xfrm>
                  <a:prstGeom prst="line">
                    <a:avLst/>
                  </a:prstGeom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508" name="Oval 507">
                  <a:extLst>
                    <a:ext uri="{FF2B5EF4-FFF2-40B4-BE49-F238E27FC236}">
                      <a16:creationId xmlns:a16="http://schemas.microsoft.com/office/drawing/2014/main" id="{2001040A-C514-D562-9323-63F5257824E1}"/>
                    </a:ext>
                  </a:extLst>
                </p:cNvPr>
                <p:cNvSpPr/>
                <p:nvPr>
                  <p:custDataLst>
                    <p:tags r:id="rId84"/>
                  </p:custDataLst>
                </p:nvPr>
              </p:nvSpPr>
              <p:spPr>
                <a:xfrm>
                  <a:off x="7830624" y="3874564"/>
                  <a:ext cx="185879" cy="185879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1pPr>
                  <a:lvl2pPr marL="54864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2pPr>
                  <a:lvl3pPr marL="109728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3pPr>
                  <a:lvl4pPr marL="164592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4pPr>
                  <a:lvl5pPr marL="219456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5pPr>
                  <a:lvl6pPr marL="274320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6pPr>
                  <a:lvl7pPr marL="329184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7pPr>
                  <a:lvl8pPr marL="384048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8pPr>
                  <a:lvl9pPr marL="438912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9pPr>
                </a:lstStyle>
                <a:p>
                  <a:pPr marL="0" marR="0" lvl="0" indent="0" algn="ctr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cap="none" spc="0" normalizeH="0" baseline="0" noProof="0">
                      <a:solidFill>
                        <a:srgbClr val="FFFFFF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  <a:sym typeface="Wingdings" charset="2"/>
                  </a:endParaRPr>
                </a:p>
              </p:txBody>
            </p:sp>
            <p:grpSp>
              <p:nvGrpSpPr>
                <p:cNvPr id="509" name="Group 508">
                  <a:extLst>
                    <a:ext uri="{FF2B5EF4-FFF2-40B4-BE49-F238E27FC236}">
                      <a16:creationId xmlns:a16="http://schemas.microsoft.com/office/drawing/2014/main" id="{C4C898BB-7798-BC2A-C864-0152D22ECB9E}"/>
                    </a:ext>
                  </a:extLst>
                </p:cNvPr>
                <p:cNvGrpSpPr/>
                <p:nvPr>
                  <p:custDataLst>
                    <p:tags r:id="rId85"/>
                  </p:custDataLst>
                </p:nvPr>
              </p:nvGrpSpPr>
              <p:grpSpPr>
                <a:xfrm>
                  <a:off x="6144978" y="3975513"/>
                  <a:ext cx="1775642" cy="289150"/>
                  <a:chOff x="6197528" y="3975510"/>
                  <a:chExt cx="1775642" cy="289150"/>
                </a:xfrm>
              </p:grpSpPr>
              <p:sp>
                <p:nvSpPr>
                  <p:cNvPr id="551" name="pole tekstowe 310">
                    <a:extLst>
                      <a:ext uri="{FF2B5EF4-FFF2-40B4-BE49-F238E27FC236}">
                        <a16:creationId xmlns:a16="http://schemas.microsoft.com/office/drawing/2014/main" id="{A9BAA48A-51C8-B19B-8EEB-8F03ADED3EC5}"/>
                      </a:ext>
                    </a:extLst>
                  </p:cNvPr>
                  <p:cNvSpPr txBox="1"/>
                  <p:nvPr>
                    <p:custDataLst>
                      <p:tags r:id="rId127"/>
                    </p:custDataLst>
                  </p:nvPr>
                </p:nvSpPr>
                <p:spPr>
                  <a:xfrm>
                    <a:off x="6197528" y="4161918"/>
                    <a:ext cx="596270" cy="102742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>
                    <a:spAutoFit/>
                  </a:bodyPr>
                  <a:lstStyle>
                    <a:defPPr>
                      <a:defRPr lang="en-US"/>
                    </a:defPPr>
                  </a:lstStyle>
                  <a:p>
                    <a:pPr marL="0" marR="0" lvl="0" indent="0" algn="l" defTabSz="1462923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normalizeH="0" noProof="0">
                        <a:solidFill>
                          <a:srgbClr val="000000"/>
                        </a:solidFill>
                        <a:uLnTx/>
                        <a:uFillTx/>
                        <a:latin typeface="+mn-lt"/>
                        <a:ea typeface="+mn-ea"/>
                        <a:cs typeface="+mn-cs"/>
                      </a:defRPr>
                    </a:pPr>
                    <a:r>
                      <a:rPr kumimoji="0" lang="en-US" sz="7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cs typeface="Arial" pitchFamily="34" charset="0"/>
                      </a:rPr>
                      <a:t>Czech Republic</a:t>
                    </a:r>
                  </a:p>
                </p:txBody>
              </p:sp>
              <p:cxnSp>
                <p:nvCxnSpPr>
                  <p:cNvPr id="552" name="Straight Connector 551">
                    <a:extLst>
                      <a:ext uri="{FF2B5EF4-FFF2-40B4-BE49-F238E27FC236}">
                        <a16:creationId xmlns:a16="http://schemas.microsoft.com/office/drawing/2014/main" id="{946EF2E5-D70D-1D5C-79C2-94486F774910}"/>
                      </a:ext>
                    </a:extLst>
                  </p:cNvPr>
                  <p:cNvCxnSpPr/>
                  <p:nvPr>
                    <p:custDataLst>
                      <p:tags r:id="rId128"/>
                    </p:custDataLst>
                  </p:nvPr>
                </p:nvCxnSpPr>
                <p:spPr>
                  <a:xfrm flipV="1">
                    <a:off x="6846370" y="3975510"/>
                    <a:ext cx="1126800" cy="238871"/>
                  </a:xfrm>
                  <a:prstGeom prst="line">
                    <a:avLst/>
                  </a:prstGeom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510" name="Oval 509">
                  <a:extLst>
                    <a:ext uri="{FF2B5EF4-FFF2-40B4-BE49-F238E27FC236}">
                      <a16:creationId xmlns:a16="http://schemas.microsoft.com/office/drawing/2014/main" id="{FD65D20D-9987-F43B-44EA-5203EC2D689F}"/>
                    </a:ext>
                  </a:extLst>
                </p:cNvPr>
                <p:cNvSpPr/>
                <p:nvPr>
                  <p:custDataLst>
                    <p:tags r:id="rId86"/>
                  </p:custDataLst>
                </p:nvPr>
              </p:nvSpPr>
              <p:spPr>
                <a:xfrm>
                  <a:off x="7873770" y="4092633"/>
                  <a:ext cx="152400" cy="152400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1pPr>
                  <a:lvl2pPr marL="54864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2pPr>
                  <a:lvl3pPr marL="109728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3pPr>
                  <a:lvl4pPr marL="164592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4pPr>
                  <a:lvl5pPr marL="219456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5pPr>
                  <a:lvl6pPr marL="274320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6pPr>
                  <a:lvl7pPr marL="329184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7pPr>
                  <a:lvl8pPr marL="384048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8pPr>
                  <a:lvl9pPr marL="438912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9pPr>
                </a:lstStyle>
                <a:p>
                  <a:pPr marL="0" marR="0" lvl="0" indent="0" algn="ctr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cap="none" spc="0" normalizeH="0" baseline="0" noProof="0">
                      <a:solidFill>
                        <a:srgbClr val="FFFFFF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  <a:sym typeface="Wingdings" charset="2"/>
                  </a:endParaRPr>
                </a:p>
              </p:txBody>
            </p:sp>
            <p:sp>
              <p:nvSpPr>
                <p:cNvPr id="511" name="pole tekstowe 310">
                  <a:extLst>
                    <a:ext uri="{FF2B5EF4-FFF2-40B4-BE49-F238E27FC236}">
                      <a16:creationId xmlns:a16="http://schemas.microsoft.com/office/drawing/2014/main" id="{9140747F-92CB-DA1D-105F-43BCD064739E}"/>
                    </a:ext>
                  </a:extLst>
                </p:cNvPr>
                <p:cNvSpPr txBox="1"/>
                <p:nvPr>
                  <p:custDataLst>
                    <p:tags r:id="rId87"/>
                  </p:custDataLst>
                </p:nvPr>
              </p:nvSpPr>
              <p:spPr>
                <a:xfrm>
                  <a:off x="7195275" y="4460500"/>
                  <a:ext cx="604582" cy="10274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>
                  <a:spAutoFit/>
                </a:bodyPr>
                <a:lstStyle>
                  <a:defPPr>
                    <a:defRPr lang="en-US"/>
                  </a:defPPr>
                </a:lstStyle>
                <a:p>
                  <a:pPr marL="0" marR="0" lvl="0" indent="0" algn="ctr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r>
                    <a:rPr kumimoji="0" lang="en-US" sz="7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itchFamily="34" charset="0"/>
                      <a:cs typeface="Arial" pitchFamily="34" charset="0"/>
                    </a:rPr>
                    <a:t>Austria</a:t>
                  </a:r>
                </a:p>
              </p:txBody>
            </p:sp>
            <p:sp>
              <p:nvSpPr>
                <p:cNvPr id="512" name="Oval 511">
                  <a:extLst>
                    <a:ext uri="{FF2B5EF4-FFF2-40B4-BE49-F238E27FC236}">
                      <a16:creationId xmlns:a16="http://schemas.microsoft.com/office/drawing/2014/main" id="{01D857F4-BCA3-BFA4-37D4-D8412F8A45CF}"/>
                    </a:ext>
                  </a:extLst>
                </p:cNvPr>
                <p:cNvSpPr/>
                <p:nvPr>
                  <p:custDataLst>
                    <p:tags r:id="rId88"/>
                  </p:custDataLst>
                </p:nvPr>
              </p:nvSpPr>
              <p:spPr>
                <a:xfrm>
                  <a:off x="8035823" y="4133557"/>
                  <a:ext cx="185879" cy="185879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1pPr>
                  <a:lvl2pPr marL="54864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2pPr>
                  <a:lvl3pPr marL="109728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3pPr>
                  <a:lvl4pPr marL="164592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4pPr>
                  <a:lvl5pPr marL="219456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5pPr>
                  <a:lvl6pPr marL="274320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6pPr>
                  <a:lvl7pPr marL="329184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7pPr>
                  <a:lvl8pPr marL="384048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8pPr>
                  <a:lvl9pPr marL="438912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9pPr>
                </a:lstStyle>
                <a:p>
                  <a:pPr marL="0" marR="0" lvl="0" indent="0" algn="ctr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cap="none" spc="0" normalizeH="0" baseline="0" noProof="0">
                      <a:solidFill>
                        <a:srgbClr val="FFFFFF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  <a:sym typeface="Wingdings" charset="2"/>
                  </a:endParaRPr>
                </a:p>
              </p:txBody>
            </p:sp>
            <p:grpSp>
              <p:nvGrpSpPr>
                <p:cNvPr id="513" name="Group 512">
                  <a:extLst>
                    <a:ext uri="{FF2B5EF4-FFF2-40B4-BE49-F238E27FC236}">
                      <a16:creationId xmlns:a16="http://schemas.microsoft.com/office/drawing/2014/main" id="{0677A2D9-D286-D037-F920-E6DEE2F0EFD0}"/>
                    </a:ext>
                  </a:extLst>
                </p:cNvPr>
                <p:cNvGrpSpPr/>
                <p:nvPr>
                  <p:custDataLst>
                    <p:tags r:id="rId89"/>
                  </p:custDataLst>
                </p:nvPr>
              </p:nvGrpSpPr>
              <p:grpSpPr>
                <a:xfrm>
                  <a:off x="7140087" y="4230441"/>
                  <a:ext cx="979471" cy="449627"/>
                  <a:chOff x="6663643" y="3694842"/>
                  <a:chExt cx="633948" cy="291014"/>
                </a:xfrm>
              </p:grpSpPr>
              <p:cxnSp>
                <p:nvCxnSpPr>
                  <p:cNvPr id="549" name="Straight Connector 548">
                    <a:extLst>
                      <a:ext uri="{FF2B5EF4-FFF2-40B4-BE49-F238E27FC236}">
                        <a16:creationId xmlns:a16="http://schemas.microsoft.com/office/drawing/2014/main" id="{4299913F-5FAF-F0A0-F191-AA4FD211782D}"/>
                      </a:ext>
                    </a:extLst>
                  </p:cNvPr>
                  <p:cNvCxnSpPr>
                    <a:cxnSpLocks/>
                  </p:cNvCxnSpPr>
                  <p:nvPr>
                    <p:custDataLst>
                      <p:tags r:id="rId125"/>
                    </p:custDataLst>
                  </p:nvPr>
                </p:nvCxnSpPr>
                <p:spPr>
                  <a:xfrm flipV="1">
                    <a:off x="6959474" y="3694842"/>
                    <a:ext cx="338117" cy="229609"/>
                  </a:xfrm>
                  <a:prstGeom prst="line">
                    <a:avLst/>
                  </a:prstGeom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550" name="pole tekstowe 310">
                    <a:extLst>
                      <a:ext uri="{FF2B5EF4-FFF2-40B4-BE49-F238E27FC236}">
                        <a16:creationId xmlns:a16="http://schemas.microsoft.com/office/drawing/2014/main" id="{638FB8D8-05D8-09BD-1BDF-5B92F06E6BD4}"/>
                      </a:ext>
                    </a:extLst>
                  </p:cNvPr>
                  <p:cNvSpPr txBox="1"/>
                  <p:nvPr>
                    <p:custDataLst>
                      <p:tags r:id="rId126"/>
                    </p:custDataLst>
                  </p:nvPr>
                </p:nvSpPr>
                <p:spPr>
                  <a:xfrm>
                    <a:off x="6663643" y="3919358"/>
                    <a:ext cx="391304" cy="66498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>
                    <a:spAutoFit/>
                  </a:bodyPr>
                  <a:lstStyle>
                    <a:defPPr>
                      <a:defRPr lang="en-US"/>
                    </a:defPPr>
                  </a:lstStyle>
                  <a:p>
                    <a:pPr marL="0" marR="0" lvl="0" indent="0" algn="ctr" defTabSz="1462923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normalizeH="0" noProof="0">
                        <a:solidFill>
                          <a:srgbClr val="000000"/>
                        </a:solidFill>
                        <a:uLnTx/>
                        <a:uFillTx/>
                        <a:latin typeface="+mn-lt"/>
                        <a:ea typeface="+mn-ea"/>
                        <a:cs typeface="+mn-cs"/>
                      </a:defRPr>
                    </a:pPr>
                    <a:r>
                      <a:rPr kumimoji="0" lang="en-US" sz="7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cs typeface="Arial" pitchFamily="34" charset="0"/>
                      </a:rPr>
                      <a:t>Hungary</a:t>
                    </a:r>
                  </a:p>
                </p:txBody>
              </p:sp>
            </p:grpSp>
            <p:sp>
              <p:nvSpPr>
                <p:cNvPr id="514" name="Oval 513">
                  <a:extLst>
                    <a:ext uri="{FF2B5EF4-FFF2-40B4-BE49-F238E27FC236}">
                      <a16:creationId xmlns:a16="http://schemas.microsoft.com/office/drawing/2014/main" id="{94EC7629-98C8-5DDD-6A6C-B7FAB321BE74}"/>
                    </a:ext>
                  </a:extLst>
                </p:cNvPr>
                <p:cNvSpPr/>
                <p:nvPr>
                  <p:custDataLst>
                    <p:tags r:id="rId90"/>
                  </p:custDataLst>
                </p:nvPr>
              </p:nvSpPr>
              <p:spPr>
                <a:xfrm>
                  <a:off x="8046449" y="4409865"/>
                  <a:ext cx="258796" cy="245786"/>
                </a:xfrm>
                <a:prstGeom prst="ellipse">
                  <a:avLst/>
                </a:prstGeom>
                <a:solidFill>
                  <a:srgbClr val="00A3E1"/>
                </a:solidFill>
                <a:ln>
                  <a:noFill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1pPr>
                  <a:lvl2pPr marL="54864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2pPr>
                  <a:lvl3pPr marL="109728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3pPr>
                  <a:lvl4pPr marL="164592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4pPr>
                  <a:lvl5pPr marL="219456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5pPr>
                  <a:lvl6pPr marL="274320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6pPr>
                  <a:lvl7pPr marL="329184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7pPr>
                  <a:lvl8pPr marL="384048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8pPr>
                  <a:lvl9pPr marL="438912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9pPr>
                </a:lstStyle>
                <a:p>
                  <a:pPr marL="0" marR="0" lvl="0" indent="0" algn="ctr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cap="none" spc="0" normalizeH="0" baseline="0" noProof="0">
                      <a:solidFill>
                        <a:srgbClr val="FFFFFF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  <a:sym typeface="Wingdings" charset="2"/>
                  </a:endParaRPr>
                </a:p>
              </p:txBody>
            </p:sp>
            <p:sp>
              <p:nvSpPr>
                <p:cNvPr id="515" name="pole tekstowe 310">
                  <a:extLst>
                    <a:ext uri="{FF2B5EF4-FFF2-40B4-BE49-F238E27FC236}">
                      <a16:creationId xmlns:a16="http://schemas.microsoft.com/office/drawing/2014/main" id="{B5231AED-3C7B-BA78-33C5-AB5CDE248951}"/>
                    </a:ext>
                  </a:extLst>
                </p:cNvPr>
                <p:cNvSpPr txBox="1"/>
                <p:nvPr>
                  <p:custDataLst>
                    <p:tags r:id="rId91"/>
                  </p:custDataLst>
                </p:nvPr>
              </p:nvSpPr>
              <p:spPr>
                <a:xfrm>
                  <a:off x="8056079" y="4415160"/>
                  <a:ext cx="292406" cy="10274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>
                  <a:spAutoFit/>
                </a:bodyPr>
                <a:lstStyle>
                  <a:defPPr>
                    <a:defRPr lang="en-US"/>
                  </a:defPPr>
                </a:lstStyle>
                <a:p>
                  <a:pPr marL="0" marR="0" lvl="0" indent="0" algn="ctr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r>
                    <a:rPr kumimoji="0" lang="en-US" sz="700" b="0" i="0" u="none" strike="noStrike" kern="120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Arial" pitchFamily="34" charset="0"/>
                      <a:cs typeface="Arial" pitchFamily="34" charset="0"/>
                    </a:rPr>
                    <a:t>Serbia</a:t>
                  </a:r>
                </a:p>
              </p:txBody>
            </p:sp>
            <p:sp>
              <p:nvSpPr>
                <p:cNvPr id="516" name="Oval 515">
                  <a:extLst>
                    <a:ext uri="{FF2B5EF4-FFF2-40B4-BE49-F238E27FC236}">
                      <a16:creationId xmlns:a16="http://schemas.microsoft.com/office/drawing/2014/main" id="{7E336BA2-20D4-63D7-A14C-D50005B7AD14}"/>
                    </a:ext>
                  </a:extLst>
                </p:cNvPr>
                <p:cNvSpPr/>
                <p:nvPr>
                  <p:custDataLst>
                    <p:tags r:id="rId92"/>
                  </p:custDataLst>
                </p:nvPr>
              </p:nvSpPr>
              <p:spPr>
                <a:xfrm>
                  <a:off x="8562889" y="2829496"/>
                  <a:ext cx="123953" cy="123953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1pPr>
                  <a:lvl2pPr marL="54864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2pPr>
                  <a:lvl3pPr marL="109728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3pPr>
                  <a:lvl4pPr marL="164592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4pPr>
                  <a:lvl5pPr marL="219456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5pPr>
                  <a:lvl6pPr marL="274320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6pPr>
                  <a:lvl7pPr marL="329184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7pPr>
                  <a:lvl8pPr marL="384048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8pPr>
                  <a:lvl9pPr marL="438912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9pPr>
                </a:lstStyle>
                <a:p>
                  <a:pPr marL="0" marR="0" lvl="0" indent="0" algn="ctr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cap="none" spc="0" normalizeH="0" baseline="0" noProof="0">
                      <a:solidFill>
                        <a:srgbClr val="FFFFFF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  <a:sym typeface="Wingdings" charset="2"/>
                  </a:endParaRPr>
                </a:p>
              </p:txBody>
            </p:sp>
            <p:sp>
              <p:nvSpPr>
                <p:cNvPr id="517" name="pole tekstowe 310">
                  <a:extLst>
                    <a:ext uri="{FF2B5EF4-FFF2-40B4-BE49-F238E27FC236}">
                      <a16:creationId xmlns:a16="http://schemas.microsoft.com/office/drawing/2014/main" id="{538AA125-1B63-B721-CBFD-2544F0A5D526}"/>
                    </a:ext>
                  </a:extLst>
                </p:cNvPr>
                <p:cNvSpPr txBox="1"/>
                <p:nvPr>
                  <p:custDataLst>
                    <p:tags r:id="rId93"/>
                  </p:custDataLst>
                </p:nvPr>
              </p:nvSpPr>
              <p:spPr>
                <a:xfrm>
                  <a:off x="8689370" y="2911692"/>
                  <a:ext cx="463915" cy="10274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anchor="ctr">
                  <a:spAutoFit/>
                </a:bodyPr>
                <a:lstStyle>
                  <a:defPPr>
                    <a:defRPr lang="en-US"/>
                  </a:defPPr>
                </a:lstStyle>
                <a:p>
                  <a:pPr marL="0" marR="0" lvl="0" indent="0" algn="ctr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r>
                    <a:rPr kumimoji="0" lang="en-US" sz="7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itchFamily="34" charset="0"/>
                      <a:cs typeface="Arial" pitchFamily="34" charset="0"/>
                    </a:rPr>
                    <a:t>Finland</a:t>
                  </a:r>
                </a:p>
              </p:txBody>
            </p:sp>
            <p:sp>
              <p:nvSpPr>
                <p:cNvPr id="518" name="Oval 517">
                  <a:extLst>
                    <a:ext uri="{FF2B5EF4-FFF2-40B4-BE49-F238E27FC236}">
                      <a16:creationId xmlns:a16="http://schemas.microsoft.com/office/drawing/2014/main" id="{8255EACF-179E-54C3-CD20-9EC033AC8CFE}"/>
                    </a:ext>
                  </a:extLst>
                </p:cNvPr>
                <p:cNvSpPr/>
                <p:nvPr>
                  <p:custDataLst>
                    <p:tags r:id="rId94"/>
                  </p:custDataLst>
                </p:nvPr>
              </p:nvSpPr>
              <p:spPr>
                <a:xfrm>
                  <a:off x="7213779" y="3778484"/>
                  <a:ext cx="241649" cy="241649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1pPr>
                  <a:lvl2pPr marL="54864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2pPr>
                  <a:lvl3pPr marL="109728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3pPr>
                  <a:lvl4pPr marL="164592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4pPr>
                  <a:lvl5pPr marL="219456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5pPr>
                  <a:lvl6pPr marL="274320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6pPr>
                  <a:lvl7pPr marL="329184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7pPr>
                  <a:lvl8pPr marL="384048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8pPr>
                  <a:lvl9pPr marL="438912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9pPr>
                </a:lstStyle>
                <a:p>
                  <a:pPr marL="0" marR="0" lvl="0" indent="0" algn="ctr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cap="none" spc="0" normalizeH="0" baseline="0" noProof="0">
                      <a:solidFill>
                        <a:srgbClr val="FFFFFF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  <a:sym typeface="Wingdings" charset="2"/>
                  </a:endParaRPr>
                </a:p>
              </p:txBody>
            </p:sp>
            <p:grpSp>
              <p:nvGrpSpPr>
                <p:cNvPr id="519" name="Group 518">
                  <a:extLst>
                    <a:ext uri="{FF2B5EF4-FFF2-40B4-BE49-F238E27FC236}">
                      <a16:creationId xmlns:a16="http://schemas.microsoft.com/office/drawing/2014/main" id="{A8855D80-C9F1-D601-E90E-EF5467241F11}"/>
                    </a:ext>
                  </a:extLst>
                </p:cNvPr>
                <p:cNvGrpSpPr/>
                <p:nvPr>
                  <p:custDataLst>
                    <p:tags r:id="rId95"/>
                  </p:custDataLst>
                </p:nvPr>
              </p:nvGrpSpPr>
              <p:grpSpPr>
                <a:xfrm>
                  <a:off x="6173905" y="3805180"/>
                  <a:ext cx="1137221" cy="110602"/>
                  <a:chOff x="6835950" y="3896988"/>
                  <a:chExt cx="1137221" cy="110602"/>
                </a:xfrm>
              </p:grpSpPr>
              <p:sp>
                <p:nvSpPr>
                  <p:cNvPr id="547" name="pole tekstowe 310">
                    <a:extLst>
                      <a:ext uri="{FF2B5EF4-FFF2-40B4-BE49-F238E27FC236}">
                        <a16:creationId xmlns:a16="http://schemas.microsoft.com/office/drawing/2014/main" id="{AC8211C4-9A23-D528-99B6-CC8B00B8D5EF}"/>
                      </a:ext>
                    </a:extLst>
                  </p:cNvPr>
                  <p:cNvSpPr txBox="1"/>
                  <p:nvPr>
                    <p:custDataLst>
                      <p:tags r:id="rId123"/>
                    </p:custDataLst>
                  </p:nvPr>
                </p:nvSpPr>
                <p:spPr>
                  <a:xfrm>
                    <a:off x="6835950" y="3896988"/>
                    <a:ext cx="307309" cy="102742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>
                    <a:spAutoFit/>
                  </a:bodyPr>
                  <a:lstStyle>
                    <a:defPPr>
                      <a:defRPr lang="en-US"/>
                    </a:defPPr>
                  </a:lstStyle>
                  <a:p>
                    <a:pPr marL="0" marR="0" lvl="0" indent="0" algn="l" defTabSz="1462923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normalizeH="0" noProof="0">
                        <a:solidFill>
                          <a:srgbClr val="000000"/>
                        </a:solidFill>
                        <a:uLnTx/>
                        <a:uFillTx/>
                        <a:latin typeface="+mn-lt"/>
                        <a:ea typeface="+mn-ea"/>
                        <a:cs typeface="+mn-cs"/>
                      </a:defRPr>
                    </a:pPr>
                    <a:r>
                      <a:rPr kumimoji="0" lang="en-US" sz="7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cs typeface="Arial" pitchFamily="34" charset="0"/>
                      </a:rPr>
                      <a:t>Belgium</a:t>
                    </a:r>
                  </a:p>
                </p:txBody>
              </p:sp>
              <p:cxnSp>
                <p:nvCxnSpPr>
                  <p:cNvPr id="548" name="Straight Connector 547">
                    <a:extLst>
                      <a:ext uri="{FF2B5EF4-FFF2-40B4-BE49-F238E27FC236}">
                        <a16:creationId xmlns:a16="http://schemas.microsoft.com/office/drawing/2014/main" id="{21594CCA-2C62-0200-28E6-78723E1B10DF}"/>
                      </a:ext>
                    </a:extLst>
                  </p:cNvPr>
                  <p:cNvCxnSpPr/>
                  <p:nvPr>
                    <p:custDataLst>
                      <p:tags r:id="rId124"/>
                    </p:custDataLst>
                  </p:nvPr>
                </p:nvCxnSpPr>
                <p:spPr>
                  <a:xfrm flipV="1">
                    <a:off x="7234513" y="3975512"/>
                    <a:ext cx="738658" cy="32078"/>
                  </a:xfrm>
                  <a:prstGeom prst="line">
                    <a:avLst/>
                  </a:prstGeom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520" name="Oval 519">
                  <a:extLst>
                    <a:ext uri="{FF2B5EF4-FFF2-40B4-BE49-F238E27FC236}">
                      <a16:creationId xmlns:a16="http://schemas.microsoft.com/office/drawing/2014/main" id="{626A2814-8ED7-8C39-B67B-4F2190629F5A}"/>
                    </a:ext>
                  </a:extLst>
                </p:cNvPr>
                <p:cNvSpPr/>
                <p:nvPr>
                  <p:custDataLst>
                    <p:tags r:id="rId96"/>
                  </p:custDataLst>
                </p:nvPr>
              </p:nvSpPr>
              <p:spPr>
                <a:xfrm>
                  <a:off x="7406051" y="3914027"/>
                  <a:ext cx="150083" cy="150083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1pPr>
                  <a:lvl2pPr marL="54864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2pPr>
                  <a:lvl3pPr marL="109728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3pPr>
                  <a:lvl4pPr marL="164592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4pPr>
                  <a:lvl5pPr marL="219456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5pPr>
                  <a:lvl6pPr marL="274320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6pPr>
                  <a:lvl7pPr marL="329184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7pPr>
                  <a:lvl8pPr marL="384048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8pPr>
                  <a:lvl9pPr marL="438912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9pPr>
                </a:lstStyle>
                <a:p>
                  <a:pPr marL="0" marR="0" lvl="0" indent="0" algn="ctr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cap="none" spc="0" normalizeH="0" baseline="0" noProof="0">
                      <a:solidFill>
                        <a:srgbClr val="FFFFFF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  <a:sym typeface="Wingdings" charset="2"/>
                  </a:endParaRPr>
                </a:p>
              </p:txBody>
            </p:sp>
            <p:sp>
              <p:nvSpPr>
                <p:cNvPr id="521" name="pole tekstowe 310">
                  <a:extLst>
                    <a:ext uri="{FF2B5EF4-FFF2-40B4-BE49-F238E27FC236}">
                      <a16:creationId xmlns:a16="http://schemas.microsoft.com/office/drawing/2014/main" id="{8EA36B40-9E72-1642-EA13-AC17EF227DC7}"/>
                    </a:ext>
                  </a:extLst>
                </p:cNvPr>
                <p:cNvSpPr txBox="1"/>
                <p:nvPr>
                  <p:custDataLst>
                    <p:tags r:id="rId97"/>
                  </p:custDataLst>
                </p:nvPr>
              </p:nvSpPr>
              <p:spPr>
                <a:xfrm>
                  <a:off x="6107498" y="4059543"/>
                  <a:ext cx="475488" cy="102743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>
                  <a:spAutoFit/>
                </a:bodyPr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r>
                    <a:rPr kumimoji="0" lang="en-US" sz="7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itchFamily="34" charset="0"/>
                      <a:cs typeface="Arial" pitchFamily="34" charset="0"/>
                    </a:rPr>
                    <a:t>Luxembourg</a:t>
                  </a:r>
                </a:p>
              </p:txBody>
            </p:sp>
            <p:sp>
              <p:nvSpPr>
                <p:cNvPr id="522" name="Oval 521">
                  <a:extLst>
                    <a:ext uri="{FF2B5EF4-FFF2-40B4-BE49-F238E27FC236}">
                      <a16:creationId xmlns:a16="http://schemas.microsoft.com/office/drawing/2014/main" id="{A1366DF2-BB05-D772-E8E9-8957BBE0E2CB}"/>
                    </a:ext>
                  </a:extLst>
                </p:cNvPr>
                <p:cNvSpPr/>
                <p:nvPr>
                  <p:custDataLst>
                    <p:tags r:id="rId98"/>
                  </p:custDataLst>
                </p:nvPr>
              </p:nvSpPr>
              <p:spPr>
                <a:xfrm>
                  <a:off x="7606346" y="2865611"/>
                  <a:ext cx="152400" cy="152400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1pPr>
                  <a:lvl2pPr marL="54864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2pPr>
                  <a:lvl3pPr marL="109728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3pPr>
                  <a:lvl4pPr marL="164592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4pPr>
                  <a:lvl5pPr marL="219456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5pPr>
                  <a:lvl6pPr marL="274320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6pPr>
                  <a:lvl7pPr marL="329184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7pPr>
                  <a:lvl8pPr marL="384048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8pPr>
                  <a:lvl9pPr marL="438912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9pPr>
                </a:lstStyle>
                <a:p>
                  <a:pPr marL="0" marR="0" lvl="0" indent="0" algn="ctr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cap="none" spc="0" normalizeH="0" baseline="0" noProof="0">
                      <a:solidFill>
                        <a:srgbClr val="FFFFFF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  <a:sym typeface="Wingdings" charset="2"/>
                  </a:endParaRPr>
                </a:p>
              </p:txBody>
            </p:sp>
            <p:sp>
              <p:nvSpPr>
                <p:cNvPr id="523" name="pole tekstowe 310">
                  <a:extLst>
                    <a:ext uri="{FF2B5EF4-FFF2-40B4-BE49-F238E27FC236}">
                      <a16:creationId xmlns:a16="http://schemas.microsoft.com/office/drawing/2014/main" id="{07A39982-D60A-5C07-CBDC-D0EB250D985A}"/>
                    </a:ext>
                  </a:extLst>
                </p:cNvPr>
                <p:cNvSpPr txBox="1"/>
                <p:nvPr>
                  <p:custDataLst>
                    <p:tags r:id="rId99"/>
                  </p:custDataLst>
                </p:nvPr>
              </p:nvSpPr>
              <p:spPr>
                <a:xfrm>
                  <a:off x="7138553" y="2759691"/>
                  <a:ext cx="463915" cy="10274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anchor="ctr">
                  <a:spAutoFit/>
                </a:bodyPr>
                <a:lstStyle>
                  <a:defPPr>
                    <a:defRPr lang="en-US"/>
                  </a:defPPr>
                </a:lstStyle>
                <a:p>
                  <a:pPr marL="0" marR="0" lvl="0" indent="0" algn="ctr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r>
                    <a:rPr kumimoji="0" lang="en-US" sz="7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itchFamily="34" charset="0"/>
                      <a:cs typeface="Arial" pitchFamily="34" charset="0"/>
                    </a:rPr>
                    <a:t>Norway</a:t>
                  </a:r>
                </a:p>
              </p:txBody>
            </p:sp>
            <p:sp>
              <p:nvSpPr>
                <p:cNvPr id="524" name="Oval 523">
                  <a:extLst>
                    <a:ext uri="{FF2B5EF4-FFF2-40B4-BE49-F238E27FC236}">
                      <a16:creationId xmlns:a16="http://schemas.microsoft.com/office/drawing/2014/main" id="{29253508-7DC5-92BE-5BA4-4F4727C57B9B}"/>
                    </a:ext>
                  </a:extLst>
                </p:cNvPr>
                <p:cNvSpPr/>
                <p:nvPr>
                  <p:custDataLst>
                    <p:tags r:id="rId100"/>
                  </p:custDataLst>
                </p:nvPr>
              </p:nvSpPr>
              <p:spPr>
                <a:xfrm>
                  <a:off x="7518544" y="3308483"/>
                  <a:ext cx="241649" cy="241649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1pPr>
                  <a:lvl2pPr marL="54864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2pPr>
                  <a:lvl3pPr marL="109728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3pPr>
                  <a:lvl4pPr marL="164592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4pPr>
                  <a:lvl5pPr marL="219456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5pPr>
                  <a:lvl6pPr marL="274320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6pPr>
                  <a:lvl7pPr marL="329184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7pPr>
                  <a:lvl8pPr marL="384048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8pPr>
                  <a:lvl9pPr marL="438912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9pPr>
                </a:lstStyle>
                <a:p>
                  <a:pPr marL="0" marR="0" lvl="0" indent="0" algn="ctr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cap="none" spc="0" normalizeH="0" baseline="0" noProof="0">
                      <a:solidFill>
                        <a:srgbClr val="FFFFFF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  <a:sym typeface="Wingdings" charset="2"/>
                  </a:endParaRPr>
                </a:p>
              </p:txBody>
            </p:sp>
            <p:sp>
              <p:nvSpPr>
                <p:cNvPr id="525" name="pole tekstowe 310">
                  <a:extLst>
                    <a:ext uri="{FF2B5EF4-FFF2-40B4-BE49-F238E27FC236}">
                      <a16:creationId xmlns:a16="http://schemas.microsoft.com/office/drawing/2014/main" id="{BA94D21E-2B23-6C65-2F92-942D2DE131A5}"/>
                    </a:ext>
                  </a:extLst>
                </p:cNvPr>
                <p:cNvSpPr txBox="1"/>
                <p:nvPr>
                  <p:custDataLst>
                    <p:tags r:id="rId101"/>
                  </p:custDataLst>
                </p:nvPr>
              </p:nvSpPr>
              <p:spPr>
                <a:xfrm>
                  <a:off x="7394611" y="3375460"/>
                  <a:ext cx="488278" cy="10274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>
                  <a:spAutoFit/>
                </a:bodyPr>
                <a:lstStyle>
                  <a:defPPr>
                    <a:defRPr lang="en-US"/>
                  </a:defPPr>
                </a:lstStyle>
                <a:p>
                  <a:pPr marL="0" marR="0" lvl="0" indent="0" algn="ctr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r>
                    <a:rPr kumimoji="0" lang="en-US" sz="7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itchFamily="34" charset="0"/>
                      <a:cs typeface="Arial" pitchFamily="34" charset="0"/>
                    </a:rPr>
                    <a:t>Denmark</a:t>
                  </a:r>
                  <a:endParaRPr kumimoji="0" lang="pl-PL" sz="5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grpSp>
              <p:nvGrpSpPr>
                <p:cNvPr id="526" name="Group 525">
                  <a:extLst>
                    <a:ext uri="{FF2B5EF4-FFF2-40B4-BE49-F238E27FC236}">
                      <a16:creationId xmlns:a16="http://schemas.microsoft.com/office/drawing/2014/main" id="{F8F3C17F-244C-DE0C-D623-EF100DF238F7}"/>
                    </a:ext>
                  </a:extLst>
                </p:cNvPr>
                <p:cNvGrpSpPr/>
                <p:nvPr>
                  <p:custDataLst>
                    <p:tags r:id="rId102"/>
                  </p:custDataLst>
                </p:nvPr>
              </p:nvGrpSpPr>
              <p:grpSpPr>
                <a:xfrm>
                  <a:off x="8290177" y="4023017"/>
                  <a:ext cx="386354" cy="373649"/>
                  <a:chOff x="561098" y="1845054"/>
                  <a:chExt cx="566366" cy="547742"/>
                </a:xfrm>
              </p:grpSpPr>
              <p:sp>
                <p:nvSpPr>
                  <p:cNvPr id="545" name="Oval 544">
                    <a:extLst>
                      <a:ext uri="{FF2B5EF4-FFF2-40B4-BE49-F238E27FC236}">
                        <a16:creationId xmlns:a16="http://schemas.microsoft.com/office/drawing/2014/main" id="{B743827F-3033-ED20-7FA1-FD0AC0BE850E}"/>
                      </a:ext>
                    </a:extLst>
                  </p:cNvPr>
                  <p:cNvSpPr/>
                  <p:nvPr>
                    <p:custDataLst>
                      <p:tags r:id="rId121"/>
                    </p:custDataLst>
                  </p:nvPr>
                </p:nvSpPr>
                <p:spPr>
                  <a:xfrm>
                    <a:off x="561098" y="1845054"/>
                    <a:ext cx="547742" cy="547742"/>
                  </a:xfrm>
                  <a:prstGeom prst="ellipse">
                    <a:avLst/>
                  </a:prstGeom>
                  <a:solidFill>
                    <a:srgbClr val="00A3E1"/>
                  </a:solidFill>
                  <a:ln>
                    <a:noFill/>
                  </a:ln>
                </p:spPr>
                <p:style>
                  <a:lnRef idx="0">
                    <a:schemeClr val="accent1"/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>
                    <a:defPPr>
                      <a:defRPr lang="en-US"/>
                    </a:defPPr>
                    <a:lvl1pPr marL="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1pPr>
                    <a:lvl2pPr marL="54864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2pPr>
                    <a:lvl3pPr marL="109728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3pPr>
                    <a:lvl4pPr marL="164592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4pPr>
                    <a:lvl5pPr marL="219456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5pPr>
                    <a:lvl6pPr marL="274320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6pPr>
                    <a:lvl7pPr marL="329184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7pPr>
                    <a:lvl8pPr marL="384048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8pPr>
                    <a:lvl9pPr marL="438912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9pPr>
                  </a:lstStyle>
                  <a:p>
                    <a:pPr marL="0" marR="0" lvl="0" indent="0" algn="ctr" defTabSz="1462923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cap="none" spc="0" normalizeH="0" baseline="0" noProof="0">
                        <a:solidFill>
                          <a:srgbClr val="FFFFFF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itchFamily="34" charset="0"/>
                      <a:cs typeface="Arial" pitchFamily="34" charset="0"/>
                      <a:sym typeface="Wingdings" charset="2"/>
                    </a:endParaRPr>
                  </a:p>
                </p:txBody>
              </p:sp>
              <p:sp>
                <p:nvSpPr>
                  <p:cNvPr id="546" name="TextBox 545">
                    <a:extLst>
                      <a:ext uri="{FF2B5EF4-FFF2-40B4-BE49-F238E27FC236}">
                        <a16:creationId xmlns:a16="http://schemas.microsoft.com/office/drawing/2014/main" id="{E1A8043A-CA46-661D-62E1-5DB73669CC18}"/>
                      </a:ext>
                    </a:extLst>
                  </p:cNvPr>
                  <p:cNvSpPr txBox="1"/>
                  <p:nvPr>
                    <p:custDataLst>
                      <p:tags r:id="rId122"/>
                    </p:custDataLst>
                  </p:nvPr>
                </p:nvSpPr>
                <p:spPr>
                  <a:xfrm>
                    <a:off x="564463" y="1959468"/>
                    <a:ext cx="563001" cy="303376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>
                    <a:defPPr>
                      <a:defRPr lang="en-US"/>
                    </a:defPPr>
                  </a:lstStyle>
                  <a:p>
                    <a:pPr marL="0" marR="0" lvl="0" indent="0" algn="ctr" defTabSz="1462923" rtl="0" eaLnBrk="1" fontAlgn="auto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ts val="400"/>
                      </a:spcAft>
                      <a:buClrTx/>
                      <a:buSzTx/>
                      <a:buFontTx/>
                      <a:buNone/>
                      <a:defRPr kumimoji="0" sz="2160" b="0" i="0" normalizeH="0" noProof="0">
                        <a:solidFill>
                          <a:srgbClr val="000000"/>
                        </a:solidFill>
                        <a:uLnTx/>
                        <a:uFillTx/>
                        <a:latin typeface="+mn-lt"/>
                        <a:ea typeface="+mn-ea"/>
                        <a:cs typeface="+mn-cs"/>
                      </a:defRPr>
                    </a:pPr>
                    <a:r>
                      <a: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itchFamily="34" charset="0"/>
                        <a:cs typeface="Arial" pitchFamily="34" charset="0"/>
                      </a:rPr>
                      <a:t>2.1k</a:t>
                    </a:r>
                  </a:p>
                </p:txBody>
              </p:sp>
            </p:grpSp>
            <p:grpSp>
              <p:nvGrpSpPr>
                <p:cNvPr id="527" name="Group 526">
                  <a:extLst>
                    <a:ext uri="{FF2B5EF4-FFF2-40B4-BE49-F238E27FC236}">
                      <a16:creationId xmlns:a16="http://schemas.microsoft.com/office/drawing/2014/main" id="{DE2E69E3-9F16-00BA-1E12-BAAE54B8A6F9}"/>
                    </a:ext>
                  </a:extLst>
                </p:cNvPr>
                <p:cNvGrpSpPr/>
                <p:nvPr>
                  <p:custDataLst>
                    <p:tags r:id="rId103"/>
                  </p:custDataLst>
                </p:nvPr>
              </p:nvGrpSpPr>
              <p:grpSpPr>
                <a:xfrm>
                  <a:off x="8197293" y="3592145"/>
                  <a:ext cx="352407" cy="352405"/>
                  <a:chOff x="561107" y="1845053"/>
                  <a:chExt cx="547744" cy="547742"/>
                </a:xfrm>
              </p:grpSpPr>
              <p:sp>
                <p:nvSpPr>
                  <p:cNvPr id="543" name="Oval 542">
                    <a:extLst>
                      <a:ext uri="{FF2B5EF4-FFF2-40B4-BE49-F238E27FC236}">
                        <a16:creationId xmlns:a16="http://schemas.microsoft.com/office/drawing/2014/main" id="{C0AAE89A-15D0-E7F9-35B8-D265FE4DFE52}"/>
                      </a:ext>
                    </a:extLst>
                  </p:cNvPr>
                  <p:cNvSpPr/>
                  <p:nvPr>
                    <p:custDataLst>
                      <p:tags r:id="rId119"/>
                    </p:custDataLst>
                  </p:nvPr>
                </p:nvSpPr>
                <p:spPr>
                  <a:xfrm>
                    <a:off x="561107" y="1845053"/>
                    <a:ext cx="547744" cy="547742"/>
                  </a:xfrm>
                  <a:prstGeom prst="ellipse">
                    <a:avLst/>
                  </a:prstGeom>
                  <a:solidFill>
                    <a:schemeClr val="accent3"/>
                  </a:solidFill>
                  <a:ln>
                    <a:noFill/>
                  </a:ln>
                </p:spPr>
                <p:style>
                  <a:lnRef idx="0">
                    <a:schemeClr val="accent1"/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>
                    <a:defPPr>
                      <a:defRPr lang="en-US"/>
                    </a:defPPr>
                    <a:lvl1pPr marL="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1pPr>
                    <a:lvl2pPr marL="54864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2pPr>
                    <a:lvl3pPr marL="109728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3pPr>
                    <a:lvl4pPr marL="164592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4pPr>
                    <a:lvl5pPr marL="219456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5pPr>
                    <a:lvl6pPr marL="274320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6pPr>
                    <a:lvl7pPr marL="329184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7pPr>
                    <a:lvl8pPr marL="384048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8pPr>
                    <a:lvl9pPr marL="4389120" marR="0" indent="0" algn="l" defTabSz="109728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kern="1200" cap="none" spc="0" normalizeH="0" baseline="0" noProof="0">
                        <a:solidFill>
                          <a:schemeClr val="lt1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lvl9pPr>
                  </a:lstStyle>
                  <a:p>
                    <a:pPr marL="0" marR="0" lvl="0" indent="0" algn="ctr" defTabSz="1462923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u="none" strike="noStrike" cap="none" spc="0" normalizeH="0" baseline="0" noProof="0">
                        <a:solidFill>
                          <a:srgbClr val="FFFFFF"/>
                        </a:solidFill>
                        <a:uLnTx/>
                        <a:uFillTx/>
                        <a:latin typeface="Arial" pitchFamily="34" charset="0"/>
                        <a:ea typeface="Arial" pitchFamily="34" charset="0"/>
                        <a:cs typeface="Arial" pitchFamily="34" charset="0"/>
                        <a:sym typeface="Wingdings" charset="2"/>
                      </a:defRPr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itchFamily="34" charset="0"/>
                      <a:cs typeface="Arial" pitchFamily="34" charset="0"/>
                      <a:sym typeface="Wingdings" charset="2"/>
                    </a:endParaRPr>
                  </a:p>
                </p:txBody>
              </p:sp>
              <p:sp>
                <p:nvSpPr>
                  <p:cNvPr id="544" name="TextBox 543">
                    <a:extLst>
                      <a:ext uri="{FF2B5EF4-FFF2-40B4-BE49-F238E27FC236}">
                        <a16:creationId xmlns:a16="http://schemas.microsoft.com/office/drawing/2014/main" id="{FDE099A4-626B-48EE-F199-ECAC853F2E3B}"/>
                      </a:ext>
                    </a:extLst>
                  </p:cNvPr>
                  <p:cNvSpPr txBox="1"/>
                  <p:nvPr>
                    <p:custDataLst>
                      <p:tags r:id="rId120"/>
                    </p:custDataLst>
                  </p:nvPr>
                </p:nvSpPr>
                <p:spPr>
                  <a:xfrm>
                    <a:off x="570813" y="1976382"/>
                    <a:ext cx="525653" cy="280602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>
                    <a:defPPr>
                      <a:defRPr lang="en-US"/>
                    </a:defPPr>
                  </a:lstStyle>
                  <a:p>
                    <a:pPr marL="0" marR="0" lvl="0" indent="0" algn="ctr" defTabSz="1462923" rtl="0" eaLnBrk="1" fontAlgn="auto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ts val="400"/>
                      </a:spcAft>
                      <a:buClrTx/>
                      <a:buSzTx/>
                      <a:buFontTx/>
                      <a:buNone/>
                      <a:defRPr kumimoji="0" sz="2160" b="0" i="0" normalizeH="0" noProof="0">
                        <a:solidFill>
                          <a:srgbClr val="000000"/>
                        </a:solidFill>
                        <a:uLnTx/>
                        <a:uFillTx/>
                        <a:latin typeface="+mn-lt"/>
                        <a:ea typeface="+mn-ea"/>
                        <a:cs typeface="+mn-cs"/>
                      </a:defRPr>
                    </a:pPr>
                    <a:r>
                      <a:rPr kumimoji="0" lang="ru-RU" sz="700" b="0" i="0" normalizeH="0" noProof="0">
                        <a:solidFill>
                          <a:srgbClr val="FFFFFF"/>
                        </a:solidFill>
                        <a:uLnTx/>
                        <a:uFillTx/>
                        <a:latin typeface="Arial" pitchFamily="34" charset="0"/>
                        <a:cs typeface="Arial" pitchFamily="34" charset="0"/>
                      </a:rPr>
                      <a:t>1.9</a:t>
                    </a:r>
                    <a:r>
                      <a:rPr kumimoji="0" lang="en-US" sz="7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itchFamily="34" charset="0"/>
                        <a:cs typeface="Arial" pitchFamily="34" charset="0"/>
                      </a:rPr>
                      <a:t>k</a:t>
                    </a:r>
                  </a:p>
                </p:txBody>
              </p:sp>
            </p:grpSp>
            <p:sp>
              <p:nvSpPr>
                <p:cNvPr id="528" name="pole tekstowe 310">
                  <a:extLst>
                    <a:ext uri="{FF2B5EF4-FFF2-40B4-BE49-F238E27FC236}">
                      <a16:creationId xmlns:a16="http://schemas.microsoft.com/office/drawing/2014/main" id="{E540FE6A-46F3-830B-AD19-5DCABF5F0F6C}"/>
                    </a:ext>
                  </a:extLst>
                </p:cNvPr>
                <p:cNvSpPr txBox="1"/>
                <p:nvPr>
                  <p:custDataLst>
                    <p:tags r:id="rId104"/>
                  </p:custDataLst>
                </p:nvPr>
              </p:nvSpPr>
              <p:spPr>
                <a:xfrm>
                  <a:off x="8008059" y="3596539"/>
                  <a:ext cx="427280" cy="10274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>
                  <a:spAutoFit/>
                </a:bodyPr>
                <a:lstStyle>
                  <a:defPPr>
                    <a:defRPr lang="en-US"/>
                  </a:defPPr>
                </a:lstStyle>
                <a:p>
                  <a:pPr marL="0" marR="0" lvl="0" indent="0" algn="ctr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r>
                    <a:rPr kumimoji="0" lang="en-US" sz="7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itchFamily="34" charset="0"/>
                      <a:cs typeface="Arial" pitchFamily="34" charset="0"/>
                    </a:rPr>
                    <a:t>Poland</a:t>
                  </a:r>
                  <a:endParaRPr kumimoji="0" lang="en-US" sz="5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grpSp>
              <p:nvGrpSpPr>
                <p:cNvPr id="529" name="Group 528">
                  <a:extLst>
                    <a:ext uri="{FF2B5EF4-FFF2-40B4-BE49-F238E27FC236}">
                      <a16:creationId xmlns:a16="http://schemas.microsoft.com/office/drawing/2014/main" id="{2CDFA67F-5770-DD60-8D7C-2223CEF39F05}"/>
                    </a:ext>
                  </a:extLst>
                </p:cNvPr>
                <p:cNvGrpSpPr/>
                <p:nvPr>
                  <p:custDataLst>
                    <p:tags r:id="rId105"/>
                  </p:custDataLst>
                </p:nvPr>
              </p:nvGrpSpPr>
              <p:grpSpPr>
                <a:xfrm>
                  <a:off x="8347181" y="3544218"/>
                  <a:ext cx="846827" cy="435261"/>
                  <a:chOff x="4958857" y="3497399"/>
                  <a:chExt cx="548095" cy="281715"/>
                </a:xfrm>
              </p:grpSpPr>
              <p:sp>
                <p:nvSpPr>
                  <p:cNvPr id="541" name="pole tekstowe 310">
                    <a:extLst>
                      <a:ext uri="{FF2B5EF4-FFF2-40B4-BE49-F238E27FC236}">
                        <a16:creationId xmlns:a16="http://schemas.microsoft.com/office/drawing/2014/main" id="{DF0EB846-459C-FC75-D071-A57378D7C243}"/>
                      </a:ext>
                    </a:extLst>
                  </p:cNvPr>
                  <p:cNvSpPr txBox="1"/>
                  <p:nvPr>
                    <p:custDataLst>
                      <p:tags r:id="rId117"/>
                    </p:custDataLst>
                  </p:nvPr>
                </p:nvSpPr>
                <p:spPr>
                  <a:xfrm>
                    <a:off x="5115646" y="3497399"/>
                    <a:ext cx="391306" cy="66498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>
                    <a:spAutoFit/>
                  </a:bodyPr>
                  <a:lstStyle>
                    <a:defPPr>
                      <a:defRPr lang="en-US"/>
                    </a:defPPr>
                  </a:lstStyle>
                  <a:p>
                    <a:pPr marL="0" marR="0" lvl="0" indent="0" algn="ctr" defTabSz="1462923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normalizeH="0" noProof="0">
                        <a:solidFill>
                          <a:srgbClr val="000000"/>
                        </a:solidFill>
                        <a:uLnTx/>
                        <a:uFillTx/>
                        <a:latin typeface="+mn-lt"/>
                        <a:ea typeface="+mn-ea"/>
                        <a:cs typeface="+mn-cs"/>
                      </a:defRPr>
                    </a:pPr>
                    <a:r>
                      <a:rPr kumimoji="0" lang="en-US" sz="7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cs typeface="Arial" pitchFamily="34" charset="0"/>
                      </a:rPr>
                      <a:t>Slovakia</a:t>
                    </a:r>
                    <a:endParaRPr kumimoji="0" lang="en-US" sz="5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itchFamily="34" charset="0"/>
                      <a:cs typeface="Arial" pitchFamily="34" charset="0"/>
                    </a:endParaRPr>
                  </a:p>
                </p:txBody>
              </p:sp>
              <p:cxnSp>
                <p:nvCxnSpPr>
                  <p:cNvPr id="542" name="Straight Connector 541">
                    <a:extLst>
                      <a:ext uri="{FF2B5EF4-FFF2-40B4-BE49-F238E27FC236}">
                        <a16:creationId xmlns:a16="http://schemas.microsoft.com/office/drawing/2014/main" id="{B05A4D96-E04A-904C-2CE1-3D584C364763}"/>
                      </a:ext>
                    </a:extLst>
                  </p:cNvPr>
                  <p:cNvCxnSpPr/>
                  <p:nvPr>
                    <p:custDataLst>
                      <p:tags r:id="rId118"/>
                    </p:custDataLst>
                  </p:nvPr>
                </p:nvCxnSpPr>
                <p:spPr>
                  <a:xfrm flipH="1">
                    <a:off x="4958857" y="3576724"/>
                    <a:ext cx="352442" cy="202390"/>
                  </a:xfrm>
                  <a:prstGeom prst="line">
                    <a:avLst/>
                  </a:prstGeom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530" name="Oval 529">
                  <a:extLst>
                    <a:ext uri="{FF2B5EF4-FFF2-40B4-BE49-F238E27FC236}">
                      <a16:creationId xmlns:a16="http://schemas.microsoft.com/office/drawing/2014/main" id="{B5609A30-665F-FB38-8C35-AD7055610DC8}"/>
                    </a:ext>
                  </a:extLst>
                </p:cNvPr>
                <p:cNvSpPr/>
                <p:nvPr>
                  <p:custDataLst>
                    <p:tags r:id="rId106"/>
                  </p:custDataLst>
                </p:nvPr>
              </p:nvSpPr>
              <p:spPr>
                <a:xfrm>
                  <a:off x="7697533" y="3677510"/>
                  <a:ext cx="222179" cy="209041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1pPr>
                  <a:lvl2pPr marL="54864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2pPr>
                  <a:lvl3pPr marL="109728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3pPr>
                  <a:lvl4pPr marL="164592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4pPr>
                  <a:lvl5pPr marL="219456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5pPr>
                  <a:lvl6pPr marL="274320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6pPr>
                  <a:lvl7pPr marL="329184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7pPr>
                  <a:lvl8pPr marL="384048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8pPr>
                  <a:lvl9pPr marL="438912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9pPr>
                </a:lstStyle>
                <a:p>
                  <a:pPr marL="0" marR="0" lvl="0" indent="0" algn="ctr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cap="none" spc="0" normalizeH="0" baseline="0" noProof="0">
                      <a:solidFill>
                        <a:srgbClr val="FFFFFF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  <a:sym typeface="Wingdings" charset="2"/>
                  </a:endParaRPr>
                </a:p>
              </p:txBody>
            </p:sp>
            <p:sp>
              <p:nvSpPr>
                <p:cNvPr id="531" name="pole tekstowe 310">
                  <a:extLst>
                    <a:ext uri="{FF2B5EF4-FFF2-40B4-BE49-F238E27FC236}">
                      <a16:creationId xmlns:a16="http://schemas.microsoft.com/office/drawing/2014/main" id="{3E51003E-AC8C-58FF-A174-5C7C4FD06BB0}"/>
                    </a:ext>
                  </a:extLst>
                </p:cNvPr>
                <p:cNvSpPr txBox="1"/>
                <p:nvPr>
                  <p:custDataLst>
                    <p:tags r:id="rId107"/>
                  </p:custDataLst>
                </p:nvPr>
              </p:nvSpPr>
              <p:spPr>
                <a:xfrm>
                  <a:off x="7558032" y="3722802"/>
                  <a:ext cx="353176" cy="102742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>
                  <a:spAutoFit/>
                </a:bodyPr>
                <a:lstStyle>
                  <a:defPPr>
                    <a:defRPr lang="en-US"/>
                  </a:defPPr>
                </a:lstStyle>
                <a:p>
                  <a:pPr marL="0" marR="0" lvl="0" indent="0" algn="l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r>
                    <a:rPr kumimoji="0" lang="en-US" sz="7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itchFamily="34" charset="0"/>
                      <a:cs typeface="Arial" pitchFamily="34" charset="0"/>
                    </a:rPr>
                    <a:t>Germany</a:t>
                  </a:r>
                </a:p>
              </p:txBody>
            </p:sp>
            <p:sp>
              <p:nvSpPr>
                <p:cNvPr id="532" name="Oval 531">
                  <a:extLst>
                    <a:ext uri="{FF2B5EF4-FFF2-40B4-BE49-F238E27FC236}">
                      <a16:creationId xmlns:a16="http://schemas.microsoft.com/office/drawing/2014/main" id="{A304DA06-A865-6025-C3FD-07F62631032A}"/>
                    </a:ext>
                  </a:extLst>
                </p:cNvPr>
                <p:cNvSpPr/>
                <p:nvPr>
                  <p:custDataLst>
                    <p:tags r:id="rId108"/>
                  </p:custDataLst>
                </p:nvPr>
              </p:nvSpPr>
              <p:spPr>
                <a:xfrm>
                  <a:off x="7178646" y="3151392"/>
                  <a:ext cx="150083" cy="150083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1pPr>
                  <a:lvl2pPr marL="54864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2pPr>
                  <a:lvl3pPr marL="109728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3pPr>
                  <a:lvl4pPr marL="164592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4pPr>
                  <a:lvl5pPr marL="219456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5pPr>
                  <a:lvl6pPr marL="274320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6pPr>
                  <a:lvl7pPr marL="329184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7pPr>
                  <a:lvl8pPr marL="384048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8pPr>
                  <a:lvl9pPr marL="438912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9pPr>
                </a:lstStyle>
                <a:p>
                  <a:pPr marL="0" marR="0" lvl="0" indent="0" algn="ctr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cap="none" spc="0" normalizeH="0" baseline="0" noProof="0">
                      <a:solidFill>
                        <a:srgbClr val="FFFFFF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  <a:sym typeface="Wingdings" charset="2"/>
                  </a:endParaRPr>
                </a:p>
              </p:txBody>
            </p:sp>
            <p:sp>
              <p:nvSpPr>
                <p:cNvPr id="533" name="Oval 532">
                  <a:extLst>
                    <a:ext uri="{FF2B5EF4-FFF2-40B4-BE49-F238E27FC236}">
                      <a16:creationId xmlns:a16="http://schemas.microsoft.com/office/drawing/2014/main" id="{BC4087A3-BFE2-73EE-2507-5FC9A48BFFD7}"/>
                    </a:ext>
                  </a:extLst>
                </p:cNvPr>
                <p:cNvSpPr/>
                <p:nvPr>
                  <p:custDataLst>
                    <p:tags r:id="rId109"/>
                  </p:custDataLst>
                </p:nvPr>
              </p:nvSpPr>
              <p:spPr>
                <a:xfrm>
                  <a:off x="7629430" y="4147982"/>
                  <a:ext cx="150083" cy="150083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1pPr>
                  <a:lvl2pPr marL="54864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2pPr>
                  <a:lvl3pPr marL="109728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3pPr>
                  <a:lvl4pPr marL="164592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4pPr>
                  <a:lvl5pPr marL="219456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5pPr>
                  <a:lvl6pPr marL="274320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6pPr>
                  <a:lvl7pPr marL="329184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7pPr>
                  <a:lvl8pPr marL="384048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8pPr>
                  <a:lvl9pPr marL="438912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9pPr>
                </a:lstStyle>
                <a:p>
                  <a:pPr marL="0" marR="0" lvl="0" indent="0" algn="ctr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cap="none" spc="0" normalizeH="0" baseline="0" noProof="0">
                      <a:solidFill>
                        <a:srgbClr val="FFFFFF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  <a:sym typeface="Wingdings" charset="2"/>
                  </a:endParaRPr>
                </a:p>
              </p:txBody>
            </p:sp>
            <p:grpSp>
              <p:nvGrpSpPr>
                <p:cNvPr id="534" name="Group 533">
                  <a:extLst>
                    <a:ext uri="{FF2B5EF4-FFF2-40B4-BE49-F238E27FC236}">
                      <a16:creationId xmlns:a16="http://schemas.microsoft.com/office/drawing/2014/main" id="{FE0B8FA0-C2DB-0EA1-5DB1-D732EFF96AF8}"/>
                    </a:ext>
                  </a:extLst>
                </p:cNvPr>
                <p:cNvGrpSpPr/>
                <p:nvPr>
                  <p:custDataLst>
                    <p:tags r:id="rId110"/>
                  </p:custDataLst>
                </p:nvPr>
              </p:nvGrpSpPr>
              <p:grpSpPr>
                <a:xfrm>
                  <a:off x="6083941" y="4226496"/>
                  <a:ext cx="1542161" cy="154687"/>
                  <a:chOff x="6083939" y="4226497"/>
                  <a:chExt cx="1542161" cy="154687"/>
                </a:xfrm>
              </p:grpSpPr>
              <p:cxnSp>
                <p:nvCxnSpPr>
                  <p:cNvPr id="539" name="Straight Connector 538">
                    <a:extLst>
                      <a:ext uri="{FF2B5EF4-FFF2-40B4-BE49-F238E27FC236}">
                        <a16:creationId xmlns:a16="http://schemas.microsoft.com/office/drawing/2014/main" id="{F51AD753-759D-8DA9-2D68-EA22A97F0E9E}"/>
                      </a:ext>
                    </a:extLst>
                  </p:cNvPr>
                  <p:cNvCxnSpPr/>
                  <p:nvPr>
                    <p:custDataLst>
                      <p:tags r:id="rId115"/>
                    </p:custDataLst>
                  </p:nvPr>
                </p:nvCxnSpPr>
                <p:spPr>
                  <a:xfrm flipV="1">
                    <a:off x="6937642" y="4226497"/>
                    <a:ext cx="688458" cy="102497"/>
                  </a:xfrm>
                  <a:prstGeom prst="line">
                    <a:avLst/>
                  </a:prstGeom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540" name="pole tekstowe 310">
                    <a:extLst>
                      <a:ext uri="{FF2B5EF4-FFF2-40B4-BE49-F238E27FC236}">
                        <a16:creationId xmlns:a16="http://schemas.microsoft.com/office/drawing/2014/main" id="{B0E6C72E-AE76-BCC3-A8DC-8904B6334453}"/>
                      </a:ext>
                    </a:extLst>
                  </p:cNvPr>
                  <p:cNvSpPr txBox="1"/>
                  <p:nvPr>
                    <p:custDataLst>
                      <p:tags r:id="rId116"/>
                    </p:custDataLst>
                  </p:nvPr>
                </p:nvSpPr>
                <p:spPr>
                  <a:xfrm>
                    <a:off x="6083939" y="4278442"/>
                    <a:ext cx="1184174" cy="102742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>
                    <a:spAutoFit/>
                  </a:bodyPr>
                  <a:lstStyle>
                    <a:defPPr>
                      <a:defRPr lang="en-US"/>
                    </a:defPPr>
                  </a:lstStyle>
                  <a:p>
                    <a:pPr marL="0" marR="0" lvl="0" indent="0" algn="ctr" defTabSz="1462923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160" b="0" i="0" normalizeH="0" noProof="0">
                        <a:solidFill>
                          <a:srgbClr val="000000"/>
                        </a:solidFill>
                        <a:uLnTx/>
                        <a:uFillTx/>
                        <a:latin typeface="+mn-lt"/>
                        <a:ea typeface="+mn-ea"/>
                        <a:cs typeface="+mn-cs"/>
                      </a:defRPr>
                    </a:pPr>
                    <a:r>
                      <a:rPr kumimoji="0" lang="en-US" sz="7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cs typeface="Arial" pitchFamily="34" charset="0"/>
                      </a:rPr>
                      <a:t>Switzerland</a:t>
                    </a:r>
                  </a:p>
                </p:txBody>
              </p:sp>
            </p:grpSp>
            <p:sp>
              <p:nvSpPr>
                <p:cNvPr id="535" name="Oval 534">
                  <a:extLst>
                    <a:ext uri="{FF2B5EF4-FFF2-40B4-BE49-F238E27FC236}">
                      <a16:creationId xmlns:a16="http://schemas.microsoft.com/office/drawing/2014/main" id="{20DFCF0E-B5A6-8EDD-19BA-75D005C882AA}"/>
                    </a:ext>
                  </a:extLst>
                </p:cNvPr>
                <p:cNvSpPr/>
                <p:nvPr>
                  <p:custDataLst>
                    <p:tags r:id="rId111"/>
                  </p:custDataLst>
                </p:nvPr>
              </p:nvSpPr>
              <p:spPr>
                <a:xfrm>
                  <a:off x="7846498" y="4912185"/>
                  <a:ext cx="166441" cy="161337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1pPr>
                  <a:lvl2pPr marL="54864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2pPr>
                  <a:lvl3pPr marL="109728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3pPr>
                  <a:lvl4pPr marL="164592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4pPr>
                  <a:lvl5pPr marL="219456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5pPr>
                  <a:lvl6pPr marL="274320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6pPr>
                  <a:lvl7pPr marL="329184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7pPr>
                  <a:lvl8pPr marL="384048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8pPr>
                  <a:lvl9pPr marL="438912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9pPr>
                </a:lstStyle>
                <a:p>
                  <a:pPr marL="0" marR="0" lvl="0" indent="0" algn="ctr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cap="none" spc="0" normalizeH="0" baseline="0" noProof="0">
                      <a:solidFill>
                        <a:srgbClr val="FFFFFF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pPr>
                  <a:endParaRPr kumimoji="0" lang="en-US" sz="32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  <a:sym typeface="Wingdings" charset="2"/>
                  </a:endParaRPr>
                </a:p>
              </p:txBody>
            </p:sp>
            <p:sp>
              <p:nvSpPr>
                <p:cNvPr id="536" name="Oval 535">
                  <a:extLst>
                    <a:ext uri="{FF2B5EF4-FFF2-40B4-BE49-F238E27FC236}">
                      <a16:creationId xmlns:a16="http://schemas.microsoft.com/office/drawing/2014/main" id="{C215D14D-ACF2-0267-49C9-49177FE2C07A}"/>
                    </a:ext>
                  </a:extLst>
                </p:cNvPr>
                <p:cNvSpPr/>
                <p:nvPr>
                  <p:custDataLst>
                    <p:tags r:id="rId112"/>
                  </p:custDataLst>
                </p:nvPr>
              </p:nvSpPr>
              <p:spPr>
                <a:xfrm>
                  <a:off x="8659034" y="4722803"/>
                  <a:ext cx="139626" cy="137288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1pPr>
                  <a:lvl2pPr marL="54864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2pPr>
                  <a:lvl3pPr marL="109728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3pPr>
                  <a:lvl4pPr marL="164592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4pPr>
                  <a:lvl5pPr marL="219456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5pPr>
                  <a:lvl6pPr marL="274320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6pPr>
                  <a:lvl7pPr marL="329184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7pPr>
                  <a:lvl8pPr marL="384048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8pPr>
                  <a:lvl9pPr marL="438912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9pPr>
                </a:lstStyle>
                <a:p>
                  <a:pPr marL="0" marR="0" lvl="0" indent="0" algn="ctr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cap="none" spc="0" normalizeH="0" baseline="0" noProof="0">
                      <a:solidFill>
                        <a:srgbClr val="FFFFFF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  <a:sym typeface="Wingdings" charset="2"/>
                  </a:endParaRPr>
                </a:p>
              </p:txBody>
            </p:sp>
            <p:sp>
              <p:nvSpPr>
                <p:cNvPr id="537" name="Oval 536">
                  <a:extLst>
                    <a:ext uri="{FF2B5EF4-FFF2-40B4-BE49-F238E27FC236}">
                      <a16:creationId xmlns:a16="http://schemas.microsoft.com/office/drawing/2014/main" id="{9821BF7A-79E7-152C-C028-546FB4BC5AD8}"/>
                    </a:ext>
                  </a:extLst>
                </p:cNvPr>
                <p:cNvSpPr/>
                <p:nvPr>
                  <p:custDataLst>
                    <p:tags r:id="rId113"/>
                  </p:custDataLst>
                </p:nvPr>
              </p:nvSpPr>
              <p:spPr>
                <a:xfrm>
                  <a:off x="7398806" y="3526859"/>
                  <a:ext cx="136669" cy="127873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1pPr>
                  <a:lvl2pPr marL="54864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2pPr>
                  <a:lvl3pPr marL="109728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3pPr>
                  <a:lvl4pPr marL="164592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4pPr>
                  <a:lvl5pPr marL="219456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5pPr>
                  <a:lvl6pPr marL="274320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6pPr>
                  <a:lvl7pPr marL="329184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7pPr>
                  <a:lvl8pPr marL="384048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8pPr>
                  <a:lvl9pPr marL="438912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9pPr>
                </a:lstStyle>
                <a:p>
                  <a:pPr marL="0" marR="0" lvl="0" indent="0" algn="ctr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cap="none" spc="0" normalizeH="0" baseline="0" noProof="0">
                      <a:solidFill>
                        <a:srgbClr val="FFFFFF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  <a:sym typeface="Wingdings" charset="2"/>
                  </a:endParaRPr>
                </a:p>
              </p:txBody>
            </p:sp>
            <p:sp>
              <p:nvSpPr>
                <p:cNvPr id="538" name="Oval 537">
                  <a:extLst>
                    <a:ext uri="{FF2B5EF4-FFF2-40B4-BE49-F238E27FC236}">
                      <a16:creationId xmlns:a16="http://schemas.microsoft.com/office/drawing/2014/main" id="{D77F7CFB-EFD2-C755-7C44-5B015498302A}"/>
                    </a:ext>
                  </a:extLst>
                </p:cNvPr>
                <p:cNvSpPr/>
                <p:nvPr>
                  <p:custDataLst>
                    <p:tags r:id="rId114"/>
                  </p:custDataLst>
                </p:nvPr>
              </p:nvSpPr>
              <p:spPr>
                <a:xfrm>
                  <a:off x="8087536" y="2672889"/>
                  <a:ext cx="67435" cy="67435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1pPr>
                  <a:lvl2pPr marL="54864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2pPr>
                  <a:lvl3pPr marL="109728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3pPr>
                  <a:lvl4pPr marL="164592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4pPr>
                  <a:lvl5pPr marL="219456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5pPr>
                  <a:lvl6pPr marL="274320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6pPr>
                  <a:lvl7pPr marL="329184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7pPr>
                  <a:lvl8pPr marL="384048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8pPr>
                  <a:lvl9pPr marL="438912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9pPr>
                </a:lstStyle>
                <a:p>
                  <a:pPr marL="0" marR="0" lvl="0" indent="0" algn="ctr" defTabSz="1462923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cap="none" spc="0" normalizeH="0" baseline="0" noProof="0">
                      <a:solidFill>
                        <a:srgbClr val="FFFFFF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pPr>
                  <a:endParaRPr kumimoji="0" lang="en-US" sz="288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  <a:sym typeface="Wingdings" charset="2"/>
                  </a:endParaRPr>
                </a:p>
              </p:txBody>
            </p:sp>
          </p:grpSp>
          <p:sp>
            <p:nvSpPr>
              <p:cNvPr id="440" name="Oval 439">
                <a:extLst>
                  <a:ext uri="{FF2B5EF4-FFF2-40B4-BE49-F238E27FC236}">
                    <a16:creationId xmlns:a16="http://schemas.microsoft.com/office/drawing/2014/main" id="{C8E0DE4A-1373-36CF-DBD2-84AB7F17958F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13045284" y="1988593"/>
                <a:ext cx="157357" cy="157357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1pPr>
                <a:lvl2pPr marL="5486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2pPr>
                <a:lvl3pPr marL="10972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3pPr>
                <a:lvl4pPr marL="16459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4pPr>
                <a:lvl5pPr marL="219456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5pPr>
                <a:lvl6pPr marL="274320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6pPr>
                <a:lvl7pPr marL="32918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7pPr>
                <a:lvl8pPr marL="38404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8pPr>
                <a:lvl9pPr marL="43891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9pPr>
              </a:lstStyle>
              <a:p>
                <a:pPr marL="0" marR="0" lvl="0" indent="0" algn="ctr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cap="none" spc="0" normalizeH="0" baseline="0" noProof="0">
                    <a:solidFill>
                      <a:srgbClr val="FFFFFF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pPr>
                <a:endParaRPr kumimoji="0" lang="en-US" sz="28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  <a:sym typeface="Wingdings" charset="2"/>
                </a:endParaRPr>
              </a:p>
            </p:txBody>
          </p:sp>
          <p:sp>
            <p:nvSpPr>
              <p:cNvPr id="441" name="TextBox 440">
                <a:extLst>
                  <a:ext uri="{FF2B5EF4-FFF2-40B4-BE49-F238E27FC236}">
                    <a16:creationId xmlns:a16="http://schemas.microsoft.com/office/drawing/2014/main" id="{B82EA7C9-AD28-3707-E922-74A3B968C4F1}"/>
                  </a:ext>
                </a:extLst>
              </p:cNvPr>
              <p:cNvSpPr txBox="1"/>
              <p:nvPr>
                <p:custDataLst>
                  <p:tags r:id="rId17"/>
                </p:custDataLst>
              </p:nvPr>
            </p:nvSpPr>
            <p:spPr>
              <a:xfrm>
                <a:off x="13030164" y="1943402"/>
                <a:ext cx="548417" cy="2000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en-US"/>
                </a:defPPr>
              </a:lstStyle>
              <a:p>
                <a:pPr marL="0" marR="0" lvl="0" indent="0" algn="l" defTabSz="1462923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rPr>
                  <a:t>Lithuania </a:t>
                </a:r>
              </a:p>
            </p:txBody>
          </p:sp>
        </p:grpSp>
      </p:grpSp>
      <p:grpSp>
        <p:nvGrpSpPr>
          <p:cNvPr id="639" name="Group 638">
            <a:extLst>
              <a:ext uri="{FF2B5EF4-FFF2-40B4-BE49-F238E27FC236}">
                <a16:creationId xmlns:a16="http://schemas.microsoft.com/office/drawing/2014/main" id="{3C3BBC24-573D-6FFD-C1D2-D378EE9CA9A6}"/>
              </a:ext>
            </a:extLst>
          </p:cNvPr>
          <p:cNvGrpSpPr/>
          <p:nvPr/>
        </p:nvGrpSpPr>
        <p:grpSpPr>
          <a:xfrm>
            <a:off x="10689114" y="3966206"/>
            <a:ext cx="3693636" cy="1197598"/>
            <a:chOff x="11081772" y="4026830"/>
            <a:chExt cx="3341367" cy="1197598"/>
          </a:xfrm>
        </p:grpSpPr>
        <p:sp>
          <p:nvSpPr>
            <p:cNvPr id="582" name="Rectangle: Rounded Corners 581">
              <a:extLst>
                <a:ext uri="{FF2B5EF4-FFF2-40B4-BE49-F238E27FC236}">
                  <a16:creationId xmlns:a16="http://schemas.microsoft.com/office/drawing/2014/main" id="{0BFA0657-7A81-7C38-4BB1-9A17BDFF6E43}"/>
                </a:ext>
              </a:extLst>
            </p:cNvPr>
            <p:cNvSpPr/>
            <p:nvPr/>
          </p:nvSpPr>
          <p:spPr>
            <a:xfrm>
              <a:off x="11081772" y="4026830"/>
              <a:ext cx="1440000" cy="1196407"/>
            </a:xfrm>
            <a:prstGeom prst="roundRect">
              <a:avLst>
                <a:gd name="adj" fmla="val 5145"/>
              </a:avLst>
            </a:prstGeom>
            <a:solidFill>
              <a:schemeClr val="bg1">
                <a:lumMod val="95000"/>
                <a:alpha val="71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7" name="Rectangle 94">
              <a:extLst>
                <a:ext uri="{FF2B5EF4-FFF2-40B4-BE49-F238E27FC236}">
                  <a16:creationId xmlns:a16="http://schemas.microsoft.com/office/drawing/2014/main" id="{AC6481A2-E9D1-882B-02C1-58044AA1E607}"/>
                </a:ext>
              </a:extLst>
            </p:cNvPr>
            <p:cNvSpPr/>
            <p:nvPr/>
          </p:nvSpPr>
          <p:spPr>
            <a:xfrm>
              <a:off x="11292659" y="4348034"/>
              <a:ext cx="1018227" cy="553998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>
              <a:defPPr>
                <a:defRPr lang="uk-UA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97236">
                <a:defRPr/>
              </a:pPr>
              <a:r>
                <a:rPr lang="en-US" sz="1800" b="1" dirty="0">
                  <a:latin typeface="Arial"/>
                  <a:cs typeface="Arial"/>
                </a:rPr>
                <a:t>131,780</a:t>
              </a:r>
              <a:endParaRPr lang="uk-UA" sz="1800" b="1" dirty="0">
                <a:latin typeface="Arial"/>
                <a:cs typeface="Arial"/>
              </a:endParaRPr>
            </a:p>
            <a:p>
              <a:pPr algn="ctr" defTabSz="1097236">
                <a:defRPr/>
              </a:pPr>
              <a:r>
                <a:rPr lang="pl-PL" sz="120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Employees</a:t>
              </a:r>
              <a:endParaRPr lang="en-US" sz="14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94" name="Rectangle: Rounded Corners 593">
              <a:extLst>
                <a:ext uri="{FF2B5EF4-FFF2-40B4-BE49-F238E27FC236}">
                  <a16:creationId xmlns:a16="http://schemas.microsoft.com/office/drawing/2014/main" id="{75D50A76-C172-5C8D-2486-3F2EFC9B0EB9}"/>
                </a:ext>
              </a:extLst>
            </p:cNvPr>
            <p:cNvSpPr/>
            <p:nvPr/>
          </p:nvSpPr>
          <p:spPr>
            <a:xfrm>
              <a:off x="12588813" y="4026830"/>
              <a:ext cx="1834326" cy="252000"/>
            </a:xfrm>
            <a:prstGeom prst="roundRect">
              <a:avLst>
                <a:gd name="adj" fmla="val 24076"/>
              </a:avLst>
            </a:prstGeom>
            <a:solidFill>
              <a:schemeClr val="bg1">
                <a:lumMod val="95000"/>
                <a:alpha val="71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000" b="1" dirty="0">
                  <a:solidFill>
                    <a:srgbClr val="000000"/>
                  </a:solidFill>
                  <a:latin typeface="Arial"/>
                  <a:cs typeface="Arial"/>
                </a:rPr>
                <a:t>20,670 </a:t>
              </a:r>
              <a:r>
                <a:rPr lang="en-US" sz="1000" dirty="0">
                  <a:solidFill>
                    <a:srgbClr val="000000"/>
                  </a:solidFill>
                  <a:latin typeface="Arial"/>
                  <a:cs typeface="Arial"/>
                </a:rPr>
                <a:t>Americas</a:t>
              </a:r>
            </a:p>
          </p:txBody>
        </p:sp>
        <p:sp>
          <p:nvSpPr>
            <p:cNvPr id="595" name="Rectangle: Rounded Corners 594">
              <a:extLst>
                <a:ext uri="{FF2B5EF4-FFF2-40B4-BE49-F238E27FC236}">
                  <a16:creationId xmlns:a16="http://schemas.microsoft.com/office/drawing/2014/main" id="{F1D7A526-2817-AF5F-4CA8-2471EC59F3C4}"/>
                </a:ext>
              </a:extLst>
            </p:cNvPr>
            <p:cNvSpPr/>
            <p:nvPr/>
          </p:nvSpPr>
          <p:spPr>
            <a:xfrm>
              <a:off x="12588813" y="4342029"/>
              <a:ext cx="1834326" cy="252000"/>
            </a:xfrm>
            <a:prstGeom prst="roundRect">
              <a:avLst>
                <a:gd name="adj" fmla="val 23535"/>
              </a:avLst>
            </a:prstGeom>
            <a:solidFill>
              <a:schemeClr val="bg1">
                <a:lumMod val="95000"/>
                <a:alpha val="71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1097236">
                <a:spcAft>
                  <a:spcPts val="200"/>
                </a:spcAft>
                <a:defRPr/>
              </a:pPr>
              <a:r>
                <a:rPr lang="en-US" sz="1000" b="1" dirty="0">
                  <a:solidFill>
                    <a:srgbClr val="000000"/>
                  </a:solidFill>
                  <a:latin typeface="Arial"/>
                  <a:cs typeface="Arial"/>
                </a:rPr>
                <a:t>47,860 </a:t>
              </a:r>
              <a:r>
                <a:rPr lang="en-US" sz="800" dirty="0">
                  <a:solidFill>
                    <a:srgbClr val="000000"/>
                  </a:solidFill>
                  <a:latin typeface="Arial"/>
                  <a:cs typeface="Arial"/>
                </a:rPr>
                <a:t>EMEA</a:t>
              </a:r>
              <a:endParaRPr lang="en-US" sz="1000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596" name="Rectangle: Rounded Corners 595">
              <a:extLst>
                <a:ext uri="{FF2B5EF4-FFF2-40B4-BE49-F238E27FC236}">
                  <a16:creationId xmlns:a16="http://schemas.microsoft.com/office/drawing/2014/main" id="{122ABCB8-F243-4134-9B35-6CE8F5E41950}"/>
                </a:ext>
              </a:extLst>
            </p:cNvPr>
            <p:cNvSpPr/>
            <p:nvPr/>
          </p:nvSpPr>
          <p:spPr>
            <a:xfrm>
              <a:off x="12588813" y="4657228"/>
              <a:ext cx="1834326" cy="252000"/>
            </a:xfrm>
            <a:prstGeom prst="roundRect">
              <a:avLst>
                <a:gd name="adj" fmla="val 18772"/>
              </a:avLst>
            </a:prstGeom>
            <a:solidFill>
              <a:schemeClr val="bg1">
                <a:lumMod val="95000"/>
                <a:alpha val="71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1097236">
                <a:spcAft>
                  <a:spcPts val="200"/>
                </a:spcAft>
                <a:defRPr/>
              </a:pPr>
              <a:r>
                <a:rPr lang="en-US" sz="1000" b="1" dirty="0">
                  <a:solidFill>
                    <a:srgbClr val="000000"/>
                  </a:solidFill>
                  <a:latin typeface="Arial"/>
                  <a:cs typeface="Arial"/>
                </a:rPr>
                <a:t>63,080</a:t>
              </a:r>
              <a:r>
                <a:rPr lang="pl-PL" sz="1000" dirty="0">
                  <a:solidFill>
                    <a:srgbClr val="000000"/>
                  </a:solidFill>
                  <a:latin typeface="Arial"/>
                  <a:cs typeface="Arial"/>
                </a:rPr>
                <a:t> </a:t>
              </a:r>
              <a:r>
                <a:rPr lang="pl-PL" sz="800" dirty="0">
                  <a:solidFill>
                    <a:srgbClr val="000000"/>
                  </a:solidFill>
                  <a:latin typeface="Arial"/>
                  <a:cs typeface="Arial"/>
                </a:rPr>
                <a:t>APAC</a:t>
              </a:r>
              <a:endParaRPr lang="pl-PL" sz="1000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597" name="Rectangle: Rounded Corners 596">
              <a:extLst>
                <a:ext uri="{FF2B5EF4-FFF2-40B4-BE49-F238E27FC236}">
                  <a16:creationId xmlns:a16="http://schemas.microsoft.com/office/drawing/2014/main" id="{6A68F7DD-87C5-9BB3-3A03-5F3CB4090EE0}"/>
                </a:ext>
              </a:extLst>
            </p:cNvPr>
            <p:cNvSpPr/>
            <p:nvPr/>
          </p:nvSpPr>
          <p:spPr>
            <a:xfrm>
              <a:off x="12588813" y="4972428"/>
              <a:ext cx="1834326" cy="252000"/>
            </a:xfrm>
            <a:prstGeom prst="roundRect">
              <a:avLst>
                <a:gd name="adj" fmla="val 15433"/>
              </a:avLst>
            </a:prstGeom>
            <a:solidFill>
              <a:schemeClr val="bg1">
                <a:lumMod val="95000"/>
                <a:alpha val="71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1097236">
                <a:spcAft>
                  <a:spcPts val="200"/>
                </a:spcAft>
                <a:defRPr/>
              </a:pPr>
              <a:r>
                <a:rPr lang="en-US" sz="1000" b="1" dirty="0">
                  <a:solidFill>
                    <a:srgbClr val="000000"/>
                  </a:solidFill>
                  <a:latin typeface="Arial"/>
                  <a:cs typeface="Arial"/>
                </a:rPr>
                <a:t>170 </a:t>
              </a:r>
              <a:r>
                <a:rPr lang="en-US" sz="1000" dirty="0">
                  <a:solidFill>
                    <a:srgbClr val="000000"/>
                  </a:solidFill>
                  <a:latin typeface="Arial"/>
                  <a:cs typeface="Arial"/>
                </a:rPr>
                <a:t>O</a:t>
              </a:r>
              <a:r>
                <a:rPr lang="pl-PL" sz="1000" dirty="0">
                  <a:solidFill>
                    <a:srgbClr val="000000"/>
                  </a:solidFill>
                  <a:latin typeface="Arial"/>
                  <a:cs typeface="Arial"/>
                </a:rPr>
                <a:t>ther Global</a:t>
              </a:r>
              <a:r>
                <a:rPr lang="en-US" sz="1000" dirty="0">
                  <a:solidFill>
                    <a:srgbClr val="000000"/>
                  </a:solidFill>
                  <a:latin typeface="Arial"/>
                  <a:cs typeface="Arial"/>
                </a:rPr>
                <a:t> </a:t>
              </a:r>
              <a:r>
                <a:rPr lang="pl-PL" sz="1000" dirty="0">
                  <a:solidFill>
                    <a:srgbClr val="000000"/>
                  </a:solidFill>
                  <a:latin typeface="Arial"/>
                  <a:cs typeface="Arial"/>
                </a:rPr>
                <a:t>Locations</a:t>
              </a:r>
            </a:p>
          </p:txBody>
        </p:sp>
      </p:grpSp>
      <p:sp>
        <p:nvSpPr>
          <p:cNvPr id="600" name="Rectangle: Rounded Corners 599">
            <a:extLst>
              <a:ext uri="{FF2B5EF4-FFF2-40B4-BE49-F238E27FC236}">
                <a16:creationId xmlns:a16="http://schemas.microsoft.com/office/drawing/2014/main" id="{40B3FE12-F302-6586-C596-8533E9B4E94E}"/>
              </a:ext>
            </a:extLst>
          </p:cNvPr>
          <p:cNvSpPr/>
          <p:nvPr/>
        </p:nvSpPr>
        <p:spPr>
          <a:xfrm>
            <a:off x="5309370" y="2228096"/>
            <a:ext cx="1700305" cy="1962831"/>
          </a:xfrm>
          <a:prstGeom prst="roundRect">
            <a:avLst>
              <a:gd name="adj" fmla="val 3458"/>
            </a:avLst>
          </a:prstGeom>
          <a:noFill/>
          <a:ln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34" name="Group 633">
            <a:extLst>
              <a:ext uri="{FF2B5EF4-FFF2-40B4-BE49-F238E27FC236}">
                <a16:creationId xmlns:a16="http://schemas.microsoft.com/office/drawing/2014/main" id="{2BB38D0C-B707-6391-9FD4-A180D9615AFE}"/>
              </a:ext>
            </a:extLst>
          </p:cNvPr>
          <p:cNvGrpSpPr/>
          <p:nvPr/>
        </p:nvGrpSpPr>
        <p:grpSpPr>
          <a:xfrm>
            <a:off x="488479" y="6020025"/>
            <a:ext cx="2198360" cy="571755"/>
            <a:chOff x="455600" y="6214229"/>
            <a:chExt cx="2198360" cy="571755"/>
          </a:xfrm>
        </p:grpSpPr>
        <p:grpSp>
          <p:nvGrpSpPr>
            <p:cNvPr id="624" name="Group 623">
              <a:extLst>
                <a:ext uri="{FF2B5EF4-FFF2-40B4-BE49-F238E27FC236}">
                  <a16:creationId xmlns:a16="http://schemas.microsoft.com/office/drawing/2014/main" id="{C3D25D1E-4CBD-52B1-72D4-7AB881075267}"/>
                </a:ext>
              </a:extLst>
            </p:cNvPr>
            <p:cNvGrpSpPr/>
            <p:nvPr/>
          </p:nvGrpSpPr>
          <p:grpSpPr>
            <a:xfrm>
              <a:off x="455601" y="6214229"/>
              <a:ext cx="2198359" cy="571755"/>
              <a:chOff x="455601" y="6390610"/>
              <a:chExt cx="2198359" cy="571755"/>
            </a:xfrm>
          </p:grpSpPr>
          <p:sp>
            <p:nvSpPr>
              <p:cNvPr id="621" name="Rectangle: Rounded Corners 620">
                <a:extLst>
                  <a:ext uri="{FF2B5EF4-FFF2-40B4-BE49-F238E27FC236}">
                    <a16:creationId xmlns:a16="http://schemas.microsoft.com/office/drawing/2014/main" id="{DE717046-7A73-B7E9-5E4D-EC897312848D}"/>
                  </a:ext>
                </a:extLst>
              </p:cNvPr>
              <p:cNvSpPr/>
              <p:nvPr/>
            </p:nvSpPr>
            <p:spPr>
              <a:xfrm>
                <a:off x="455601" y="6395166"/>
                <a:ext cx="1061938" cy="567199"/>
              </a:xfrm>
              <a:prstGeom prst="roundRect">
                <a:avLst>
                  <a:gd name="adj" fmla="val 7533"/>
                </a:avLst>
              </a:prstGeom>
              <a:solidFill>
                <a:schemeClr val="bg1">
                  <a:lumMod val="95000"/>
                  <a:alpha val="71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800" b="1" dirty="0">
                    <a:solidFill>
                      <a:schemeClr val="tx1"/>
                    </a:solidFill>
                  </a:rPr>
                  <a:t>DXC</a:t>
                </a:r>
                <a:endParaRPr lang="en-US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622" name="Rectangle: Rounded Corners 621">
                <a:extLst>
                  <a:ext uri="{FF2B5EF4-FFF2-40B4-BE49-F238E27FC236}">
                    <a16:creationId xmlns:a16="http://schemas.microsoft.com/office/drawing/2014/main" id="{3A1238AC-C7C1-DA97-F395-A333C0BF1F22}"/>
                  </a:ext>
                </a:extLst>
              </p:cNvPr>
              <p:cNvSpPr/>
              <p:nvPr/>
            </p:nvSpPr>
            <p:spPr>
              <a:xfrm>
                <a:off x="1584580" y="6390610"/>
                <a:ext cx="1069380" cy="252000"/>
              </a:xfrm>
              <a:prstGeom prst="roundRect">
                <a:avLst>
                  <a:gd name="adj" fmla="val 13997"/>
                </a:avLst>
              </a:prstGeom>
              <a:solidFill>
                <a:schemeClr val="bg1">
                  <a:lumMod val="95000"/>
                  <a:alpha val="71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97148">
                  <a:spcBef>
                    <a:spcPct val="0"/>
                  </a:spcBef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rPr>
                  <a:t>61</a:t>
                </a: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rPr>
                  <a:t> Countries</a:t>
                </a:r>
              </a:p>
            </p:txBody>
          </p:sp>
          <p:sp>
            <p:nvSpPr>
              <p:cNvPr id="623" name="Rectangle: Rounded Corners 622">
                <a:extLst>
                  <a:ext uri="{FF2B5EF4-FFF2-40B4-BE49-F238E27FC236}">
                    <a16:creationId xmlns:a16="http://schemas.microsoft.com/office/drawing/2014/main" id="{671B7CFD-99DF-7B32-BACD-E502CF58ECB9}"/>
                  </a:ext>
                </a:extLst>
              </p:cNvPr>
              <p:cNvSpPr/>
              <p:nvPr/>
            </p:nvSpPr>
            <p:spPr>
              <a:xfrm>
                <a:off x="1584580" y="6708338"/>
                <a:ext cx="1069380" cy="252000"/>
              </a:xfrm>
              <a:prstGeom prst="roundRect">
                <a:avLst>
                  <a:gd name="adj" fmla="val 14715"/>
                </a:avLst>
              </a:prstGeom>
              <a:solidFill>
                <a:schemeClr val="bg1">
                  <a:lumMod val="95000"/>
                  <a:alpha val="71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R="0" lvl="0" algn="ctr" defTabSz="1097148" rtl="0" eaLnBrk="1" fontAlgn="auto" latinLnBrk="0" hangingPunct="1">
                  <a:spcBef>
                    <a:spcPct val="0"/>
                  </a:spcBef>
                  <a:buClrTx/>
                  <a:buSzTx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rPr>
                  <a:t>156</a:t>
                </a: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rPr>
                  <a:t> Cities</a:t>
                </a:r>
              </a:p>
            </p:txBody>
          </p:sp>
        </p:grpSp>
        <p:sp>
          <p:nvSpPr>
            <p:cNvPr id="631" name="Rectangle: Rounded Corners 630">
              <a:extLst>
                <a:ext uri="{FF2B5EF4-FFF2-40B4-BE49-F238E27FC236}">
                  <a16:creationId xmlns:a16="http://schemas.microsoft.com/office/drawing/2014/main" id="{33F5BE06-270F-FD1B-AFCE-C40555CE1387}"/>
                </a:ext>
              </a:extLst>
            </p:cNvPr>
            <p:cNvSpPr/>
            <p:nvPr/>
          </p:nvSpPr>
          <p:spPr>
            <a:xfrm>
              <a:off x="455600" y="6218785"/>
              <a:ext cx="2198359" cy="565172"/>
            </a:xfrm>
            <a:prstGeom prst="roundRect">
              <a:avLst>
                <a:gd name="adj" fmla="val 7533"/>
              </a:avLst>
            </a:prstGeom>
            <a:noFill/>
            <a:ln w="6350">
              <a:solidFill>
                <a:schemeClr val="accent2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633" name="Group 632">
            <a:extLst>
              <a:ext uri="{FF2B5EF4-FFF2-40B4-BE49-F238E27FC236}">
                <a16:creationId xmlns:a16="http://schemas.microsoft.com/office/drawing/2014/main" id="{CE41AF0F-86A4-6652-BACF-168AA0273F48}"/>
              </a:ext>
            </a:extLst>
          </p:cNvPr>
          <p:cNvGrpSpPr/>
          <p:nvPr/>
        </p:nvGrpSpPr>
        <p:grpSpPr>
          <a:xfrm>
            <a:off x="488479" y="6686538"/>
            <a:ext cx="2198360" cy="577311"/>
            <a:chOff x="455600" y="6946121"/>
            <a:chExt cx="2198360" cy="577311"/>
          </a:xfrm>
        </p:grpSpPr>
        <p:grpSp>
          <p:nvGrpSpPr>
            <p:cNvPr id="627" name="Group 626">
              <a:extLst>
                <a:ext uri="{FF2B5EF4-FFF2-40B4-BE49-F238E27FC236}">
                  <a16:creationId xmlns:a16="http://schemas.microsoft.com/office/drawing/2014/main" id="{D789CD81-0AC2-B887-8ED8-879936683EA8}"/>
                </a:ext>
              </a:extLst>
            </p:cNvPr>
            <p:cNvGrpSpPr/>
            <p:nvPr/>
          </p:nvGrpSpPr>
          <p:grpSpPr>
            <a:xfrm>
              <a:off x="455601" y="6946121"/>
              <a:ext cx="2198359" cy="571755"/>
              <a:chOff x="455601" y="6390610"/>
              <a:chExt cx="2198359" cy="571755"/>
            </a:xfrm>
          </p:grpSpPr>
          <p:sp>
            <p:nvSpPr>
              <p:cNvPr id="628" name="Rectangle: Rounded Corners 627">
                <a:extLst>
                  <a:ext uri="{FF2B5EF4-FFF2-40B4-BE49-F238E27FC236}">
                    <a16:creationId xmlns:a16="http://schemas.microsoft.com/office/drawing/2014/main" id="{991F71E2-99BC-A756-37DB-3955FA495CD9}"/>
                  </a:ext>
                </a:extLst>
              </p:cNvPr>
              <p:cNvSpPr/>
              <p:nvPr/>
            </p:nvSpPr>
            <p:spPr>
              <a:xfrm>
                <a:off x="455601" y="6395166"/>
                <a:ext cx="1061938" cy="567199"/>
              </a:xfrm>
              <a:prstGeom prst="roundRect">
                <a:avLst>
                  <a:gd name="adj" fmla="val 7533"/>
                </a:avLst>
              </a:prstGeom>
              <a:solidFill>
                <a:schemeClr val="bg1">
                  <a:lumMod val="95000"/>
                  <a:alpha val="71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800" b="1" dirty="0">
                    <a:solidFill>
                      <a:schemeClr val="tx1"/>
                    </a:solidFill>
                  </a:rPr>
                  <a:t>Luxoft</a:t>
                </a:r>
                <a:endParaRPr lang="en-US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629" name="Rectangle: Rounded Corners 628">
                <a:extLst>
                  <a:ext uri="{FF2B5EF4-FFF2-40B4-BE49-F238E27FC236}">
                    <a16:creationId xmlns:a16="http://schemas.microsoft.com/office/drawing/2014/main" id="{96ACDA46-D5F9-4E80-4437-2EFAD320D0E1}"/>
                  </a:ext>
                </a:extLst>
              </p:cNvPr>
              <p:cNvSpPr/>
              <p:nvPr/>
            </p:nvSpPr>
            <p:spPr>
              <a:xfrm>
                <a:off x="1584580" y="6390610"/>
                <a:ext cx="1069380" cy="252000"/>
              </a:xfrm>
              <a:prstGeom prst="roundRect">
                <a:avLst>
                  <a:gd name="adj" fmla="val 13997"/>
                </a:avLst>
              </a:prstGeom>
              <a:solidFill>
                <a:schemeClr val="bg1">
                  <a:lumMod val="95000"/>
                  <a:alpha val="71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97148">
                  <a:spcBef>
                    <a:spcPct val="0"/>
                  </a:spcBef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rPr>
                  <a:t>28</a:t>
                </a: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rPr>
                  <a:t> Countries</a:t>
                </a:r>
              </a:p>
            </p:txBody>
          </p:sp>
          <p:sp>
            <p:nvSpPr>
              <p:cNvPr id="630" name="Rectangle: Rounded Corners 629">
                <a:extLst>
                  <a:ext uri="{FF2B5EF4-FFF2-40B4-BE49-F238E27FC236}">
                    <a16:creationId xmlns:a16="http://schemas.microsoft.com/office/drawing/2014/main" id="{E9DDE154-2CCB-8A40-9529-924A8FB7C75B}"/>
                  </a:ext>
                </a:extLst>
              </p:cNvPr>
              <p:cNvSpPr/>
              <p:nvPr/>
            </p:nvSpPr>
            <p:spPr>
              <a:xfrm>
                <a:off x="1584580" y="6708338"/>
                <a:ext cx="1069380" cy="252000"/>
              </a:xfrm>
              <a:prstGeom prst="roundRect">
                <a:avLst>
                  <a:gd name="adj" fmla="val 14715"/>
                </a:avLst>
              </a:prstGeom>
              <a:solidFill>
                <a:schemeClr val="bg1">
                  <a:lumMod val="95000"/>
                  <a:alpha val="71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R="0" lvl="0" algn="ctr" defTabSz="1097148" rtl="0" eaLnBrk="1" fontAlgn="auto" latinLnBrk="0" hangingPunct="1">
                  <a:spcBef>
                    <a:spcPct val="0"/>
                  </a:spcBef>
                  <a:buClrTx/>
                  <a:buSzTx/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rPr>
                  <a:t>51</a:t>
                </a: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rPr>
                  <a:t> Cities</a:t>
                </a:r>
              </a:p>
            </p:txBody>
          </p:sp>
        </p:grpSp>
        <p:sp>
          <p:nvSpPr>
            <p:cNvPr id="632" name="Rectangle: Rounded Corners 631">
              <a:extLst>
                <a:ext uri="{FF2B5EF4-FFF2-40B4-BE49-F238E27FC236}">
                  <a16:creationId xmlns:a16="http://schemas.microsoft.com/office/drawing/2014/main" id="{6581E56A-C902-1380-539C-D0C1B53190C0}"/>
                </a:ext>
              </a:extLst>
            </p:cNvPr>
            <p:cNvSpPr/>
            <p:nvPr/>
          </p:nvSpPr>
          <p:spPr>
            <a:xfrm>
              <a:off x="455600" y="6958260"/>
              <a:ext cx="2198359" cy="565172"/>
            </a:xfrm>
            <a:prstGeom prst="roundRect">
              <a:avLst>
                <a:gd name="adj" fmla="val 7533"/>
              </a:avLst>
            </a:prstGeom>
            <a:noFill/>
            <a:ln w="6350">
              <a:solidFill>
                <a:schemeClr val="accent3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637" name="Group 636">
            <a:extLst>
              <a:ext uri="{FF2B5EF4-FFF2-40B4-BE49-F238E27FC236}">
                <a16:creationId xmlns:a16="http://schemas.microsoft.com/office/drawing/2014/main" id="{9329FAFC-0B1B-8585-A4B2-8A1F1F3811EF}"/>
              </a:ext>
            </a:extLst>
          </p:cNvPr>
          <p:cNvGrpSpPr/>
          <p:nvPr/>
        </p:nvGrpSpPr>
        <p:grpSpPr>
          <a:xfrm>
            <a:off x="488480" y="5353513"/>
            <a:ext cx="2200229" cy="571755"/>
            <a:chOff x="455601" y="5501638"/>
            <a:chExt cx="2200229" cy="571755"/>
          </a:xfrm>
        </p:grpSpPr>
        <p:grpSp>
          <p:nvGrpSpPr>
            <p:cNvPr id="626" name="Group 625">
              <a:extLst>
                <a:ext uri="{FF2B5EF4-FFF2-40B4-BE49-F238E27FC236}">
                  <a16:creationId xmlns:a16="http://schemas.microsoft.com/office/drawing/2014/main" id="{7F1B77E3-AFC6-5C51-235F-8BAD60F69EF1}"/>
                </a:ext>
              </a:extLst>
            </p:cNvPr>
            <p:cNvGrpSpPr/>
            <p:nvPr/>
          </p:nvGrpSpPr>
          <p:grpSpPr>
            <a:xfrm>
              <a:off x="455601" y="5501638"/>
              <a:ext cx="2198359" cy="571755"/>
              <a:chOff x="455601" y="5673554"/>
              <a:chExt cx="2198359" cy="571755"/>
            </a:xfrm>
          </p:grpSpPr>
          <p:sp>
            <p:nvSpPr>
              <p:cNvPr id="610" name="Rectangle: Rounded Corners 609">
                <a:extLst>
                  <a:ext uri="{FF2B5EF4-FFF2-40B4-BE49-F238E27FC236}">
                    <a16:creationId xmlns:a16="http://schemas.microsoft.com/office/drawing/2014/main" id="{0B7CF383-D275-8536-F150-3A1ABABDE21C}"/>
                  </a:ext>
                </a:extLst>
              </p:cNvPr>
              <p:cNvSpPr/>
              <p:nvPr/>
            </p:nvSpPr>
            <p:spPr>
              <a:xfrm>
                <a:off x="455601" y="5678110"/>
                <a:ext cx="1061938" cy="567199"/>
              </a:xfrm>
              <a:prstGeom prst="roundRect">
                <a:avLst>
                  <a:gd name="adj" fmla="val 7533"/>
                </a:avLst>
              </a:prstGeom>
              <a:solidFill>
                <a:schemeClr val="bg1">
                  <a:lumMod val="95000"/>
                  <a:alpha val="71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625" name="Group 624">
                <a:extLst>
                  <a:ext uri="{FF2B5EF4-FFF2-40B4-BE49-F238E27FC236}">
                    <a16:creationId xmlns:a16="http://schemas.microsoft.com/office/drawing/2014/main" id="{61E5C6AA-EAA7-A1B9-C669-3A531B5E47F4}"/>
                  </a:ext>
                </a:extLst>
              </p:cNvPr>
              <p:cNvGrpSpPr/>
              <p:nvPr/>
            </p:nvGrpSpPr>
            <p:grpSpPr>
              <a:xfrm>
                <a:off x="477457" y="5673554"/>
                <a:ext cx="2176503" cy="569728"/>
                <a:chOff x="477457" y="5673554"/>
                <a:chExt cx="2176503" cy="569728"/>
              </a:xfrm>
            </p:grpSpPr>
            <p:sp>
              <p:nvSpPr>
                <p:cNvPr id="611" name="Rectangle 94">
                  <a:extLst>
                    <a:ext uri="{FF2B5EF4-FFF2-40B4-BE49-F238E27FC236}">
                      <a16:creationId xmlns:a16="http://schemas.microsoft.com/office/drawing/2014/main" id="{9BB50CFF-EA21-6A92-328C-58C91E83FE1B}"/>
                    </a:ext>
                  </a:extLst>
                </p:cNvPr>
                <p:cNvSpPr/>
                <p:nvPr/>
              </p:nvSpPr>
              <p:spPr>
                <a:xfrm>
                  <a:off x="477457" y="5707614"/>
                  <a:ext cx="1018227" cy="523220"/>
                </a:xfrm>
                <a:prstGeom prst="rect">
                  <a:avLst/>
                </a:prstGeom>
              </p:spPr>
              <p:txBody>
                <a:bodyPr wrap="square" lIns="91440" tIns="45720" rIns="91440" bIns="45720" anchor="t">
                  <a:spAutoFit/>
                </a:bodyPr>
                <a:lstStyle>
                  <a:defPPr>
                    <a:defRPr lang="uk-UA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1097236">
                    <a:defRPr/>
                  </a:pPr>
                  <a:r>
                    <a:rPr lang="en-US" sz="1600" b="1" dirty="0">
                      <a:latin typeface="Arial"/>
                      <a:cs typeface="Arial"/>
                    </a:rPr>
                    <a:t>131,780</a:t>
                  </a:r>
                  <a:endParaRPr lang="uk-UA" sz="1600" b="1" dirty="0">
                    <a:latin typeface="Arial"/>
                    <a:cs typeface="Arial"/>
                  </a:endParaRPr>
                </a:p>
                <a:p>
                  <a:pPr algn="ctr" defTabSz="1097236">
                    <a:defRPr/>
                  </a:pPr>
                  <a:r>
                    <a:rPr lang="pl-PL" sz="1100" dirty="0">
                      <a:solidFill>
                        <a:srgbClr val="000000"/>
                      </a:solidFill>
                      <a:latin typeface="Arial"/>
                      <a:cs typeface="Arial" pitchFamily="34" charset="0"/>
                    </a:rPr>
                    <a:t>Employees</a:t>
                  </a:r>
                  <a:endParaRPr lang="en-US" sz="1400" dirty="0">
                    <a:solidFill>
                      <a:srgbClr val="000000"/>
                    </a:solidFill>
                    <a:latin typeface="Arial"/>
                    <a:cs typeface="Arial" pitchFamily="34" charset="0"/>
                  </a:endParaRPr>
                </a:p>
              </p:txBody>
            </p:sp>
            <p:sp>
              <p:nvSpPr>
                <p:cNvPr id="612" name="Rectangle: Rounded Corners 611">
                  <a:extLst>
                    <a:ext uri="{FF2B5EF4-FFF2-40B4-BE49-F238E27FC236}">
                      <a16:creationId xmlns:a16="http://schemas.microsoft.com/office/drawing/2014/main" id="{42146964-2B47-0775-9625-B6B0C70FFDA8}"/>
                    </a:ext>
                  </a:extLst>
                </p:cNvPr>
                <p:cNvSpPr/>
                <p:nvPr/>
              </p:nvSpPr>
              <p:spPr>
                <a:xfrm>
                  <a:off x="1584580" y="5673554"/>
                  <a:ext cx="1069380" cy="252000"/>
                </a:xfrm>
                <a:prstGeom prst="roundRect">
                  <a:avLst>
                    <a:gd name="adj" fmla="val 13997"/>
                  </a:avLst>
                </a:prstGeom>
                <a:solidFill>
                  <a:schemeClr val="bg1">
                    <a:lumMod val="95000"/>
                    <a:alpha val="71000"/>
                  </a:schemeClr>
                </a:solidFill>
                <a:ln>
                  <a:noFill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097148">
                    <a:spcBef>
                      <a:spcPct val="0"/>
                    </a:spcBef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r>
                    <a:rPr kumimoji="0" lang="en-US" sz="10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accent2"/>
                      </a:solidFill>
                      <a:effectLst/>
                      <a:uLnTx/>
                      <a:uFillTx/>
                      <a:latin typeface="Arial" pitchFamily="34" charset="0"/>
                      <a:cs typeface="Arial" pitchFamily="34" charset="0"/>
                    </a:rPr>
                    <a:t>116,200</a:t>
                  </a:r>
                  <a:r>
                    <a:rPr kumimoji="0" lang="en-US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accent2"/>
                      </a:solidFill>
                      <a:effectLst/>
                      <a:uLnTx/>
                      <a:uFillTx/>
                      <a:latin typeface="Arial" pitchFamily="34" charset="0"/>
                      <a:cs typeface="Arial" pitchFamily="34" charset="0"/>
                    </a:rPr>
                    <a:t> DXC</a:t>
                  </a:r>
                </a:p>
              </p:txBody>
            </p:sp>
            <p:sp>
              <p:nvSpPr>
                <p:cNvPr id="613" name="Rectangle: Rounded Corners 612">
                  <a:extLst>
                    <a:ext uri="{FF2B5EF4-FFF2-40B4-BE49-F238E27FC236}">
                      <a16:creationId xmlns:a16="http://schemas.microsoft.com/office/drawing/2014/main" id="{942C9111-CD1C-2FDC-DF68-C684E64F4098}"/>
                    </a:ext>
                  </a:extLst>
                </p:cNvPr>
                <p:cNvSpPr/>
                <p:nvPr/>
              </p:nvSpPr>
              <p:spPr>
                <a:xfrm>
                  <a:off x="1584580" y="5991282"/>
                  <a:ext cx="1069380" cy="252000"/>
                </a:xfrm>
                <a:prstGeom prst="roundRect">
                  <a:avLst>
                    <a:gd name="adj" fmla="val 14715"/>
                  </a:avLst>
                </a:prstGeom>
                <a:solidFill>
                  <a:schemeClr val="bg1">
                    <a:lumMod val="95000"/>
                    <a:alpha val="71000"/>
                  </a:schemeClr>
                </a:solidFill>
                <a:ln>
                  <a:noFill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R="0" lvl="0" algn="ctr" defTabSz="1097148" rtl="0" eaLnBrk="1" fontAlgn="auto" latinLnBrk="0" hangingPunct="1">
                    <a:spcBef>
                      <a:spcPct val="0"/>
                    </a:spcBef>
                    <a:buClrTx/>
                    <a:buSzTx/>
                    <a:defRPr kumimoji="0" sz="2160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r>
                    <a:rPr kumimoji="0" lang="en-US" sz="10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accent3"/>
                      </a:solidFill>
                      <a:effectLst/>
                      <a:uLnTx/>
                      <a:uFillTx/>
                      <a:latin typeface="Arial" pitchFamily="34" charset="0"/>
                      <a:cs typeface="Arial" pitchFamily="34" charset="0"/>
                    </a:rPr>
                    <a:t>15,580</a:t>
                  </a:r>
                  <a:r>
                    <a:rPr kumimoji="0" lang="en-US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accent3"/>
                      </a:solidFill>
                      <a:effectLst/>
                      <a:uLnTx/>
                      <a:uFillTx/>
                      <a:latin typeface="Arial" pitchFamily="34" charset="0"/>
                      <a:cs typeface="Arial" pitchFamily="34" charset="0"/>
                    </a:rPr>
                    <a:t> Luxoft</a:t>
                  </a: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</p:grpSp>
        <p:sp>
          <p:nvSpPr>
            <p:cNvPr id="636" name="Rectangle: Rounded Corners 635">
              <a:extLst>
                <a:ext uri="{FF2B5EF4-FFF2-40B4-BE49-F238E27FC236}">
                  <a16:creationId xmlns:a16="http://schemas.microsoft.com/office/drawing/2014/main" id="{9D6AE1BC-8058-A9ED-D20C-AF2DD85F3411}"/>
                </a:ext>
              </a:extLst>
            </p:cNvPr>
            <p:cNvSpPr/>
            <p:nvPr/>
          </p:nvSpPr>
          <p:spPr>
            <a:xfrm>
              <a:off x="457471" y="5502930"/>
              <a:ext cx="2198359" cy="565172"/>
            </a:xfrm>
            <a:prstGeom prst="roundRect">
              <a:avLst>
                <a:gd name="adj" fmla="val 7533"/>
              </a:avLst>
            </a:prstGeom>
            <a:noFill/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0804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1" imgW="425" imgH="424" progId="TCLayout.ActiveDocument.1">
                  <p:embed/>
                </p:oleObj>
              </mc:Choice>
              <mc:Fallback>
                <p:oleObj name="think-cell Slide" r:id="rId301" imgW="425" imgH="424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302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3" name="Рисунок 1">
            <a:extLst>
              <a:ext uri="{FF2B5EF4-FFF2-40B4-BE49-F238E27FC236}">
                <a16:creationId xmlns:a16="http://schemas.microsoft.com/office/drawing/2014/main" id="{0BFAF6F3-11CD-A6FE-AE5D-3CDD603AE20B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03"/>
          <a:stretch>
            <a:fillRect/>
          </a:stretch>
        </p:blipFill>
        <p:spPr>
          <a:xfrm>
            <a:off x="6412089" y="5741235"/>
            <a:ext cx="1784502" cy="1090818"/>
          </a:xfrm>
          <a:prstGeom prst="rect">
            <a:avLst/>
          </a:prstGeom>
          <a:noFill/>
          <a:ln w="12700" cap="rnd">
            <a:noFill/>
            <a:miter lim="800000"/>
          </a:ln>
          <a:effectLst/>
        </p:spPr>
      </p:pic>
      <p:pic>
        <p:nvPicPr>
          <p:cNvPr id="11" name="Picture 20" descr="A picture containing text&#10;&#10;Description automatically generated">
            <a:extLst>
              <a:ext uri="{FF2B5EF4-FFF2-40B4-BE49-F238E27FC236}">
                <a16:creationId xmlns:a16="http://schemas.microsoft.com/office/drawing/2014/main" id="{9A1EAA34-1A82-1FBE-8D9B-8E609767057B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304"/>
          <a:stretch>
            <a:fillRect/>
          </a:stretch>
        </p:blipFill>
        <p:spPr>
          <a:xfrm>
            <a:off x="6413327" y="1088194"/>
            <a:ext cx="1783264" cy="403393"/>
          </a:xfrm>
          <a:prstGeom prst="rect">
            <a:avLst/>
          </a:prstGeom>
        </p:spPr>
      </p:pic>
      <p:pic>
        <p:nvPicPr>
          <p:cNvPr id="16" name="Picture 20">
            <a:extLst>
              <a:ext uri="{FF2B5EF4-FFF2-40B4-BE49-F238E27FC236}">
                <a16:creationId xmlns:a16="http://schemas.microsoft.com/office/drawing/2014/main" id="{BCAF7BBA-84C2-3F46-164B-0AB472F823F4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305"/>
          <a:stretch>
            <a:fillRect/>
          </a:stretch>
        </p:blipFill>
        <p:spPr>
          <a:xfrm>
            <a:off x="6413918" y="2176551"/>
            <a:ext cx="1782673" cy="953255"/>
          </a:xfrm>
          <a:prstGeom prst="rect">
            <a:avLst/>
          </a:prstGeom>
        </p:spPr>
      </p:pic>
      <p:sp>
        <p:nvSpPr>
          <p:cNvPr id="133" name="Rectangle 16">
            <a:extLst>
              <a:ext uri="{FF2B5EF4-FFF2-40B4-BE49-F238E27FC236}">
                <a16:creationId xmlns:a16="http://schemas.microsoft.com/office/drawing/2014/main" id="{3A11AC36-4241-4AA6-86EB-3181D23AA4B9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98188" y="2123112"/>
            <a:ext cx="5225416" cy="22932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tIns="91440" rIns="91440" rtlCol="0" anchor="t"/>
          <a:lstStyle>
            <a:defPPr>
              <a:defRPr lang="uk-UA"/>
            </a:defPPr>
            <a:lvl1pPr marL="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97148">
              <a:spcBef>
                <a:spcPts val="300"/>
              </a:spcBef>
              <a:defRPr kumimoji="0" sz="2160" b="0" i="0" normalizeH="0" noProof="0">
                <a:solidFill>
                  <a:srgbClr val="000000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endParaRPr lang="en-US" sz="12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E7787FF-B1F1-BE45-A7E1-048B85EFE12B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/>
        <p:txBody>
          <a:bodyPr vert="horz">
            <a:normAutofit/>
          </a:bodyPr>
          <a:lstStyle/>
          <a:p>
            <a:pPr defTabSz="1462922">
              <a:spcAft>
                <a:spcPct val="0"/>
              </a:spcAft>
              <a:defRPr kumimoji="0" sz="3600" b="1" i="0" u="none" strike="noStrike" cap="none" spc="0" normalizeH="0" baseline="0" noProof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5F249F"/>
                </a:solidFill>
                <a:uLnTx/>
                <a:uFillTx/>
                <a:latin typeface="+mj-lt"/>
                <a:ea typeface="+mj-ea"/>
                <a:cs typeface="+mj-cs"/>
                <a:sym typeface="Wingdings" charset="2"/>
              </a:defRPr>
            </a:pPr>
            <a:r>
              <a:rPr lang="en-US" dirty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5F249F"/>
                </a:solidFill>
                <a:sym typeface="Wingdings" charset="2"/>
              </a:rPr>
              <a:t>Luxoft </a:t>
            </a:r>
            <a:r>
              <a:rPr lang="pl-PL" dirty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5F249F"/>
                </a:solidFill>
                <a:sym typeface="Wingdings" charset="2"/>
              </a:rPr>
              <a:t>APAC</a:t>
            </a:r>
            <a:endParaRPr lang="ru-RU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9D026D5-F84E-C746-B8B1-CD954D27C2A5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543966" y="4585064"/>
            <a:ext cx="5523121" cy="341063"/>
            <a:chOff x="543964" y="4318854"/>
            <a:chExt cx="5523121" cy="341064"/>
          </a:xfrm>
        </p:grpSpPr>
        <p:sp>
          <p:nvSpPr>
            <p:cNvPr id="225" name="Rectangle 124">
              <a:extLst>
                <a:ext uri="{FF2B5EF4-FFF2-40B4-BE49-F238E27FC236}">
                  <a16:creationId xmlns:a16="http://schemas.microsoft.com/office/drawing/2014/main" id="{01EDE3F3-BE78-6248-AE39-E93A69D4F440}"/>
                </a:ext>
              </a:extLst>
            </p:cNvPr>
            <p:cNvSpPr/>
            <p:nvPr>
              <p:custDataLst>
                <p:tags r:id="rId288"/>
              </p:custDataLst>
            </p:nvPr>
          </p:nvSpPr>
          <p:spPr>
            <a:xfrm>
              <a:off x="832623" y="4345985"/>
              <a:ext cx="5234462" cy="313933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097236">
                <a:spcBef>
                  <a:spcPct val="0"/>
                </a:spcBef>
                <a:spcAft>
                  <a:spcPct val="0"/>
                </a:spcAft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lang="en-US" sz="1440" b="1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KEY CLIENT’S HEADCOUNT</a:t>
              </a:r>
            </a:p>
          </p:txBody>
        </p:sp>
        <p:grpSp>
          <p:nvGrpSpPr>
            <p:cNvPr id="229" name="Grupa 205">
              <a:extLst>
                <a:ext uri="{FF2B5EF4-FFF2-40B4-BE49-F238E27FC236}">
                  <a16:creationId xmlns:a16="http://schemas.microsoft.com/office/drawing/2014/main" id="{6E278224-2763-5D48-8016-9E98D61D01AC}"/>
                </a:ext>
              </a:extLst>
            </p:cNvPr>
            <p:cNvGrpSpPr/>
            <p:nvPr>
              <p:custDataLst>
                <p:tags r:id="rId289"/>
              </p:custDataLst>
            </p:nvPr>
          </p:nvGrpSpPr>
          <p:grpSpPr>
            <a:xfrm>
              <a:off x="543964" y="4318854"/>
              <a:ext cx="318166" cy="340109"/>
              <a:chOff x="4870176" y="3189560"/>
              <a:chExt cx="773432" cy="826772"/>
            </a:xfrm>
          </p:grpSpPr>
          <p:sp>
            <p:nvSpPr>
              <p:cNvPr id="230" name="Freeform 16">
                <a:extLst>
                  <a:ext uri="{FF2B5EF4-FFF2-40B4-BE49-F238E27FC236}">
                    <a16:creationId xmlns:a16="http://schemas.microsoft.com/office/drawing/2014/main" id="{D60BDA12-1E3C-584A-ABEC-4711C4069F7B}"/>
                  </a:ext>
                </a:extLst>
              </p:cNvPr>
              <p:cNvSpPr/>
              <p:nvPr>
                <p:custDataLst>
                  <p:tags r:id="rId290"/>
                </p:custDataLst>
              </p:nvPr>
            </p:nvSpPr>
            <p:spPr bwMode="auto">
              <a:xfrm>
                <a:off x="5291182" y="3418161"/>
                <a:ext cx="352426" cy="318136"/>
              </a:xfrm>
              <a:custGeom>
                <a:avLst/>
                <a:gdLst>
                  <a:gd name="T0" fmla="*/ 0 w 84"/>
                  <a:gd name="T1" fmla="*/ 28 h 72"/>
                  <a:gd name="T2" fmla="*/ 8 w 84"/>
                  <a:gd name="T3" fmla="*/ 16 h 72"/>
                  <a:gd name="T4" fmla="*/ 32 w 84"/>
                  <a:gd name="T5" fmla="*/ 0 h 72"/>
                  <a:gd name="T6" fmla="*/ 60 w 84"/>
                  <a:gd name="T7" fmla="*/ 0 h 72"/>
                  <a:gd name="T8" fmla="*/ 84 w 84"/>
                  <a:gd name="T9" fmla="*/ 24 h 72"/>
                  <a:gd name="T10" fmla="*/ 84 w 84"/>
                  <a:gd name="T11" fmla="*/ 56 h 72"/>
                  <a:gd name="T12" fmla="*/ 68 w 84"/>
                  <a:gd name="T13" fmla="*/ 72 h 72"/>
                  <a:gd name="T14" fmla="*/ 64 w 84"/>
                  <a:gd name="T15" fmla="*/ 7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4" h="72">
                    <a:moveTo>
                      <a:pt x="0" y="28"/>
                    </a:moveTo>
                    <a:cubicBezTo>
                      <a:pt x="0" y="28"/>
                      <a:pt x="6" y="19"/>
                      <a:pt x="8" y="16"/>
                    </a:cubicBezTo>
                    <a:cubicBezTo>
                      <a:pt x="11" y="11"/>
                      <a:pt x="19" y="0"/>
                      <a:pt x="32" y="0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71" y="0"/>
                      <a:pt x="84" y="9"/>
                      <a:pt x="84" y="24"/>
                    </a:cubicBezTo>
                    <a:cubicBezTo>
                      <a:pt x="84" y="56"/>
                      <a:pt x="84" y="56"/>
                      <a:pt x="84" y="56"/>
                    </a:cubicBezTo>
                    <a:cubicBezTo>
                      <a:pt x="84" y="64"/>
                      <a:pt x="76" y="72"/>
                      <a:pt x="68" y="72"/>
                    </a:cubicBezTo>
                    <a:cubicBezTo>
                      <a:pt x="64" y="72"/>
                      <a:pt x="64" y="72"/>
                      <a:pt x="64" y="72"/>
                    </a:cubicBezTo>
                  </a:path>
                </a:pathLst>
              </a:custGeom>
              <a:noFill/>
              <a:ln w="12700" cap="flat">
                <a:solidFill>
                  <a:schemeClr val="bg1"/>
                </a:solidFill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09728" tIns="54864" rIns="109728" bIns="54864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486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972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459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19456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4320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918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404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3891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1097236">
                  <a:spcBef>
                    <a:spcPct val="0"/>
                  </a:spcBef>
                  <a:spcAft>
                    <a:spcPct val="0"/>
                  </a:spcAft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lang="pl-PL" sz="2592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31" name="Freeform 17">
                <a:extLst>
                  <a:ext uri="{FF2B5EF4-FFF2-40B4-BE49-F238E27FC236}">
                    <a16:creationId xmlns:a16="http://schemas.microsoft.com/office/drawing/2014/main" id="{9DB83BE9-7551-D340-994B-4FE0D72C28F2}"/>
                  </a:ext>
                </a:extLst>
              </p:cNvPr>
              <p:cNvSpPr/>
              <p:nvPr>
                <p:custDataLst>
                  <p:tags r:id="rId291"/>
                </p:custDataLst>
              </p:nvPr>
            </p:nvSpPr>
            <p:spPr bwMode="auto">
              <a:xfrm>
                <a:off x="5323566" y="3559130"/>
                <a:ext cx="51436" cy="457200"/>
              </a:xfrm>
              <a:custGeom>
                <a:avLst/>
                <a:gdLst>
                  <a:gd name="T0" fmla="*/ 27 w 27"/>
                  <a:gd name="T1" fmla="*/ 240 h 240"/>
                  <a:gd name="T2" fmla="*/ 27 w 27"/>
                  <a:gd name="T3" fmla="*/ 0 h 240"/>
                  <a:gd name="T4" fmla="*/ 0 w 27"/>
                  <a:gd name="T5" fmla="*/ 37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" h="240">
                    <a:moveTo>
                      <a:pt x="27" y="240"/>
                    </a:moveTo>
                    <a:lnTo>
                      <a:pt x="27" y="0"/>
                    </a:lnTo>
                    <a:lnTo>
                      <a:pt x="0" y="37"/>
                    </a:lnTo>
                  </a:path>
                </a:pathLst>
              </a:custGeom>
              <a:noFill/>
              <a:ln w="12700" cap="flat">
                <a:solidFill>
                  <a:schemeClr val="bg1"/>
                </a:solidFill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09728" tIns="54864" rIns="109728" bIns="54864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486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972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459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19456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4320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918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404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3891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1097236">
                  <a:spcBef>
                    <a:spcPct val="0"/>
                  </a:spcBef>
                  <a:spcAft>
                    <a:spcPct val="0"/>
                  </a:spcAft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lang="pl-PL" sz="2592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32" name="Line 18">
                <a:extLst>
                  <a:ext uri="{FF2B5EF4-FFF2-40B4-BE49-F238E27FC236}">
                    <a16:creationId xmlns:a16="http://schemas.microsoft.com/office/drawing/2014/main" id="{8A6A7E3E-B8B6-7B4F-A317-41B6423637B6}"/>
                  </a:ext>
                </a:extLst>
              </p:cNvPr>
              <p:cNvSpPr>
                <a:spLocks noChangeShapeType="1"/>
              </p:cNvSpPr>
              <p:nvPr>
                <p:custDataLst>
                  <p:tags r:id="rId292"/>
                </p:custDataLst>
              </p:nvPr>
            </p:nvSpPr>
            <p:spPr bwMode="auto">
              <a:xfrm flipH="1">
                <a:off x="5559786" y="3541985"/>
                <a:ext cx="0" cy="474346"/>
              </a:xfrm>
              <a:prstGeom prst="line">
                <a:avLst/>
              </a:prstGeom>
              <a:noFill/>
              <a:ln w="12700" cap="flat">
                <a:solidFill>
                  <a:schemeClr val="bg1"/>
                </a:solidFill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09728" tIns="54864" rIns="109728" bIns="54864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486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972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459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19456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4320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918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404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3891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1097236">
                  <a:spcBef>
                    <a:spcPct val="0"/>
                  </a:spcBef>
                  <a:spcAft>
                    <a:spcPct val="0"/>
                  </a:spcAft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lang="pl-PL" sz="2592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33" name="Line 19">
                <a:extLst>
                  <a:ext uri="{FF2B5EF4-FFF2-40B4-BE49-F238E27FC236}">
                    <a16:creationId xmlns:a16="http://schemas.microsoft.com/office/drawing/2014/main" id="{FD946960-F157-574D-ACF5-6A3580921F88}"/>
                  </a:ext>
                </a:extLst>
              </p:cNvPr>
              <p:cNvSpPr>
                <a:spLocks noChangeShapeType="1"/>
              </p:cNvSpPr>
              <p:nvPr>
                <p:custDataLst>
                  <p:tags r:id="rId293"/>
                </p:custDataLst>
              </p:nvPr>
            </p:nvSpPr>
            <p:spPr bwMode="auto">
              <a:xfrm flipH="1">
                <a:off x="5475965" y="3736295"/>
                <a:ext cx="0" cy="280036"/>
              </a:xfrm>
              <a:prstGeom prst="line">
                <a:avLst/>
              </a:prstGeom>
              <a:noFill/>
              <a:ln w="12700" cap="flat">
                <a:solidFill>
                  <a:schemeClr val="bg1"/>
                </a:solidFill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09728" tIns="54864" rIns="109728" bIns="54864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486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972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459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19456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4320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918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404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3891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1097236">
                  <a:spcBef>
                    <a:spcPct val="0"/>
                  </a:spcBef>
                  <a:spcAft>
                    <a:spcPct val="0"/>
                  </a:spcAft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lang="pl-PL" sz="2592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34" name="Freeform 20">
                <a:extLst>
                  <a:ext uri="{FF2B5EF4-FFF2-40B4-BE49-F238E27FC236}">
                    <a16:creationId xmlns:a16="http://schemas.microsoft.com/office/drawing/2014/main" id="{36634449-CCED-DD47-94D7-7A534B1A483F}"/>
                  </a:ext>
                </a:extLst>
              </p:cNvPr>
              <p:cNvSpPr/>
              <p:nvPr>
                <p:custDataLst>
                  <p:tags r:id="rId294"/>
                </p:custDataLst>
              </p:nvPr>
            </p:nvSpPr>
            <p:spPr bwMode="auto">
              <a:xfrm>
                <a:off x="4870176" y="3418163"/>
                <a:ext cx="436246" cy="598170"/>
              </a:xfrm>
              <a:custGeom>
                <a:avLst/>
                <a:gdLst>
                  <a:gd name="T0" fmla="*/ 60 w 104"/>
                  <a:gd name="T1" fmla="*/ 136 h 136"/>
                  <a:gd name="T2" fmla="*/ 60 w 104"/>
                  <a:gd name="T3" fmla="*/ 32 h 136"/>
                  <a:gd name="T4" fmla="*/ 85 w 104"/>
                  <a:gd name="T5" fmla="*/ 58 h 136"/>
                  <a:gd name="T6" fmla="*/ 99 w 104"/>
                  <a:gd name="T7" fmla="*/ 58 h 136"/>
                  <a:gd name="T8" fmla="*/ 104 w 104"/>
                  <a:gd name="T9" fmla="*/ 54 h 136"/>
                  <a:gd name="T10" fmla="*/ 84 w 104"/>
                  <a:gd name="T11" fmla="*/ 24 h 136"/>
                  <a:gd name="T12" fmla="*/ 52 w 104"/>
                  <a:gd name="T13" fmla="*/ 0 h 136"/>
                  <a:gd name="T14" fmla="*/ 24 w 104"/>
                  <a:gd name="T15" fmla="*/ 0 h 136"/>
                  <a:gd name="T16" fmla="*/ 0 w 104"/>
                  <a:gd name="T17" fmla="*/ 24 h 136"/>
                  <a:gd name="T18" fmla="*/ 0 w 104"/>
                  <a:gd name="T19" fmla="*/ 56 h 136"/>
                  <a:gd name="T20" fmla="*/ 16 w 104"/>
                  <a:gd name="T21" fmla="*/ 72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4" h="136">
                    <a:moveTo>
                      <a:pt x="60" y="136"/>
                    </a:moveTo>
                    <a:cubicBezTo>
                      <a:pt x="60" y="32"/>
                      <a:pt x="60" y="32"/>
                      <a:pt x="60" y="32"/>
                    </a:cubicBezTo>
                    <a:cubicBezTo>
                      <a:pt x="85" y="58"/>
                      <a:pt x="85" y="58"/>
                      <a:pt x="85" y="58"/>
                    </a:cubicBezTo>
                    <a:cubicBezTo>
                      <a:pt x="89" y="62"/>
                      <a:pt x="95" y="62"/>
                      <a:pt x="99" y="58"/>
                    </a:cubicBezTo>
                    <a:cubicBezTo>
                      <a:pt x="104" y="54"/>
                      <a:pt x="104" y="54"/>
                      <a:pt x="104" y="54"/>
                    </a:cubicBezTo>
                    <a:cubicBezTo>
                      <a:pt x="104" y="54"/>
                      <a:pt x="89" y="31"/>
                      <a:pt x="84" y="24"/>
                    </a:cubicBezTo>
                    <a:cubicBezTo>
                      <a:pt x="79" y="17"/>
                      <a:pt x="69" y="0"/>
                      <a:pt x="52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13" y="0"/>
                      <a:pt x="0" y="9"/>
                      <a:pt x="0" y="24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0" y="64"/>
                      <a:pt x="8" y="72"/>
                      <a:pt x="16" y="72"/>
                    </a:cubicBezTo>
                  </a:path>
                </a:pathLst>
              </a:custGeom>
              <a:noFill/>
              <a:ln w="12700" cap="flat">
                <a:solidFill>
                  <a:schemeClr val="bg1"/>
                </a:solidFill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09728" tIns="54864" rIns="109728" bIns="54864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486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972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459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19456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4320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918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404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3891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1097236">
                  <a:spcBef>
                    <a:spcPct val="0"/>
                  </a:spcBef>
                  <a:spcAft>
                    <a:spcPct val="0"/>
                  </a:spcAft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lang="pl-PL" sz="2592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35" name="Line 21">
                <a:extLst>
                  <a:ext uri="{FF2B5EF4-FFF2-40B4-BE49-F238E27FC236}">
                    <a16:creationId xmlns:a16="http://schemas.microsoft.com/office/drawing/2014/main" id="{FAEB5435-366D-D447-BFEA-E56681E8025D}"/>
                  </a:ext>
                </a:extLst>
              </p:cNvPr>
              <p:cNvSpPr>
                <a:spLocks noChangeShapeType="1"/>
              </p:cNvSpPr>
              <p:nvPr>
                <p:custDataLst>
                  <p:tags r:id="rId295"/>
                </p:custDataLst>
              </p:nvPr>
            </p:nvSpPr>
            <p:spPr bwMode="auto">
              <a:xfrm flipH="1">
                <a:off x="4936851" y="3541984"/>
                <a:ext cx="0" cy="474346"/>
              </a:xfrm>
              <a:prstGeom prst="line">
                <a:avLst/>
              </a:prstGeom>
              <a:noFill/>
              <a:ln w="12700" cap="flat">
                <a:solidFill>
                  <a:schemeClr val="bg1"/>
                </a:solidFill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09728" tIns="54864" rIns="109728" bIns="54864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486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972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459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19456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4320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918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404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3891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1097236">
                  <a:spcBef>
                    <a:spcPct val="0"/>
                  </a:spcBef>
                  <a:spcAft>
                    <a:spcPct val="0"/>
                  </a:spcAft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lang="pl-PL" sz="2592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36" name="Line 22">
                <a:extLst>
                  <a:ext uri="{FF2B5EF4-FFF2-40B4-BE49-F238E27FC236}">
                    <a16:creationId xmlns:a16="http://schemas.microsoft.com/office/drawing/2014/main" id="{E0623AA8-F746-3844-849E-D0C968CD9839}"/>
                  </a:ext>
                </a:extLst>
              </p:cNvPr>
              <p:cNvSpPr>
                <a:spLocks noChangeShapeType="1"/>
              </p:cNvSpPr>
              <p:nvPr>
                <p:custDataLst>
                  <p:tags r:id="rId296"/>
                </p:custDataLst>
              </p:nvPr>
            </p:nvSpPr>
            <p:spPr bwMode="auto">
              <a:xfrm flipH="1">
                <a:off x="5037815" y="3736294"/>
                <a:ext cx="0" cy="280036"/>
              </a:xfrm>
              <a:prstGeom prst="line">
                <a:avLst/>
              </a:prstGeom>
              <a:noFill/>
              <a:ln w="12700" cap="flat">
                <a:solidFill>
                  <a:schemeClr val="bg1"/>
                </a:solidFill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09728" tIns="54864" rIns="109728" bIns="54864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486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972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459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19456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4320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918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404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3891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1097236">
                  <a:spcBef>
                    <a:spcPct val="0"/>
                  </a:spcBef>
                  <a:spcAft>
                    <a:spcPct val="0"/>
                  </a:spcAft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lang="pl-PL" sz="2592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37" name="Freeform 23">
                <a:extLst>
                  <a:ext uri="{FF2B5EF4-FFF2-40B4-BE49-F238E27FC236}">
                    <a16:creationId xmlns:a16="http://schemas.microsoft.com/office/drawing/2014/main" id="{648ADF8F-7234-A04B-B0E7-E87FE8162E3B}"/>
                  </a:ext>
                </a:extLst>
              </p:cNvPr>
              <p:cNvSpPr/>
              <p:nvPr>
                <p:custDataLst>
                  <p:tags r:id="rId297"/>
                </p:custDataLst>
              </p:nvPr>
            </p:nvSpPr>
            <p:spPr bwMode="auto">
              <a:xfrm>
                <a:off x="4971142" y="3189561"/>
                <a:ext cx="133350" cy="177166"/>
              </a:xfrm>
              <a:custGeom>
                <a:avLst/>
                <a:gdLst>
                  <a:gd name="T0" fmla="*/ 16 w 32"/>
                  <a:gd name="T1" fmla="*/ 40 h 40"/>
                  <a:gd name="T2" fmla="*/ 32 w 32"/>
                  <a:gd name="T3" fmla="*/ 24 h 40"/>
                  <a:gd name="T4" fmla="*/ 32 w 32"/>
                  <a:gd name="T5" fmla="*/ 16 h 40"/>
                  <a:gd name="T6" fmla="*/ 16 w 32"/>
                  <a:gd name="T7" fmla="*/ 0 h 40"/>
                  <a:gd name="T8" fmla="*/ 0 w 32"/>
                  <a:gd name="T9" fmla="*/ 16 h 40"/>
                  <a:gd name="T10" fmla="*/ 0 w 32"/>
                  <a:gd name="T11" fmla="*/ 24 h 40"/>
                  <a:gd name="T12" fmla="*/ 16 w 32"/>
                  <a:gd name="T13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40">
                    <a:moveTo>
                      <a:pt x="16" y="40"/>
                    </a:moveTo>
                    <a:cubicBezTo>
                      <a:pt x="25" y="40"/>
                      <a:pt x="32" y="33"/>
                      <a:pt x="32" y="24"/>
                    </a:cubicBezTo>
                    <a:cubicBezTo>
                      <a:pt x="32" y="16"/>
                      <a:pt x="32" y="16"/>
                      <a:pt x="32" y="16"/>
                    </a:cubicBezTo>
                    <a:cubicBezTo>
                      <a:pt x="32" y="7"/>
                      <a:pt x="25" y="0"/>
                      <a:pt x="16" y="0"/>
                    </a:cubicBezTo>
                    <a:cubicBezTo>
                      <a:pt x="7" y="0"/>
                      <a:pt x="0" y="7"/>
                      <a:pt x="0" y="16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33"/>
                      <a:pt x="7" y="40"/>
                      <a:pt x="16" y="40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bg1"/>
                </a:solidFill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09728" tIns="54864" rIns="109728" bIns="54864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486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972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459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19456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4320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918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404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3891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1097236">
                  <a:spcBef>
                    <a:spcPct val="0"/>
                  </a:spcBef>
                  <a:spcAft>
                    <a:spcPct val="0"/>
                  </a:spcAft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lang="pl-PL" sz="2592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38" name="Freeform 24">
                <a:extLst>
                  <a:ext uri="{FF2B5EF4-FFF2-40B4-BE49-F238E27FC236}">
                    <a16:creationId xmlns:a16="http://schemas.microsoft.com/office/drawing/2014/main" id="{E38DE983-1200-5744-9105-BA13763D6E19}"/>
                  </a:ext>
                </a:extLst>
              </p:cNvPr>
              <p:cNvSpPr/>
              <p:nvPr>
                <p:custDataLst>
                  <p:tags r:id="rId298"/>
                </p:custDataLst>
              </p:nvPr>
            </p:nvSpPr>
            <p:spPr bwMode="auto">
              <a:xfrm>
                <a:off x="5409292" y="3189562"/>
                <a:ext cx="133350" cy="177166"/>
              </a:xfrm>
              <a:custGeom>
                <a:avLst/>
                <a:gdLst>
                  <a:gd name="T0" fmla="*/ 16 w 32"/>
                  <a:gd name="T1" fmla="*/ 40 h 40"/>
                  <a:gd name="T2" fmla="*/ 32 w 32"/>
                  <a:gd name="T3" fmla="*/ 24 h 40"/>
                  <a:gd name="T4" fmla="*/ 32 w 32"/>
                  <a:gd name="T5" fmla="*/ 16 h 40"/>
                  <a:gd name="T6" fmla="*/ 16 w 32"/>
                  <a:gd name="T7" fmla="*/ 0 h 40"/>
                  <a:gd name="T8" fmla="*/ 0 w 32"/>
                  <a:gd name="T9" fmla="*/ 16 h 40"/>
                  <a:gd name="T10" fmla="*/ 0 w 32"/>
                  <a:gd name="T11" fmla="*/ 24 h 40"/>
                  <a:gd name="T12" fmla="*/ 16 w 32"/>
                  <a:gd name="T13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40">
                    <a:moveTo>
                      <a:pt x="16" y="40"/>
                    </a:moveTo>
                    <a:cubicBezTo>
                      <a:pt x="25" y="40"/>
                      <a:pt x="32" y="33"/>
                      <a:pt x="32" y="24"/>
                    </a:cubicBezTo>
                    <a:cubicBezTo>
                      <a:pt x="32" y="16"/>
                      <a:pt x="32" y="16"/>
                      <a:pt x="32" y="16"/>
                    </a:cubicBezTo>
                    <a:cubicBezTo>
                      <a:pt x="32" y="7"/>
                      <a:pt x="25" y="0"/>
                      <a:pt x="16" y="0"/>
                    </a:cubicBezTo>
                    <a:cubicBezTo>
                      <a:pt x="7" y="0"/>
                      <a:pt x="0" y="7"/>
                      <a:pt x="0" y="16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33"/>
                      <a:pt x="7" y="40"/>
                      <a:pt x="16" y="40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bg1"/>
                </a:solidFill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09728" tIns="54864" rIns="109728" bIns="54864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486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972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459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19456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4320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918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404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3891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1097236">
                  <a:spcBef>
                    <a:spcPct val="0"/>
                  </a:spcBef>
                  <a:spcAft>
                    <a:spcPct val="0"/>
                  </a:spcAft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lang="pl-PL" sz="2592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sp>
        <p:nvSpPr>
          <p:cNvPr id="50" name="Rectangle 18">
            <a:extLst>
              <a:ext uri="{FF2B5EF4-FFF2-40B4-BE49-F238E27FC236}">
                <a16:creationId xmlns:a16="http://schemas.microsoft.com/office/drawing/2014/main" id="{43FF2453-E0DB-E840-B5EA-C4EA1A8E76C9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739440" y="2140248"/>
            <a:ext cx="5055850" cy="221599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5732" indent="-205732" defTabSz="1097236">
              <a:spcBef>
                <a:spcPts val="720"/>
              </a:spcBef>
              <a:spcAft>
                <a:spcPts val="240"/>
              </a:spcAft>
              <a:buFont typeface="Arial" pitchFamily="34" charset="0"/>
              <a:buChar char="•"/>
              <a:defRPr kumimoji="0" sz="2160" b="0" i="0" normalizeH="0" noProof="0">
                <a:solidFill>
                  <a:srgbClr val="000000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lang="en-US" sz="120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 high-quality and flexible delivery model based on APAC’s expertise, scalability, and location diversity</a:t>
            </a:r>
          </a:p>
          <a:p>
            <a:pPr marL="205732" indent="-205732" defTabSz="1097236">
              <a:spcBef>
                <a:spcPts val="720"/>
              </a:spcBef>
              <a:spcAft>
                <a:spcPts val="240"/>
              </a:spcAft>
              <a:buFont typeface="Arial" pitchFamily="34" charset="0"/>
              <a:buChar char="•"/>
              <a:defRPr kumimoji="0" sz="2160" b="0" i="0" normalizeH="0" noProof="0">
                <a:solidFill>
                  <a:srgbClr val="000000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lang="en-US" sz="120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ustralia, Singapore, South Korea, China, Hong Kong (SAR) – client facing locations</a:t>
            </a:r>
          </a:p>
          <a:p>
            <a:pPr marL="205732" indent="-205732" defTabSz="1097236">
              <a:spcBef>
                <a:spcPts val="720"/>
              </a:spcBef>
              <a:spcAft>
                <a:spcPts val="240"/>
              </a:spcAft>
              <a:buFont typeface="Arial" pitchFamily="34" charset="0"/>
              <a:buChar char="•"/>
              <a:defRPr kumimoji="0" sz="2160" b="0" i="0" normalizeH="0" noProof="0">
                <a:solidFill>
                  <a:srgbClr val="000000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lang="en-US" sz="120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ndia, Malaysia, Vietnam – offshore / nearshore delivery locations:</a:t>
            </a:r>
          </a:p>
          <a:p>
            <a:pPr marL="754350" lvl="2" indent="-205732" defTabSz="1097236">
              <a:spcBef>
                <a:spcPts val="720"/>
              </a:spcBef>
              <a:spcAft>
                <a:spcPts val="240"/>
              </a:spcAft>
              <a:buFont typeface="Arial" pitchFamily="34" charset="0"/>
              <a:buChar char="•"/>
              <a:defRPr kumimoji="0" sz="2160" b="0" i="0" normalizeH="0" noProof="0">
                <a:solidFill>
                  <a:srgbClr val="000000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lang="en-US" sz="120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ndia offers value in terms of scalability potential, cost, IT pool size and diversity</a:t>
            </a:r>
          </a:p>
          <a:p>
            <a:pPr marL="754350" lvl="2" indent="-205732" defTabSz="1097236">
              <a:spcBef>
                <a:spcPts val="720"/>
              </a:spcBef>
              <a:spcAft>
                <a:spcPts val="240"/>
              </a:spcAft>
              <a:buFont typeface="Arial" pitchFamily="34" charset="0"/>
              <a:buChar char="•"/>
              <a:defRPr kumimoji="0" sz="2160" b="0" i="0" normalizeH="0" noProof="0">
                <a:solidFill>
                  <a:srgbClr val="000000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lang="en-US" sz="120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alaysia is attractive for IT experts relocating from CEE &amp; APAC for a quality expat lifestyle</a:t>
            </a:r>
          </a:p>
        </p:txBody>
      </p:sp>
      <p:grpSp>
        <p:nvGrpSpPr>
          <p:cNvPr id="17" name="Группа 16"/>
          <p:cNvGrpSpPr/>
          <p:nvPr>
            <p:custDataLst>
              <p:tags r:id="rId9"/>
            </p:custDataLst>
          </p:nvPr>
        </p:nvGrpSpPr>
        <p:grpSpPr>
          <a:xfrm>
            <a:off x="12300277" y="663699"/>
            <a:ext cx="1782610" cy="1631106"/>
            <a:chOff x="12259693" y="1434527"/>
            <a:chExt cx="1782610" cy="1631106"/>
          </a:xfrm>
        </p:grpSpPr>
        <p:pic>
          <p:nvPicPr>
            <p:cNvPr id="71" name="Picture 57">
              <a:extLst>
                <a:ext uri="{FF2B5EF4-FFF2-40B4-BE49-F238E27FC236}">
                  <a16:creationId xmlns:a16="http://schemas.microsoft.com/office/drawing/2014/main" id="{5E76350D-000F-B04F-8CFE-B35232A9FA81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284"/>
              </p:custDataLst>
            </p:nvPr>
          </p:nvPicPr>
          <p:blipFill>
            <a:blip r:embed="rId30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12259693" y="1434527"/>
              <a:ext cx="1782610" cy="915324"/>
            </a:xfrm>
            <a:prstGeom prst="rect">
              <a:avLst/>
            </a:prstGeom>
            <a:ln w="12700"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sp>
          <p:nvSpPr>
            <p:cNvPr id="84" name="Rectangle 80">
              <a:extLst>
                <a:ext uri="{FF2B5EF4-FFF2-40B4-BE49-F238E27FC236}">
                  <a16:creationId xmlns:a16="http://schemas.microsoft.com/office/drawing/2014/main" id="{2C4096C0-CC9A-3248-AD1A-4F18F8699042}"/>
                </a:ext>
              </a:extLst>
            </p:cNvPr>
            <p:cNvSpPr/>
            <p:nvPr>
              <p:custDataLst>
                <p:tags r:id="rId285"/>
              </p:custDataLst>
            </p:nvPr>
          </p:nvSpPr>
          <p:spPr>
            <a:xfrm>
              <a:off x="12723746" y="2478444"/>
              <a:ext cx="737083" cy="313932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lIns="219456" tIns="45720" rIns="219456" bIns="45720" anchor="ctr">
              <a:spAutoFit/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097236">
                <a:spcBef>
                  <a:spcPct val="0"/>
                </a:spcBef>
                <a:spcAft>
                  <a:spcPct val="0"/>
                </a:spcAft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lang="en-US" sz="1400" b="1" dirty="0">
                  <a:solidFill>
                    <a:srgbClr val="FFFFFF"/>
                  </a:solidFill>
                  <a:latin typeface="Arial"/>
                  <a:cs typeface="Arial"/>
                </a:rPr>
                <a:t>21</a:t>
              </a:r>
              <a:endParaRPr lang="en-US" sz="144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5" name="Rectangle 82">
              <a:extLst>
                <a:ext uri="{FF2B5EF4-FFF2-40B4-BE49-F238E27FC236}">
                  <a16:creationId xmlns:a16="http://schemas.microsoft.com/office/drawing/2014/main" id="{4ECA9F26-1380-9E41-8663-7A4C285BB54B}"/>
                </a:ext>
              </a:extLst>
            </p:cNvPr>
            <p:cNvSpPr/>
            <p:nvPr>
              <p:custDataLst>
                <p:tags r:id="rId286"/>
              </p:custDataLst>
            </p:nvPr>
          </p:nvSpPr>
          <p:spPr>
            <a:xfrm>
              <a:off x="12663044" y="2807101"/>
              <a:ext cx="798616" cy="258532"/>
            </a:xfrm>
            <a:prstGeom prst="rect">
              <a:avLst/>
            </a:prstGeom>
          </p:spPr>
          <p:txBody>
            <a:bodyPr wrap="none">
              <a:spAutoFit/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97236">
                <a:spcBef>
                  <a:spcPct val="0"/>
                </a:spcBef>
                <a:spcAft>
                  <a:spcPct val="0"/>
                </a:spcAft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lang="pl-PL" sz="108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uxoft</a:t>
              </a:r>
              <a:r>
                <a:rPr lang="en-US" sz="108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HC</a:t>
              </a:r>
            </a:p>
          </p:txBody>
        </p:sp>
        <p:pic>
          <p:nvPicPr>
            <p:cNvPr id="98" name="Picture 145">
              <a:extLst>
                <a:ext uri="{FF2B5EF4-FFF2-40B4-BE49-F238E27FC236}">
                  <a16:creationId xmlns:a16="http://schemas.microsoft.com/office/drawing/2014/main" id="{28544465-5E2A-5040-8F2F-732FF982AE2B}"/>
                </a:ext>
              </a:extLst>
            </p:cNvPr>
            <p:cNvPicPr>
              <a:picLocks noChangeAspect="1"/>
            </p:cNvPicPr>
            <p:nvPr>
              <p:custDataLst>
                <p:tags r:id="rId287"/>
              </p:custDataLst>
            </p:nvPr>
          </p:nvPicPr>
          <p:blipFill>
            <a:blip r:embed="rId30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300492" y="2374267"/>
              <a:ext cx="316301" cy="313260"/>
            </a:xfrm>
            <a:prstGeom prst="rect">
              <a:avLst/>
            </a:prstGeom>
          </p:spPr>
        </p:pic>
      </p:grpSp>
      <p:grpSp>
        <p:nvGrpSpPr>
          <p:cNvPr id="20" name="Группа 19"/>
          <p:cNvGrpSpPr/>
          <p:nvPr>
            <p:custDataLst>
              <p:tags r:id="rId10"/>
            </p:custDataLst>
          </p:nvPr>
        </p:nvGrpSpPr>
        <p:grpSpPr>
          <a:xfrm>
            <a:off x="8846821" y="6800069"/>
            <a:ext cx="3346397" cy="430887"/>
            <a:chOff x="6785044" y="7022088"/>
            <a:chExt cx="3346397" cy="430887"/>
          </a:xfrm>
        </p:grpSpPr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59AE620D-D072-8A49-A092-36B98F3540BD}"/>
                </a:ext>
              </a:extLst>
            </p:cNvPr>
            <p:cNvSpPr txBox="1"/>
            <p:nvPr>
              <p:custDataLst>
                <p:tags r:id="rId280"/>
              </p:custDataLst>
            </p:nvPr>
          </p:nvSpPr>
          <p:spPr>
            <a:xfrm>
              <a:off x="6921217" y="7022088"/>
              <a:ext cx="1291315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88" lvl="2" defTabSz="1462886">
                <a:spcBef>
                  <a:spcPct val="0"/>
                </a:spcBef>
                <a:spcAft>
                  <a:spcPct val="0"/>
                </a:spcAft>
                <a:buClr>
                  <a:srgbClr val="EB571C"/>
                </a:buClr>
                <a:buSzPct val="125000"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lang="en-US" sz="1100" b="1">
                  <a:solidFill>
                    <a:srgbClr val="5F249F"/>
                  </a:solidFill>
                  <a:latin typeface="Arial" pitchFamily="34" charset="0"/>
                  <a:cs typeface="Calibri" panose="020F0502020204030204" pitchFamily="34" charset="0"/>
                </a:rPr>
                <a:t>GDC &amp; RDC Locations</a:t>
              </a:r>
            </a:p>
          </p:txBody>
        </p:sp>
        <p:sp>
          <p:nvSpPr>
            <p:cNvPr id="157" name="Rectangle 87">
              <a:extLst>
                <a:ext uri="{FF2B5EF4-FFF2-40B4-BE49-F238E27FC236}">
                  <a16:creationId xmlns:a16="http://schemas.microsoft.com/office/drawing/2014/main" id="{EC9C87CF-E9DA-A643-B450-DE3B84BE32E3}"/>
                </a:ext>
              </a:extLst>
            </p:cNvPr>
            <p:cNvSpPr/>
            <p:nvPr>
              <p:custDataLst>
                <p:tags r:id="rId281"/>
              </p:custDataLst>
            </p:nvPr>
          </p:nvSpPr>
          <p:spPr>
            <a:xfrm>
              <a:off x="6785044" y="7132893"/>
              <a:ext cx="156989" cy="15698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5486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10972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6459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219456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274320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32918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38404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43891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algn="ctr" defTabSz="1097236">
                <a:defRPr kumimoji="0" sz="2160" b="0" i="0" u="none" strike="noStrike" cap="none" spc="0" normalizeH="0" baseline="0" noProof="0">
                  <a:solidFill>
                    <a:srgbClr val="FFFFFF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pPr>
              <a:endParaRPr lang="ru-RU" sz="1920">
                <a:solidFill>
                  <a:srgbClr val="1870B9">
                    <a:lumMod val="50000"/>
                  </a:srgbClr>
                </a:solidFill>
                <a:ea typeface="+mn-ea"/>
              </a:endParaRPr>
            </a:p>
          </p:txBody>
        </p:sp>
        <p:sp>
          <p:nvSpPr>
            <p:cNvPr id="160" name="TextBox 159">
              <a:extLst>
                <a:ext uri="{FF2B5EF4-FFF2-40B4-BE49-F238E27FC236}">
                  <a16:creationId xmlns:a16="http://schemas.microsoft.com/office/drawing/2014/main" id="{F7B258F9-B4EE-CD44-8FD7-12F022D4D325}"/>
                </a:ext>
              </a:extLst>
            </p:cNvPr>
            <p:cNvSpPr txBox="1"/>
            <p:nvPr>
              <p:custDataLst>
                <p:tags r:id="rId282"/>
              </p:custDataLst>
            </p:nvPr>
          </p:nvSpPr>
          <p:spPr>
            <a:xfrm>
              <a:off x="8237614" y="7022088"/>
              <a:ext cx="1893827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097154">
                <a:spcBef>
                  <a:spcPct val="0"/>
                </a:spcBef>
                <a:spcAft>
                  <a:spcPct val="0"/>
                </a:spcAft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lang="en-US" sz="1100" b="1">
                  <a:solidFill>
                    <a:srgbClr val="BDA7D2"/>
                  </a:solidFill>
                  <a:latin typeface="Arial"/>
                  <a:cs typeface="Calibri"/>
                </a:rPr>
                <a:t>IDC &amp; Registration Locations</a:t>
              </a:r>
              <a:endParaRPr lang="en-US" sz="1080" b="1">
                <a:solidFill>
                  <a:srgbClr val="BFAAD4"/>
                </a:solidFill>
                <a:latin typeface="Arial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61" name="Rectangle 87">
              <a:extLst>
                <a:ext uri="{FF2B5EF4-FFF2-40B4-BE49-F238E27FC236}">
                  <a16:creationId xmlns:a16="http://schemas.microsoft.com/office/drawing/2014/main" id="{EF7B717A-D25E-314A-A521-347B064461EA}"/>
                </a:ext>
              </a:extLst>
            </p:cNvPr>
            <p:cNvSpPr/>
            <p:nvPr>
              <p:custDataLst>
                <p:tags r:id="rId283"/>
              </p:custDataLst>
            </p:nvPr>
          </p:nvSpPr>
          <p:spPr>
            <a:xfrm>
              <a:off x="8068314" y="7132893"/>
              <a:ext cx="156989" cy="156989"/>
            </a:xfrm>
            <a:prstGeom prst="rect">
              <a:avLst/>
            </a:prstGeom>
            <a:solidFill>
              <a:srgbClr val="BFAAD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5486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10972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6459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219456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274320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32918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38404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43891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algn="ctr" defTabSz="1097236">
                <a:defRPr kumimoji="0" sz="2160" b="0" i="0" u="none" strike="noStrike" cap="none" spc="0" normalizeH="0" baseline="0" noProof="0">
                  <a:solidFill>
                    <a:srgbClr val="FFFFFF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pPr>
              <a:endParaRPr lang="ru-RU" sz="1920">
                <a:solidFill>
                  <a:srgbClr val="1870B9">
                    <a:lumMod val="50000"/>
                  </a:srgbClr>
                </a:solidFill>
                <a:ea typeface="+mn-ea"/>
              </a:endParaRPr>
            </a:p>
          </p:txBody>
        </p:sp>
      </p:grpSp>
      <p:grpSp>
        <p:nvGrpSpPr>
          <p:cNvPr id="433" name="Группа 432"/>
          <p:cNvGrpSpPr/>
          <p:nvPr>
            <p:custDataLst>
              <p:tags r:id="rId11"/>
            </p:custDataLst>
          </p:nvPr>
        </p:nvGrpSpPr>
        <p:grpSpPr>
          <a:xfrm>
            <a:off x="9792960" y="692862"/>
            <a:ext cx="970587" cy="1485396"/>
            <a:chOff x="9560764" y="869985"/>
            <a:chExt cx="970585" cy="1485393"/>
          </a:xfrm>
        </p:grpSpPr>
        <p:grpSp>
          <p:nvGrpSpPr>
            <p:cNvPr id="252" name="Grupa 212">
              <a:extLst>
                <a:ext uri="{FF2B5EF4-FFF2-40B4-BE49-F238E27FC236}">
                  <a16:creationId xmlns:a16="http://schemas.microsoft.com/office/drawing/2014/main" id="{693F3F6F-00E0-8C4E-9C9D-D59141AF0FEF}"/>
                </a:ext>
              </a:extLst>
            </p:cNvPr>
            <p:cNvGrpSpPr/>
            <p:nvPr>
              <p:custDataLst>
                <p:tags r:id="rId266"/>
              </p:custDataLst>
            </p:nvPr>
          </p:nvGrpSpPr>
          <p:grpSpPr>
            <a:xfrm>
              <a:off x="9699189" y="869985"/>
              <a:ext cx="667931" cy="729750"/>
              <a:chOff x="8700687" y="2680231"/>
              <a:chExt cx="741041" cy="809625"/>
            </a:xfrm>
          </p:grpSpPr>
          <p:sp>
            <p:nvSpPr>
              <p:cNvPr id="255" name="Freeform 64">
                <a:extLst>
                  <a:ext uri="{FF2B5EF4-FFF2-40B4-BE49-F238E27FC236}">
                    <a16:creationId xmlns:a16="http://schemas.microsoft.com/office/drawing/2014/main" id="{3F4F10F5-9BC9-7A4D-BE43-EFC8EED04708}"/>
                  </a:ext>
                </a:extLst>
              </p:cNvPr>
              <p:cNvSpPr/>
              <p:nvPr>
                <p:custDataLst>
                  <p:tags r:id="rId269"/>
                </p:custDataLst>
              </p:nvPr>
            </p:nvSpPr>
            <p:spPr bwMode="auto">
              <a:xfrm>
                <a:off x="8902614" y="2908832"/>
                <a:ext cx="337186" cy="318136"/>
              </a:xfrm>
              <a:custGeom>
                <a:avLst/>
                <a:gdLst>
                  <a:gd name="T0" fmla="*/ 64 w 80"/>
                  <a:gd name="T1" fmla="*/ 72 h 72"/>
                  <a:gd name="T2" fmla="*/ 80 w 80"/>
                  <a:gd name="T3" fmla="*/ 56 h 72"/>
                  <a:gd name="T4" fmla="*/ 80 w 80"/>
                  <a:gd name="T5" fmla="*/ 20 h 72"/>
                  <a:gd name="T6" fmla="*/ 40 w 80"/>
                  <a:gd name="T7" fmla="*/ 0 h 72"/>
                  <a:gd name="T8" fmla="*/ 0 w 80"/>
                  <a:gd name="T9" fmla="*/ 20 h 72"/>
                  <a:gd name="T10" fmla="*/ 0 w 80"/>
                  <a:gd name="T11" fmla="*/ 56 h 72"/>
                  <a:gd name="T12" fmla="*/ 16 w 80"/>
                  <a:gd name="T13" fmla="*/ 7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" h="72">
                    <a:moveTo>
                      <a:pt x="64" y="72"/>
                    </a:moveTo>
                    <a:cubicBezTo>
                      <a:pt x="73" y="72"/>
                      <a:pt x="80" y="64"/>
                      <a:pt x="80" y="56"/>
                    </a:cubicBezTo>
                    <a:cubicBezTo>
                      <a:pt x="80" y="20"/>
                      <a:pt x="80" y="20"/>
                      <a:pt x="80" y="20"/>
                    </a:cubicBezTo>
                    <a:cubicBezTo>
                      <a:pt x="80" y="7"/>
                      <a:pt x="54" y="0"/>
                      <a:pt x="40" y="0"/>
                    </a:cubicBezTo>
                    <a:cubicBezTo>
                      <a:pt x="26" y="0"/>
                      <a:pt x="0" y="7"/>
                      <a:pt x="0" y="20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0" y="64"/>
                      <a:pt x="7" y="72"/>
                      <a:pt x="16" y="72"/>
                    </a:cubicBezTo>
                  </a:path>
                </a:pathLst>
              </a:custGeom>
              <a:noFill/>
              <a:ln w="19050" cap="flat">
                <a:solidFill>
                  <a:schemeClr val="tx1"/>
                </a:solidFill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09728" tIns="54864" rIns="109728" bIns="54864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486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972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459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19456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4320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918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404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3891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1097236">
                  <a:spcBef>
                    <a:spcPct val="0"/>
                  </a:spcBef>
                  <a:spcAft>
                    <a:spcPct val="0"/>
                  </a:spcAft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lang="pl-PL" sz="2592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56" name="Freeform 65">
                <a:extLst>
                  <a:ext uri="{FF2B5EF4-FFF2-40B4-BE49-F238E27FC236}">
                    <a16:creationId xmlns:a16="http://schemas.microsoft.com/office/drawing/2014/main" id="{BD2096E3-3E21-4446-A290-E791640321FA}"/>
                  </a:ext>
                </a:extLst>
              </p:cNvPr>
              <p:cNvSpPr/>
              <p:nvPr>
                <p:custDataLst>
                  <p:tags r:id="rId270"/>
                </p:custDataLst>
              </p:nvPr>
            </p:nvSpPr>
            <p:spPr bwMode="auto">
              <a:xfrm>
                <a:off x="9274088" y="2962172"/>
                <a:ext cx="167640" cy="299086"/>
              </a:xfrm>
              <a:custGeom>
                <a:avLst/>
                <a:gdLst>
                  <a:gd name="T0" fmla="*/ 24 w 40"/>
                  <a:gd name="T1" fmla="*/ 68 h 68"/>
                  <a:gd name="T2" fmla="*/ 40 w 40"/>
                  <a:gd name="T3" fmla="*/ 56 h 68"/>
                  <a:gd name="T4" fmla="*/ 40 w 40"/>
                  <a:gd name="T5" fmla="*/ 20 h 68"/>
                  <a:gd name="T6" fmla="*/ 4 w 40"/>
                  <a:gd name="T7" fmla="*/ 0 h 68"/>
                  <a:gd name="T8" fmla="*/ 0 w 40"/>
                  <a:gd name="T9" fmla="*/ 0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68">
                    <a:moveTo>
                      <a:pt x="24" y="68"/>
                    </a:moveTo>
                    <a:cubicBezTo>
                      <a:pt x="32" y="68"/>
                      <a:pt x="40" y="64"/>
                      <a:pt x="40" y="56"/>
                    </a:cubicBezTo>
                    <a:cubicBezTo>
                      <a:pt x="40" y="20"/>
                      <a:pt x="40" y="20"/>
                      <a:pt x="40" y="20"/>
                    </a:cubicBezTo>
                    <a:cubicBezTo>
                      <a:pt x="40" y="7"/>
                      <a:pt x="17" y="0"/>
                      <a:pt x="4" y="0"/>
                    </a:cubicBezTo>
                    <a:cubicBezTo>
                      <a:pt x="3" y="0"/>
                      <a:pt x="1" y="0"/>
                      <a:pt x="0" y="0"/>
                    </a:cubicBezTo>
                  </a:path>
                </a:pathLst>
              </a:custGeom>
              <a:noFill/>
              <a:ln w="19050" cap="flat">
                <a:solidFill>
                  <a:schemeClr val="tx1"/>
                </a:solidFill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09728" tIns="54864" rIns="109728" bIns="54864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486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972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459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19456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4320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918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404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3891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1097236">
                  <a:spcBef>
                    <a:spcPct val="0"/>
                  </a:spcBef>
                  <a:spcAft>
                    <a:spcPct val="0"/>
                  </a:spcAft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lang="pl-PL" sz="2592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57" name="Freeform 66">
                <a:extLst>
                  <a:ext uri="{FF2B5EF4-FFF2-40B4-BE49-F238E27FC236}">
                    <a16:creationId xmlns:a16="http://schemas.microsoft.com/office/drawing/2014/main" id="{3FB052EE-9F47-AA46-A88E-9689B7BAF84E}"/>
                  </a:ext>
                </a:extLst>
              </p:cNvPr>
              <p:cNvSpPr/>
              <p:nvPr>
                <p:custDataLst>
                  <p:tags r:id="rId271"/>
                </p:custDataLst>
              </p:nvPr>
            </p:nvSpPr>
            <p:spPr bwMode="auto">
              <a:xfrm>
                <a:off x="9003580" y="2680231"/>
                <a:ext cx="135256" cy="177166"/>
              </a:xfrm>
              <a:custGeom>
                <a:avLst/>
                <a:gdLst>
                  <a:gd name="T0" fmla="*/ 16 w 32"/>
                  <a:gd name="T1" fmla="*/ 40 h 40"/>
                  <a:gd name="T2" fmla="*/ 32 w 32"/>
                  <a:gd name="T3" fmla="*/ 24 h 40"/>
                  <a:gd name="T4" fmla="*/ 32 w 32"/>
                  <a:gd name="T5" fmla="*/ 16 h 40"/>
                  <a:gd name="T6" fmla="*/ 16 w 32"/>
                  <a:gd name="T7" fmla="*/ 0 h 40"/>
                  <a:gd name="T8" fmla="*/ 0 w 32"/>
                  <a:gd name="T9" fmla="*/ 16 h 40"/>
                  <a:gd name="T10" fmla="*/ 0 w 32"/>
                  <a:gd name="T11" fmla="*/ 24 h 40"/>
                  <a:gd name="T12" fmla="*/ 16 w 32"/>
                  <a:gd name="T13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40">
                    <a:moveTo>
                      <a:pt x="16" y="40"/>
                    </a:moveTo>
                    <a:cubicBezTo>
                      <a:pt x="25" y="40"/>
                      <a:pt x="32" y="33"/>
                      <a:pt x="32" y="24"/>
                    </a:cubicBezTo>
                    <a:cubicBezTo>
                      <a:pt x="32" y="16"/>
                      <a:pt x="32" y="16"/>
                      <a:pt x="32" y="16"/>
                    </a:cubicBezTo>
                    <a:cubicBezTo>
                      <a:pt x="32" y="7"/>
                      <a:pt x="25" y="0"/>
                      <a:pt x="16" y="0"/>
                    </a:cubicBezTo>
                    <a:cubicBezTo>
                      <a:pt x="7" y="0"/>
                      <a:pt x="0" y="7"/>
                      <a:pt x="0" y="16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33"/>
                      <a:pt x="7" y="40"/>
                      <a:pt x="16" y="40"/>
                    </a:cubicBezTo>
                    <a:close/>
                  </a:path>
                </a:pathLst>
              </a:custGeom>
              <a:noFill/>
              <a:ln w="19050" cap="flat">
                <a:solidFill>
                  <a:schemeClr val="tx1"/>
                </a:solidFill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09728" tIns="54864" rIns="109728" bIns="54864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486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972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459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19456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4320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918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404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3891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1097236">
                  <a:spcBef>
                    <a:spcPct val="0"/>
                  </a:spcBef>
                  <a:spcAft>
                    <a:spcPct val="0"/>
                  </a:spcAft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lang="pl-PL" sz="2592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58" name="Line 67">
                <a:extLst>
                  <a:ext uri="{FF2B5EF4-FFF2-40B4-BE49-F238E27FC236}">
                    <a16:creationId xmlns:a16="http://schemas.microsoft.com/office/drawing/2014/main" id="{35F04553-A644-664E-A856-D1C0B59C0189}"/>
                  </a:ext>
                </a:extLst>
              </p:cNvPr>
              <p:cNvSpPr>
                <a:spLocks noChangeShapeType="1"/>
              </p:cNvSpPr>
              <p:nvPr>
                <p:custDataLst>
                  <p:tags r:id="rId272"/>
                </p:custDataLst>
              </p:nvPr>
            </p:nvSpPr>
            <p:spPr bwMode="auto">
              <a:xfrm flipH="1" flipV="1">
                <a:off x="9375055" y="3085996"/>
                <a:ext cx="0" cy="403860"/>
              </a:xfrm>
              <a:prstGeom prst="line">
                <a:avLst/>
              </a:prstGeom>
              <a:noFill/>
              <a:ln w="19050" cap="flat">
                <a:solidFill>
                  <a:schemeClr val="tx1"/>
                </a:solidFill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09728" tIns="54864" rIns="109728" bIns="54864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486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972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459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19456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4320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918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404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3891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1097236">
                  <a:spcBef>
                    <a:spcPct val="0"/>
                  </a:spcBef>
                  <a:spcAft>
                    <a:spcPct val="0"/>
                  </a:spcAft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lang="pl-PL" sz="2592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59" name="Line 68">
                <a:extLst>
                  <a:ext uri="{FF2B5EF4-FFF2-40B4-BE49-F238E27FC236}">
                    <a16:creationId xmlns:a16="http://schemas.microsoft.com/office/drawing/2014/main" id="{D0D0E625-2ED7-7949-9FBD-A44F839E042C}"/>
                  </a:ext>
                </a:extLst>
              </p:cNvPr>
              <p:cNvSpPr>
                <a:spLocks noChangeShapeType="1"/>
              </p:cNvSpPr>
              <p:nvPr>
                <p:custDataLst>
                  <p:tags r:id="rId273"/>
                </p:custDataLst>
              </p:nvPr>
            </p:nvSpPr>
            <p:spPr bwMode="auto">
              <a:xfrm flipH="1" flipV="1">
                <a:off x="9173125" y="3032656"/>
                <a:ext cx="0" cy="457200"/>
              </a:xfrm>
              <a:prstGeom prst="line">
                <a:avLst/>
              </a:prstGeom>
              <a:noFill/>
              <a:ln w="19050" cap="flat">
                <a:solidFill>
                  <a:schemeClr val="tx1"/>
                </a:solidFill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09728" tIns="54864" rIns="109728" bIns="54864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486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972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459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19456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4320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918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404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3891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1097236">
                  <a:spcBef>
                    <a:spcPct val="0"/>
                  </a:spcBef>
                  <a:spcAft>
                    <a:spcPct val="0"/>
                  </a:spcAft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lang="pl-PL" sz="2592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60" name="Line 69">
                <a:extLst>
                  <a:ext uri="{FF2B5EF4-FFF2-40B4-BE49-F238E27FC236}">
                    <a16:creationId xmlns:a16="http://schemas.microsoft.com/office/drawing/2014/main" id="{1F99F07A-8787-DA47-9A70-804E7DC8B045}"/>
                  </a:ext>
                </a:extLst>
              </p:cNvPr>
              <p:cNvSpPr>
                <a:spLocks noChangeShapeType="1"/>
              </p:cNvSpPr>
              <p:nvPr>
                <p:custDataLst>
                  <p:tags r:id="rId274"/>
                </p:custDataLst>
              </p:nvPr>
            </p:nvSpPr>
            <p:spPr bwMode="auto">
              <a:xfrm flipH="1">
                <a:off x="8971195" y="3032656"/>
                <a:ext cx="0" cy="457200"/>
              </a:xfrm>
              <a:prstGeom prst="line">
                <a:avLst/>
              </a:prstGeom>
              <a:noFill/>
              <a:ln w="19050" cap="flat">
                <a:solidFill>
                  <a:schemeClr val="tx1"/>
                </a:solidFill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09728" tIns="54864" rIns="109728" bIns="54864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486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972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459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19456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4320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918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404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3891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1097236">
                  <a:spcBef>
                    <a:spcPct val="0"/>
                  </a:spcBef>
                  <a:spcAft>
                    <a:spcPct val="0"/>
                  </a:spcAft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lang="pl-PL" sz="2592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61" name="Line 70">
                <a:extLst>
                  <a:ext uri="{FF2B5EF4-FFF2-40B4-BE49-F238E27FC236}">
                    <a16:creationId xmlns:a16="http://schemas.microsoft.com/office/drawing/2014/main" id="{5C2DDA4D-3926-F24F-8895-B5ADA4C2B823}"/>
                  </a:ext>
                </a:extLst>
              </p:cNvPr>
              <p:cNvSpPr>
                <a:spLocks noChangeShapeType="1"/>
              </p:cNvSpPr>
              <p:nvPr>
                <p:custDataLst>
                  <p:tags r:id="rId275"/>
                </p:custDataLst>
              </p:nvPr>
            </p:nvSpPr>
            <p:spPr bwMode="auto">
              <a:xfrm flipH="1">
                <a:off x="9072160" y="3207916"/>
                <a:ext cx="0" cy="281940"/>
              </a:xfrm>
              <a:prstGeom prst="line">
                <a:avLst/>
              </a:prstGeom>
              <a:noFill/>
              <a:ln w="19050" cap="flat">
                <a:solidFill>
                  <a:schemeClr val="tx1"/>
                </a:solidFill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09728" tIns="54864" rIns="109728" bIns="54864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486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972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459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19456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4320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918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404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3891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1097236">
                  <a:spcBef>
                    <a:spcPct val="0"/>
                  </a:spcBef>
                  <a:spcAft>
                    <a:spcPct val="0"/>
                  </a:spcAft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lang="pl-PL" sz="2592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62" name="Freeform 71">
                <a:extLst>
                  <a:ext uri="{FF2B5EF4-FFF2-40B4-BE49-F238E27FC236}">
                    <a16:creationId xmlns:a16="http://schemas.microsoft.com/office/drawing/2014/main" id="{92A0D189-42CC-D344-99CE-B512437036C2}"/>
                  </a:ext>
                </a:extLst>
              </p:cNvPr>
              <p:cNvSpPr/>
              <p:nvPr>
                <p:custDataLst>
                  <p:tags r:id="rId276"/>
                </p:custDataLst>
              </p:nvPr>
            </p:nvSpPr>
            <p:spPr bwMode="auto">
              <a:xfrm>
                <a:off x="9222654" y="2733572"/>
                <a:ext cx="135256" cy="175260"/>
              </a:xfrm>
              <a:custGeom>
                <a:avLst/>
                <a:gdLst>
                  <a:gd name="T0" fmla="*/ 16 w 32"/>
                  <a:gd name="T1" fmla="*/ 40 h 40"/>
                  <a:gd name="T2" fmla="*/ 32 w 32"/>
                  <a:gd name="T3" fmla="*/ 24 h 40"/>
                  <a:gd name="T4" fmla="*/ 32 w 32"/>
                  <a:gd name="T5" fmla="*/ 16 h 40"/>
                  <a:gd name="T6" fmla="*/ 16 w 32"/>
                  <a:gd name="T7" fmla="*/ 0 h 40"/>
                  <a:gd name="T8" fmla="*/ 0 w 32"/>
                  <a:gd name="T9" fmla="*/ 16 h 40"/>
                  <a:gd name="T10" fmla="*/ 0 w 32"/>
                  <a:gd name="T11" fmla="*/ 24 h 40"/>
                  <a:gd name="T12" fmla="*/ 16 w 32"/>
                  <a:gd name="T13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40">
                    <a:moveTo>
                      <a:pt x="16" y="40"/>
                    </a:moveTo>
                    <a:cubicBezTo>
                      <a:pt x="25" y="40"/>
                      <a:pt x="32" y="33"/>
                      <a:pt x="32" y="24"/>
                    </a:cubicBezTo>
                    <a:cubicBezTo>
                      <a:pt x="32" y="16"/>
                      <a:pt x="32" y="16"/>
                      <a:pt x="32" y="16"/>
                    </a:cubicBezTo>
                    <a:cubicBezTo>
                      <a:pt x="32" y="7"/>
                      <a:pt x="25" y="0"/>
                      <a:pt x="16" y="0"/>
                    </a:cubicBezTo>
                    <a:cubicBezTo>
                      <a:pt x="7" y="0"/>
                      <a:pt x="0" y="7"/>
                      <a:pt x="0" y="16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33"/>
                      <a:pt x="7" y="40"/>
                      <a:pt x="16" y="40"/>
                    </a:cubicBezTo>
                    <a:close/>
                  </a:path>
                </a:pathLst>
              </a:custGeom>
              <a:noFill/>
              <a:ln w="19050" cap="flat">
                <a:solidFill>
                  <a:schemeClr val="tx1"/>
                </a:solidFill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09728" tIns="54864" rIns="109728" bIns="54864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486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972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459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19456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4320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918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404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3891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1097236">
                  <a:spcBef>
                    <a:spcPct val="0"/>
                  </a:spcBef>
                  <a:spcAft>
                    <a:spcPct val="0"/>
                  </a:spcAft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lang="pl-PL" sz="2592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63" name="Freeform 72">
                <a:extLst>
                  <a:ext uri="{FF2B5EF4-FFF2-40B4-BE49-F238E27FC236}">
                    <a16:creationId xmlns:a16="http://schemas.microsoft.com/office/drawing/2014/main" id="{66D46749-0FE5-C040-95DE-84956ED0BECD}"/>
                  </a:ext>
                </a:extLst>
              </p:cNvPr>
              <p:cNvSpPr/>
              <p:nvPr>
                <p:custDataLst>
                  <p:tags r:id="rId277"/>
                </p:custDataLst>
              </p:nvPr>
            </p:nvSpPr>
            <p:spPr bwMode="auto">
              <a:xfrm>
                <a:off x="8700687" y="2962172"/>
                <a:ext cx="169546" cy="299086"/>
              </a:xfrm>
              <a:custGeom>
                <a:avLst/>
                <a:gdLst>
                  <a:gd name="T0" fmla="*/ 16 w 40"/>
                  <a:gd name="T1" fmla="*/ 68 h 68"/>
                  <a:gd name="T2" fmla="*/ 0 w 40"/>
                  <a:gd name="T3" fmla="*/ 56 h 68"/>
                  <a:gd name="T4" fmla="*/ 0 w 40"/>
                  <a:gd name="T5" fmla="*/ 20 h 68"/>
                  <a:gd name="T6" fmla="*/ 36 w 40"/>
                  <a:gd name="T7" fmla="*/ 0 h 68"/>
                  <a:gd name="T8" fmla="*/ 40 w 40"/>
                  <a:gd name="T9" fmla="*/ 0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68">
                    <a:moveTo>
                      <a:pt x="16" y="68"/>
                    </a:moveTo>
                    <a:cubicBezTo>
                      <a:pt x="8" y="68"/>
                      <a:pt x="0" y="64"/>
                      <a:pt x="0" y="56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7"/>
                      <a:pt x="23" y="0"/>
                      <a:pt x="36" y="0"/>
                    </a:cubicBezTo>
                    <a:cubicBezTo>
                      <a:pt x="37" y="0"/>
                      <a:pt x="39" y="0"/>
                      <a:pt x="40" y="0"/>
                    </a:cubicBezTo>
                  </a:path>
                </a:pathLst>
              </a:custGeom>
              <a:noFill/>
              <a:ln w="19050" cap="flat">
                <a:solidFill>
                  <a:schemeClr val="tx1"/>
                </a:solidFill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09728" tIns="54864" rIns="109728" bIns="54864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486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972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459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19456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4320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918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404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3891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1097236">
                  <a:spcBef>
                    <a:spcPct val="0"/>
                  </a:spcBef>
                  <a:spcAft>
                    <a:spcPct val="0"/>
                  </a:spcAft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lang="pl-PL" sz="2592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64" name="Line 73">
                <a:extLst>
                  <a:ext uri="{FF2B5EF4-FFF2-40B4-BE49-F238E27FC236}">
                    <a16:creationId xmlns:a16="http://schemas.microsoft.com/office/drawing/2014/main" id="{A0519A3D-855E-9946-8C21-BFC356853621}"/>
                  </a:ext>
                </a:extLst>
              </p:cNvPr>
              <p:cNvSpPr>
                <a:spLocks noChangeShapeType="1"/>
              </p:cNvSpPr>
              <p:nvPr>
                <p:custDataLst>
                  <p:tags r:id="rId278"/>
                </p:custDataLst>
              </p:nvPr>
            </p:nvSpPr>
            <p:spPr bwMode="auto">
              <a:xfrm flipH="1" flipV="1">
                <a:off x="8769265" y="3085996"/>
                <a:ext cx="0" cy="403860"/>
              </a:xfrm>
              <a:prstGeom prst="line">
                <a:avLst/>
              </a:prstGeom>
              <a:noFill/>
              <a:ln w="19050" cap="flat">
                <a:solidFill>
                  <a:schemeClr val="tx1"/>
                </a:solidFill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09728" tIns="54864" rIns="109728" bIns="54864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486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972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459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19456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4320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918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404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3891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1097236">
                  <a:spcBef>
                    <a:spcPct val="0"/>
                  </a:spcBef>
                  <a:spcAft>
                    <a:spcPct val="0"/>
                  </a:spcAft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lang="pl-PL" sz="2592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65" name="Freeform 74">
                <a:extLst>
                  <a:ext uri="{FF2B5EF4-FFF2-40B4-BE49-F238E27FC236}">
                    <a16:creationId xmlns:a16="http://schemas.microsoft.com/office/drawing/2014/main" id="{52363750-5317-5D42-917F-DFB2175560E0}"/>
                  </a:ext>
                </a:extLst>
              </p:cNvPr>
              <p:cNvSpPr/>
              <p:nvPr>
                <p:custDataLst>
                  <p:tags r:id="rId279"/>
                </p:custDataLst>
              </p:nvPr>
            </p:nvSpPr>
            <p:spPr bwMode="auto">
              <a:xfrm>
                <a:off x="8786410" y="2733572"/>
                <a:ext cx="133350" cy="175260"/>
              </a:xfrm>
              <a:custGeom>
                <a:avLst/>
                <a:gdLst>
                  <a:gd name="T0" fmla="*/ 16 w 32"/>
                  <a:gd name="T1" fmla="*/ 40 h 40"/>
                  <a:gd name="T2" fmla="*/ 0 w 32"/>
                  <a:gd name="T3" fmla="*/ 24 h 40"/>
                  <a:gd name="T4" fmla="*/ 0 w 32"/>
                  <a:gd name="T5" fmla="*/ 16 h 40"/>
                  <a:gd name="T6" fmla="*/ 16 w 32"/>
                  <a:gd name="T7" fmla="*/ 0 h 40"/>
                  <a:gd name="T8" fmla="*/ 32 w 32"/>
                  <a:gd name="T9" fmla="*/ 16 h 40"/>
                  <a:gd name="T10" fmla="*/ 32 w 32"/>
                  <a:gd name="T11" fmla="*/ 24 h 40"/>
                  <a:gd name="T12" fmla="*/ 16 w 32"/>
                  <a:gd name="T13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40">
                    <a:moveTo>
                      <a:pt x="16" y="40"/>
                    </a:moveTo>
                    <a:cubicBezTo>
                      <a:pt x="7" y="40"/>
                      <a:pt x="0" y="33"/>
                      <a:pt x="0" y="24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7"/>
                      <a:pt x="7" y="0"/>
                      <a:pt x="16" y="0"/>
                    </a:cubicBezTo>
                    <a:cubicBezTo>
                      <a:pt x="25" y="0"/>
                      <a:pt x="32" y="7"/>
                      <a:pt x="32" y="16"/>
                    </a:cubicBezTo>
                    <a:cubicBezTo>
                      <a:pt x="32" y="24"/>
                      <a:pt x="32" y="24"/>
                      <a:pt x="32" y="24"/>
                    </a:cubicBezTo>
                    <a:cubicBezTo>
                      <a:pt x="32" y="33"/>
                      <a:pt x="25" y="40"/>
                      <a:pt x="16" y="40"/>
                    </a:cubicBezTo>
                    <a:close/>
                  </a:path>
                </a:pathLst>
              </a:custGeom>
              <a:noFill/>
              <a:ln w="19050" cap="flat">
                <a:solidFill>
                  <a:schemeClr val="tx1"/>
                </a:solidFill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09728" tIns="54864" rIns="109728" bIns="54864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486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972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459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19456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4320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918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404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3891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1097236">
                  <a:spcBef>
                    <a:spcPct val="0"/>
                  </a:spcBef>
                  <a:spcAft>
                    <a:spcPct val="0"/>
                  </a:spcAft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lang="pl-PL" sz="2592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162" name="Rectangle 103">
              <a:extLst>
                <a:ext uri="{FF2B5EF4-FFF2-40B4-BE49-F238E27FC236}">
                  <a16:creationId xmlns:a16="http://schemas.microsoft.com/office/drawing/2014/main" id="{1B999025-64B7-0244-A0A1-012E8B30608E}"/>
                </a:ext>
              </a:extLst>
            </p:cNvPr>
            <p:cNvSpPr/>
            <p:nvPr>
              <p:custDataLst>
                <p:tags r:id="rId267"/>
              </p:custDataLst>
            </p:nvPr>
          </p:nvSpPr>
          <p:spPr>
            <a:xfrm>
              <a:off x="9560764" y="1711735"/>
              <a:ext cx="970585" cy="346248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txBody>
            <a:bodyPr wrap="none" lIns="219456" tIns="45720" rIns="219456" bIns="45720" anchor="ctr">
              <a:spAutoFit/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097236">
                <a:spcBef>
                  <a:spcPct val="0"/>
                </a:spcBef>
                <a:spcAft>
                  <a:spcPct val="0"/>
                </a:spcAft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lang="ru-RU" sz="1650" b="1" dirty="0">
                  <a:solidFill>
                    <a:srgbClr val="FFFFFF"/>
                  </a:solidFill>
                  <a:latin typeface="Arial"/>
                  <a:cs typeface="Arial"/>
                </a:rPr>
                <a:t>3</a:t>
              </a:r>
              <a:r>
                <a:rPr lang="en-US" sz="1650" b="1" dirty="0">
                  <a:solidFill>
                    <a:srgbClr val="FFFFFF"/>
                  </a:solidFill>
                  <a:latin typeface="Arial"/>
                  <a:cs typeface="Arial"/>
                </a:rPr>
                <a:t>,320</a:t>
              </a:r>
              <a:endParaRPr lang="en-US" sz="168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63" name="Rectangle 105">
              <a:extLst>
                <a:ext uri="{FF2B5EF4-FFF2-40B4-BE49-F238E27FC236}">
                  <a16:creationId xmlns:a16="http://schemas.microsoft.com/office/drawing/2014/main" id="{0040230B-BEBE-D044-A89A-E71ABA1C58B7}"/>
                </a:ext>
              </a:extLst>
            </p:cNvPr>
            <p:cNvSpPr/>
            <p:nvPr>
              <p:custDataLst>
                <p:tags r:id="rId268"/>
              </p:custDataLst>
            </p:nvPr>
          </p:nvSpPr>
          <p:spPr>
            <a:xfrm>
              <a:off x="9608974" y="2059913"/>
              <a:ext cx="867800" cy="295465"/>
            </a:xfrm>
            <a:prstGeom prst="rect">
              <a:avLst/>
            </a:prstGeom>
            <a:ln>
              <a:noFill/>
            </a:ln>
          </p:spPr>
          <p:txBody>
            <a:bodyPr wrap="none">
              <a:spAutoFit/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97236">
                <a:spcBef>
                  <a:spcPct val="0"/>
                </a:spcBef>
                <a:spcAft>
                  <a:spcPct val="0"/>
                </a:spcAft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lang="en-US" sz="1320" b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Total HC</a:t>
              </a:r>
            </a:p>
          </p:txBody>
        </p:sp>
      </p:grpSp>
      <p:sp>
        <p:nvSpPr>
          <p:cNvPr id="104" name="TextBox 103">
            <a:extLst>
              <a:ext uri="{FF2B5EF4-FFF2-40B4-BE49-F238E27FC236}">
                <a16:creationId xmlns:a16="http://schemas.microsoft.com/office/drawing/2014/main" id="{F696EBC5-B296-664C-BC6F-43DB4F964F95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12350353" y="1311452"/>
            <a:ext cx="164592" cy="164592"/>
          </a:xfrm>
          <a:prstGeom prst="ellipse">
            <a:avLst/>
          </a:prstGeom>
          <a:solidFill>
            <a:schemeClr val="bg1"/>
          </a:solidFill>
          <a:ln w="6350">
            <a:noFill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marR="0" indent="0" algn="ctr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840" b="1" i="0" u="none" strike="noStrike" kern="1200" cap="none" spc="0" normalizeH="0" baseline="0" noProof="0">
                <a:solidFill>
                  <a:schemeClr val="accent1">
                    <a:lumMod val="75000"/>
                  </a:schemeClr>
                </a:solidFill>
                <a:uLnTx/>
                <a:uFillTx/>
                <a:latin typeface="Arial" pitchFamily="34" charset="0"/>
                <a:ea typeface="Arial" pitchFamily="34" charset="0"/>
                <a:cs typeface="Calibri" panose="020F0502020204030204" pitchFamily="34" charset="0"/>
                <a:sym typeface="Wingdings" charset="2"/>
              </a:defRPr>
            </a:lvl1pPr>
            <a:lvl2pPr marL="54864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2pPr>
            <a:lvl3pPr marL="109728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3pPr>
            <a:lvl4pPr marL="164592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4pPr>
            <a:lvl5pPr marL="219456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5pPr>
            <a:lvl6pPr marL="274320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6pPr>
            <a:lvl7pPr marL="329184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7pPr>
            <a:lvl8pPr marL="384048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8pPr>
            <a:lvl9pPr marL="438912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9pPr>
          </a:lstStyle>
          <a:p>
            <a:pPr defTabSz="1097236">
              <a:defRPr kumimoji="0" sz="840" b="1" i="0" u="none" strike="noStrike" cap="none" spc="0" normalizeH="0" baseline="0" noProof="0">
                <a:solidFill>
                  <a:srgbClr val="471B77"/>
                </a:solidFill>
                <a:uLnTx/>
                <a:uFillTx/>
                <a:latin typeface="Arial" pitchFamily="34" charset="0"/>
                <a:ea typeface="Arial" pitchFamily="34" charset="0"/>
                <a:cs typeface="Calibri" panose="020F0502020204030204" pitchFamily="34" charset="0"/>
                <a:sym typeface="Wingdings" charset="2"/>
              </a:defRPr>
            </a:pPr>
            <a:r>
              <a:rPr lang="en-US">
                <a:solidFill>
                  <a:srgbClr val="6F2C91">
                    <a:lumMod val="75000"/>
                  </a:srgbClr>
                </a:solidFill>
              </a:rPr>
              <a:t>1</a:t>
            </a:r>
          </a:p>
        </p:txBody>
      </p:sp>
      <p:grpSp>
        <p:nvGrpSpPr>
          <p:cNvPr id="18" name="Группа 17"/>
          <p:cNvGrpSpPr/>
          <p:nvPr>
            <p:custDataLst>
              <p:tags r:id="rId13"/>
            </p:custDataLst>
          </p:nvPr>
        </p:nvGrpSpPr>
        <p:grpSpPr>
          <a:xfrm>
            <a:off x="12347184" y="2298284"/>
            <a:ext cx="1763410" cy="1623606"/>
            <a:chOff x="12259695" y="3218709"/>
            <a:chExt cx="1763410" cy="1623605"/>
          </a:xfrm>
        </p:grpSpPr>
        <p:sp>
          <p:nvSpPr>
            <p:cNvPr id="86" name="Rectangle 83">
              <a:extLst>
                <a:ext uri="{FF2B5EF4-FFF2-40B4-BE49-F238E27FC236}">
                  <a16:creationId xmlns:a16="http://schemas.microsoft.com/office/drawing/2014/main" id="{0D4A1ED5-459B-9C44-AD4F-4A06F777A170}"/>
                </a:ext>
              </a:extLst>
            </p:cNvPr>
            <p:cNvSpPr/>
            <p:nvPr>
              <p:custDataLst>
                <p:tags r:id="rId261"/>
              </p:custDataLst>
            </p:nvPr>
          </p:nvSpPr>
          <p:spPr>
            <a:xfrm>
              <a:off x="12676841" y="4259416"/>
              <a:ext cx="641971" cy="307777"/>
            </a:xfrm>
            <a:prstGeom prst="rect">
              <a:avLst/>
            </a:prstGeom>
            <a:solidFill>
              <a:schemeClr val="accent1"/>
            </a:solidFill>
          </p:spPr>
          <p:txBody>
            <a:bodyPr wrap="none" lIns="219456" tIns="45720" rIns="219456" bIns="45720" anchor="ctr">
              <a:spAutoFit/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097236">
                <a:spcBef>
                  <a:spcPct val="0"/>
                </a:spcBef>
                <a:spcAft>
                  <a:spcPct val="0"/>
                </a:spcAft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lang="en-US" sz="1400" b="1" dirty="0">
                  <a:solidFill>
                    <a:srgbClr val="FFFFFF"/>
                  </a:solidFill>
                  <a:latin typeface="Arial"/>
                  <a:cs typeface="Arial"/>
                </a:rPr>
                <a:t>49</a:t>
              </a:r>
              <a:endParaRPr lang="en-US" sz="144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7" name="Rectangle 84">
              <a:extLst>
                <a:ext uri="{FF2B5EF4-FFF2-40B4-BE49-F238E27FC236}">
                  <a16:creationId xmlns:a16="http://schemas.microsoft.com/office/drawing/2014/main" id="{9507DEF0-302E-C64C-89E8-EA2C92E6F527}"/>
                </a:ext>
              </a:extLst>
            </p:cNvPr>
            <p:cNvSpPr/>
            <p:nvPr>
              <p:custDataLst>
                <p:tags r:id="rId262"/>
              </p:custDataLst>
            </p:nvPr>
          </p:nvSpPr>
          <p:spPr>
            <a:xfrm>
              <a:off x="12635382" y="4583782"/>
              <a:ext cx="798616" cy="258532"/>
            </a:xfrm>
            <a:prstGeom prst="rect">
              <a:avLst/>
            </a:prstGeom>
          </p:spPr>
          <p:txBody>
            <a:bodyPr wrap="none">
              <a:spAutoFit/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97236">
                <a:spcBef>
                  <a:spcPct val="0"/>
                </a:spcBef>
                <a:spcAft>
                  <a:spcPct val="0"/>
                </a:spcAft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lang="pl-PL" sz="108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uxoft</a:t>
              </a:r>
              <a:r>
                <a:rPr lang="en-US" sz="108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HC</a:t>
              </a:r>
            </a:p>
          </p:txBody>
        </p:sp>
        <p:pic>
          <p:nvPicPr>
            <p:cNvPr id="96" name="Picture 126">
              <a:extLst>
                <a:ext uri="{FF2B5EF4-FFF2-40B4-BE49-F238E27FC236}">
                  <a16:creationId xmlns:a16="http://schemas.microsoft.com/office/drawing/2014/main" id="{C41263A1-135B-DF48-9825-0E7210F44F69}"/>
                </a:ext>
              </a:extLst>
            </p:cNvPr>
            <p:cNvPicPr>
              <a:picLocks noChangeAspect="1"/>
            </p:cNvPicPr>
            <p:nvPr>
              <p:custDataLst>
                <p:tags r:id="rId263"/>
              </p:custDataLst>
            </p:nvPr>
          </p:nvPicPr>
          <p:blipFill>
            <a:blip r:embed="rId30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280776" y="4253401"/>
              <a:ext cx="289112" cy="291919"/>
            </a:xfrm>
            <a:prstGeom prst="rect">
              <a:avLst/>
            </a:prstGeom>
          </p:spPr>
        </p:pic>
        <p:pic>
          <p:nvPicPr>
            <p:cNvPr id="112" name="Рисунок 94">
              <a:extLst>
                <a:ext uri="{FF2B5EF4-FFF2-40B4-BE49-F238E27FC236}">
                  <a16:creationId xmlns:a16="http://schemas.microsoft.com/office/drawing/2014/main" id="{FC5B9586-9710-4446-8162-51EB1B66FA44}"/>
                </a:ext>
              </a:extLst>
            </p:cNvPr>
            <p:cNvPicPr>
              <a:picLocks noChangeAspect="1"/>
            </p:cNvPicPr>
            <p:nvPr>
              <p:custDataLst>
                <p:tags r:id="rId264"/>
              </p:custDataLst>
            </p:nvPr>
          </p:nvPicPr>
          <p:blipFill>
            <a:blip r:embed="rId30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259695" y="3218709"/>
              <a:ext cx="1763410" cy="1007571"/>
            </a:xfrm>
            <a:prstGeom prst="rect">
              <a:avLst/>
            </a:prstGeom>
            <a:ln>
              <a:noFill/>
            </a:ln>
          </p:spPr>
        </p:pic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D780F4A8-213F-4941-B8B4-D28A208B8F73}"/>
                </a:ext>
              </a:extLst>
            </p:cNvPr>
            <p:cNvSpPr txBox="1"/>
            <p:nvPr>
              <p:custDataLst>
                <p:tags r:id="rId265"/>
              </p:custDataLst>
            </p:nvPr>
          </p:nvSpPr>
          <p:spPr>
            <a:xfrm>
              <a:off x="12353077" y="3965620"/>
              <a:ext cx="164592" cy="164592"/>
            </a:xfrm>
            <a:prstGeom prst="ellipse">
              <a:avLst/>
            </a:prstGeom>
            <a:solidFill>
              <a:schemeClr val="bg1"/>
            </a:solidFill>
            <a:ln w="6350">
              <a:noFill/>
            </a:ln>
            <a:effectLst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marR="0" indent="0" algn="ctr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840" b="1" i="0" u="none" strike="noStrike" kern="1200" cap="none" spc="0" normalizeH="0" baseline="0" noProof="0">
                  <a:solidFill>
                    <a:schemeClr val="accent1">
                      <a:lumMod val="75000"/>
                    </a:schemeClr>
                  </a:solidFill>
                  <a:uLnTx/>
                  <a:uFillTx/>
                  <a:latin typeface="Arial" pitchFamily="34" charset="0"/>
                  <a:ea typeface="Arial" pitchFamily="34" charset="0"/>
                  <a:cs typeface="Calibri" panose="020F0502020204030204" pitchFamily="34" charset="0"/>
                  <a:sym typeface="Wingdings" charset="2"/>
                </a:defRPr>
              </a:lvl1pPr>
              <a:lvl2pPr marL="5486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10972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6459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219456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274320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32918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38404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43891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defTabSz="1097236">
                <a:defRPr kumimoji="0" sz="840" b="1" i="0" u="none" strike="noStrike" cap="none" spc="0" normalizeH="0" baseline="0" noProof="0">
                  <a:solidFill>
                    <a:srgbClr val="471B77"/>
                  </a:solidFill>
                  <a:uLnTx/>
                  <a:uFillTx/>
                  <a:latin typeface="Arial" pitchFamily="34" charset="0"/>
                  <a:ea typeface="Arial" pitchFamily="34" charset="0"/>
                  <a:cs typeface="Calibri" panose="020F0502020204030204" pitchFamily="34" charset="0"/>
                  <a:sym typeface="Wingdings" charset="2"/>
                </a:defRPr>
              </a:pPr>
              <a:r>
                <a:rPr lang="en-US">
                  <a:solidFill>
                    <a:srgbClr val="6F2C91">
                      <a:lumMod val="75000"/>
                    </a:srgbClr>
                  </a:solidFill>
                </a:rPr>
                <a:t>2</a:t>
              </a:r>
            </a:p>
          </p:txBody>
        </p:sp>
      </p:grpSp>
      <p:grpSp>
        <p:nvGrpSpPr>
          <p:cNvPr id="8" name="Группа 7"/>
          <p:cNvGrpSpPr/>
          <p:nvPr>
            <p:custDataLst>
              <p:tags r:id="rId14"/>
            </p:custDataLst>
          </p:nvPr>
        </p:nvGrpSpPr>
        <p:grpSpPr>
          <a:xfrm>
            <a:off x="12300278" y="5755274"/>
            <a:ext cx="1755868" cy="1713211"/>
            <a:chOff x="6719743" y="5290487"/>
            <a:chExt cx="1755868" cy="1713210"/>
          </a:xfrm>
        </p:grpSpPr>
        <p:pic>
          <p:nvPicPr>
            <p:cNvPr id="70" name="Picture 2">
              <a:extLst>
                <a:ext uri="{FF2B5EF4-FFF2-40B4-BE49-F238E27FC236}">
                  <a16:creationId xmlns:a16="http://schemas.microsoft.com/office/drawing/2014/main" id="{9775E021-6F01-A548-B381-62B6A19BE1D1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256"/>
              </p:custDataLst>
            </p:nvPr>
          </p:nvPicPr>
          <p:blipFill>
            <a:blip r:embed="rId310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6719743" y="5290487"/>
              <a:ext cx="1755868" cy="1057483"/>
            </a:xfrm>
            <a:prstGeom prst="rect">
              <a:avLst/>
            </a:prstGeom>
            <a:ln w="12700">
              <a:noFill/>
            </a:ln>
          </p:spPr>
        </p:pic>
        <p:sp>
          <p:nvSpPr>
            <p:cNvPr id="80" name="Rectangle 76">
              <a:extLst>
                <a:ext uri="{FF2B5EF4-FFF2-40B4-BE49-F238E27FC236}">
                  <a16:creationId xmlns:a16="http://schemas.microsoft.com/office/drawing/2014/main" id="{BF466206-F08F-654D-82D8-04FAAF3C57BC}"/>
                </a:ext>
              </a:extLst>
            </p:cNvPr>
            <p:cNvSpPr/>
            <p:nvPr>
              <p:custDataLst>
                <p:tags r:id="rId257"/>
              </p:custDataLst>
            </p:nvPr>
          </p:nvSpPr>
          <p:spPr>
            <a:xfrm>
              <a:off x="7216913" y="6440141"/>
              <a:ext cx="760594" cy="307777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lIns="219456" tIns="45720" rIns="219456" bIns="45720" anchor="ctr">
              <a:spAutoFit/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97236">
                <a:spcBef>
                  <a:spcPct val="0"/>
                </a:spcBef>
                <a:spcAft>
                  <a:spcPct val="0"/>
                </a:spcAft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lang="ru-RU" sz="1400" b="1" dirty="0">
                  <a:solidFill>
                    <a:srgbClr val="FFFFFF"/>
                  </a:solidFill>
                  <a:latin typeface="Arial"/>
                  <a:cs typeface="Arial"/>
                </a:rPr>
                <a:t>1</a:t>
              </a:r>
              <a:r>
                <a:rPr lang="en-IN" sz="1400" b="1" dirty="0">
                  <a:solidFill>
                    <a:srgbClr val="FFFFFF"/>
                  </a:solidFill>
                  <a:latin typeface="Arial"/>
                  <a:cs typeface="Arial"/>
                </a:rPr>
                <a:t>35</a:t>
              </a:r>
              <a:endParaRPr lang="en-US" sz="144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1" name="Rectangle 77">
              <a:extLst>
                <a:ext uri="{FF2B5EF4-FFF2-40B4-BE49-F238E27FC236}">
                  <a16:creationId xmlns:a16="http://schemas.microsoft.com/office/drawing/2014/main" id="{0F330CE4-BB85-DF4D-8CE3-841D30E04405}"/>
                </a:ext>
              </a:extLst>
            </p:cNvPr>
            <p:cNvSpPr/>
            <p:nvPr>
              <p:custDataLst>
                <p:tags r:id="rId258"/>
              </p:custDataLst>
            </p:nvPr>
          </p:nvSpPr>
          <p:spPr>
            <a:xfrm>
              <a:off x="7164237" y="6745165"/>
              <a:ext cx="798616" cy="258532"/>
            </a:xfrm>
            <a:prstGeom prst="rect">
              <a:avLst/>
            </a:prstGeom>
          </p:spPr>
          <p:txBody>
            <a:bodyPr wrap="none">
              <a:spAutoFit/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97236">
                <a:spcBef>
                  <a:spcPct val="0"/>
                </a:spcBef>
                <a:spcAft>
                  <a:spcPct val="0"/>
                </a:spcAft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lang="pl-PL" sz="108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uxoft</a:t>
              </a:r>
              <a:r>
                <a:rPr lang="en-US" sz="108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HC</a:t>
              </a:r>
            </a:p>
          </p:txBody>
        </p:sp>
        <p:pic>
          <p:nvPicPr>
            <p:cNvPr id="94" name="Picture 123">
              <a:extLst>
                <a:ext uri="{FF2B5EF4-FFF2-40B4-BE49-F238E27FC236}">
                  <a16:creationId xmlns:a16="http://schemas.microsoft.com/office/drawing/2014/main" id="{160AF115-65B8-FF4C-9D24-A756E01B7E62}"/>
                </a:ext>
              </a:extLst>
            </p:cNvPr>
            <p:cNvPicPr>
              <a:picLocks noChangeAspect="1"/>
            </p:cNvPicPr>
            <p:nvPr>
              <p:custDataLst>
                <p:tags r:id="rId259"/>
              </p:custDataLst>
            </p:nvPr>
          </p:nvPicPr>
          <p:blipFill>
            <a:blip r:embed="rId311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804552" y="6406021"/>
              <a:ext cx="281070" cy="281070"/>
            </a:xfrm>
            <a:prstGeom prst="rect">
              <a:avLst/>
            </a:prstGeom>
          </p:spPr>
        </p:pic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1AE798ED-F328-9749-B714-4D0B0BC334D9}"/>
                </a:ext>
              </a:extLst>
            </p:cNvPr>
            <p:cNvSpPr txBox="1"/>
            <p:nvPr>
              <p:custDataLst>
                <p:tags r:id="rId260"/>
              </p:custDataLst>
            </p:nvPr>
          </p:nvSpPr>
          <p:spPr>
            <a:xfrm>
              <a:off x="6804241" y="6148587"/>
              <a:ext cx="164592" cy="164592"/>
            </a:xfrm>
            <a:prstGeom prst="ellipse">
              <a:avLst/>
            </a:prstGeom>
            <a:solidFill>
              <a:schemeClr val="bg1"/>
            </a:solidFill>
            <a:ln w="6350">
              <a:noFill/>
            </a:ln>
            <a:effectLst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marR="0" indent="0" algn="ctr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840" b="1" i="0" u="none" strike="noStrike" kern="1200" cap="none" spc="0" normalizeH="0" baseline="0" noProof="0">
                  <a:solidFill>
                    <a:schemeClr val="accent1">
                      <a:lumMod val="75000"/>
                    </a:schemeClr>
                  </a:solidFill>
                  <a:uLnTx/>
                  <a:uFillTx/>
                  <a:latin typeface="Arial" pitchFamily="34" charset="0"/>
                  <a:ea typeface="Arial" pitchFamily="34" charset="0"/>
                  <a:cs typeface="Calibri" panose="020F0502020204030204" pitchFamily="34" charset="0"/>
                  <a:sym typeface="Wingdings" charset="2"/>
                </a:defRPr>
              </a:lvl1pPr>
              <a:lvl2pPr marL="5486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10972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6459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219456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274320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32918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38404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43891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defTabSz="1097236">
                <a:defRPr kumimoji="0" sz="840" b="1" i="0" u="none" strike="noStrike" cap="none" spc="0" normalizeH="0" baseline="0" noProof="0">
                  <a:solidFill>
                    <a:srgbClr val="471B77"/>
                  </a:solidFill>
                  <a:uLnTx/>
                  <a:uFillTx/>
                  <a:latin typeface="Arial" pitchFamily="34" charset="0"/>
                  <a:ea typeface="Arial" pitchFamily="34" charset="0"/>
                  <a:cs typeface="Calibri" panose="020F0502020204030204" pitchFamily="34" charset="0"/>
                  <a:sym typeface="Wingdings" charset="2"/>
                </a:defRPr>
              </a:pPr>
              <a:r>
                <a:rPr lang="en-US">
                  <a:solidFill>
                    <a:srgbClr val="6F2C91">
                      <a:lumMod val="75000"/>
                    </a:srgbClr>
                  </a:solidFill>
                </a:rPr>
                <a:t>4</a:t>
              </a:r>
            </a:p>
          </p:txBody>
        </p:sp>
      </p:grpSp>
      <p:grpSp>
        <p:nvGrpSpPr>
          <p:cNvPr id="9" name="Группа 8"/>
          <p:cNvGrpSpPr/>
          <p:nvPr>
            <p:custDataLst>
              <p:tags r:id="rId15"/>
            </p:custDataLst>
          </p:nvPr>
        </p:nvGrpSpPr>
        <p:grpSpPr>
          <a:xfrm>
            <a:off x="6455427" y="6592993"/>
            <a:ext cx="1232964" cy="861280"/>
            <a:chOff x="8605609" y="6126628"/>
            <a:chExt cx="1232964" cy="861279"/>
          </a:xfrm>
        </p:grpSpPr>
        <p:sp>
          <p:nvSpPr>
            <p:cNvPr id="90" name="Rectangle 109">
              <a:extLst>
                <a:ext uri="{FF2B5EF4-FFF2-40B4-BE49-F238E27FC236}">
                  <a16:creationId xmlns:a16="http://schemas.microsoft.com/office/drawing/2014/main" id="{759354C2-6314-C849-9B58-585F074E9D9E}"/>
                </a:ext>
              </a:extLst>
            </p:cNvPr>
            <p:cNvSpPr/>
            <p:nvPr>
              <p:custDataLst>
                <p:tags r:id="rId252"/>
              </p:custDataLst>
            </p:nvPr>
          </p:nvSpPr>
          <p:spPr>
            <a:xfrm>
              <a:off x="9087598" y="6435739"/>
              <a:ext cx="750975" cy="313932"/>
            </a:xfrm>
            <a:prstGeom prst="rect">
              <a:avLst/>
            </a:prstGeom>
            <a:solidFill>
              <a:schemeClr val="accent1"/>
            </a:solidFill>
          </p:spPr>
          <p:txBody>
            <a:bodyPr wrap="none" lIns="219456" rIns="219456" anchor="ctr">
              <a:spAutoFit/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097236">
                <a:spcBef>
                  <a:spcPct val="0"/>
                </a:spcBef>
                <a:spcAft>
                  <a:spcPct val="0"/>
                </a:spcAft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lang="en-US" sz="1440" b="1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295</a:t>
              </a:r>
            </a:p>
          </p:txBody>
        </p:sp>
        <p:sp>
          <p:nvSpPr>
            <p:cNvPr id="91" name="Rectangle 110">
              <a:extLst>
                <a:ext uri="{FF2B5EF4-FFF2-40B4-BE49-F238E27FC236}">
                  <a16:creationId xmlns:a16="http://schemas.microsoft.com/office/drawing/2014/main" id="{9DC6B043-BD34-2746-9AA8-B4677E2DF4E5}"/>
                </a:ext>
              </a:extLst>
            </p:cNvPr>
            <p:cNvSpPr/>
            <p:nvPr>
              <p:custDataLst>
                <p:tags r:id="rId253"/>
              </p:custDataLst>
            </p:nvPr>
          </p:nvSpPr>
          <p:spPr>
            <a:xfrm>
              <a:off x="9028815" y="6729375"/>
              <a:ext cx="798616" cy="258532"/>
            </a:xfrm>
            <a:prstGeom prst="rect">
              <a:avLst/>
            </a:prstGeom>
          </p:spPr>
          <p:txBody>
            <a:bodyPr wrap="none">
              <a:spAutoFit/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97236">
                <a:spcBef>
                  <a:spcPct val="0"/>
                </a:spcBef>
                <a:spcAft>
                  <a:spcPct val="0"/>
                </a:spcAft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lang="pl-PL" sz="108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uxoft</a:t>
              </a:r>
              <a:r>
                <a:rPr lang="en-US" sz="108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HC</a:t>
              </a:r>
            </a:p>
          </p:txBody>
        </p:sp>
        <p:pic>
          <p:nvPicPr>
            <p:cNvPr id="111" name="Picture 171">
              <a:extLst>
                <a:ext uri="{FF2B5EF4-FFF2-40B4-BE49-F238E27FC236}">
                  <a16:creationId xmlns:a16="http://schemas.microsoft.com/office/drawing/2014/main" id="{3933DCDA-4B6D-DA49-9FC0-3AADF919C55E}"/>
                </a:ext>
              </a:extLst>
            </p:cNvPr>
            <p:cNvPicPr>
              <a:picLocks noChangeAspect="1"/>
            </p:cNvPicPr>
            <p:nvPr>
              <p:custDataLst>
                <p:tags r:id="rId254"/>
              </p:custDataLst>
            </p:nvPr>
          </p:nvPicPr>
          <p:blipFill>
            <a:blip r:embed="rId31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633181" y="6435071"/>
              <a:ext cx="305798" cy="305798"/>
            </a:xfrm>
            <a:prstGeom prst="rect">
              <a:avLst/>
            </a:prstGeom>
          </p:spPr>
        </p:pic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313DEE68-22E0-5B4D-A248-006DEA1637F1}"/>
                </a:ext>
              </a:extLst>
            </p:cNvPr>
            <p:cNvSpPr txBox="1"/>
            <p:nvPr>
              <p:custDataLst>
                <p:tags r:id="rId255"/>
              </p:custDataLst>
            </p:nvPr>
          </p:nvSpPr>
          <p:spPr>
            <a:xfrm>
              <a:off x="8605609" y="6126628"/>
              <a:ext cx="164592" cy="164592"/>
            </a:xfrm>
            <a:prstGeom prst="ellipse">
              <a:avLst/>
            </a:prstGeom>
            <a:solidFill>
              <a:schemeClr val="bg1"/>
            </a:solidFill>
            <a:ln w="6350">
              <a:noFill/>
            </a:ln>
            <a:effectLst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marR="0" indent="0" algn="ctr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840" b="1" i="0" u="none" strike="noStrike" kern="1200" cap="none" spc="0" normalizeH="0" baseline="0" noProof="0">
                  <a:solidFill>
                    <a:schemeClr val="accent1">
                      <a:lumMod val="75000"/>
                    </a:schemeClr>
                  </a:solidFill>
                  <a:uLnTx/>
                  <a:uFillTx/>
                  <a:latin typeface="Arial" pitchFamily="34" charset="0"/>
                  <a:ea typeface="Arial" pitchFamily="34" charset="0"/>
                  <a:cs typeface="Calibri" panose="020F0502020204030204" pitchFamily="34" charset="0"/>
                  <a:sym typeface="Wingdings" charset="2"/>
                </a:defRPr>
              </a:lvl1pPr>
              <a:lvl2pPr marL="5486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10972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6459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219456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274320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32918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38404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43891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defTabSz="1097236">
                <a:defRPr kumimoji="0" sz="840" b="1" i="0" u="none" strike="noStrike" cap="none" spc="0" normalizeH="0" baseline="0" noProof="0">
                  <a:solidFill>
                    <a:srgbClr val="471B77"/>
                  </a:solidFill>
                  <a:uLnTx/>
                  <a:uFillTx/>
                  <a:latin typeface="Arial" pitchFamily="34" charset="0"/>
                  <a:ea typeface="Arial" pitchFamily="34" charset="0"/>
                  <a:cs typeface="Calibri" panose="020F0502020204030204" pitchFamily="34" charset="0"/>
                  <a:sym typeface="Wingdings" charset="2"/>
                </a:defRPr>
              </a:pPr>
              <a:r>
                <a:rPr lang="en-US">
                  <a:solidFill>
                    <a:srgbClr val="6F2C91">
                      <a:lumMod val="75000"/>
                    </a:srgbClr>
                  </a:solidFill>
                </a:rPr>
                <a:t>5</a:t>
              </a:r>
            </a:p>
          </p:txBody>
        </p:sp>
      </p:grpSp>
      <p:grpSp>
        <p:nvGrpSpPr>
          <p:cNvPr id="7" name="Группа 6"/>
          <p:cNvGrpSpPr/>
          <p:nvPr>
            <p:custDataLst>
              <p:tags r:id="rId16"/>
            </p:custDataLst>
          </p:nvPr>
        </p:nvGrpSpPr>
        <p:grpSpPr>
          <a:xfrm>
            <a:off x="6413918" y="3942517"/>
            <a:ext cx="1798090" cy="1665035"/>
            <a:chOff x="6738232" y="3390586"/>
            <a:chExt cx="1798089" cy="1665035"/>
          </a:xfrm>
        </p:grpSpPr>
        <p:pic>
          <p:nvPicPr>
            <p:cNvPr id="72" name="Picture 2">
              <a:extLst>
                <a:ext uri="{FF2B5EF4-FFF2-40B4-BE49-F238E27FC236}">
                  <a16:creationId xmlns:a16="http://schemas.microsoft.com/office/drawing/2014/main" id="{66226235-AF6C-2A41-B290-4B44BA4F95CE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247"/>
              </p:custDataLst>
            </p:nvPr>
          </p:nvPicPr>
          <p:blipFill>
            <a:blip r:embed="rId31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6738232" y="3390586"/>
              <a:ext cx="1798089" cy="1001591"/>
            </a:xfrm>
            <a:prstGeom prst="rect">
              <a:avLst/>
            </a:prstGeom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sp>
          <p:nvSpPr>
            <p:cNvPr id="75" name="Rectangle 106">
              <a:extLst>
                <a:ext uri="{FF2B5EF4-FFF2-40B4-BE49-F238E27FC236}">
                  <a16:creationId xmlns:a16="http://schemas.microsoft.com/office/drawing/2014/main" id="{159AA9B8-DFDB-844F-96A3-BBFF677FD70B}"/>
                </a:ext>
              </a:extLst>
            </p:cNvPr>
            <p:cNvSpPr/>
            <p:nvPr>
              <p:custDataLst>
                <p:tags r:id="rId248"/>
              </p:custDataLst>
            </p:nvPr>
          </p:nvSpPr>
          <p:spPr>
            <a:xfrm>
              <a:off x="7164655" y="4468386"/>
              <a:ext cx="886823" cy="307777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lIns="219456" tIns="45720" rIns="219456" bIns="45720" anchor="ctr">
              <a:spAutoFit/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97236">
                <a:spcBef>
                  <a:spcPct val="0"/>
                </a:spcBef>
                <a:spcAft>
                  <a:spcPct val="0"/>
                </a:spcAft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lang="ru-RU" sz="1400" b="1" dirty="0">
                  <a:solidFill>
                    <a:srgbClr val="FFFFFF"/>
                  </a:solidFill>
                  <a:latin typeface="Arial"/>
                  <a:cs typeface="Arial"/>
                </a:rPr>
                <a:t>2</a:t>
              </a:r>
              <a:r>
                <a:rPr lang="en-US" sz="1400" b="1" dirty="0">
                  <a:solidFill>
                    <a:srgbClr val="FFFFFF"/>
                  </a:solidFill>
                  <a:latin typeface="Arial"/>
                  <a:cs typeface="Arial"/>
                </a:rPr>
                <a:t>,486</a:t>
              </a:r>
              <a:endParaRPr lang="ru-RU" sz="14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6" name="Rectangle 107">
              <a:extLst>
                <a:ext uri="{FF2B5EF4-FFF2-40B4-BE49-F238E27FC236}">
                  <a16:creationId xmlns:a16="http://schemas.microsoft.com/office/drawing/2014/main" id="{ECFD0657-49B6-6A4A-A26F-8632705E6002}"/>
                </a:ext>
              </a:extLst>
            </p:cNvPr>
            <p:cNvSpPr/>
            <p:nvPr>
              <p:custDataLst>
                <p:tags r:id="rId249"/>
              </p:custDataLst>
            </p:nvPr>
          </p:nvSpPr>
          <p:spPr>
            <a:xfrm>
              <a:off x="7141571" y="4797089"/>
              <a:ext cx="798616" cy="258532"/>
            </a:xfrm>
            <a:prstGeom prst="rect">
              <a:avLst/>
            </a:prstGeom>
          </p:spPr>
          <p:txBody>
            <a:bodyPr wrap="none">
              <a:spAutoFit/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97236">
                <a:spcBef>
                  <a:spcPct val="0"/>
                </a:spcBef>
                <a:spcAft>
                  <a:spcPct val="0"/>
                </a:spcAft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lang="pl-PL" sz="108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uxoft</a:t>
              </a:r>
              <a:r>
                <a:rPr lang="en-US" sz="108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HC</a:t>
              </a:r>
            </a:p>
          </p:txBody>
        </p:sp>
        <p:pic>
          <p:nvPicPr>
            <p:cNvPr id="97" name="Picture 143">
              <a:extLst>
                <a:ext uri="{FF2B5EF4-FFF2-40B4-BE49-F238E27FC236}">
                  <a16:creationId xmlns:a16="http://schemas.microsoft.com/office/drawing/2014/main" id="{BB701FAA-1558-454A-AA55-945AA0B709CD}"/>
                </a:ext>
              </a:extLst>
            </p:cNvPr>
            <p:cNvPicPr>
              <a:picLocks noChangeAspect="1"/>
            </p:cNvPicPr>
            <p:nvPr>
              <p:custDataLst>
                <p:tags r:id="rId250"/>
              </p:custDataLst>
            </p:nvPr>
          </p:nvPicPr>
          <p:blipFill>
            <a:blip r:embed="rId31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773815" y="4472458"/>
              <a:ext cx="308399" cy="308399"/>
            </a:xfrm>
            <a:prstGeom prst="rect">
              <a:avLst/>
            </a:prstGeom>
          </p:spPr>
        </p:pic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DF7E4BFA-E272-FD43-B8F9-76F8B9859124}"/>
                </a:ext>
              </a:extLst>
            </p:cNvPr>
            <p:cNvSpPr txBox="1"/>
            <p:nvPr>
              <p:custDataLst>
                <p:tags r:id="rId251"/>
              </p:custDataLst>
            </p:nvPr>
          </p:nvSpPr>
          <p:spPr>
            <a:xfrm>
              <a:off x="6813107" y="4143984"/>
              <a:ext cx="164592" cy="164592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accent1"/>
              </a:solidFill>
            </a:ln>
            <a:effectLst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marR="0" indent="0" algn="ctr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840" b="1" i="0" u="none" strike="noStrike" kern="1200" cap="none" spc="0" normalizeH="0" baseline="0" noProof="0">
                  <a:solidFill>
                    <a:schemeClr val="accent1">
                      <a:lumMod val="75000"/>
                    </a:schemeClr>
                  </a:solidFill>
                  <a:uLnTx/>
                  <a:uFillTx/>
                  <a:latin typeface="Arial" pitchFamily="34" charset="0"/>
                  <a:ea typeface="Arial" pitchFamily="34" charset="0"/>
                  <a:cs typeface="Calibri" panose="020F0502020204030204" pitchFamily="34" charset="0"/>
                  <a:sym typeface="Wingdings" charset="2"/>
                </a:defRPr>
              </a:lvl1pPr>
              <a:lvl2pPr marL="5486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10972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6459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219456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274320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32918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38404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43891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defTabSz="1097236">
                <a:defRPr kumimoji="0" sz="840" b="1" i="0" u="none" strike="noStrike" cap="none" spc="0" normalizeH="0" baseline="0" noProof="0">
                  <a:solidFill>
                    <a:srgbClr val="471B77"/>
                  </a:solidFill>
                  <a:uLnTx/>
                  <a:uFillTx/>
                  <a:latin typeface="Arial" pitchFamily="34" charset="0"/>
                  <a:ea typeface="Arial" pitchFamily="34" charset="0"/>
                  <a:cs typeface="Calibri" panose="020F0502020204030204" pitchFamily="34" charset="0"/>
                  <a:sym typeface="Wingdings" charset="2"/>
                </a:defRPr>
              </a:pPr>
              <a:r>
                <a:rPr lang="en-US">
                  <a:solidFill>
                    <a:srgbClr val="6F2C91">
                      <a:lumMod val="75000"/>
                    </a:srgbClr>
                  </a:solidFill>
                </a:rPr>
                <a:t>6</a:t>
              </a:r>
            </a:p>
          </p:txBody>
        </p:sp>
      </p:grpSp>
      <p:grpSp>
        <p:nvGrpSpPr>
          <p:cNvPr id="5" name="Группа 4"/>
          <p:cNvGrpSpPr/>
          <p:nvPr>
            <p:custDataLst>
              <p:tags r:id="rId17"/>
            </p:custDataLst>
          </p:nvPr>
        </p:nvGrpSpPr>
        <p:grpSpPr>
          <a:xfrm>
            <a:off x="6455427" y="2882194"/>
            <a:ext cx="1249086" cy="887108"/>
            <a:chOff x="6755238" y="2135443"/>
            <a:chExt cx="1249087" cy="887109"/>
          </a:xfrm>
        </p:grpSpPr>
        <p:sp>
          <p:nvSpPr>
            <p:cNvPr id="77" name="Rectangle 182">
              <a:extLst>
                <a:ext uri="{FF2B5EF4-FFF2-40B4-BE49-F238E27FC236}">
                  <a16:creationId xmlns:a16="http://schemas.microsoft.com/office/drawing/2014/main" id="{9D67E338-C992-2A49-8DE1-EC0A086EEFFC}"/>
                </a:ext>
              </a:extLst>
            </p:cNvPr>
            <p:cNvSpPr/>
            <p:nvPr>
              <p:custDataLst>
                <p:tags r:id="rId243"/>
              </p:custDataLst>
            </p:nvPr>
          </p:nvSpPr>
          <p:spPr>
            <a:xfrm>
              <a:off x="7216912" y="2429981"/>
              <a:ext cx="760595" cy="313932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lIns="219456" rIns="219456" anchor="ctr">
              <a:spAutoFit/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97236">
                <a:spcBef>
                  <a:spcPct val="0"/>
                </a:spcBef>
                <a:spcAft>
                  <a:spcPct val="0"/>
                </a:spcAft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lang="en-US" sz="1440" b="1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145</a:t>
              </a:r>
            </a:p>
          </p:txBody>
        </p:sp>
        <p:sp>
          <p:nvSpPr>
            <p:cNvPr id="78" name="Rectangle 183">
              <a:extLst>
                <a:ext uri="{FF2B5EF4-FFF2-40B4-BE49-F238E27FC236}">
                  <a16:creationId xmlns:a16="http://schemas.microsoft.com/office/drawing/2014/main" id="{3CF8822A-1E0F-8841-9092-17B94005C47A}"/>
                </a:ext>
              </a:extLst>
            </p:cNvPr>
            <p:cNvSpPr/>
            <p:nvPr>
              <p:custDataLst>
                <p:tags r:id="rId244"/>
              </p:custDataLst>
            </p:nvPr>
          </p:nvSpPr>
          <p:spPr>
            <a:xfrm>
              <a:off x="7205708" y="2764020"/>
              <a:ext cx="798617" cy="258532"/>
            </a:xfrm>
            <a:prstGeom prst="rect">
              <a:avLst/>
            </a:prstGeom>
          </p:spPr>
          <p:txBody>
            <a:bodyPr wrap="none">
              <a:spAutoFit/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97236">
                <a:spcBef>
                  <a:spcPct val="0"/>
                </a:spcBef>
                <a:spcAft>
                  <a:spcPct val="0"/>
                </a:spcAft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lang="pl-PL" sz="108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uxoft</a:t>
              </a:r>
              <a:r>
                <a:rPr lang="en-US" sz="108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HC</a:t>
              </a:r>
            </a:p>
          </p:txBody>
        </p:sp>
        <p:pic>
          <p:nvPicPr>
            <p:cNvPr id="93" name="Picture 119">
              <a:extLst>
                <a:ext uri="{FF2B5EF4-FFF2-40B4-BE49-F238E27FC236}">
                  <a16:creationId xmlns:a16="http://schemas.microsoft.com/office/drawing/2014/main" id="{D1AFE575-6023-5941-B171-13FABB95F68D}"/>
                </a:ext>
              </a:extLst>
            </p:cNvPr>
            <p:cNvPicPr>
              <a:picLocks noChangeAspect="1"/>
            </p:cNvPicPr>
            <p:nvPr>
              <p:custDataLst>
                <p:tags r:id="rId245"/>
              </p:custDataLst>
            </p:nvPr>
          </p:nvPicPr>
          <p:blipFill>
            <a:blip r:embed="rId31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802141" y="2429980"/>
              <a:ext cx="300073" cy="300073"/>
            </a:xfrm>
            <a:prstGeom prst="rect">
              <a:avLst/>
            </a:prstGeom>
          </p:spPr>
        </p:pic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80B9D95B-64B7-534C-A7AA-16D52FA0B604}"/>
                </a:ext>
              </a:extLst>
            </p:cNvPr>
            <p:cNvSpPr txBox="1"/>
            <p:nvPr>
              <p:custDataLst>
                <p:tags r:id="rId246"/>
              </p:custDataLst>
            </p:nvPr>
          </p:nvSpPr>
          <p:spPr>
            <a:xfrm>
              <a:off x="6755238" y="2135443"/>
              <a:ext cx="164592" cy="164592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accent1"/>
              </a:solidFill>
            </a:ln>
            <a:effectLst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marR="0" indent="0" algn="ctr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840" b="1" i="0" u="none" strike="noStrike" kern="1200" cap="none" spc="0" normalizeH="0" baseline="0" noProof="0">
                  <a:solidFill>
                    <a:schemeClr val="accent1">
                      <a:lumMod val="75000"/>
                    </a:schemeClr>
                  </a:solidFill>
                  <a:uLnTx/>
                  <a:uFillTx/>
                  <a:latin typeface="Arial" pitchFamily="34" charset="0"/>
                  <a:ea typeface="Arial" pitchFamily="34" charset="0"/>
                  <a:cs typeface="Calibri" panose="020F0502020204030204" pitchFamily="34" charset="0"/>
                  <a:sym typeface="Wingdings" charset="2"/>
                </a:defRPr>
              </a:lvl1pPr>
              <a:lvl2pPr marL="5486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10972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6459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219456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274320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32918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38404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43891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defTabSz="1097236">
                <a:defRPr kumimoji="0" sz="840" b="1" i="0" u="none" strike="noStrike" cap="none" spc="0" normalizeH="0" baseline="0" noProof="0">
                  <a:solidFill>
                    <a:srgbClr val="471B77"/>
                  </a:solidFill>
                  <a:uLnTx/>
                  <a:uFillTx/>
                  <a:latin typeface="Arial" pitchFamily="34" charset="0"/>
                  <a:ea typeface="Arial" pitchFamily="34" charset="0"/>
                  <a:cs typeface="Calibri" panose="020F0502020204030204" pitchFamily="34" charset="0"/>
                  <a:sym typeface="Wingdings" charset="2"/>
                </a:defRPr>
              </a:pPr>
              <a:r>
                <a:rPr lang="en-US">
                  <a:solidFill>
                    <a:srgbClr val="6F2C91">
                      <a:lumMod val="75000"/>
                    </a:srgbClr>
                  </a:solidFill>
                </a:rPr>
                <a:t>7</a:t>
              </a:r>
            </a:p>
          </p:txBody>
        </p:sp>
      </p:grpSp>
      <p:sp>
        <p:nvSpPr>
          <p:cNvPr id="118" name="Полилиния 330">
            <a:extLst>
              <a:ext uri="{FF2B5EF4-FFF2-40B4-BE49-F238E27FC236}">
                <a16:creationId xmlns:a16="http://schemas.microsoft.com/office/drawing/2014/main" id="{C27A8870-C23D-4771-8282-02D0CFFA5B13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4863380" y="5215355"/>
            <a:ext cx="131447" cy="214852"/>
          </a:xfrm>
          <a:custGeom>
            <a:avLst/>
            <a:gdLst/>
            <a:ahLst/>
            <a:cxnLst/>
            <a:rect l="0" t="0" r="0" b="0"/>
            <a:pathLst>
              <a:path w="109539" h="195263">
                <a:moveTo>
                  <a:pt x="109538" y="0"/>
                </a:moveTo>
                <a:lnTo>
                  <a:pt x="57150" y="195262"/>
                </a:lnTo>
                <a:lnTo>
                  <a:pt x="0" y="195262"/>
                </a:lnTo>
                <a:lnTo>
                  <a:pt x="52388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1pPr>
            <a:lvl2pPr marL="54864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2pPr>
            <a:lvl3pPr marL="109728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3pPr>
            <a:lvl4pPr marL="164592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4pPr>
            <a:lvl5pPr marL="219456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5pPr>
            <a:lvl6pPr marL="274320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6pPr>
            <a:lvl7pPr marL="329184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7pPr>
            <a:lvl8pPr marL="384048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8pPr>
            <a:lvl9pPr marL="438912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9pPr>
          </a:lstStyle>
          <a:p>
            <a:pPr algn="ctr" defTabSz="1097236">
              <a:defRPr kumimoji="0" sz="2160" b="0" i="0" u="none" strike="noStrike" cap="none" spc="0" normalizeH="0" baseline="0" noProof="0">
                <a:solidFill>
                  <a:srgbClr val="FFFFFF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pPr>
            <a:endParaRPr lang="en-US">
              <a:solidFill>
                <a:srgbClr val="FFFFFF"/>
              </a:solidFill>
              <a:ea typeface="+mn-ea"/>
            </a:endParaRPr>
          </a:p>
        </p:txBody>
      </p:sp>
      <p:sp>
        <p:nvSpPr>
          <p:cNvPr id="129" name="Полилиния 330">
            <a:extLst>
              <a:ext uri="{FF2B5EF4-FFF2-40B4-BE49-F238E27FC236}">
                <a16:creationId xmlns:a16="http://schemas.microsoft.com/office/drawing/2014/main" id="{6961F57C-924B-4E71-896B-D88218F9A81E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4986839" y="5215355"/>
            <a:ext cx="131447" cy="214852"/>
          </a:xfrm>
          <a:custGeom>
            <a:avLst/>
            <a:gdLst/>
            <a:ahLst/>
            <a:cxnLst/>
            <a:rect l="0" t="0" r="0" b="0"/>
            <a:pathLst>
              <a:path w="109539" h="195263">
                <a:moveTo>
                  <a:pt x="109538" y="0"/>
                </a:moveTo>
                <a:lnTo>
                  <a:pt x="57150" y="195262"/>
                </a:lnTo>
                <a:lnTo>
                  <a:pt x="0" y="195262"/>
                </a:lnTo>
                <a:lnTo>
                  <a:pt x="52388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1pPr>
            <a:lvl2pPr marL="54864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2pPr>
            <a:lvl3pPr marL="109728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3pPr>
            <a:lvl4pPr marL="164592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4pPr>
            <a:lvl5pPr marL="219456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5pPr>
            <a:lvl6pPr marL="274320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6pPr>
            <a:lvl7pPr marL="329184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7pPr>
            <a:lvl8pPr marL="384048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8pPr>
            <a:lvl9pPr marL="438912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9pPr>
          </a:lstStyle>
          <a:p>
            <a:pPr algn="ctr" defTabSz="1097236">
              <a:defRPr kumimoji="0" sz="2160" b="0" i="0" u="none" strike="noStrike" cap="none" spc="0" normalizeH="0" baseline="0" noProof="0">
                <a:solidFill>
                  <a:srgbClr val="FFFFFF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pPr>
            <a:endParaRPr lang="en-US">
              <a:solidFill>
                <a:srgbClr val="FFFFFF"/>
              </a:solidFill>
              <a:ea typeface="+mn-ea"/>
            </a:endParaRPr>
          </a:p>
        </p:txBody>
      </p:sp>
      <p:sp>
        <p:nvSpPr>
          <p:cNvPr id="119" name="Rectangle: Single Corner Rounded 3">
            <a:extLst>
              <a:ext uri="{FF2B5EF4-FFF2-40B4-BE49-F238E27FC236}">
                <a16:creationId xmlns:a16="http://schemas.microsoft.com/office/drawing/2014/main" id="{3AD60D88-816A-4696-85AF-FE514736EEF1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698412" y="1553526"/>
            <a:ext cx="5237170" cy="572864"/>
          </a:xfrm>
          <a:prstGeom prst="round1Rect">
            <a:avLst>
              <a:gd name="adj" fmla="val 39716"/>
            </a:avLst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0" rtlCol="0" anchor="ctr"/>
          <a:lstStyle>
            <a:defPPr>
              <a:defRPr lang="en-US"/>
            </a:defPPr>
            <a:lvl1pPr marL="0" algn="l" defTabSz="1097280" rtl="0" eaLnBrk="1" latinLnBrk="0" hangingPunct="1">
              <a:defRPr sz="216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16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16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16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16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16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16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16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16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defTabSz="1097148">
              <a:spcBef>
                <a:spcPct val="0"/>
              </a:spcBef>
              <a:spcAft>
                <a:spcPct val="0"/>
              </a:spcAft>
              <a:defRPr kumimoji="0" sz="2160" b="0" i="0" normalizeH="0" noProof="0">
                <a:solidFill>
                  <a:srgbClr val="000000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lang="en-US" sz="16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LUXOFT REGION VALUE PROPOSITION</a:t>
            </a:r>
          </a:p>
        </p:txBody>
      </p:sp>
      <p:grpSp>
        <p:nvGrpSpPr>
          <p:cNvPr id="120" name="Group 4">
            <a:extLst>
              <a:ext uri="{FF2B5EF4-FFF2-40B4-BE49-F238E27FC236}">
                <a16:creationId xmlns:a16="http://schemas.microsoft.com/office/drawing/2014/main" id="{7EA44B17-5513-445D-BE81-7BFFC13DF51B}"/>
              </a:ext>
            </a:extLst>
          </p:cNvPr>
          <p:cNvGrpSpPr>
            <a:grpSpLocks noChangeAspect="1"/>
          </p:cNvGrpSpPr>
          <p:nvPr>
            <p:custDataLst>
              <p:tags r:id="rId21"/>
            </p:custDataLst>
          </p:nvPr>
        </p:nvGrpSpPr>
        <p:grpSpPr>
          <a:xfrm>
            <a:off x="880271" y="1698341"/>
            <a:ext cx="221537" cy="313930"/>
            <a:chOff x="3842" y="2306"/>
            <a:chExt cx="253" cy="359"/>
          </a:xfrm>
        </p:grpSpPr>
        <p:sp>
          <p:nvSpPr>
            <p:cNvPr id="131" name="Freeform 6">
              <a:extLst>
                <a:ext uri="{FF2B5EF4-FFF2-40B4-BE49-F238E27FC236}">
                  <a16:creationId xmlns:a16="http://schemas.microsoft.com/office/drawing/2014/main" id="{784F359D-F4F5-4953-ABE4-7185AF5749A8}"/>
                </a:ext>
              </a:extLst>
            </p:cNvPr>
            <p:cNvSpPr/>
            <p:nvPr>
              <p:custDataLst>
                <p:tags r:id="rId241"/>
              </p:custDataLst>
            </p:nvPr>
          </p:nvSpPr>
          <p:spPr bwMode="auto">
            <a:xfrm>
              <a:off x="3922" y="2386"/>
              <a:ext cx="92" cy="94"/>
            </a:xfrm>
            <a:custGeom>
              <a:avLst/>
              <a:gdLst>
                <a:gd name="T0" fmla="*/ 16 w 32"/>
                <a:gd name="T1" fmla="*/ 0 h 32"/>
                <a:gd name="T2" fmla="*/ 16 w 32"/>
                <a:gd name="T3" fmla="*/ 0 h 32"/>
                <a:gd name="T4" fmla="*/ 16 w 32"/>
                <a:gd name="T5" fmla="*/ 0 h 32"/>
                <a:gd name="T6" fmla="*/ 32 w 32"/>
                <a:gd name="T7" fmla="*/ 16 h 32"/>
                <a:gd name="T8" fmla="*/ 16 w 32"/>
                <a:gd name="T9" fmla="*/ 32 h 32"/>
                <a:gd name="T10" fmla="*/ 16 w 32"/>
                <a:gd name="T11" fmla="*/ 32 h 32"/>
                <a:gd name="T12" fmla="*/ 16 w 32"/>
                <a:gd name="T13" fmla="*/ 32 h 32"/>
                <a:gd name="T14" fmla="*/ 0 w 32"/>
                <a:gd name="T15" fmla="*/ 16 h 32"/>
                <a:gd name="T16" fmla="*/ 16 w 32"/>
                <a:gd name="T17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32"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25" y="0"/>
                    <a:pt x="32" y="7"/>
                    <a:pt x="32" y="16"/>
                  </a:cubicBezTo>
                  <a:cubicBezTo>
                    <a:pt x="32" y="25"/>
                    <a:pt x="25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lose/>
                </a:path>
              </a:pathLst>
            </a:custGeom>
            <a:noFill/>
            <a:ln w="158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097148">
                <a:spcBef>
                  <a:spcPct val="0"/>
                </a:spcBef>
                <a:spcAft>
                  <a:spcPct val="0"/>
                </a:spcAft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lang="en-US" sz="2592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2" name="Freeform 7">
              <a:extLst>
                <a:ext uri="{FF2B5EF4-FFF2-40B4-BE49-F238E27FC236}">
                  <a16:creationId xmlns:a16="http://schemas.microsoft.com/office/drawing/2014/main" id="{EA1C807A-D628-42EF-922F-E79E55D56ADF}"/>
                </a:ext>
              </a:extLst>
            </p:cNvPr>
            <p:cNvSpPr/>
            <p:nvPr>
              <p:custDataLst>
                <p:tags r:id="rId242"/>
              </p:custDataLst>
            </p:nvPr>
          </p:nvSpPr>
          <p:spPr bwMode="auto">
            <a:xfrm>
              <a:off x="3842" y="2306"/>
              <a:ext cx="253" cy="359"/>
            </a:xfrm>
            <a:custGeom>
              <a:avLst/>
              <a:gdLst>
                <a:gd name="T0" fmla="*/ 44 w 88"/>
                <a:gd name="T1" fmla="*/ 0 h 124"/>
                <a:gd name="T2" fmla="*/ 88 w 88"/>
                <a:gd name="T3" fmla="*/ 44 h 124"/>
                <a:gd name="T4" fmla="*/ 80 w 88"/>
                <a:gd name="T5" fmla="*/ 71 h 124"/>
                <a:gd name="T6" fmla="*/ 44 w 88"/>
                <a:gd name="T7" fmla="*/ 124 h 124"/>
                <a:gd name="T8" fmla="*/ 8 w 88"/>
                <a:gd name="T9" fmla="*/ 71 h 124"/>
                <a:gd name="T10" fmla="*/ 0 w 88"/>
                <a:gd name="T11" fmla="*/ 44 h 124"/>
                <a:gd name="T12" fmla="*/ 44 w 88"/>
                <a:gd name="T13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" h="124">
                  <a:moveTo>
                    <a:pt x="44" y="0"/>
                  </a:moveTo>
                  <a:cubicBezTo>
                    <a:pt x="68" y="0"/>
                    <a:pt x="88" y="19"/>
                    <a:pt x="88" y="44"/>
                  </a:cubicBezTo>
                  <a:cubicBezTo>
                    <a:pt x="88" y="54"/>
                    <a:pt x="86" y="61"/>
                    <a:pt x="80" y="71"/>
                  </a:cubicBezTo>
                  <a:cubicBezTo>
                    <a:pt x="74" y="80"/>
                    <a:pt x="44" y="124"/>
                    <a:pt x="44" y="124"/>
                  </a:cubicBezTo>
                  <a:cubicBezTo>
                    <a:pt x="44" y="124"/>
                    <a:pt x="14" y="80"/>
                    <a:pt x="8" y="71"/>
                  </a:cubicBezTo>
                  <a:cubicBezTo>
                    <a:pt x="2" y="61"/>
                    <a:pt x="0" y="54"/>
                    <a:pt x="0" y="44"/>
                  </a:cubicBezTo>
                  <a:cubicBezTo>
                    <a:pt x="0" y="19"/>
                    <a:pt x="20" y="0"/>
                    <a:pt x="44" y="0"/>
                  </a:cubicBezTo>
                  <a:close/>
                </a:path>
              </a:pathLst>
            </a:custGeom>
            <a:noFill/>
            <a:ln w="158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097148">
                <a:spcBef>
                  <a:spcPct val="0"/>
                </a:spcBef>
                <a:spcAft>
                  <a:spcPct val="0"/>
                </a:spcAft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lang="en-US" sz="2592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34" name="Grupa 205">
            <a:extLst>
              <a:ext uri="{FF2B5EF4-FFF2-40B4-BE49-F238E27FC236}">
                <a16:creationId xmlns:a16="http://schemas.microsoft.com/office/drawing/2014/main" id="{0DB92D1B-42FF-4473-8C9F-807AB978DF2E}"/>
              </a:ext>
            </a:extLst>
          </p:cNvPr>
          <p:cNvGrpSpPr/>
          <p:nvPr>
            <p:custDataLst>
              <p:tags r:id="rId22"/>
            </p:custDataLst>
          </p:nvPr>
        </p:nvGrpSpPr>
        <p:grpSpPr>
          <a:xfrm>
            <a:off x="874157" y="4595009"/>
            <a:ext cx="318166" cy="340108"/>
            <a:chOff x="5015077" y="3052254"/>
            <a:chExt cx="773432" cy="826770"/>
          </a:xfrm>
        </p:grpSpPr>
        <p:sp>
          <p:nvSpPr>
            <p:cNvPr id="135" name="Freeform 16">
              <a:extLst>
                <a:ext uri="{FF2B5EF4-FFF2-40B4-BE49-F238E27FC236}">
                  <a16:creationId xmlns:a16="http://schemas.microsoft.com/office/drawing/2014/main" id="{87B314BA-90A3-4489-B466-9E19DE14DCA6}"/>
                </a:ext>
              </a:extLst>
            </p:cNvPr>
            <p:cNvSpPr/>
            <p:nvPr>
              <p:custDataLst>
                <p:tags r:id="rId232"/>
              </p:custDataLst>
            </p:nvPr>
          </p:nvSpPr>
          <p:spPr bwMode="auto">
            <a:xfrm>
              <a:off x="5436083" y="3280854"/>
              <a:ext cx="352426" cy="318136"/>
            </a:xfrm>
            <a:custGeom>
              <a:avLst/>
              <a:gdLst>
                <a:gd name="T0" fmla="*/ 0 w 84"/>
                <a:gd name="T1" fmla="*/ 28 h 72"/>
                <a:gd name="T2" fmla="*/ 8 w 84"/>
                <a:gd name="T3" fmla="*/ 16 h 72"/>
                <a:gd name="T4" fmla="*/ 32 w 84"/>
                <a:gd name="T5" fmla="*/ 0 h 72"/>
                <a:gd name="T6" fmla="*/ 60 w 84"/>
                <a:gd name="T7" fmla="*/ 0 h 72"/>
                <a:gd name="T8" fmla="*/ 84 w 84"/>
                <a:gd name="T9" fmla="*/ 24 h 72"/>
                <a:gd name="T10" fmla="*/ 84 w 84"/>
                <a:gd name="T11" fmla="*/ 56 h 72"/>
                <a:gd name="T12" fmla="*/ 68 w 84"/>
                <a:gd name="T13" fmla="*/ 72 h 72"/>
                <a:gd name="T14" fmla="*/ 64 w 84"/>
                <a:gd name="T15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72">
                  <a:moveTo>
                    <a:pt x="0" y="28"/>
                  </a:moveTo>
                  <a:cubicBezTo>
                    <a:pt x="0" y="28"/>
                    <a:pt x="6" y="19"/>
                    <a:pt x="8" y="16"/>
                  </a:cubicBezTo>
                  <a:cubicBezTo>
                    <a:pt x="11" y="11"/>
                    <a:pt x="19" y="0"/>
                    <a:pt x="32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71" y="0"/>
                    <a:pt x="84" y="9"/>
                    <a:pt x="84" y="24"/>
                  </a:cubicBezTo>
                  <a:cubicBezTo>
                    <a:pt x="84" y="56"/>
                    <a:pt x="84" y="56"/>
                    <a:pt x="84" y="56"/>
                  </a:cubicBezTo>
                  <a:cubicBezTo>
                    <a:pt x="84" y="64"/>
                    <a:pt x="76" y="72"/>
                    <a:pt x="68" y="72"/>
                  </a:cubicBezTo>
                  <a:cubicBezTo>
                    <a:pt x="64" y="72"/>
                    <a:pt x="64" y="72"/>
                    <a:pt x="64" y="72"/>
                  </a:cubicBezTo>
                </a:path>
              </a:pathLst>
            </a:custGeom>
            <a:noFill/>
            <a:ln w="15875" cap="flat">
              <a:solidFill>
                <a:schemeClr val="accent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097148">
                <a:spcBef>
                  <a:spcPct val="0"/>
                </a:spcBef>
                <a:spcAft>
                  <a:spcPct val="0"/>
                </a:spcAft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lang="pl-PL" sz="2592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6" name="Freeform 17">
              <a:extLst>
                <a:ext uri="{FF2B5EF4-FFF2-40B4-BE49-F238E27FC236}">
                  <a16:creationId xmlns:a16="http://schemas.microsoft.com/office/drawing/2014/main" id="{5F6AF9B9-7507-4FB5-A4B1-531BAD9F60B0}"/>
                </a:ext>
              </a:extLst>
            </p:cNvPr>
            <p:cNvSpPr/>
            <p:nvPr>
              <p:custDataLst>
                <p:tags r:id="rId233"/>
              </p:custDataLst>
            </p:nvPr>
          </p:nvSpPr>
          <p:spPr bwMode="auto">
            <a:xfrm>
              <a:off x="5468467" y="3421823"/>
              <a:ext cx="51436" cy="457200"/>
            </a:xfrm>
            <a:custGeom>
              <a:avLst/>
              <a:gdLst>
                <a:gd name="T0" fmla="*/ 27 w 27"/>
                <a:gd name="T1" fmla="*/ 240 h 240"/>
                <a:gd name="T2" fmla="*/ 27 w 27"/>
                <a:gd name="T3" fmla="*/ 0 h 240"/>
                <a:gd name="T4" fmla="*/ 0 w 27"/>
                <a:gd name="T5" fmla="*/ 37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240">
                  <a:moveTo>
                    <a:pt x="27" y="240"/>
                  </a:moveTo>
                  <a:lnTo>
                    <a:pt x="27" y="0"/>
                  </a:lnTo>
                  <a:lnTo>
                    <a:pt x="0" y="37"/>
                  </a:lnTo>
                </a:path>
              </a:pathLst>
            </a:custGeom>
            <a:noFill/>
            <a:ln w="15875" cap="flat">
              <a:solidFill>
                <a:schemeClr val="accent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097148">
                <a:spcBef>
                  <a:spcPct val="0"/>
                </a:spcBef>
                <a:spcAft>
                  <a:spcPct val="0"/>
                </a:spcAft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lang="pl-PL" sz="2592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7" name="Line 18">
              <a:extLst>
                <a:ext uri="{FF2B5EF4-FFF2-40B4-BE49-F238E27FC236}">
                  <a16:creationId xmlns:a16="http://schemas.microsoft.com/office/drawing/2014/main" id="{D2BBB6B8-E48B-4BA9-A764-3D276F030195}"/>
                </a:ext>
              </a:extLst>
            </p:cNvPr>
            <p:cNvSpPr>
              <a:spLocks noChangeShapeType="1"/>
            </p:cNvSpPr>
            <p:nvPr>
              <p:custDataLst>
                <p:tags r:id="rId234"/>
              </p:custDataLst>
            </p:nvPr>
          </p:nvSpPr>
          <p:spPr bwMode="auto">
            <a:xfrm flipH="1">
              <a:off x="5704687" y="3404678"/>
              <a:ext cx="0" cy="474346"/>
            </a:xfrm>
            <a:prstGeom prst="line">
              <a:avLst/>
            </a:prstGeom>
            <a:noFill/>
            <a:ln w="15875" cap="flat">
              <a:solidFill>
                <a:schemeClr val="accent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097148">
                <a:spcBef>
                  <a:spcPct val="0"/>
                </a:spcBef>
                <a:spcAft>
                  <a:spcPct val="0"/>
                </a:spcAft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lang="pl-PL" sz="2592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8" name="Line 19">
              <a:extLst>
                <a:ext uri="{FF2B5EF4-FFF2-40B4-BE49-F238E27FC236}">
                  <a16:creationId xmlns:a16="http://schemas.microsoft.com/office/drawing/2014/main" id="{16E3A223-61F4-44A7-9049-2736FD9AB107}"/>
                </a:ext>
              </a:extLst>
            </p:cNvPr>
            <p:cNvSpPr>
              <a:spLocks noChangeShapeType="1"/>
            </p:cNvSpPr>
            <p:nvPr>
              <p:custDataLst>
                <p:tags r:id="rId235"/>
              </p:custDataLst>
            </p:nvPr>
          </p:nvSpPr>
          <p:spPr bwMode="auto">
            <a:xfrm flipH="1">
              <a:off x="5620867" y="3598988"/>
              <a:ext cx="0" cy="280036"/>
            </a:xfrm>
            <a:prstGeom prst="line">
              <a:avLst/>
            </a:prstGeom>
            <a:noFill/>
            <a:ln w="15875" cap="flat">
              <a:solidFill>
                <a:schemeClr val="accent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097148">
                <a:spcBef>
                  <a:spcPct val="0"/>
                </a:spcBef>
                <a:spcAft>
                  <a:spcPct val="0"/>
                </a:spcAft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lang="pl-PL" sz="2592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9" name="Freeform 20">
              <a:extLst>
                <a:ext uri="{FF2B5EF4-FFF2-40B4-BE49-F238E27FC236}">
                  <a16:creationId xmlns:a16="http://schemas.microsoft.com/office/drawing/2014/main" id="{1E33D727-E10F-4C47-B27C-B9745ACA2ED4}"/>
                </a:ext>
              </a:extLst>
            </p:cNvPr>
            <p:cNvSpPr/>
            <p:nvPr>
              <p:custDataLst>
                <p:tags r:id="rId236"/>
              </p:custDataLst>
            </p:nvPr>
          </p:nvSpPr>
          <p:spPr bwMode="auto">
            <a:xfrm>
              <a:off x="5015077" y="3280854"/>
              <a:ext cx="436246" cy="598170"/>
            </a:xfrm>
            <a:custGeom>
              <a:avLst/>
              <a:gdLst>
                <a:gd name="T0" fmla="*/ 60 w 104"/>
                <a:gd name="T1" fmla="*/ 136 h 136"/>
                <a:gd name="T2" fmla="*/ 60 w 104"/>
                <a:gd name="T3" fmla="*/ 32 h 136"/>
                <a:gd name="T4" fmla="*/ 85 w 104"/>
                <a:gd name="T5" fmla="*/ 58 h 136"/>
                <a:gd name="T6" fmla="*/ 99 w 104"/>
                <a:gd name="T7" fmla="*/ 58 h 136"/>
                <a:gd name="T8" fmla="*/ 104 w 104"/>
                <a:gd name="T9" fmla="*/ 54 h 136"/>
                <a:gd name="T10" fmla="*/ 84 w 104"/>
                <a:gd name="T11" fmla="*/ 24 h 136"/>
                <a:gd name="T12" fmla="*/ 52 w 104"/>
                <a:gd name="T13" fmla="*/ 0 h 136"/>
                <a:gd name="T14" fmla="*/ 24 w 104"/>
                <a:gd name="T15" fmla="*/ 0 h 136"/>
                <a:gd name="T16" fmla="*/ 0 w 104"/>
                <a:gd name="T17" fmla="*/ 24 h 136"/>
                <a:gd name="T18" fmla="*/ 0 w 104"/>
                <a:gd name="T19" fmla="*/ 56 h 136"/>
                <a:gd name="T20" fmla="*/ 16 w 104"/>
                <a:gd name="T21" fmla="*/ 72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4" h="136">
                  <a:moveTo>
                    <a:pt x="60" y="136"/>
                  </a:moveTo>
                  <a:cubicBezTo>
                    <a:pt x="60" y="32"/>
                    <a:pt x="60" y="32"/>
                    <a:pt x="60" y="32"/>
                  </a:cubicBezTo>
                  <a:cubicBezTo>
                    <a:pt x="85" y="58"/>
                    <a:pt x="85" y="58"/>
                    <a:pt x="85" y="58"/>
                  </a:cubicBezTo>
                  <a:cubicBezTo>
                    <a:pt x="89" y="62"/>
                    <a:pt x="95" y="62"/>
                    <a:pt x="99" y="58"/>
                  </a:cubicBezTo>
                  <a:cubicBezTo>
                    <a:pt x="104" y="54"/>
                    <a:pt x="104" y="54"/>
                    <a:pt x="104" y="54"/>
                  </a:cubicBezTo>
                  <a:cubicBezTo>
                    <a:pt x="104" y="54"/>
                    <a:pt x="89" y="31"/>
                    <a:pt x="84" y="24"/>
                  </a:cubicBezTo>
                  <a:cubicBezTo>
                    <a:pt x="79" y="17"/>
                    <a:pt x="69" y="0"/>
                    <a:pt x="52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3" y="0"/>
                    <a:pt x="0" y="9"/>
                    <a:pt x="0" y="24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4"/>
                    <a:pt x="8" y="72"/>
                    <a:pt x="16" y="72"/>
                  </a:cubicBezTo>
                </a:path>
              </a:pathLst>
            </a:custGeom>
            <a:noFill/>
            <a:ln w="15875" cap="flat">
              <a:solidFill>
                <a:schemeClr val="accent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097148">
                <a:spcBef>
                  <a:spcPct val="0"/>
                </a:spcBef>
                <a:spcAft>
                  <a:spcPct val="0"/>
                </a:spcAft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lang="pl-PL" sz="2592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0" name="Line 21">
              <a:extLst>
                <a:ext uri="{FF2B5EF4-FFF2-40B4-BE49-F238E27FC236}">
                  <a16:creationId xmlns:a16="http://schemas.microsoft.com/office/drawing/2014/main" id="{2A8A228F-34F9-452B-AB39-A4AD21BC2654}"/>
                </a:ext>
              </a:extLst>
            </p:cNvPr>
            <p:cNvSpPr>
              <a:spLocks noChangeShapeType="1"/>
            </p:cNvSpPr>
            <p:nvPr>
              <p:custDataLst>
                <p:tags r:id="rId237"/>
              </p:custDataLst>
            </p:nvPr>
          </p:nvSpPr>
          <p:spPr bwMode="auto">
            <a:xfrm flipH="1">
              <a:off x="5081753" y="3404678"/>
              <a:ext cx="0" cy="474346"/>
            </a:xfrm>
            <a:prstGeom prst="line">
              <a:avLst/>
            </a:prstGeom>
            <a:noFill/>
            <a:ln w="15875" cap="flat">
              <a:solidFill>
                <a:schemeClr val="accent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097148">
                <a:spcBef>
                  <a:spcPct val="0"/>
                </a:spcBef>
                <a:spcAft>
                  <a:spcPct val="0"/>
                </a:spcAft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lang="pl-PL" sz="2592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1" name="Line 22">
              <a:extLst>
                <a:ext uri="{FF2B5EF4-FFF2-40B4-BE49-F238E27FC236}">
                  <a16:creationId xmlns:a16="http://schemas.microsoft.com/office/drawing/2014/main" id="{C98D279E-8EF7-4317-A3E1-EC4B6E85E336}"/>
                </a:ext>
              </a:extLst>
            </p:cNvPr>
            <p:cNvSpPr>
              <a:spLocks noChangeShapeType="1"/>
            </p:cNvSpPr>
            <p:nvPr>
              <p:custDataLst>
                <p:tags r:id="rId238"/>
              </p:custDataLst>
            </p:nvPr>
          </p:nvSpPr>
          <p:spPr bwMode="auto">
            <a:xfrm flipH="1">
              <a:off x="5182717" y="3598988"/>
              <a:ext cx="0" cy="280036"/>
            </a:xfrm>
            <a:prstGeom prst="line">
              <a:avLst/>
            </a:prstGeom>
            <a:noFill/>
            <a:ln w="15875" cap="flat">
              <a:solidFill>
                <a:schemeClr val="accent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097148">
                <a:spcBef>
                  <a:spcPct val="0"/>
                </a:spcBef>
                <a:spcAft>
                  <a:spcPct val="0"/>
                </a:spcAft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lang="pl-PL" sz="2592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2" name="Freeform 23">
              <a:extLst>
                <a:ext uri="{FF2B5EF4-FFF2-40B4-BE49-F238E27FC236}">
                  <a16:creationId xmlns:a16="http://schemas.microsoft.com/office/drawing/2014/main" id="{46FF7B9F-E709-4864-9A0C-E4C469DDCE8C}"/>
                </a:ext>
              </a:extLst>
            </p:cNvPr>
            <p:cNvSpPr/>
            <p:nvPr>
              <p:custDataLst>
                <p:tags r:id="rId239"/>
              </p:custDataLst>
            </p:nvPr>
          </p:nvSpPr>
          <p:spPr bwMode="auto">
            <a:xfrm>
              <a:off x="5116043" y="3052255"/>
              <a:ext cx="133350" cy="177166"/>
            </a:xfrm>
            <a:custGeom>
              <a:avLst/>
              <a:gdLst>
                <a:gd name="T0" fmla="*/ 16 w 32"/>
                <a:gd name="T1" fmla="*/ 40 h 40"/>
                <a:gd name="T2" fmla="*/ 32 w 32"/>
                <a:gd name="T3" fmla="*/ 24 h 40"/>
                <a:gd name="T4" fmla="*/ 32 w 32"/>
                <a:gd name="T5" fmla="*/ 16 h 40"/>
                <a:gd name="T6" fmla="*/ 16 w 32"/>
                <a:gd name="T7" fmla="*/ 0 h 40"/>
                <a:gd name="T8" fmla="*/ 0 w 32"/>
                <a:gd name="T9" fmla="*/ 16 h 40"/>
                <a:gd name="T10" fmla="*/ 0 w 32"/>
                <a:gd name="T11" fmla="*/ 24 h 40"/>
                <a:gd name="T12" fmla="*/ 16 w 32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40">
                  <a:moveTo>
                    <a:pt x="16" y="40"/>
                  </a:moveTo>
                  <a:cubicBezTo>
                    <a:pt x="25" y="40"/>
                    <a:pt x="32" y="33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2" y="7"/>
                    <a:pt x="25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33"/>
                    <a:pt x="7" y="40"/>
                    <a:pt x="16" y="40"/>
                  </a:cubicBezTo>
                  <a:close/>
                </a:path>
              </a:pathLst>
            </a:custGeom>
            <a:noFill/>
            <a:ln w="15875" cap="flat">
              <a:solidFill>
                <a:schemeClr val="accent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097148">
                <a:spcBef>
                  <a:spcPct val="0"/>
                </a:spcBef>
                <a:spcAft>
                  <a:spcPct val="0"/>
                </a:spcAft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lang="pl-PL" sz="2592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3" name="Freeform 24">
              <a:extLst>
                <a:ext uri="{FF2B5EF4-FFF2-40B4-BE49-F238E27FC236}">
                  <a16:creationId xmlns:a16="http://schemas.microsoft.com/office/drawing/2014/main" id="{0DC1B32B-D053-4C43-9C6D-716F90EB1E6C}"/>
                </a:ext>
              </a:extLst>
            </p:cNvPr>
            <p:cNvSpPr/>
            <p:nvPr>
              <p:custDataLst>
                <p:tags r:id="rId240"/>
              </p:custDataLst>
            </p:nvPr>
          </p:nvSpPr>
          <p:spPr bwMode="auto">
            <a:xfrm>
              <a:off x="5554192" y="3052254"/>
              <a:ext cx="133350" cy="177166"/>
            </a:xfrm>
            <a:custGeom>
              <a:avLst/>
              <a:gdLst>
                <a:gd name="T0" fmla="*/ 16 w 32"/>
                <a:gd name="T1" fmla="*/ 40 h 40"/>
                <a:gd name="T2" fmla="*/ 32 w 32"/>
                <a:gd name="T3" fmla="*/ 24 h 40"/>
                <a:gd name="T4" fmla="*/ 32 w 32"/>
                <a:gd name="T5" fmla="*/ 16 h 40"/>
                <a:gd name="T6" fmla="*/ 16 w 32"/>
                <a:gd name="T7" fmla="*/ 0 h 40"/>
                <a:gd name="T8" fmla="*/ 0 w 32"/>
                <a:gd name="T9" fmla="*/ 16 h 40"/>
                <a:gd name="T10" fmla="*/ 0 w 32"/>
                <a:gd name="T11" fmla="*/ 24 h 40"/>
                <a:gd name="T12" fmla="*/ 16 w 32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40">
                  <a:moveTo>
                    <a:pt x="16" y="40"/>
                  </a:moveTo>
                  <a:cubicBezTo>
                    <a:pt x="25" y="40"/>
                    <a:pt x="32" y="33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2" y="7"/>
                    <a:pt x="25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33"/>
                    <a:pt x="7" y="40"/>
                    <a:pt x="16" y="40"/>
                  </a:cubicBezTo>
                  <a:close/>
                </a:path>
              </a:pathLst>
            </a:custGeom>
            <a:noFill/>
            <a:ln w="15875" cap="flat">
              <a:solidFill>
                <a:schemeClr val="accent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097148">
                <a:spcBef>
                  <a:spcPct val="0"/>
                </a:spcBef>
                <a:spcAft>
                  <a:spcPct val="0"/>
                </a:spcAft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lang="pl-PL" sz="2592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44" name="Rectangle 124">
            <a:extLst>
              <a:ext uri="{FF2B5EF4-FFF2-40B4-BE49-F238E27FC236}">
                <a16:creationId xmlns:a16="http://schemas.microsoft.com/office/drawing/2014/main" id="{A61D69C5-4467-40F9-A59D-E15D97C6F98D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1293509" y="4598303"/>
            <a:ext cx="4886867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97148">
              <a:spcBef>
                <a:spcPct val="0"/>
              </a:spcBef>
              <a:spcAft>
                <a:spcPct val="0"/>
              </a:spcAft>
              <a:defRPr kumimoji="0" sz="2160" b="0" i="0" normalizeH="0" noProof="0">
                <a:solidFill>
                  <a:srgbClr val="000000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lang="en-US" sz="1600" b="1">
                <a:solidFill>
                  <a:srgbClr val="5F249F"/>
                </a:solidFill>
                <a:latin typeface="Arial" pitchFamily="34" charset="0"/>
                <a:cs typeface="Arial" pitchFamily="34" charset="0"/>
              </a:rPr>
              <a:t>KEY CLIENT’S HEADCOUNT</a:t>
            </a: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04249D2C-0C5B-4116-AF3E-2255F76F146E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634063" y="1080903"/>
            <a:ext cx="4018210" cy="380300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1pPr>
            <a:lvl2pPr marL="54864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2pPr>
            <a:lvl3pPr marL="109728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3pPr>
            <a:lvl4pPr marL="164592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4pPr>
            <a:lvl5pPr marL="219456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5pPr>
            <a:lvl6pPr marL="274320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6pPr>
            <a:lvl7pPr marL="329184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7pPr>
            <a:lvl8pPr marL="384048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8pPr>
            <a:lvl9pPr marL="438912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9pPr>
          </a:lstStyle>
          <a:p>
            <a:pPr defTabSz="1097192">
              <a:defRPr kumimoji="0" sz="2160" b="0" i="0" u="none" strike="noStrike" cap="none" spc="0" normalizeH="0" baseline="0" noProof="0">
                <a:solidFill>
                  <a:srgbClr val="FFFFFF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pPr>
            <a:r>
              <a:rPr lang="en-US" sz="1000" i="1">
                <a:solidFill>
                  <a:srgbClr val="FFFFFF"/>
                </a:solidFill>
                <a:latin typeface="Arial"/>
                <a:ea typeface="+mn-ea"/>
                <a:cs typeface="Arial"/>
              </a:rPr>
              <a:t>Note: Headcount data as of April 2023 and rounded</a:t>
            </a:r>
            <a:endParaRPr lang="en-US" sz="1020">
              <a:solidFill>
                <a:srgbClr val="A6A6A6"/>
              </a:solidFill>
              <a:ea typeface="+mn-ea"/>
            </a:endParaRPr>
          </a:p>
        </p:txBody>
      </p:sp>
      <p:graphicFrame>
        <p:nvGraphicFramePr>
          <p:cNvPr id="48" name="Chart 47">
            <a:extLst>
              <a:ext uri="{FF2B5EF4-FFF2-40B4-BE49-F238E27FC236}">
                <a16:creationId xmlns:a16="http://schemas.microsoft.com/office/drawing/2014/main" id="{D315224A-0232-3764-D02D-D9114F11DC28}"/>
              </a:ext>
            </a:extLst>
          </p:cNvPr>
          <p:cNvGraphicFramePr/>
          <p:nvPr>
            <p:custDataLst>
              <p:tags r:id="rId25"/>
            </p:custDataLst>
          </p:nvPr>
        </p:nvGraphicFramePr>
        <p:xfrm>
          <a:off x="2986088" y="4964113"/>
          <a:ext cx="2530475" cy="2533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6"/>
          </a:graphicData>
        </a:graphic>
      </p:graphicFrame>
      <p:sp useBgFill="1">
        <p:nvSpPr>
          <p:cNvPr id="36" name="Freeform: Shape 35">
            <a:extLst>
              <a:ext uri="{FF2B5EF4-FFF2-40B4-BE49-F238E27FC236}">
                <a16:creationId xmlns:a16="http://schemas.microsoft.com/office/drawing/2014/main" id="{09849349-17C1-BD82-BAD6-9F8EBB44199D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5078413" y="5243513"/>
            <a:ext cx="127001" cy="260351"/>
          </a:xfrm>
          <a:custGeom>
            <a:avLst/>
            <a:gdLst/>
            <a:ahLst/>
            <a:cxnLst/>
            <a:rect l="0" t="0" r="0" b="0"/>
            <a:pathLst>
              <a:path w="127001" h="260351">
                <a:moveTo>
                  <a:pt x="127000" y="0"/>
                </a:moveTo>
                <a:lnTo>
                  <a:pt x="57150" y="260350"/>
                </a:lnTo>
                <a:lnTo>
                  <a:pt x="0" y="260350"/>
                </a:lnTo>
                <a:lnTo>
                  <a:pt x="69850" y="0"/>
                </a:lnTo>
                <a:close/>
              </a:path>
            </a:pathLst>
          </a:custGeom>
          <a:ln>
            <a:noFill/>
          </a:ln>
          <a:effectLst/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97280" rtl="0" eaLnBrk="1" latinLnBrk="0" hangingPunct="1">
              <a:defRPr sz="216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16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16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16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16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16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16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16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16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161DD038-8516-1314-4672-9E0A80DAE3DA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5078413" y="5243513"/>
            <a:ext cx="69851" cy="260351"/>
          </a:xfrm>
          <a:custGeom>
            <a:avLst/>
            <a:gdLst/>
            <a:ahLst/>
            <a:cxnLst/>
            <a:rect l="0" t="0" r="0" b="0"/>
            <a:pathLst>
              <a:path w="69851" h="260351">
                <a:moveTo>
                  <a:pt x="69850" y="0"/>
                </a:moveTo>
                <a:lnTo>
                  <a:pt x="0" y="260350"/>
                </a:lnTo>
              </a:path>
            </a:pathLst>
          </a:custGeom>
          <a:ln w="952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97280" rtl="0" eaLnBrk="1" latinLnBrk="0" hangingPunct="1">
              <a:defRPr sz="216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16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16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16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16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16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16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16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16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F31DAA35-3858-D0D4-FE74-7DB5DD7A798B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5135563" y="5243513"/>
            <a:ext cx="69851" cy="260351"/>
          </a:xfrm>
          <a:custGeom>
            <a:avLst/>
            <a:gdLst/>
            <a:ahLst/>
            <a:cxnLst/>
            <a:rect l="0" t="0" r="0" b="0"/>
            <a:pathLst>
              <a:path w="69851" h="260351">
                <a:moveTo>
                  <a:pt x="69850" y="0"/>
                </a:moveTo>
                <a:lnTo>
                  <a:pt x="0" y="260350"/>
                </a:lnTo>
              </a:path>
            </a:pathLst>
          </a:custGeom>
          <a:ln w="952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97280" rtl="0" eaLnBrk="1" latinLnBrk="0" hangingPunct="1">
              <a:defRPr sz="216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16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16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16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16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16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16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16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16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30" name="Symbol zastępczy tekstu 2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1176338" y="5283200"/>
            <a:ext cx="17907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defPPr>
              <a:defRPr lang="en-US"/>
            </a:defPPr>
            <a:lvl1pPr marL="270000" indent="-270000" algn="l" defTabSz="685800" rtl="0" eaLnBrk="1" latinLnBrk="0" hangingPunct="1">
              <a:lnSpc>
                <a:spcPct val="130000"/>
              </a:lnSpc>
              <a:spcBef>
                <a:spcPts val="450"/>
              </a:spcBef>
              <a:spcAft>
                <a:spcPts val="450"/>
              </a:spcAft>
              <a:buClr>
                <a:srgbClr val="EB571C"/>
              </a:buClr>
              <a:buFont typeface="Wingdings" panose="05000000000000000000" pitchFamily="2" charset="2"/>
              <a:buChar char="w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270000" algn="l" defTabSz="685800" rtl="0" eaLnBrk="1" latinLnBrk="0" hangingPunct="1">
              <a:lnSpc>
                <a:spcPct val="130000"/>
              </a:lnSpc>
              <a:spcBef>
                <a:spcPts val="450"/>
              </a:spcBef>
              <a:spcAft>
                <a:spcPts val="450"/>
              </a:spcAft>
              <a:buClr>
                <a:srgbClr val="EB571C"/>
              </a:buClr>
              <a:buFont typeface="Arial" pitchFamily="34" charset="0"/>
              <a:buChar char="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270000" algn="l" defTabSz="685800" rtl="0" eaLnBrk="1" latinLnBrk="0" hangingPunct="1">
              <a:lnSpc>
                <a:spcPct val="130000"/>
              </a:lnSpc>
              <a:spcBef>
                <a:spcPts val="450"/>
              </a:spcBef>
              <a:spcAft>
                <a:spcPts val="450"/>
              </a:spcAft>
              <a:buClr>
                <a:srgbClr val="24447D"/>
              </a:buClr>
              <a:buFont typeface="Wingdings" panose="05000000000000000000" pitchFamily="2" charset="2"/>
              <a:buChar char="w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270000" algn="l" defTabSz="685800" rtl="0" eaLnBrk="1" latinLnBrk="0" hangingPunct="1">
              <a:lnSpc>
                <a:spcPct val="130000"/>
              </a:lnSpc>
              <a:spcBef>
                <a:spcPts val="450"/>
              </a:spcBef>
              <a:spcAft>
                <a:spcPts val="450"/>
              </a:spcAft>
              <a:buClr>
                <a:srgbClr val="24447D"/>
              </a:buClr>
              <a:buFont typeface="Arial" pitchFamily="34" charset="0"/>
              <a:buChar char="­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270000" algn="l" defTabSz="685800" rtl="0" eaLnBrk="1" latinLnBrk="0" hangingPunct="1">
              <a:lnSpc>
                <a:spcPct val="130000"/>
              </a:lnSpc>
              <a:spcBef>
                <a:spcPts val="450"/>
              </a:spcBef>
              <a:spcAft>
                <a:spcPts val="450"/>
              </a:spcAft>
              <a:buClr>
                <a:srgbClr val="EB571C"/>
              </a:buClr>
              <a:buFont typeface="Wingdings" panose="05000000000000000000" pitchFamily="2" charset="2"/>
              <a:buChar char="w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defTabSz="685772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fld id="{C24A7990-C6C9-446C-831C-D1D0F1ABCBB2}" type="datetime'Ban''ki''''ng &amp;'''''' C''a''pi''''t''''''''al'''' Ma''rkets'''">
              <a:rPr lang="en-US" altLang="en-US" sz="1200">
                <a:solidFill>
                  <a:srgbClr val="000000"/>
                </a:solidFill>
                <a:latin typeface="Arial"/>
              </a:rPr>
              <a:pPr marL="0" indent="0" algn="r" defTabSz="685772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Banking &amp; Capital Markets</a:t>
            </a:fld>
            <a:endParaRPr lang="ru-RU" sz="1200">
              <a:solidFill>
                <a:srgbClr val="000000"/>
              </a:solidFill>
              <a:latin typeface="Arial"/>
              <a:sym typeface="+mn-lt"/>
            </a:endParaRPr>
          </a:p>
        </p:txBody>
      </p:sp>
      <p:sp>
        <p:nvSpPr>
          <p:cNvPr id="158" name="Symbol zastępczy tekstu 2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2206625" y="5568950"/>
            <a:ext cx="7604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defPPr>
              <a:defRPr lang="en-US"/>
            </a:defPPr>
            <a:lvl1pPr marL="270000" indent="-270000" algn="l" defTabSz="685800" rtl="0" eaLnBrk="1" latinLnBrk="0" hangingPunct="1">
              <a:lnSpc>
                <a:spcPct val="130000"/>
              </a:lnSpc>
              <a:spcBef>
                <a:spcPts val="450"/>
              </a:spcBef>
              <a:spcAft>
                <a:spcPts val="450"/>
              </a:spcAft>
              <a:buClr>
                <a:srgbClr val="EB571C"/>
              </a:buClr>
              <a:buFont typeface="Wingdings" panose="05000000000000000000" pitchFamily="2" charset="2"/>
              <a:buChar char="w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270000" algn="l" defTabSz="685800" rtl="0" eaLnBrk="1" latinLnBrk="0" hangingPunct="1">
              <a:lnSpc>
                <a:spcPct val="130000"/>
              </a:lnSpc>
              <a:spcBef>
                <a:spcPts val="450"/>
              </a:spcBef>
              <a:spcAft>
                <a:spcPts val="450"/>
              </a:spcAft>
              <a:buClr>
                <a:srgbClr val="EB571C"/>
              </a:buClr>
              <a:buFont typeface="Arial" pitchFamily="34" charset="0"/>
              <a:buChar char="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270000" algn="l" defTabSz="685800" rtl="0" eaLnBrk="1" latinLnBrk="0" hangingPunct="1">
              <a:lnSpc>
                <a:spcPct val="130000"/>
              </a:lnSpc>
              <a:spcBef>
                <a:spcPts val="450"/>
              </a:spcBef>
              <a:spcAft>
                <a:spcPts val="450"/>
              </a:spcAft>
              <a:buClr>
                <a:srgbClr val="24447D"/>
              </a:buClr>
              <a:buFont typeface="Wingdings" panose="05000000000000000000" pitchFamily="2" charset="2"/>
              <a:buChar char="w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270000" algn="l" defTabSz="685800" rtl="0" eaLnBrk="1" latinLnBrk="0" hangingPunct="1">
              <a:lnSpc>
                <a:spcPct val="130000"/>
              </a:lnSpc>
              <a:spcBef>
                <a:spcPts val="450"/>
              </a:spcBef>
              <a:spcAft>
                <a:spcPts val="450"/>
              </a:spcAft>
              <a:buClr>
                <a:srgbClr val="24447D"/>
              </a:buClr>
              <a:buFont typeface="Arial" pitchFamily="34" charset="0"/>
              <a:buChar char="­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270000" algn="l" defTabSz="685800" rtl="0" eaLnBrk="1" latinLnBrk="0" hangingPunct="1">
              <a:lnSpc>
                <a:spcPct val="130000"/>
              </a:lnSpc>
              <a:spcBef>
                <a:spcPts val="450"/>
              </a:spcBef>
              <a:spcAft>
                <a:spcPts val="450"/>
              </a:spcAft>
              <a:buClr>
                <a:srgbClr val="EB571C"/>
              </a:buClr>
              <a:buFont typeface="Wingdings" panose="05000000000000000000" pitchFamily="2" charset="2"/>
              <a:buChar char="w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defTabSz="685772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fld id="{3ECDC03A-3FD6-4B3D-933B-D08E47D51108}" type="datetime'''''Au''''''''to''''m''''''o''''''t''''''i''v''e'''''''">
              <a:rPr lang="en-US" altLang="en-US" sz="1200">
                <a:solidFill>
                  <a:srgbClr val="000000"/>
                </a:solidFill>
                <a:latin typeface="Arial"/>
              </a:rPr>
              <a:pPr marL="0" indent="0" algn="r" defTabSz="685772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Automotive</a:t>
            </a:fld>
            <a:endParaRPr lang="ru-RU" sz="1200">
              <a:solidFill>
                <a:srgbClr val="000000"/>
              </a:solidFill>
              <a:latin typeface="Arial"/>
              <a:sym typeface="+mn-lt"/>
            </a:endParaRPr>
          </a:p>
        </p:txBody>
      </p:sp>
      <p:sp>
        <p:nvSpPr>
          <p:cNvPr id="34" name="Symbol zastępczy tekstu 2">
            <a:extLst>
              <a:ext uri="{FF2B5EF4-FFF2-40B4-BE49-F238E27FC236}">
                <a16:creationId xmlns:a16="http://schemas.microsoft.com/office/drawing/2014/main" id="{30583FDA-7540-F915-6160-A5E1369C388F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1692275" y="6140450"/>
            <a:ext cx="12747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defPPr>
              <a:defRPr lang="en-US"/>
            </a:defPPr>
            <a:lvl1pPr marL="270000" indent="-270000" algn="l" defTabSz="685800" rtl="0" eaLnBrk="1" latinLnBrk="0" hangingPunct="1">
              <a:lnSpc>
                <a:spcPct val="130000"/>
              </a:lnSpc>
              <a:spcBef>
                <a:spcPts val="450"/>
              </a:spcBef>
              <a:spcAft>
                <a:spcPts val="450"/>
              </a:spcAft>
              <a:buClr>
                <a:srgbClr val="EB571C"/>
              </a:buClr>
              <a:buFont typeface="Wingdings" panose="05000000000000000000" pitchFamily="2" charset="2"/>
              <a:buChar char="w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270000" algn="l" defTabSz="685800" rtl="0" eaLnBrk="1" latinLnBrk="0" hangingPunct="1">
              <a:lnSpc>
                <a:spcPct val="130000"/>
              </a:lnSpc>
              <a:spcBef>
                <a:spcPts val="450"/>
              </a:spcBef>
              <a:spcAft>
                <a:spcPts val="450"/>
              </a:spcAft>
              <a:buClr>
                <a:srgbClr val="EB571C"/>
              </a:buClr>
              <a:buFont typeface="Arial" pitchFamily="34" charset="0"/>
              <a:buChar char="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270000" algn="l" defTabSz="685800" rtl="0" eaLnBrk="1" latinLnBrk="0" hangingPunct="1">
              <a:lnSpc>
                <a:spcPct val="130000"/>
              </a:lnSpc>
              <a:spcBef>
                <a:spcPts val="450"/>
              </a:spcBef>
              <a:spcAft>
                <a:spcPts val="450"/>
              </a:spcAft>
              <a:buClr>
                <a:srgbClr val="24447D"/>
              </a:buClr>
              <a:buFont typeface="Wingdings" panose="05000000000000000000" pitchFamily="2" charset="2"/>
              <a:buChar char="w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270000" algn="l" defTabSz="685800" rtl="0" eaLnBrk="1" latinLnBrk="0" hangingPunct="1">
              <a:lnSpc>
                <a:spcPct val="130000"/>
              </a:lnSpc>
              <a:spcBef>
                <a:spcPts val="450"/>
              </a:spcBef>
              <a:spcAft>
                <a:spcPts val="450"/>
              </a:spcAft>
              <a:buClr>
                <a:srgbClr val="24447D"/>
              </a:buClr>
              <a:buFont typeface="Arial" pitchFamily="34" charset="0"/>
              <a:buChar char="­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270000" algn="l" defTabSz="685800" rtl="0" eaLnBrk="1" latinLnBrk="0" hangingPunct="1">
              <a:lnSpc>
                <a:spcPct val="130000"/>
              </a:lnSpc>
              <a:spcBef>
                <a:spcPts val="450"/>
              </a:spcBef>
              <a:spcAft>
                <a:spcPts val="450"/>
              </a:spcAft>
              <a:buClr>
                <a:srgbClr val="EB571C"/>
              </a:buClr>
              <a:buFont typeface="Wingdings" panose="05000000000000000000" pitchFamily="2" charset="2"/>
              <a:buChar char="w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defTabSz="685772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fld id="{D1415774-97B2-4369-8A1C-CD85BC73670A}" type="datetime'C''o''n''''''''''s''um''''er'''''' ''''''''''&amp; R''''et''a''il'">
              <a:rPr lang="en-US" altLang="en-US" sz="1200" smtClean="0">
                <a:solidFill>
                  <a:srgbClr val="000000"/>
                </a:solidFill>
              </a:rPr>
              <a:pPr marL="0" indent="0" algn="r" defTabSz="685772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Consumer &amp; Retail</a:t>
            </a:fld>
            <a:endParaRPr lang="ru-RU" sz="1200">
              <a:solidFill>
                <a:srgbClr val="000000"/>
              </a:solidFill>
              <a:sym typeface="+mn-lt"/>
            </a:endParaRPr>
          </a:p>
        </p:txBody>
      </p:sp>
      <p:sp>
        <p:nvSpPr>
          <p:cNvPr id="169" name="Symbol zastępczy tekstu 2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1893888" y="6711950"/>
            <a:ext cx="10731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defPPr>
              <a:defRPr lang="en-US"/>
            </a:defPPr>
            <a:lvl1pPr marL="270000" indent="-270000" algn="l" defTabSz="685800" rtl="0" eaLnBrk="1" latinLnBrk="0" hangingPunct="1">
              <a:lnSpc>
                <a:spcPct val="130000"/>
              </a:lnSpc>
              <a:spcBef>
                <a:spcPts val="450"/>
              </a:spcBef>
              <a:spcAft>
                <a:spcPts val="450"/>
              </a:spcAft>
              <a:buClr>
                <a:srgbClr val="EB571C"/>
              </a:buClr>
              <a:buFont typeface="Wingdings" panose="05000000000000000000" pitchFamily="2" charset="2"/>
              <a:buChar char="w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270000" algn="l" defTabSz="685800" rtl="0" eaLnBrk="1" latinLnBrk="0" hangingPunct="1">
              <a:lnSpc>
                <a:spcPct val="130000"/>
              </a:lnSpc>
              <a:spcBef>
                <a:spcPts val="450"/>
              </a:spcBef>
              <a:spcAft>
                <a:spcPts val="450"/>
              </a:spcAft>
              <a:buClr>
                <a:srgbClr val="EB571C"/>
              </a:buClr>
              <a:buFont typeface="Arial" pitchFamily="34" charset="0"/>
              <a:buChar char="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270000" algn="l" defTabSz="685800" rtl="0" eaLnBrk="1" latinLnBrk="0" hangingPunct="1">
              <a:lnSpc>
                <a:spcPct val="130000"/>
              </a:lnSpc>
              <a:spcBef>
                <a:spcPts val="450"/>
              </a:spcBef>
              <a:spcAft>
                <a:spcPts val="450"/>
              </a:spcAft>
              <a:buClr>
                <a:srgbClr val="24447D"/>
              </a:buClr>
              <a:buFont typeface="Wingdings" panose="05000000000000000000" pitchFamily="2" charset="2"/>
              <a:buChar char="w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270000" algn="l" defTabSz="685800" rtl="0" eaLnBrk="1" latinLnBrk="0" hangingPunct="1">
              <a:lnSpc>
                <a:spcPct val="130000"/>
              </a:lnSpc>
              <a:spcBef>
                <a:spcPts val="450"/>
              </a:spcBef>
              <a:spcAft>
                <a:spcPts val="450"/>
              </a:spcAft>
              <a:buClr>
                <a:srgbClr val="24447D"/>
              </a:buClr>
              <a:buFont typeface="Arial" pitchFamily="34" charset="0"/>
              <a:buChar char="­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270000" algn="l" defTabSz="685800" rtl="0" eaLnBrk="1" latinLnBrk="0" hangingPunct="1">
              <a:lnSpc>
                <a:spcPct val="130000"/>
              </a:lnSpc>
              <a:spcBef>
                <a:spcPts val="450"/>
              </a:spcBef>
              <a:spcAft>
                <a:spcPts val="450"/>
              </a:spcAft>
              <a:buClr>
                <a:srgbClr val="EB571C"/>
              </a:buClr>
              <a:buFont typeface="Wingdings" panose="05000000000000000000" pitchFamily="2" charset="2"/>
              <a:buChar char="w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defTabSz="685772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fld id="{E085C3ED-C9AA-489F-8FA2-158BE81CB5A5}" type="datetime'''Ot''h''''''''''''er i''n''''d''''''u''str''ie''''''s'''">
              <a:rPr lang="en-US" altLang="en-US" sz="1200">
                <a:solidFill>
                  <a:srgbClr val="000000"/>
                </a:solidFill>
                <a:latin typeface="Arial"/>
              </a:rPr>
              <a:pPr marL="0" indent="0" algn="r" defTabSz="685772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Other industries</a:t>
            </a:fld>
            <a:endParaRPr lang="ru-RU" sz="1200">
              <a:solidFill>
                <a:srgbClr val="000000"/>
              </a:solidFill>
              <a:latin typeface="Arial"/>
              <a:sym typeface="+mn-lt"/>
            </a:endParaRPr>
          </a:p>
        </p:txBody>
      </p:sp>
      <p:sp>
        <p:nvSpPr>
          <p:cNvPr id="483" name="Symbol zastępczy tekstu 2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773113" y="6997700"/>
            <a:ext cx="219392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defPPr>
              <a:defRPr lang="en-US"/>
            </a:defPPr>
            <a:lvl1pPr marL="270000" indent="-270000" algn="l" defTabSz="685800" rtl="0" eaLnBrk="1" latinLnBrk="0" hangingPunct="1">
              <a:lnSpc>
                <a:spcPct val="130000"/>
              </a:lnSpc>
              <a:spcBef>
                <a:spcPts val="450"/>
              </a:spcBef>
              <a:spcAft>
                <a:spcPts val="450"/>
              </a:spcAft>
              <a:buClr>
                <a:srgbClr val="EB571C"/>
              </a:buClr>
              <a:buFont typeface="Wingdings" panose="05000000000000000000" pitchFamily="2" charset="2"/>
              <a:buChar char="w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270000" algn="l" defTabSz="685800" rtl="0" eaLnBrk="1" latinLnBrk="0" hangingPunct="1">
              <a:lnSpc>
                <a:spcPct val="130000"/>
              </a:lnSpc>
              <a:spcBef>
                <a:spcPts val="450"/>
              </a:spcBef>
              <a:spcAft>
                <a:spcPts val="450"/>
              </a:spcAft>
              <a:buClr>
                <a:srgbClr val="EB571C"/>
              </a:buClr>
              <a:buFont typeface="Arial" pitchFamily="34" charset="0"/>
              <a:buChar char="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270000" algn="l" defTabSz="685800" rtl="0" eaLnBrk="1" latinLnBrk="0" hangingPunct="1">
              <a:lnSpc>
                <a:spcPct val="130000"/>
              </a:lnSpc>
              <a:spcBef>
                <a:spcPts val="450"/>
              </a:spcBef>
              <a:spcAft>
                <a:spcPts val="450"/>
              </a:spcAft>
              <a:buClr>
                <a:srgbClr val="24447D"/>
              </a:buClr>
              <a:buFont typeface="Wingdings" panose="05000000000000000000" pitchFamily="2" charset="2"/>
              <a:buChar char="w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270000" algn="l" defTabSz="685800" rtl="0" eaLnBrk="1" latinLnBrk="0" hangingPunct="1">
              <a:lnSpc>
                <a:spcPct val="130000"/>
              </a:lnSpc>
              <a:spcBef>
                <a:spcPts val="450"/>
              </a:spcBef>
              <a:spcAft>
                <a:spcPts val="450"/>
              </a:spcAft>
              <a:buClr>
                <a:srgbClr val="24447D"/>
              </a:buClr>
              <a:buFont typeface="Arial" pitchFamily="34" charset="0"/>
              <a:buChar char="­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270000" algn="l" defTabSz="685800" rtl="0" eaLnBrk="1" latinLnBrk="0" hangingPunct="1">
              <a:lnSpc>
                <a:spcPct val="130000"/>
              </a:lnSpc>
              <a:spcBef>
                <a:spcPts val="450"/>
              </a:spcBef>
              <a:spcAft>
                <a:spcPts val="450"/>
              </a:spcAft>
              <a:buClr>
                <a:srgbClr val="EB571C"/>
              </a:buClr>
              <a:buFont typeface="Wingdings" panose="05000000000000000000" pitchFamily="2" charset="2"/>
              <a:buChar char="w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defTabSz="685772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fld id="{E3CBDB54-6528-47C4-8BB9-ADDE5C43F2BA}" type="datetime'E''nerg''''y,'' Man''''uf''a''''ctu''r''ing &amp; Utilities'''''">
              <a:rPr lang="en-US" altLang="en-US" sz="1200" smtClean="0">
                <a:solidFill>
                  <a:srgbClr val="000000"/>
                </a:solidFill>
              </a:rPr>
              <a:pPr marL="0" indent="0" algn="r" defTabSz="685772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Energy, Manufacturing &amp; Utilities</a:t>
            </a:fld>
            <a:endParaRPr lang="ru-RU" sz="1200">
              <a:solidFill>
                <a:srgbClr val="000000"/>
              </a:solidFill>
              <a:sym typeface="+mn-lt"/>
            </a:endParaRPr>
          </a:p>
        </p:txBody>
      </p:sp>
      <p:sp>
        <p:nvSpPr>
          <p:cNvPr id="151" name="Text Placeholder 2"/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5459413" y="5283200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defPPr>
              <a:defRPr lang="en-US"/>
            </a:defPPr>
            <a:lvl1pPr marL="0" indent="0" algn="l" defTabSz="1463040" rtl="0" eaLnBrk="1" latinLnBrk="0" hangingPunct="1">
              <a:spcBef>
                <a:spcPts val="1200"/>
              </a:spcBef>
              <a:buFontTx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463040" rtl="0" eaLnBrk="1" latinLnBrk="0" hangingPunct="1">
              <a:spcBef>
                <a:spcPts val="1200"/>
              </a:spcBef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1463040" rtl="0" eaLnBrk="1" latinLnBrk="0" hangingPunct="1">
              <a:spcBef>
                <a:spcPts val="12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7200" indent="-228600" algn="l" defTabSz="1463040" rtl="0" eaLnBrk="1" latinLnBrk="0" hangingPunct="1">
              <a:spcBef>
                <a:spcPts val="6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5800" indent="-228600" algn="l" defTabSz="1463040" rtl="0" eaLnBrk="1" latinLnBrk="0" hangingPunct="1">
              <a:spcBef>
                <a:spcPts val="6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228600" algn="l" defTabSz="1463040" rtl="0" eaLnBrk="1" latinLnBrk="0" hangingPunct="1">
              <a:spcBef>
                <a:spcPts val="6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43000" indent="-228600" algn="l" defTabSz="1463040" rtl="0" eaLnBrk="1" latinLnBrk="0" hangingPunct="1">
              <a:spcBef>
                <a:spcPts val="6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228600" algn="l" defTabSz="1463040" rtl="0" eaLnBrk="1" latinLnBrk="0" hangingPunct="1">
              <a:spcBef>
                <a:spcPts val="600"/>
              </a:spcBef>
              <a:buFont typeface="Arial" pitchFamily="34" charset="0"/>
              <a:buChar char="–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00200" indent="-228600" algn="l" defTabSz="1463040" rtl="0" eaLnBrk="1" latinLnBrk="0" hangingPunct="1">
              <a:spcBef>
                <a:spcPts val="600"/>
              </a:spcBef>
              <a:buFont typeface="Arial" pitchFamily="34" charset="0"/>
              <a:buChar char="–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defTabSz="1462981">
              <a:spcBef>
                <a:spcPct val="0"/>
              </a:spcBef>
              <a:spcAft>
                <a:spcPct val="0"/>
              </a:spcAft>
            </a:pPr>
            <a:fld id="{3876B347-83A7-4AB5-9FFC-FE03D4E03023}" type="datetime'''''''''''''''''''''''''''1 ''''''9''''8''''''''0'">
              <a:rPr lang="en-US" altLang="en-US" sz="1200" smtClean="0">
                <a:solidFill>
                  <a:srgbClr val="000000"/>
                </a:solidFill>
              </a:rPr>
              <a:t>1 980</a:t>
            </a:fld>
            <a:endParaRPr lang="en-US" sz="1200">
              <a:solidFill>
                <a:srgbClr val="000000"/>
              </a:solidFill>
              <a:sym typeface="+mn-lt"/>
            </a:endParaRPr>
          </a:p>
        </p:txBody>
      </p:sp>
      <p:sp>
        <p:nvSpPr>
          <p:cNvPr id="38" name="Symbol zastępczy tekstu 2">
            <a:extLst>
              <a:ext uri="{FF2B5EF4-FFF2-40B4-BE49-F238E27FC236}">
                <a16:creationId xmlns:a16="http://schemas.microsoft.com/office/drawing/2014/main" id="{3F92C97A-0F80-BE6C-DC16-3F3549727170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885825" y="5854700"/>
            <a:ext cx="20812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defPPr>
              <a:defRPr lang="en-US"/>
            </a:defPPr>
            <a:lvl1pPr marL="270000" indent="-270000" algn="l" defTabSz="685800" rtl="0" eaLnBrk="1" latinLnBrk="0" hangingPunct="1">
              <a:lnSpc>
                <a:spcPct val="130000"/>
              </a:lnSpc>
              <a:spcBef>
                <a:spcPts val="450"/>
              </a:spcBef>
              <a:spcAft>
                <a:spcPts val="450"/>
              </a:spcAft>
              <a:buClr>
                <a:srgbClr val="EB571C"/>
              </a:buClr>
              <a:buFont typeface="Wingdings" panose="05000000000000000000" pitchFamily="2" charset="2"/>
              <a:buChar char="w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270000" algn="l" defTabSz="685800" rtl="0" eaLnBrk="1" latinLnBrk="0" hangingPunct="1">
              <a:lnSpc>
                <a:spcPct val="130000"/>
              </a:lnSpc>
              <a:spcBef>
                <a:spcPts val="450"/>
              </a:spcBef>
              <a:spcAft>
                <a:spcPts val="450"/>
              </a:spcAft>
              <a:buClr>
                <a:srgbClr val="EB571C"/>
              </a:buClr>
              <a:buFont typeface="Arial" pitchFamily="34" charset="0"/>
              <a:buChar char="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270000" algn="l" defTabSz="685800" rtl="0" eaLnBrk="1" latinLnBrk="0" hangingPunct="1">
              <a:lnSpc>
                <a:spcPct val="130000"/>
              </a:lnSpc>
              <a:spcBef>
                <a:spcPts val="450"/>
              </a:spcBef>
              <a:spcAft>
                <a:spcPts val="450"/>
              </a:spcAft>
              <a:buClr>
                <a:srgbClr val="24447D"/>
              </a:buClr>
              <a:buFont typeface="Wingdings" panose="05000000000000000000" pitchFamily="2" charset="2"/>
              <a:buChar char="w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270000" algn="l" defTabSz="685800" rtl="0" eaLnBrk="1" latinLnBrk="0" hangingPunct="1">
              <a:lnSpc>
                <a:spcPct val="130000"/>
              </a:lnSpc>
              <a:spcBef>
                <a:spcPts val="450"/>
              </a:spcBef>
              <a:spcAft>
                <a:spcPts val="450"/>
              </a:spcAft>
              <a:buClr>
                <a:srgbClr val="24447D"/>
              </a:buClr>
              <a:buFont typeface="Arial" pitchFamily="34" charset="0"/>
              <a:buChar char="­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270000" algn="l" defTabSz="685800" rtl="0" eaLnBrk="1" latinLnBrk="0" hangingPunct="1">
              <a:lnSpc>
                <a:spcPct val="130000"/>
              </a:lnSpc>
              <a:spcBef>
                <a:spcPts val="450"/>
              </a:spcBef>
              <a:spcAft>
                <a:spcPts val="450"/>
              </a:spcAft>
              <a:buClr>
                <a:srgbClr val="EB571C"/>
              </a:buClr>
              <a:buFont typeface="Wingdings" panose="05000000000000000000" pitchFamily="2" charset="2"/>
              <a:buChar char="w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defTabSz="685772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fld id="{ECFC639A-488F-4000-9B6C-CE341595CEEA}" type="datetime'Tech''nology,'' Media'''' &amp;'''''''''''''' Tel''e''''com''s'">
              <a:rPr lang="en-US" altLang="en-US" sz="1200" smtClean="0">
                <a:solidFill>
                  <a:srgbClr val="000000"/>
                </a:solidFill>
              </a:rPr>
              <a:t>Technology, Media &amp; Telecoms</a:t>
            </a:fld>
            <a:endParaRPr lang="ru-RU" sz="1200">
              <a:solidFill>
                <a:srgbClr val="000000"/>
              </a:solidFill>
              <a:sym typeface="+mn-lt"/>
            </a:endParaRPr>
          </a:p>
        </p:txBody>
      </p:sp>
      <p:sp>
        <p:nvSpPr>
          <p:cNvPr id="42" name="Symbol zastępczy tekstu 2">
            <a:extLst>
              <a:ext uri="{FF2B5EF4-FFF2-40B4-BE49-F238E27FC236}">
                <a16:creationId xmlns:a16="http://schemas.microsoft.com/office/drawing/2014/main" id="{B1F19BBF-B6C1-C597-4CB6-29669DBF9557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1142999" y="6426200"/>
            <a:ext cx="182403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defPPr>
              <a:defRPr lang="en-US"/>
            </a:defPPr>
            <a:lvl1pPr marL="270000" indent="-270000" algn="l" defTabSz="685800" rtl="0" eaLnBrk="1" latinLnBrk="0" hangingPunct="1">
              <a:lnSpc>
                <a:spcPct val="130000"/>
              </a:lnSpc>
              <a:spcBef>
                <a:spcPts val="450"/>
              </a:spcBef>
              <a:spcAft>
                <a:spcPts val="450"/>
              </a:spcAft>
              <a:buClr>
                <a:srgbClr val="EB571C"/>
              </a:buClr>
              <a:buFont typeface="Wingdings" panose="05000000000000000000" pitchFamily="2" charset="2"/>
              <a:buChar char="w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270000" algn="l" defTabSz="685800" rtl="0" eaLnBrk="1" latinLnBrk="0" hangingPunct="1">
              <a:lnSpc>
                <a:spcPct val="130000"/>
              </a:lnSpc>
              <a:spcBef>
                <a:spcPts val="450"/>
              </a:spcBef>
              <a:spcAft>
                <a:spcPts val="450"/>
              </a:spcAft>
              <a:buClr>
                <a:srgbClr val="EB571C"/>
              </a:buClr>
              <a:buFont typeface="Arial" pitchFamily="34" charset="0"/>
              <a:buChar char="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270000" algn="l" defTabSz="685800" rtl="0" eaLnBrk="1" latinLnBrk="0" hangingPunct="1">
              <a:lnSpc>
                <a:spcPct val="130000"/>
              </a:lnSpc>
              <a:spcBef>
                <a:spcPts val="450"/>
              </a:spcBef>
              <a:spcAft>
                <a:spcPts val="450"/>
              </a:spcAft>
              <a:buClr>
                <a:srgbClr val="24447D"/>
              </a:buClr>
              <a:buFont typeface="Wingdings" panose="05000000000000000000" pitchFamily="2" charset="2"/>
              <a:buChar char="w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270000" algn="l" defTabSz="685800" rtl="0" eaLnBrk="1" latinLnBrk="0" hangingPunct="1">
              <a:lnSpc>
                <a:spcPct val="130000"/>
              </a:lnSpc>
              <a:spcBef>
                <a:spcPts val="450"/>
              </a:spcBef>
              <a:spcAft>
                <a:spcPts val="450"/>
              </a:spcAft>
              <a:buClr>
                <a:srgbClr val="24447D"/>
              </a:buClr>
              <a:buFont typeface="Arial" pitchFamily="34" charset="0"/>
              <a:buChar char="­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270000" algn="l" defTabSz="685800" rtl="0" eaLnBrk="1" latinLnBrk="0" hangingPunct="1">
              <a:lnSpc>
                <a:spcPct val="130000"/>
              </a:lnSpc>
              <a:spcBef>
                <a:spcPts val="450"/>
              </a:spcBef>
              <a:spcAft>
                <a:spcPts val="450"/>
              </a:spcAft>
              <a:buClr>
                <a:srgbClr val="EB571C"/>
              </a:buClr>
              <a:buFont typeface="Wingdings" panose="05000000000000000000" pitchFamily="2" charset="2"/>
              <a:buChar char="w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defTabSz="685772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fld id="{6B684B1F-566D-4CD5-8B0D-7077C2393B19}" type="datetime'''Healt''''h''''care'' &amp;'' L''''''ife S''''c''ie''nce''s'''">
              <a:rPr lang="en-US" altLang="en-US" sz="1200" smtClean="0">
                <a:solidFill>
                  <a:srgbClr val="000000"/>
                </a:solidFill>
              </a:rPr>
              <a:t>Healthcare &amp; Life Sciences</a:t>
            </a:fld>
            <a:endParaRPr lang="ru-RU" sz="1200">
              <a:solidFill>
                <a:srgbClr val="000000"/>
              </a:solidFill>
              <a:sym typeface="+mn-lt"/>
            </a:endParaRPr>
          </a:p>
        </p:txBody>
      </p:sp>
      <p:sp>
        <p:nvSpPr>
          <p:cNvPr id="274" name="Rectangle 183">
            <a:extLst>
              <a:ext uri="{FF2B5EF4-FFF2-40B4-BE49-F238E27FC236}">
                <a16:creationId xmlns:a16="http://schemas.microsoft.com/office/drawing/2014/main" id="{3CF8822A-1E0F-8841-9092-17B94005C47A}"/>
              </a:ext>
            </a:extLst>
          </p:cNvPr>
          <p:cNvSpPr/>
          <p:nvPr>
            <p:custDataLst>
              <p:tags r:id="rId37"/>
            </p:custDataLst>
          </p:nvPr>
        </p:nvSpPr>
        <p:spPr>
          <a:xfrm>
            <a:off x="6836736" y="1823267"/>
            <a:ext cx="798616" cy="2585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97236">
              <a:spcBef>
                <a:spcPct val="0"/>
              </a:spcBef>
              <a:spcAft>
                <a:spcPct val="0"/>
              </a:spcAft>
              <a:defRPr kumimoji="0" sz="2160" b="0" i="0" normalizeH="0" noProof="0">
                <a:solidFill>
                  <a:srgbClr val="000000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lang="pl-PL" sz="108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Luxoft</a:t>
            </a:r>
            <a:r>
              <a:rPr lang="en-US" sz="108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HC</a:t>
            </a:r>
          </a:p>
        </p:txBody>
      </p:sp>
      <p:grpSp>
        <p:nvGrpSpPr>
          <p:cNvPr id="4" name="Группа 3"/>
          <p:cNvGrpSpPr/>
          <p:nvPr>
            <p:custDataLst>
              <p:tags r:id="rId38"/>
            </p:custDataLst>
          </p:nvPr>
        </p:nvGrpSpPr>
        <p:grpSpPr>
          <a:xfrm>
            <a:off x="6455427" y="1194697"/>
            <a:ext cx="1203970" cy="618111"/>
            <a:chOff x="6812812" y="1486153"/>
            <a:chExt cx="1203970" cy="618109"/>
          </a:xfrm>
        </p:grpSpPr>
        <p:sp>
          <p:nvSpPr>
            <p:cNvPr id="273" name="Rectangle 182">
              <a:extLst>
                <a:ext uri="{FF2B5EF4-FFF2-40B4-BE49-F238E27FC236}">
                  <a16:creationId xmlns:a16="http://schemas.microsoft.com/office/drawing/2014/main" id="{9D67E338-C992-2A49-8DE1-EC0A086EEFFC}"/>
                </a:ext>
              </a:extLst>
            </p:cNvPr>
            <p:cNvSpPr/>
            <p:nvPr>
              <p:custDataLst>
                <p:tags r:id="rId230"/>
              </p:custDataLst>
            </p:nvPr>
          </p:nvSpPr>
          <p:spPr>
            <a:xfrm>
              <a:off x="7317024" y="1790331"/>
              <a:ext cx="699758" cy="313931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lIns="219456" tIns="45720" rIns="219456" bIns="45720" anchor="ctr">
              <a:spAutoFit/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97236">
                <a:spcBef>
                  <a:spcPct val="0"/>
                </a:spcBef>
                <a:spcAft>
                  <a:spcPct val="0"/>
                </a:spcAft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lang="en-US" sz="1400" b="1" dirty="0">
                  <a:solidFill>
                    <a:srgbClr val="FFFFFF"/>
                  </a:solidFill>
                  <a:latin typeface="Arial"/>
                  <a:cs typeface="Arial"/>
                </a:rPr>
                <a:t>15</a:t>
              </a:r>
              <a:endParaRPr lang="en-US" sz="144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32" name="TextBox 431">
              <a:extLst>
                <a:ext uri="{FF2B5EF4-FFF2-40B4-BE49-F238E27FC236}">
                  <a16:creationId xmlns:a16="http://schemas.microsoft.com/office/drawing/2014/main" id="{80B9D95B-64B7-534C-A7AA-16D52FA0B604}"/>
                </a:ext>
              </a:extLst>
            </p:cNvPr>
            <p:cNvSpPr txBox="1"/>
            <p:nvPr>
              <p:custDataLst>
                <p:tags r:id="rId231"/>
              </p:custDataLst>
            </p:nvPr>
          </p:nvSpPr>
          <p:spPr>
            <a:xfrm>
              <a:off x="6812812" y="1486153"/>
              <a:ext cx="164592" cy="164592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accent1"/>
              </a:solidFill>
            </a:ln>
            <a:effectLst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marR="0" indent="0" algn="ctr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840" b="1" i="0" u="none" strike="noStrike" kern="1200" cap="none" spc="0" normalizeH="0" baseline="0" noProof="0">
                  <a:solidFill>
                    <a:schemeClr val="accent1">
                      <a:lumMod val="75000"/>
                    </a:schemeClr>
                  </a:solidFill>
                  <a:uLnTx/>
                  <a:uFillTx/>
                  <a:latin typeface="Arial" pitchFamily="34" charset="0"/>
                  <a:ea typeface="Arial" pitchFamily="34" charset="0"/>
                  <a:cs typeface="Calibri" panose="020F0502020204030204" pitchFamily="34" charset="0"/>
                  <a:sym typeface="Wingdings" charset="2"/>
                </a:defRPr>
              </a:lvl1pPr>
              <a:lvl2pPr marL="5486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10972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6459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219456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274320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32918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38404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43891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defTabSz="1097236">
                <a:defRPr kumimoji="0" sz="840" b="1" i="0" u="none" strike="noStrike" cap="none" spc="0" normalizeH="0" baseline="0" noProof="0">
                  <a:solidFill>
                    <a:srgbClr val="471B77"/>
                  </a:solidFill>
                  <a:uLnTx/>
                  <a:uFillTx/>
                  <a:latin typeface="Arial" pitchFamily="34" charset="0"/>
                  <a:ea typeface="Arial" pitchFamily="34" charset="0"/>
                  <a:cs typeface="Calibri" panose="020F0502020204030204" pitchFamily="34" charset="0"/>
                  <a:sym typeface="Wingdings" charset="2"/>
                </a:defRPr>
              </a:pPr>
              <a:r>
                <a:rPr lang="en-US">
                  <a:solidFill>
                    <a:srgbClr val="6F2C91">
                      <a:lumMod val="75000"/>
                    </a:srgbClr>
                  </a:solidFill>
                </a:rPr>
                <a:t>8</a:t>
              </a:r>
            </a:p>
          </p:txBody>
        </p:sp>
      </p:grpSp>
      <p:pic>
        <p:nvPicPr>
          <p:cNvPr id="86021" name="Picture 5" descr="Hong Kong flag icon - Country flags"/>
          <p:cNvPicPr>
            <a:picLocks noChangeAspect="1" noChangeArrowheads="1"/>
          </p:cNvPicPr>
          <p:nvPr>
            <p:custDataLst>
              <p:tags r:id="rId39"/>
            </p:custDataLst>
          </p:nvPr>
        </p:nvPicPr>
        <p:blipFill>
          <a:blip r:embed="rId3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498239" y="1493952"/>
            <a:ext cx="313418" cy="3134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1" name="Группа 20"/>
          <p:cNvGrpSpPr/>
          <p:nvPr>
            <p:custDataLst>
              <p:tags r:id="rId40"/>
            </p:custDataLst>
          </p:nvPr>
        </p:nvGrpSpPr>
        <p:grpSpPr>
          <a:xfrm>
            <a:off x="8380498" y="2506707"/>
            <a:ext cx="4964080" cy="4181404"/>
            <a:chOff x="8406716" y="2179781"/>
            <a:chExt cx="4964080" cy="4181404"/>
          </a:xfrm>
        </p:grpSpPr>
        <p:grpSp>
          <p:nvGrpSpPr>
            <p:cNvPr id="10" name="Группа 9"/>
            <p:cNvGrpSpPr/>
            <p:nvPr>
              <p:custDataLst>
                <p:tags r:id="rId56"/>
              </p:custDataLst>
            </p:nvPr>
          </p:nvGrpSpPr>
          <p:grpSpPr>
            <a:xfrm>
              <a:off x="8406716" y="2179781"/>
              <a:ext cx="4964080" cy="4181404"/>
              <a:chOff x="8406715" y="2179780"/>
              <a:chExt cx="4964079" cy="4181403"/>
            </a:xfrm>
          </p:grpSpPr>
          <p:grpSp>
            <p:nvGrpSpPr>
              <p:cNvPr id="277" name="Group 4"/>
              <p:cNvGrpSpPr>
                <a:grpSpLocks noChangeAspect="1"/>
              </p:cNvGrpSpPr>
              <p:nvPr>
                <p:custDataLst>
                  <p:tags r:id="rId74"/>
                </p:custDataLst>
              </p:nvPr>
            </p:nvGrpSpPr>
            <p:grpSpPr>
              <a:xfrm>
                <a:off x="8406715" y="2179780"/>
                <a:ext cx="4964079" cy="4181403"/>
                <a:chOff x="2040" y="791"/>
                <a:chExt cx="3482" cy="2933"/>
              </a:xfrm>
            </p:grpSpPr>
            <p:sp>
              <p:nvSpPr>
                <p:cNvPr id="278" name="AutoShape 3"/>
                <p:cNvSpPr>
                  <a:spLocks noChangeAspect="1" noChangeArrowheads="1" noTextEdit="1"/>
                </p:cNvSpPr>
                <p:nvPr>
                  <p:custDataLst>
                    <p:tags r:id="rId76"/>
                  </p:custDataLst>
                </p:nvPr>
              </p:nvSpPr>
              <p:spPr bwMode="auto">
                <a:xfrm>
                  <a:off x="2237" y="923"/>
                  <a:ext cx="2323" cy="280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79" name="Freeform 5"/>
                <p:cNvSpPr/>
                <p:nvPr>
                  <p:custDataLst>
                    <p:tags r:id="rId77"/>
                  </p:custDataLst>
                </p:nvPr>
              </p:nvSpPr>
              <p:spPr bwMode="auto">
                <a:xfrm>
                  <a:off x="3088" y="2158"/>
                  <a:ext cx="6" cy="10"/>
                </a:xfrm>
                <a:custGeom>
                  <a:avLst/>
                  <a:gdLst>
                    <a:gd name="T0" fmla="*/ 4 w 15"/>
                    <a:gd name="T1" fmla="*/ 5 h 22"/>
                    <a:gd name="T2" fmla="*/ 3 w 15"/>
                    <a:gd name="T3" fmla="*/ 18 h 22"/>
                    <a:gd name="T4" fmla="*/ 13 w 15"/>
                    <a:gd name="T5" fmla="*/ 16 h 22"/>
                    <a:gd name="T6" fmla="*/ 4 w 15"/>
                    <a:gd name="T7" fmla="*/ 5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5" h="22">
                      <a:moveTo>
                        <a:pt x="4" y="5"/>
                      </a:moveTo>
                      <a:cubicBezTo>
                        <a:pt x="4" y="10"/>
                        <a:pt x="0" y="14"/>
                        <a:pt x="3" y="18"/>
                      </a:cubicBezTo>
                      <a:cubicBezTo>
                        <a:pt x="6" y="22"/>
                        <a:pt x="15" y="19"/>
                        <a:pt x="13" y="16"/>
                      </a:cubicBezTo>
                      <a:cubicBezTo>
                        <a:pt x="12" y="13"/>
                        <a:pt x="7" y="0"/>
                        <a:pt x="4" y="5"/>
                      </a:cubicBezTo>
                      <a:close/>
                    </a:path>
                  </a:pathLst>
                </a:custGeom>
                <a:solidFill>
                  <a:srgbClr val="E6E5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80" name="Freeform 6"/>
                <p:cNvSpPr/>
                <p:nvPr>
                  <p:custDataLst>
                    <p:tags r:id="rId78"/>
                  </p:custDataLst>
                </p:nvPr>
              </p:nvSpPr>
              <p:spPr bwMode="auto">
                <a:xfrm>
                  <a:off x="3122" y="2199"/>
                  <a:ext cx="8" cy="12"/>
                </a:xfrm>
                <a:custGeom>
                  <a:avLst/>
                  <a:gdLst>
                    <a:gd name="T0" fmla="*/ 7 w 18"/>
                    <a:gd name="T1" fmla="*/ 4 h 29"/>
                    <a:gd name="T2" fmla="*/ 5 w 18"/>
                    <a:gd name="T3" fmla="*/ 15 h 29"/>
                    <a:gd name="T4" fmla="*/ 15 w 18"/>
                    <a:gd name="T5" fmla="*/ 26 h 29"/>
                    <a:gd name="T6" fmla="*/ 16 w 18"/>
                    <a:gd name="T7" fmla="*/ 13 h 29"/>
                    <a:gd name="T8" fmla="*/ 7 w 18"/>
                    <a:gd name="T9" fmla="*/ 4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8" h="28">
                      <a:moveTo>
                        <a:pt x="7" y="4"/>
                      </a:moveTo>
                      <a:cubicBezTo>
                        <a:pt x="5" y="9"/>
                        <a:pt x="0" y="8"/>
                        <a:pt x="5" y="15"/>
                      </a:cubicBezTo>
                      <a:cubicBezTo>
                        <a:pt x="10" y="23"/>
                        <a:pt x="11" y="29"/>
                        <a:pt x="15" y="26"/>
                      </a:cubicBezTo>
                      <a:cubicBezTo>
                        <a:pt x="18" y="23"/>
                        <a:pt x="18" y="19"/>
                        <a:pt x="16" y="13"/>
                      </a:cubicBezTo>
                      <a:cubicBezTo>
                        <a:pt x="14" y="7"/>
                        <a:pt x="10" y="0"/>
                        <a:pt x="7" y="4"/>
                      </a:cubicBezTo>
                      <a:close/>
                    </a:path>
                  </a:pathLst>
                </a:custGeom>
                <a:solidFill>
                  <a:srgbClr val="E6E5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81" name="Freeform 7"/>
                <p:cNvSpPr/>
                <p:nvPr>
                  <p:custDataLst>
                    <p:tags r:id="rId79"/>
                  </p:custDataLst>
                </p:nvPr>
              </p:nvSpPr>
              <p:spPr bwMode="auto">
                <a:xfrm>
                  <a:off x="3133" y="2114"/>
                  <a:ext cx="4" cy="9"/>
                </a:xfrm>
                <a:custGeom>
                  <a:avLst/>
                  <a:gdLst>
                    <a:gd name="T0" fmla="*/ 3 w 10"/>
                    <a:gd name="T1" fmla="*/ 7 h 23"/>
                    <a:gd name="T2" fmla="*/ 1 w 10"/>
                    <a:gd name="T3" fmla="*/ 18 h 23"/>
                    <a:gd name="T4" fmla="*/ 9 w 10"/>
                    <a:gd name="T5" fmla="*/ 17 h 23"/>
                    <a:gd name="T6" fmla="*/ 3 w 10"/>
                    <a:gd name="T7" fmla="*/ 7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0" h="23">
                      <a:moveTo>
                        <a:pt x="3" y="7"/>
                      </a:moveTo>
                      <a:cubicBezTo>
                        <a:pt x="0" y="12"/>
                        <a:pt x="0" y="14"/>
                        <a:pt x="1" y="18"/>
                      </a:cubicBezTo>
                      <a:cubicBezTo>
                        <a:pt x="3" y="22"/>
                        <a:pt x="7" y="23"/>
                        <a:pt x="9" y="17"/>
                      </a:cubicBezTo>
                      <a:cubicBezTo>
                        <a:pt x="10" y="10"/>
                        <a:pt x="9" y="0"/>
                        <a:pt x="3" y="7"/>
                      </a:cubicBezTo>
                      <a:close/>
                    </a:path>
                  </a:pathLst>
                </a:custGeom>
                <a:solidFill>
                  <a:srgbClr val="E6E5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82" name="Freeform 8"/>
                <p:cNvSpPr/>
                <p:nvPr>
                  <p:custDataLst>
                    <p:tags r:id="rId80"/>
                  </p:custDataLst>
                </p:nvPr>
              </p:nvSpPr>
              <p:spPr bwMode="auto">
                <a:xfrm>
                  <a:off x="3067" y="1828"/>
                  <a:ext cx="213" cy="397"/>
                </a:xfrm>
                <a:custGeom>
                  <a:avLst/>
                  <a:gdLst>
                    <a:gd name="T0" fmla="*/ 471 w 497"/>
                    <a:gd name="T1" fmla="*/ 266 h 930"/>
                    <a:gd name="T2" fmla="*/ 448 w 497"/>
                    <a:gd name="T3" fmla="*/ 216 h 930"/>
                    <a:gd name="T4" fmla="*/ 438 w 497"/>
                    <a:gd name="T5" fmla="*/ 180 h 930"/>
                    <a:gd name="T6" fmla="*/ 379 w 497"/>
                    <a:gd name="T7" fmla="*/ 129 h 930"/>
                    <a:gd name="T8" fmla="*/ 335 w 497"/>
                    <a:gd name="T9" fmla="*/ 156 h 930"/>
                    <a:gd name="T10" fmla="*/ 282 w 497"/>
                    <a:gd name="T11" fmla="*/ 146 h 930"/>
                    <a:gd name="T12" fmla="*/ 223 w 497"/>
                    <a:gd name="T13" fmla="*/ 186 h 930"/>
                    <a:gd name="T14" fmla="*/ 227 w 497"/>
                    <a:gd name="T15" fmla="*/ 141 h 930"/>
                    <a:gd name="T16" fmla="*/ 233 w 497"/>
                    <a:gd name="T17" fmla="*/ 99 h 930"/>
                    <a:gd name="T18" fmla="*/ 226 w 497"/>
                    <a:gd name="T19" fmla="*/ 59 h 930"/>
                    <a:gd name="T20" fmla="*/ 182 w 497"/>
                    <a:gd name="T21" fmla="*/ 45 h 930"/>
                    <a:gd name="T22" fmla="*/ 176 w 497"/>
                    <a:gd name="T23" fmla="*/ 4 h 930"/>
                    <a:gd name="T24" fmla="*/ 165 w 497"/>
                    <a:gd name="T25" fmla="*/ 0 h 930"/>
                    <a:gd name="T26" fmla="*/ 137 w 497"/>
                    <a:gd name="T27" fmla="*/ 4 h 930"/>
                    <a:gd name="T28" fmla="*/ 126 w 497"/>
                    <a:gd name="T29" fmla="*/ 14 h 930"/>
                    <a:gd name="T30" fmla="*/ 96 w 497"/>
                    <a:gd name="T31" fmla="*/ 39 h 930"/>
                    <a:gd name="T32" fmla="*/ 42 w 497"/>
                    <a:gd name="T33" fmla="*/ 40 h 930"/>
                    <a:gd name="T34" fmla="*/ 28 w 497"/>
                    <a:gd name="T35" fmla="*/ 72 h 930"/>
                    <a:gd name="T36" fmla="*/ 23 w 497"/>
                    <a:gd name="T37" fmla="*/ 101 h 930"/>
                    <a:gd name="T38" fmla="*/ 0 w 497"/>
                    <a:gd name="T39" fmla="*/ 122 h 930"/>
                    <a:gd name="T40" fmla="*/ 22 w 497"/>
                    <a:gd name="T41" fmla="*/ 161 h 930"/>
                    <a:gd name="T42" fmla="*/ 53 w 497"/>
                    <a:gd name="T43" fmla="*/ 205 h 930"/>
                    <a:gd name="T44" fmla="*/ 79 w 497"/>
                    <a:gd name="T45" fmla="*/ 246 h 930"/>
                    <a:gd name="T46" fmla="*/ 92 w 497"/>
                    <a:gd name="T47" fmla="*/ 264 h 930"/>
                    <a:gd name="T48" fmla="*/ 74 w 497"/>
                    <a:gd name="T49" fmla="*/ 283 h 930"/>
                    <a:gd name="T50" fmla="*/ 62 w 497"/>
                    <a:gd name="T51" fmla="*/ 328 h 930"/>
                    <a:gd name="T52" fmla="*/ 51 w 497"/>
                    <a:gd name="T53" fmla="*/ 336 h 930"/>
                    <a:gd name="T54" fmla="*/ 94 w 497"/>
                    <a:gd name="T55" fmla="*/ 401 h 930"/>
                    <a:gd name="T56" fmla="*/ 110 w 497"/>
                    <a:gd name="T57" fmla="*/ 454 h 930"/>
                    <a:gd name="T58" fmla="*/ 128 w 497"/>
                    <a:gd name="T59" fmla="*/ 506 h 930"/>
                    <a:gd name="T60" fmla="*/ 114 w 497"/>
                    <a:gd name="T61" fmla="*/ 583 h 930"/>
                    <a:gd name="T62" fmla="*/ 85 w 497"/>
                    <a:gd name="T63" fmla="*/ 626 h 930"/>
                    <a:gd name="T64" fmla="*/ 61 w 497"/>
                    <a:gd name="T65" fmla="*/ 680 h 930"/>
                    <a:gd name="T66" fmla="*/ 46 w 497"/>
                    <a:gd name="T67" fmla="*/ 749 h 930"/>
                    <a:gd name="T68" fmla="*/ 95 w 497"/>
                    <a:gd name="T69" fmla="*/ 778 h 930"/>
                    <a:gd name="T70" fmla="*/ 131 w 497"/>
                    <a:gd name="T71" fmla="*/ 827 h 930"/>
                    <a:gd name="T72" fmla="*/ 159 w 497"/>
                    <a:gd name="T73" fmla="*/ 876 h 930"/>
                    <a:gd name="T74" fmla="*/ 285 w 497"/>
                    <a:gd name="T75" fmla="*/ 918 h 930"/>
                    <a:gd name="T76" fmla="*/ 243 w 497"/>
                    <a:gd name="T77" fmla="*/ 848 h 930"/>
                    <a:gd name="T78" fmla="*/ 182 w 497"/>
                    <a:gd name="T79" fmla="*/ 831 h 930"/>
                    <a:gd name="T80" fmla="*/ 177 w 497"/>
                    <a:gd name="T81" fmla="*/ 804 h 930"/>
                    <a:gd name="T82" fmla="*/ 158 w 497"/>
                    <a:gd name="T83" fmla="*/ 742 h 930"/>
                    <a:gd name="T84" fmla="*/ 112 w 497"/>
                    <a:gd name="T85" fmla="*/ 700 h 930"/>
                    <a:gd name="T86" fmla="*/ 106 w 497"/>
                    <a:gd name="T87" fmla="*/ 630 h 930"/>
                    <a:gd name="T88" fmla="*/ 155 w 497"/>
                    <a:gd name="T89" fmla="*/ 529 h 930"/>
                    <a:gd name="T90" fmla="*/ 155 w 497"/>
                    <a:gd name="T91" fmla="*/ 452 h 930"/>
                    <a:gd name="T92" fmla="*/ 199 w 497"/>
                    <a:gd name="T93" fmla="*/ 434 h 930"/>
                    <a:gd name="T94" fmla="*/ 208 w 497"/>
                    <a:gd name="T95" fmla="*/ 481 h 930"/>
                    <a:gd name="T96" fmla="*/ 282 w 497"/>
                    <a:gd name="T97" fmla="*/ 501 h 930"/>
                    <a:gd name="T98" fmla="*/ 317 w 497"/>
                    <a:gd name="T99" fmla="*/ 523 h 930"/>
                    <a:gd name="T100" fmla="*/ 324 w 497"/>
                    <a:gd name="T101" fmla="*/ 508 h 930"/>
                    <a:gd name="T102" fmla="*/ 310 w 497"/>
                    <a:gd name="T103" fmla="*/ 464 h 930"/>
                    <a:gd name="T104" fmla="*/ 315 w 497"/>
                    <a:gd name="T105" fmla="*/ 420 h 930"/>
                    <a:gd name="T106" fmla="*/ 390 w 497"/>
                    <a:gd name="T107" fmla="*/ 375 h 930"/>
                    <a:gd name="T108" fmla="*/ 475 w 497"/>
                    <a:gd name="T109" fmla="*/ 386 h 930"/>
                    <a:gd name="T110" fmla="*/ 494 w 497"/>
                    <a:gd name="T111" fmla="*/ 320 h 9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497" h="930">
                      <a:moveTo>
                        <a:pt x="496" y="302"/>
                      </a:moveTo>
                      <a:cubicBezTo>
                        <a:pt x="494" y="293"/>
                        <a:pt x="492" y="288"/>
                        <a:pt x="489" y="284"/>
                      </a:cubicBezTo>
                      <a:cubicBezTo>
                        <a:pt x="488" y="283"/>
                        <a:pt x="488" y="281"/>
                        <a:pt x="487" y="280"/>
                      </a:cubicBezTo>
                      <a:cubicBezTo>
                        <a:pt x="485" y="276"/>
                        <a:pt x="478" y="271"/>
                        <a:pt x="471" y="266"/>
                      </a:cubicBezTo>
                      <a:cubicBezTo>
                        <a:pt x="468" y="263"/>
                        <a:pt x="464" y="260"/>
                        <a:pt x="461" y="258"/>
                      </a:cubicBezTo>
                      <a:cubicBezTo>
                        <a:pt x="457" y="254"/>
                        <a:pt x="454" y="250"/>
                        <a:pt x="452" y="247"/>
                      </a:cubicBezTo>
                      <a:cubicBezTo>
                        <a:pt x="449" y="243"/>
                        <a:pt x="448" y="239"/>
                        <a:pt x="448" y="234"/>
                      </a:cubicBezTo>
                      <a:cubicBezTo>
                        <a:pt x="447" y="228"/>
                        <a:pt x="447" y="222"/>
                        <a:pt x="448" y="216"/>
                      </a:cubicBezTo>
                      <a:cubicBezTo>
                        <a:pt x="448" y="212"/>
                        <a:pt x="448" y="209"/>
                        <a:pt x="448" y="205"/>
                      </a:cubicBezTo>
                      <a:cubicBezTo>
                        <a:pt x="448" y="201"/>
                        <a:pt x="449" y="198"/>
                        <a:pt x="449" y="196"/>
                      </a:cubicBezTo>
                      <a:cubicBezTo>
                        <a:pt x="449" y="193"/>
                        <a:pt x="449" y="192"/>
                        <a:pt x="448" y="190"/>
                      </a:cubicBezTo>
                      <a:cubicBezTo>
                        <a:pt x="446" y="188"/>
                        <a:pt x="442" y="184"/>
                        <a:pt x="438" y="180"/>
                      </a:cubicBezTo>
                      <a:cubicBezTo>
                        <a:pt x="433" y="175"/>
                        <a:pt x="428" y="170"/>
                        <a:pt x="424" y="165"/>
                      </a:cubicBezTo>
                      <a:cubicBezTo>
                        <a:pt x="421" y="162"/>
                        <a:pt x="419" y="159"/>
                        <a:pt x="417" y="155"/>
                      </a:cubicBezTo>
                      <a:cubicBezTo>
                        <a:pt x="412" y="147"/>
                        <a:pt x="406" y="138"/>
                        <a:pt x="398" y="134"/>
                      </a:cubicBezTo>
                      <a:cubicBezTo>
                        <a:pt x="393" y="131"/>
                        <a:pt x="385" y="130"/>
                        <a:pt x="379" y="129"/>
                      </a:cubicBezTo>
                      <a:cubicBezTo>
                        <a:pt x="372" y="129"/>
                        <a:pt x="366" y="130"/>
                        <a:pt x="364" y="132"/>
                      </a:cubicBezTo>
                      <a:cubicBezTo>
                        <a:pt x="361" y="134"/>
                        <a:pt x="355" y="139"/>
                        <a:pt x="350" y="144"/>
                      </a:cubicBezTo>
                      <a:cubicBezTo>
                        <a:pt x="344" y="149"/>
                        <a:pt x="338" y="155"/>
                        <a:pt x="335" y="156"/>
                      </a:cubicBezTo>
                      <a:cubicBezTo>
                        <a:pt x="335" y="156"/>
                        <a:pt x="335" y="156"/>
                        <a:pt x="335" y="156"/>
                      </a:cubicBezTo>
                      <a:cubicBezTo>
                        <a:pt x="334" y="157"/>
                        <a:pt x="333" y="157"/>
                        <a:pt x="333" y="158"/>
                      </a:cubicBezTo>
                      <a:cubicBezTo>
                        <a:pt x="329" y="161"/>
                        <a:pt x="325" y="165"/>
                        <a:pt x="312" y="160"/>
                      </a:cubicBezTo>
                      <a:cubicBezTo>
                        <a:pt x="305" y="158"/>
                        <a:pt x="299" y="155"/>
                        <a:pt x="294" y="152"/>
                      </a:cubicBezTo>
                      <a:cubicBezTo>
                        <a:pt x="288" y="148"/>
                        <a:pt x="284" y="145"/>
                        <a:pt x="282" y="146"/>
                      </a:cubicBezTo>
                      <a:cubicBezTo>
                        <a:pt x="280" y="147"/>
                        <a:pt x="276" y="150"/>
                        <a:pt x="271" y="154"/>
                      </a:cubicBezTo>
                      <a:cubicBezTo>
                        <a:pt x="265" y="159"/>
                        <a:pt x="257" y="167"/>
                        <a:pt x="251" y="173"/>
                      </a:cubicBezTo>
                      <a:cubicBezTo>
                        <a:pt x="245" y="179"/>
                        <a:pt x="241" y="182"/>
                        <a:pt x="236" y="184"/>
                      </a:cubicBezTo>
                      <a:cubicBezTo>
                        <a:pt x="231" y="186"/>
                        <a:pt x="227" y="187"/>
                        <a:pt x="223" y="186"/>
                      </a:cubicBezTo>
                      <a:cubicBezTo>
                        <a:pt x="218" y="184"/>
                        <a:pt x="215" y="182"/>
                        <a:pt x="214" y="178"/>
                      </a:cubicBezTo>
                      <a:cubicBezTo>
                        <a:pt x="213" y="175"/>
                        <a:pt x="214" y="172"/>
                        <a:pt x="214" y="168"/>
                      </a:cubicBezTo>
                      <a:cubicBezTo>
                        <a:pt x="215" y="164"/>
                        <a:pt x="217" y="159"/>
                        <a:pt x="219" y="154"/>
                      </a:cubicBezTo>
                      <a:cubicBezTo>
                        <a:pt x="221" y="149"/>
                        <a:pt x="224" y="144"/>
                        <a:pt x="227" y="141"/>
                      </a:cubicBezTo>
                      <a:cubicBezTo>
                        <a:pt x="228" y="140"/>
                        <a:pt x="227" y="138"/>
                        <a:pt x="226" y="135"/>
                      </a:cubicBezTo>
                      <a:cubicBezTo>
                        <a:pt x="225" y="132"/>
                        <a:pt x="225" y="129"/>
                        <a:pt x="224" y="125"/>
                      </a:cubicBezTo>
                      <a:cubicBezTo>
                        <a:pt x="223" y="117"/>
                        <a:pt x="226" y="112"/>
                        <a:pt x="229" y="105"/>
                      </a:cubicBezTo>
                      <a:cubicBezTo>
                        <a:pt x="230" y="104"/>
                        <a:pt x="232" y="102"/>
                        <a:pt x="233" y="99"/>
                      </a:cubicBezTo>
                      <a:cubicBezTo>
                        <a:pt x="234" y="96"/>
                        <a:pt x="234" y="91"/>
                        <a:pt x="234" y="86"/>
                      </a:cubicBezTo>
                      <a:cubicBezTo>
                        <a:pt x="234" y="77"/>
                        <a:pt x="233" y="68"/>
                        <a:pt x="232" y="65"/>
                      </a:cubicBezTo>
                      <a:cubicBezTo>
                        <a:pt x="232" y="65"/>
                        <a:pt x="232" y="65"/>
                        <a:pt x="232" y="65"/>
                      </a:cubicBezTo>
                      <a:cubicBezTo>
                        <a:pt x="231" y="64"/>
                        <a:pt x="229" y="61"/>
                        <a:pt x="226" y="59"/>
                      </a:cubicBezTo>
                      <a:cubicBezTo>
                        <a:pt x="224" y="58"/>
                        <a:pt x="221" y="57"/>
                        <a:pt x="218" y="58"/>
                      </a:cubicBezTo>
                      <a:cubicBezTo>
                        <a:pt x="213" y="60"/>
                        <a:pt x="207" y="60"/>
                        <a:pt x="202" y="59"/>
                      </a:cubicBezTo>
                      <a:cubicBezTo>
                        <a:pt x="197" y="58"/>
                        <a:pt x="192" y="56"/>
                        <a:pt x="188" y="53"/>
                      </a:cubicBezTo>
                      <a:cubicBezTo>
                        <a:pt x="185" y="50"/>
                        <a:pt x="183" y="48"/>
                        <a:pt x="182" y="45"/>
                      </a:cubicBezTo>
                      <a:cubicBezTo>
                        <a:pt x="181" y="42"/>
                        <a:pt x="181" y="38"/>
                        <a:pt x="181" y="34"/>
                      </a:cubicBezTo>
                      <a:cubicBezTo>
                        <a:pt x="182" y="32"/>
                        <a:pt x="182" y="29"/>
                        <a:pt x="183" y="26"/>
                      </a:cubicBezTo>
                      <a:cubicBezTo>
                        <a:pt x="185" y="21"/>
                        <a:pt x="186" y="16"/>
                        <a:pt x="185" y="13"/>
                      </a:cubicBezTo>
                      <a:cubicBezTo>
                        <a:pt x="183" y="8"/>
                        <a:pt x="180" y="6"/>
                        <a:pt x="176" y="4"/>
                      </a:cubicBezTo>
                      <a:cubicBezTo>
                        <a:pt x="175" y="4"/>
                        <a:pt x="175" y="4"/>
                        <a:pt x="175" y="4"/>
                      </a:cubicBezTo>
                      <a:cubicBezTo>
                        <a:pt x="175" y="4"/>
                        <a:pt x="175" y="4"/>
                        <a:pt x="175" y="4"/>
                      </a:cubicBezTo>
                      <a:cubicBezTo>
                        <a:pt x="172" y="2"/>
                        <a:pt x="170" y="1"/>
                        <a:pt x="168" y="1"/>
                      </a:cubicBezTo>
                      <a:cubicBezTo>
                        <a:pt x="167" y="0"/>
                        <a:pt x="166" y="0"/>
                        <a:pt x="165" y="0"/>
                      </a:cubicBezTo>
                      <a:cubicBezTo>
                        <a:pt x="165" y="0"/>
                        <a:pt x="164" y="1"/>
                        <a:pt x="162" y="2"/>
                      </a:cubicBezTo>
                      <a:cubicBezTo>
                        <a:pt x="156" y="4"/>
                        <a:pt x="153" y="2"/>
                        <a:pt x="150" y="1"/>
                      </a:cubicBezTo>
                      <a:cubicBezTo>
                        <a:pt x="150" y="0"/>
                        <a:pt x="150" y="0"/>
                        <a:pt x="149" y="0"/>
                      </a:cubicBezTo>
                      <a:cubicBezTo>
                        <a:pt x="148" y="0"/>
                        <a:pt x="144" y="2"/>
                        <a:pt x="137" y="4"/>
                      </a:cubicBezTo>
                      <a:cubicBezTo>
                        <a:pt x="135" y="5"/>
                        <a:pt x="135" y="5"/>
                        <a:pt x="135" y="5"/>
                      </a:cubicBezTo>
                      <a:cubicBezTo>
                        <a:pt x="135" y="5"/>
                        <a:pt x="135" y="5"/>
                        <a:pt x="135" y="5"/>
                      </a:cubicBezTo>
                      <a:cubicBezTo>
                        <a:pt x="131" y="6"/>
                        <a:pt x="131" y="6"/>
                        <a:pt x="131" y="7"/>
                      </a:cubicBezTo>
                      <a:cubicBezTo>
                        <a:pt x="130" y="9"/>
                        <a:pt x="129" y="11"/>
                        <a:pt x="126" y="14"/>
                      </a:cubicBezTo>
                      <a:cubicBezTo>
                        <a:pt x="122" y="19"/>
                        <a:pt x="117" y="18"/>
                        <a:pt x="112" y="18"/>
                      </a:cubicBezTo>
                      <a:cubicBezTo>
                        <a:pt x="110" y="18"/>
                        <a:pt x="108" y="17"/>
                        <a:pt x="107" y="18"/>
                      </a:cubicBezTo>
                      <a:cubicBezTo>
                        <a:pt x="105" y="19"/>
                        <a:pt x="103" y="23"/>
                        <a:pt x="102" y="27"/>
                      </a:cubicBezTo>
                      <a:cubicBezTo>
                        <a:pt x="100" y="31"/>
                        <a:pt x="99" y="36"/>
                        <a:pt x="96" y="39"/>
                      </a:cubicBezTo>
                      <a:cubicBezTo>
                        <a:pt x="93" y="42"/>
                        <a:pt x="89" y="45"/>
                        <a:pt x="84" y="47"/>
                      </a:cubicBezTo>
                      <a:cubicBezTo>
                        <a:pt x="80" y="48"/>
                        <a:pt x="74" y="49"/>
                        <a:pt x="65" y="49"/>
                      </a:cubicBezTo>
                      <a:cubicBezTo>
                        <a:pt x="53" y="48"/>
                        <a:pt x="48" y="44"/>
                        <a:pt x="44" y="41"/>
                      </a:cubicBezTo>
                      <a:cubicBezTo>
                        <a:pt x="43" y="40"/>
                        <a:pt x="42" y="40"/>
                        <a:pt x="42" y="40"/>
                      </a:cubicBezTo>
                      <a:cubicBezTo>
                        <a:pt x="40" y="40"/>
                        <a:pt x="39" y="41"/>
                        <a:pt x="38" y="42"/>
                      </a:cubicBezTo>
                      <a:cubicBezTo>
                        <a:pt x="36" y="44"/>
                        <a:pt x="34" y="47"/>
                        <a:pt x="32" y="50"/>
                      </a:cubicBezTo>
                      <a:cubicBezTo>
                        <a:pt x="30" y="53"/>
                        <a:pt x="30" y="57"/>
                        <a:pt x="30" y="60"/>
                      </a:cubicBezTo>
                      <a:cubicBezTo>
                        <a:pt x="30" y="64"/>
                        <a:pt x="30" y="68"/>
                        <a:pt x="28" y="72"/>
                      </a:cubicBezTo>
                      <a:cubicBezTo>
                        <a:pt x="28" y="72"/>
                        <a:pt x="28" y="72"/>
                        <a:pt x="28" y="72"/>
                      </a:cubicBezTo>
                      <a:cubicBezTo>
                        <a:pt x="27" y="76"/>
                        <a:pt x="26" y="79"/>
                        <a:pt x="25" y="82"/>
                      </a:cubicBezTo>
                      <a:cubicBezTo>
                        <a:pt x="24" y="85"/>
                        <a:pt x="23" y="88"/>
                        <a:pt x="23" y="93"/>
                      </a:cubicBezTo>
                      <a:cubicBezTo>
                        <a:pt x="23" y="96"/>
                        <a:pt x="23" y="99"/>
                        <a:pt x="23" y="101"/>
                      </a:cubicBezTo>
                      <a:cubicBezTo>
                        <a:pt x="24" y="109"/>
                        <a:pt x="25" y="114"/>
                        <a:pt x="16" y="118"/>
                      </a:cubicBezTo>
                      <a:cubicBezTo>
                        <a:pt x="12" y="119"/>
                        <a:pt x="8" y="120"/>
                        <a:pt x="5" y="120"/>
                      </a:cubicBezTo>
                      <a:cubicBezTo>
                        <a:pt x="3" y="120"/>
                        <a:pt x="1" y="120"/>
                        <a:pt x="0" y="121"/>
                      </a:cubicBezTo>
                      <a:cubicBezTo>
                        <a:pt x="0" y="121"/>
                        <a:pt x="0" y="121"/>
                        <a:pt x="0" y="122"/>
                      </a:cubicBezTo>
                      <a:cubicBezTo>
                        <a:pt x="1" y="124"/>
                        <a:pt x="3" y="126"/>
                        <a:pt x="8" y="131"/>
                      </a:cubicBezTo>
                      <a:cubicBezTo>
                        <a:pt x="20" y="141"/>
                        <a:pt x="20" y="143"/>
                        <a:pt x="21" y="150"/>
                      </a:cubicBezTo>
                      <a:cubicBezTo>
                        <a:pt x="21" y="151"/>
                        <a:pt x="21" y="151"/>
                        <a:pt x="21" y="151"/>
                      </a:cubicBezTo>
                      <a:cubicBezTo>
                        <a:pt x="21" y="154"/>
                        <a:pt x="21" y="158"/>
                        <a:pt x="22" y="161"/>
                      </a:cubicBezTo>
                      <a:cubicBezTo>
                        <a:pt x="23" y="163"/>
                        <a:pt x="23" y="165"/>
                        <a:pt x="24" y="165"/>
                      </a:cubicBezTo>
                      <a:cubicBezTo>
                        <a:pt x="25" y="166"/>
                        <a:pt x="31" y="175"/>
                        <a:pt x="37" y="183"/>
                      </a:cubicBezTo>
                      <a:cubicBezTo>
                        <a:pt x="44" y="193"/>
                        <a:pt x="52" y="204"/>
                        <a:pt x="53" y="205"/>
                      </a:cubicBezTo>
                      <a:cubicBezTo>
                        <a:pt x="53" y="205"/>
                        <a:pt x="53" y="205"/>
                        <a:pt x="53" y="205"/>
                      </a:cubicBezTo>
                      <a:cubicBezTo>
                        <a:pt x="55" y="206"/>
                        <a:pt x="55" y="206"/>
                        <a:pt x="55" y="206"/>
                      </a:cubicBezTo>
                      <a:cubicBezTo>
                        <a:pt x="59" y="210"/>
                        <a:pt x="69" y="218"/>
                        <a:pt x="72" y="222"/>
                      </a:cubicBezTo>
                      <a:cubicBezTo>
                        <a:pt x="74" y="224"/>
                        <a:pt x="75" y="230"/>
                        <a:pt x="76" y="236"/>
                      </a:cubicBezTo>
                      <a:cubicBezTo>
                        <a:pt x="77" y="240"/>
                        <a:pt x="78" y="244"/>
                        <a:pt x="79" y="246"/>
                      </a:cubicBezTo>
                      <a:cubicBezTo>
                        <a:pt x="79" y="247"/>
                        <a:pt x="80" y="248"/>
                        <a:pt x="81" y="248"/>
                      </a:cubicBezTo>
                      <a:cubicBezTo>
                        <a:pt x="83" y="248"/>
                        <a:pt x="86" y="248"/>
                        <a:pt x="88" y="249"/>
                      </a:cubicBezTo>
                      <a:cubicBezTo>
                        <a:pt x="94" y="253"/>
                        <a:pt x="94" y="256"/>
                        <a:pt x="93" y="261"/>
                      </a:cubicBezTo>
                      <a:cubicBezTo>
                        <a:pt x="93" y="262"/>
                        <a:pt x="93" y="263"/>
                        <a:pt x="92" y="264"/>
                      </a:cubicBezTo>
                      <a:cubicBezTo>
                        <a:pt x="92" y="267"/>
                        <a:pt x="91" y="270"/>
                        <a:pt x="89" y="272"/>
                      </a:cubicBezTo>
                      <a:cubicBezTo>
                        <a:pt x="87" y="274"/>
                        <a:pt x="84" y="275"/>
                        <a:pt x="82" y="276"/>
                      </a:cubicBezTo>
                      <a:cubicBezTo>
                        <a:pt x="80" y="277"/>
                        <a:pt x="80" y="277"/>
                        <a:pt x="80" y="277"/>
                      </a:cubicBezTo>
                      <a:cubicBezTo>
                        <a:pt x="77" y="279"/>
                        <a:pt x="74" y="280"/>
                        <a:pt x="74" y="283"/>
                      </a:cubicBezTo>
                      <a:cubicBezTo>
                        <a:pt x="73" y="285"/>
                        <a:pt x="74" y="288"/>
                        <a:pt x="74" y="292"/>
                      </a:cubicBezTo>
                      <a:cubicBezTo>
                        <a:pt x="74" y="298"/>
                        <a:pt x="75" y="304"/>
                        <a:pt x="74" y="310"/>
                      </a:cubicBezTo>
                      <a:cubicBezTo>
                        <a:pt x="73" y="312"/>
                        <a:pt x="73" y="313"/>
                        <a:pt x="73" y="315"/>
                      </a:cubicBezTo>
                      <a:cubicBezTo>
                        <a:pt x="71" y="321"/>
                        <a:pt x="71" y="325"/>
                        <a:pt x="62" y="328"/>
                      </a:cubicBezTo>
                      <a:cubicBezTo>
                        <a:pt x="62" y="328"/>
                        <a:pt x="62" y="328"/>
                        <a:pt x="62" y="328"/>
                      </a:cubicBezTo>
                      <a:cubicBezTo>
                        <a:pt x="60" y="329"/>
                        <a:pt x="60" y="329"/>
                        <a:pt x="60" y="329"/>
                      </a:cubicBezTo>
                      <a:cubicBezTo>
                        <a:pt x="60" y="329"/>
                        <a:pt x="60" y="329"/>
                        <a:pt x="60" y="329"/>
                      </a:cubicBezTo>
                      <a:cubicBezTo>
                        <a:pt x="54" y="331"/>
                        <a:pt x="51" y="332"/>
                        <a:pt x="51" y="336"/>
                      </a:cubicBezTo>
                      <a:cubicBezTo>
                        <a:pt x="50" y="342"/>
                        <a:pt x="55" y="351"/>
                        <a:pt x="58" y="358"/>
                      </a:cubicBezTo>
                      <a:cubicBezTo>
                        <a:pt x="59" y="360"/>
                        <a:pt x="59" y="360"/>
                        <a:pt x="59" y="360"/>
                      </a:cubicBezTo>
                      <a:cubicBezTo>
                        <a:pt x="59" y="360"/>
                        <a:pt x="59" y="360"/>
                        <a:pt x="59" y="360"/>
                      </a:cubicBezTo>
                      <a:cubicBezTo>
                        <a:pt x="61" y="365"/>
                        <a:pt x="81" y="387"/>
                        <a:pt x="94" y="401"/>
                      </a:cubicBezTo>
                      <a:cubicBezTo>
                        <a:pt x="98" y="406"/>
                        <a:pt x="101" y="410"/>
                        <a:pt x="104" y="413"/>
                      </a:cubicBezTo>
                      <a:cubicBezTo>
                        <a:pt x="111" y="422"/>
                        <a:pt x="111" y="424"/>
                        <a:pt x="111" y="430"/>
                      </a:cubicBezTo>
                      <a:cubicBezTo>
                        <a:pt x="111" y="432"/>
                        <a:pt x="111" y="435"/>
                        <a:pt x="111" y="438"/>
                      </a:cubicBezTo>
                      <a:cubicBezTo>
                        <a:pt x="112" y="446"/>
                        <a:pt x="111" y="450"/>
                        <a:pt x="110" y="454"/>
                      </a:cubicBezTo>
                      <a:cubicBezTo>
                        <a:pt x="109" y="456"/>
                        <a:pt x="108" y="460"/>
                        <a:pt x="108" y="465"/>
                      </a:cubicBezTo>
                      <a:cubicBezTo>
                        <a:pt x="108" y="473"/>
                        <a:pt x="110" y="476"/>
                        <a:pt x="114" y="481"/>
                      </a:cubicBezTo>
                      <a:cubicBezTo>
                        <a:pt x="116" y="483"/>
                        <a:pt x="119" y="485"/>
                        <a:pt x="121" y="489"/>
                      </a:cubicBezTo>
                      <a:cubicBezTo>
                        <a:pt x="126" y="497"/>
                        <a:pt x="127" y="501"/>
                        <a:pt x="128" y="506"/>
                      </a:cubicBezTo>
                      <a:cubicBezTo>
                        <a:pt x="129" y="508"/>
                        <a:pt x="129" y="510"/>
                        <a:pt x="131" y="514"/>
                      </a:cubicBezTo>
                      <a:cubicBezTo>
                        <a:pt x="133" y="520"/>
                        <a:pt x="134" y="526"/>
                        <a:pt x="135" y="532"/>
                      </a:cubicBezTo>
                      <a:cubicBezTo>
                        <a:pt x="136" y="538"/>
                        <a:pt x="136" y="543"/>
                        <a:pt x="135" y="549"/>
                      </a:cubicBezTo>
                      <a:cubicBezTo>
                        <a:pt x="134" y="559"/>
                        <a:pt x="122" y="573"/>
                        <a:pt x="114" y="583"/>
                      </a:cubicBezTo>
                      <a:cubicBezTo>
                        <a:pt x="113" y="585"/>
                        <a:pt x="111" y="587"/>
                        <a:pt x="110" y="588"/>
                      </a:cubicBezTo>
                      <a:cubicBezTo>
                        <a:pt x="107" y="592"/>
                        <a:pt x="104" y="596"/>
                        <a:pt x="101" y="599"/>
                      </a:cubicBezTo>
                      <a:cubicBezTo>
                        <a:pt x="97" y="603"/>
                        <a:pt x="94" y="608"/>
                        <a:pt x="90" y="613"/>
                      </a:cubicBezTo>
                      <a:cubicBezTo>
                        <a:pt x="86" y="618"/>
                        <a:pt x="86" y="622"/>
                        <a:pt x="85" y="626"/>
                      </a:cubicBezTo>
                      <a:cubicBezTo>
                        <a:pt x="85" y="629"/>
                        <a:pt x="85" y="632"/>
                        <a:pt x="84" y="635"/>
                      </a:cubicBezTo>
                      <a:cubicBezTo>
                        <a:pt x="82" y="641"/>
                        <a:pt x="75" y="649"/>
                        <a:pt x="70" y="655"/>
                      </a:cubicBezTo>
                      <a:cubicBezTo>
                        <a:pt x="71" y="659"/>
                        <a:pt x="71" y="661"/>
                        <a:pt x="70" y="662"/>
                      </a:cubicBezTo>
                      <a:cubicBezTo>
                        <a:pt x="68" y="667"/>
                        <a:pt x="64" y="673"/>
                        <a:pt x="61" y="680"/>
                      </a:cubicBezTo>
                      <a:cubicBezTo>
                        <a:pt x="59" y="688"/>
                        <a:pt x="58" y="693"/>
                        <a:pt x="55" y="698"/>
                      </a:cubicBezTo>
                      <a:cubicBezTo>
                        <a:pt x="53" y="703"/>
                        <a:pt x="51" y="706"/>
                        <a:pt x="50" y="713"/>
                      </a:cubicBezTo>
                      <a:cubicBezTo>
                        <a:pt x="50" y="719"/>
                        <a:pt x="50" y="721"/>
                        <a:pt x="47" y="727"/>
                      </a:cubicBezTo>
                      <a:cubicBezTo>
                        <a:pt x="44" y="733"/>
                        <a:pt x="45" y="740"/>
                        <a:pt x="46" y="749"/>
                      </a:cubicBezTo>
                      <a:cubicBezTo>
                        <a:pt x="46" y="757"/>
                        <a:pt x="46" y="763"/>
                        <a:pt x="50" y="766"/>
                      </a:cubicBezTo>
                      <a:cubicBezTo>
                        <a:pt x="55" y="768"/>
                        <a:pt x="56" y="761"/>
                        <a:pt x="60" y="758"/>
                      </a:cubicBezTo>
                      <a:cubicBezTo>
                        <a:pt x="65" y="755"/>
                        <a:pt x="70" y="755"/>
                        <a:pt x="79" y="759"/>
                      </a:cubicBezTo>
                      <a:cubicBezTo>
                        <a:pt x="88" y="764"/>
                        <a:pt x="87" y="766"/>
                        <a:pt x="95" y="778"/>
                      </a:cubicBezTo>
                      <a:cubicBezTo>
                        <a:pt x="104" y="790"/>
                        <a:pt x="100" y="797"/>
                        <a:pt x="102" y="800"/>
                      </a:cubicBezTo>
                      <a:cubicBezTo>
                        <a:pt x="104" y="804"/>
                        <a:pt x="115" y="803"/>
                        <a:pt x="117" y="806"/>
                      </a:cubicBezTo>
                      <a:cubicBezTo>
                        <a:pt x="119" y="809"/>
                        <a:pt x="118" y="814"/>
                        <a:pt x="121" y="818"/>
                      </a:cubicBezTo>
                      <a:cubicBezTo>
                        <a:pt x="124" y="822"/>
                        <a:pt x="131" y="822"/>
                        <a:pt x="131" y="827"/>
                      </a:cubicBezTo>
                      <a:cubicBezTo>
                        <a:pt x="131" y="833"/>
                        <a:pt x="138" y="833"/>
                        <a:pt x="141" y="838"/>
                      </a:cubicBezTo>
                      <a:cubicBezTo>
                        <a:pt x="145" y="843"/>
                        <a:pt x="142" y="846"/>
                        <a:pt x="143" y="852"/>
                      </a:cubicBezTo>
                      <a:cubicBezTo>
                        <a:pt x="144" y="858"/>
                        <a:pt x="146" y="860"/>
                        <a:pt x="151" y="864"/>
                      </a:cubicBezTo>
                      <a:cubicBezTo>
                        <a:pt x="156" y="868"/>
                        <a:pt x="155" y="869"/>
                        <a:pt x="159" y="876"/>
                      </a:cubicBezTo>
                      <a:cubicBezTo>
                        <a:pt x="163" y="881"/>
                        <a:pt x="163" y="885"/>
                        <a:pt x="168" y="891"/>
                      </a:cubicBezTo>
                      <a:cubicBezTo>
                        <a:pt x="175" y="884"/>
                        <a:pt x="182" y="879"/>
                        <a:pt x="185" y="866"/>
                      </a:cubicBezTo>
                      <a:cubicBezTo>
                        <a:pt x="205" y="890"/>
                        <a:pt x="237" y="898"/>
                        <a:pt x="233" y="930"/>
                      </a:cubicBezTo>
                      <a:cubicBezTo>
                        <a:pt x="253" y="922"/>
                        <a:pt x="277" y="930"/>
                        <a:pt x="285" y="918"/>
                      </a:cubicBezTo>
                      <a:cubicBezTo>
                        <a:pt x="291" y="913"/>
                        <a:pt x="299" y="900"/>
                        <a:pt x="310" y="899"/>
                      </a:cubicBezTo>
                      <a:cubicBezTo>
                        <a:pt x="302" y="891"/>
                        <a:pt x="288" y="887"/>
                        <a:pt x="284" y="885"/>
                      </a:cubicBezTo>
                      <a:cubicBezTo>
                        <a:pt x="280" y="883"/>
                        <a:pt x="268" y="872"/>
                        <a:pt x="261" y="862"/>
                      </a:cubicBezTo>
                      <a:cubicBezTo>
                        <a:pt x="253" y="853"/>
                        <a:pt x="248" y="851"/>
                        <a:pt x="243" y="848"/>
                      </a:cubicBezTo>
                      <a:cubicBezTo>
                        <a:pt x="238" y="845"/>
                        <a:pt x="231" y="850"/>
                        <a:pt x="225" y="851"/>
                      </a:cubicBezTo>
                      <a:cubicBezTo>
                        <a:pt x="218" y="851"/>
                        <a:pt x="217" y="849"/>
                        <a:pt x="214" y="844"/>
                      </a:cubicBezTo>
                      <a:cubicBezTo>
                        <a:pt x="211" y="840"/>
                        <a:pt x="202" y="834"/>
                        <a:pt x="196" y="832"/>
                      </a:cubicBezTo>
                      <a:cubicBezTo>
                        <a:pt x="190" y="829"/>
                        <a:pt x="186" y="831"/>
                        <a:pt x="182" y="831"/>
                      </a:cubicBezTo>
                      <a:cubicBezTo>
                        <a:pt x="178" y="830"/>
                        <a:pt x="180" y="828"/>
                        <a:pt x="174" y="823"/>
                      </a:cubicBezTo>
                      <a:cubicBezTo>
                        <a:pt x="169" y="819"/>
                        <a:pt x="167" y="812"/>
                        <a:pt x="166" y="807"/>
                      </a:cubicBezTo>
                      <a:cubicBezTo>
                        <a:pt x="165" y="802"/>
                        <a:pt x="167" y="797"/>
                        <a:pt x="170" y="795"/>
                      </a:cubicBezTo>
                      <a:cubicBezTo>
                        <a:pt x="172" y="793"/>
                        <a:pt x="175" y="800"/>
                        <a:pt x="177" y="804"/>
                      </a:cubicBezTo>
                      <a:cubicBezTo>
                        <a:pt x="179" y="808"/>
                        <a:pt x="183" y="809"/>
                        <a:pt x="183" y="804"/>
                      </a:cubicBezTo>
                      <a:cubicBezTo>
                        <a:pt x="182" y="800"/>
                        <a:pt x="181" y="797"/>
                        <a:pt x="179" y="790"/>
                      </a:cubicBezTo>
                      <a:cubicBezTo>
                        <a:pt x="178" y="784"/>
                        <a:pt x="175" y="779"/>
                        <a:pt x="171" y="770"/>
                      </a:cubicBezTo>
                      <a:cubicBezTo>
                        <a:pt x="167" y="760"/>
                        <a:pt x="166" y="754"/>
                        <a:pt x="158" y="742"/>
                      </a:cubicBezTo>
                      <a:cubicBezTo>
                        <a:pt x="151" y="729"/>
                        <a:pt x="151" y="726"/>
                        <a:pt x="147" y="715"/>
                      </a:cubicBezTo>
                      <a:cubicBezTo>
                        <a:pt x="144" y="705"/>
                        <a:pt x="141" y="698"/>
                        <a:pt x="135" y="698"/>
                      </a:cubicBezTo>
                      <a:cubicBezTo>
                        <a:pt x="130" y="698"/>
                        <a:pt x="127" y="703"/>
                        <a:pt x="121" y="705"/>
                      </a:cubicBezTo>
                      <a:cubicBezTo>
                        <a:pt x="116" y="707"/>
                        <a:pt x="113" y="704"/>
                        <a:pt x="112" y="700"/>
                      </a:cubicBezTo>
                      <a:cubicBezTo>
                        <a:pt x="112" y="696"/>
                        <a:pt x="114" y="693"/>
                        <a:pt x="113" y="686"/>
                      </a:cubicBezTo>
                      <a:cubicBezTo>
                        <a:pt x="112" y="678"/>
                        <a:pt x="109" y="676"/>
                        <a:pt x="106" y="671"/>
                      </a:cubicBezTo>
                      <a:cubicBezTo>
                        <a:pt x="102" y="665"/>
                        <a:pt x="104" y="663"/>
                        <a:pt x="105" y="653"/>
                      </a:cubicBezTo>
                      <a:cubicBezTo>
                        <a:pt x="106" y="642"/>
                        <a:pt x="107" y="635"/>
                        <a:pt x="106" y="630"/>
                      </a:cubicBezTo>
                      <a:cubicBezTo>
                        <a:pt x="106" y="625"/>
                        <a:pt x="110" y="619"/>
                        <a:pt x="114" y="615"/>
                      </a:cubicBezTo>
                      <a:cubicBezTo>
                        <a:pt x="117" y="611"/>
                        <a:pt x="129" y="594"/>
                        <a:pt x="134" y="585"/>
                      </a:cubicBezTo>
                      <a:cubicBezTo>
                        <a:pt x="138" y="577"/>
                        <a:pt x="143" y="561"/>
                        <a:pt x="144" y="552"/>
                      </a:cubicBezTo>
                      <a:cubicBezTo>
                        <a:pt x="145" y="543"/>
                        <a:pt x="151" y="536"/>
                        <a:pt x="155" y="529"/>
                      </a:cubicBezTo>
                      <a:cubicBezTo>
                        <a:pt x="160" y="521"/>
                        <a:pt x="161" y="519"/>
                        <a:pt x="160" y="513"/>
                      </a:cubicBezTo>
                      <a:cubicBezTo>
                        <a:pt x="159" y="508"/>
                        <a:pt x="153" y="492"/>
                        <a:pt x="156" y="485"/>
                      </a:cubicBezTo>
                      <a:cubicBezTo>
                        <a:pt x="159" y="478"/>
                        <a:pt x="163" y="469"/>
                        <a:pt x="162" y="464"/>
                      </a:cubicBezTo>
                      <a:cubicBezTo>
                        <a:pt x="162" y="460"/>
                        <a:pt x="159" y="458"/>
                        <a:pt x="155" y="452"/>
                      </a:cubicBezTo>
                      <a:cubicBezTo>
                        <a:pt x="151" y="445"/>
                        <a:pt x="154" y="444"/>
                        <a:pt x="154" y="444"/>
                      </a:cubicBezTo>
                      <a:cubicBezTo>
                        <a:pt x="154" y="444"/>
                        <a:pt x="170" y="437"/>
                        <a:pt x="176" y="436"/>
                      </a:cubicBezTo>
                      <a:cubicBezTo>
                        <a:pt x="181" y="435"/>
                        <a:pt x="180" y="434"/>
                        <a:pt x="184" y="431"/>
                      </a:cubicBezTo>
                      <a:cubicBezTo>
                        <a:pt x="188" y="429"/>
                        <a:pt x="198" y="430"/>
                        <a:pt x="199" y="434"/>
                      </a:cubicBezTo>
                      <a:cubicBezTo>
                        <a:pt x="201" y="438"/>
                        <a:pt x="207" y="437"/>
                        <a:pt x="214" y="440"/>
                      </a:cubicBezTo>
                      <a:cubicBezTo>
                        <a:pt x="220" y="443"/>
                        <a:pt x="218" y="447"/>
                        <a:pt x="214" y="452"/>
                      </a:cubicBezTo>
                      <a:cubicBezTo>
                        <a:pt x="210" y="456"/>
                        <a:pt x="211" y="459"/>
                        <a:pt x="210" y="464"/>
                      </a:cubicBezTo>
                      <a:cubicBezTo>
                        <a:pt x="209" y="470"/>
                        <a:pt x="206" y="473"/>
                        <a:pt x="208" y="481"/>
                      </a:cubicBezTo>
                      <a:cubicBezTo>
                        <a:pt x="209" y="488"/>
                        <a:pt x="218" y="490"/>
                        <a:pt x="225" y="490"/>
                      </a:cubicBezTo>
                      <a:cubicBezTo>
                        <a:pt x="232" y="490"/>
                        <a:pt x="240" y="491"/>
                        <a:pt x="248" y="487"/>
                      </a:cubicBezTo>
                      <a:cubicBezTo>
                        <a:pt x="257" y="483"/>
                        <a:pt x="259" y="487"/>
                        <a:pt x="268" y="489"/>
                      </a:cubicBezTo>
                      <a:cubicBezTo>
                        <a:pt x="278" y="491"/>
                        <a:pt x="279" y="496"/>
                        <a:pt x="282" y="501"/>
                      </a:cubicBezTo>
                      <a:cubicBezTo>
                        <a:pt x="285" y="507"/>
                        <a:pt x="290" y="509"/>
                        <a:pt x="295" y="510"/>
                      </a:cubicBezTo>
                      <a:cubicBezTo>
                        <a:pt x="301" y="510"/>
                        <a:pt x="300" y="508"/>
                        <a:pt x="302" y="513"/>
                      </a:cubicBezTo>
                      <a:cubicBezTo>
                        <a:pt x="304" y="518"/>
                        <a:pt x="302" y="520"/>
                        <a:pt x="304" y="524"/>
                      </a:cubicBezTo>
                      <a:cubicBezTo>
                        <a:pt x="305" y="528"/>
                        <a:pt x="311" y="524"/>
                        <a:pt x="317" y="523"/>
                      </a:cubicBezTo>
                      <a:cubicBezTo>
                        <a:pt x="320" y="523"/>
                        <a:pt x="323" y="524"/>
                        <a:pt x="326" y="525"/>
                      </a:cubicBezTo>
                      <a:cubicBezTo>
                        <a:pt x="326" y="525"/>
                        <a:pt x="326" y="524"/>
                        <a:pt x="326" y="523"/>
                      </a:cubicBezTo>
                      <a:cubicBezTo>
                        <a:pt x="326" y="516"/>
                        <a:pt x="325" y="511"/>
                        <a:pt x="324" y="508"/>
                      </a:cubicBezTo>
                      <a:cubicBezTo>
                        <a:pt x="324" y="508"/>
                        <a:pt x="324" y="508"/>
                        <a:pt x="324" y="508"/>
                      </a:cubicBezTo>
                      <a:cubicBezTo>
                        <a:pt x="323" y="506"/>
                        <a:pt x="322" y="505"/>
                        <a:pt x="320" y="503"/>
                      </a:cubicBezTo>
                      <a:cubicBezTo>
                        <a:pt x="316" y="500"/>
                        <a:pt x="312" y="496"/>
                        <a:pt x="311" y="487"/>
                      </a:cubicBezTo>
                      <a:cubicBezTo>
                        <a:pt x="311" y="482"/>
                        <a:pt x="311" y="478"/>
                        <a:pt x="311" y="475"/>
                      </a:cubicBezTo>
                      <a:cubicBezTo>
                        <a:pt x="311" y="472"/>
                        <a:pt x="312" y="470"/>
                        <a:pt x="310" y="464"/>
                      </a:cubicBezTo>
                      <a:cubicBezTo>
                        <a:pt x="308" y="461"/>
                        <a:pt x="306" y="458"/>
                        <a:pt x="304" y="456"/>
                      </a:cubicBezTo>
                      <a:cubicBezTo>
                        <a:pt x="301" y="452"/>
                        <a:pt x="298" y="448"/>
                        <a:pt x="300" y="442"/>
                      </a:cubicBezTo>
                      <a:cubicBezTo>
                        <a:pt x="301" y="438"/>
                        <a:pt x="303" y="434"/>
                        <a:pt x="305" y="430"/>
                      </a:cubicBezTo>
                      <a:cubicBezTo>
                        <a:pt x="308" y="427"/>
                        <a:pt x="311" y="423"/>
                        <a:pt x="315" y="420"/>
                      </a:cubicBezTo>
                      <a:cubicBezTo>
                        <a:pt x="318" y="417"/>
                        <a:pt x="319" y="415"/>
                        <a:pt x="320" y="412"/>
                      </a:cubicBezTo>
                      <a:cubicBezTo>
                        <a:pt x="323" y="406"/>
                        <a:pt x="327" y="400"/>
                        <a:pt x="337" y="392"/>
                      </a:cubicBezTo>
                      <a:cubicBezTo>
                        <a:pt x="346" y="386"/>
                        <a:pt x="353" y="381"/>
                        <a:pt x="361" y="379"/>
                      </a:cubicBezTo>
                      <a:cubicBezTo>
                        <a:pt x="369" y="376"/>
                        <a:pt x="378" y="375"/>
                        <a:pt x="390" y="375"/>
                      </a:cubicBezTo>
                      <a:cubicBezTo>
                        <a:pt x="402" y="375"/>
                        <a:pt x="413" y="376"/>
                        <a:pt x="424" y="376"/>
                      </a:cubicBezTo>
                      <a:cubicBezTo>
                        <a:pt x="432" y="376"/>
                        <a:pt x="441" y="376"/>
                        <a:pt x="450" y="376"/>
                      </a:cubicBezTo>
                      <a:cubicBezTo>
                        <a:pt x="463" y="376"/>
                        <a:pt x="468" y="380"/>
                        <a:pt x="472" y="384"/>
                      </a:cubicBezTo>
                      <a:cubicBezTo>
                        <a:pt x="473" y="384"/>
                        <a:pt x="474" y="385"/>
                        <a:pt x="475" y="386"/>
                      </a:cubicBezTo>
                      <a:cubicBezTo>
                        <a:pt x="480" y="381"/>
                        <a:pt x="493" y="367"/>
                        <a:pt x="493" y="363"/>
                      </a:cubicBezTo>
                      <a:cubicBezTo>
                        <a:pt x="493" y="363"/>
                        <a:pt x="493" y="360"/>
                        <a:pt x="493" y="358"/>
                      </a:cubicBezTo>
                      <a:cubicBezTo>
                        <a:pt x="493" y="352"/>
                        <a:pt x="493" y="345"/>
                        <a:pt x="492" y="336"/>
                      </a:cubicBezTo>
                      <a:cubicBezTo>
                        <a:pt x="492" y="330"/>
                        <a:pt x="493" y="325"/>
                        <a:pt x="494" y="320"/>
                      </a:cubicBezTo>
                      <a:cubicBezTo>
                        <a:pt x="496" y="314"/>
                        <a:pt x="497" y="309"/>
                        <a:pt x="496" y="302"/>
                      </a:cubicBezTo>
                      <a:close/>
                    </a:path>
                  </a:pathLst>
                </a:custGeom>
                <a:solidFill>
                  <a:srgbClr val="F2F2F2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83" name="Freeform 9"/>
                <p:cNvSpPr/>
                <p:nvPr>
                  <p:custDataLst>
                    <p:tags r:id="rId81"/>
                  </p:custDataLst>
                </p:nvPr>
              </p:nvSpPr>
              <p:spPr bwMode="auto">
                <a:xfrm>
                  <a:off x="3711" y="2013"/>
                  <a:ext cx="8" cy="10"/>
                </a:xfrm>
                <a:custGeom>
                  <a:avLst/>
                  <a:gdLst>
                    <a:gd name="T0" fmla="*/ 7 w 20"/>
                    <a:gd name="T1" fmla="*/ 1 h 22"/>
                    <a:gd name="T2" fmla="*/ 2 w 20"/>
                    <a:gd name="T3" fmla="*/ 6 h 22"/>
                    <a:gd name="T4" fmla="*/ 2 w 20"/>
                    <a:gd name="T5" fmla="*/ 13 h 22"/>
                    <a:gd name="T6" fmla="*/ 10 w 20"/>
                    <a:gd name="T7" fmla="*/ 17 h 22"/>
                    <a:gd name="T8" fmla="*/ 14 w 20"/>
                    <a:gd name="T9" fmla="*/ 21 h 22"/>
                    <a:gd name="T10" fmla="*/ 18 w 20"/>
                    <a:gd name="T11" fmla="*/ 16 h 22"/>
                    <a:gd name="T12" fmla="*/ 19 w 20"/>
                    <a:gd name="T13" fmla="*/ 8 h 22"/>
                    <a:gd name="T14" fmla="*/ 7 w 20"/>
                    <a:gd name="T15" fmla="*/ 1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0" h="22">
                      <a:moveTo>
                        <a:pt x="7" y="1"/>
                      </a:moveTo>
                      <a:cubicBezTo>
                        <a:pt x="4" y="2"/>
                        <a:pt x="2" y="4"/>
                        <a:pt x="2" y="6"/>
                      </a:cubicBezTo>
                      <a:cubicBezTo>
                        <a:pt x="1" y="8"/>
                        <a:pt x="0" y="11"/>
                        <a:pt x="2" y="13"/>
                      </a:cubicBezTo>
                      <a:cubicBezTo>
                        <a:pt x="4" y="15"/>
                        <a:pt x="8" y="15"/>
                        <a:pt x="10" y="17"/>
                      </a:cubicBezTo>
                      <a:cubicBezTo>
                        <a:pt x="13" y="19"/>
                        <a:pt x="12" y="22"/>
                        <a:pt x="14" y="21"/>
                      </a:cubicBezTo>
                      <a:cubicBezTo>
                        <a:pt x="17" y="21"/>
                        <a:pt x="19" y="19"/>
                        <a:pt x="18" y="16"/>
                      </a:cubicBezTo>
                      <a:cubicBezTo>
                        <a:pt x="18" y="13"/>
                        <a:pt x="20" y="11"/>
                        <a:pt x="19" y="8"/>
                      </a:cubicBezTo>
                      <a:cubicBezTo>
                        <a:pt x="18" y="4"/>
                        <a:pt x="12" y="0"/>
                        <a:pt x="7" y="1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84" name="Freeform 10"/>
                <p:cNvSpPr/>
                <p:nvPr>
                  <p:custDataLst>
                    <p:tags r:id="rId82"/>
                  </p:custDataLst>
                </p:nvPr>
              </p:nvSpPr>
              <p:spPr bwMode="auto">
                <a:xfrm>
                  <a:off x="3712" y="2193"/>
                  <a:ext cx="11" cy="11"/>
                </a:xfrm>
                <a:custGeom>
                  <a:avLst/>
                  <a:gdLst>
                    <a:gd name="T0" fmla="*/ 5 w 27"/>
                    <a:gd name="T1" fmla="*/ 17 h 25"/>
                    <a:gd name="T2" fmla="*/ 12 w 27"/>
                    <a:gd name="T3" fmla="*/ 22 h 25"/>
                    <a:gd name="T4" fmla="*/ 22 w 27"/>
                    <a:gd name="T5" fmla="*/ 14 h 25"/>
                    <a:gd name="T6" fmla="*/ 24 w 27"/>
                    <a:gd name="T7" fmla="*/ 6 h 25"/>
                    <a:gd name="T8" fmla="*/ 10 w 27"/>
                    <a:gd name="T9" fmla="*/ 3 h 25"/>
                    <a:gd name="T10" fmla="*/ 0 w 27"/>
                    <a:gd name="T11" fmla="*/ 6 h 25"/>
                    <a:gd name="T12" fmla="*/ 5 w 27"/>
                    <a:gd name="T13" fmla="*/ 17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7" h="25">
                      <a:moveTo>
                        <a:pt x="5" y="17"/>
                      </a:moveTo>
                      <a:cubicBezTo>
                        <a:pt x="9" y="21"/>
                        <a:pt x="7" y="25"/>
                        <a:pt x="12" y="22"/>
                      </a:cubicBezTo>
                      <a:cubicBezTo>
                        <a:pt x="18" y="20"/>
                        <a:pt x="18" y="18"/>
                        <a:pt x="22" y="14"/>
                      </a:cubicBezTo>
                      <a:cubicBezTo>
                        <a:pt x="26" y="9"/>
                        <a:pt x="27" y="7"/>
                        <a:pt x="24" y="6"/>
                      </a:cubicBezTo>
                      <a:cubicBezTo>
                        <a:pt x="20" y="5"/>
                        <a:pt x="13" y="2"/>
                        <a:pt x="10" y="3"/>
                      </a:cubicBezTo>
                      <a:cubicBezTo>
                        <a:pt x="4" y="4"/>
                        <a:pt x="1" y="0"/>
                        <a:pt x="0" y="6"/>
                      </a:cubicBezTo>
                      <a:cubicBezTo>
                        <a:pt x="0" y="11"/>
                        <a:pt x="0" y="13"/>
                        <a:pt x="5" y="17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85" name="Freeform 11"/>
                <p:cNvSpPr/>
                <p:nvPr>
                  <p:custDataLst>
                    <p:tags r:id="rId83"/>
                  </p:custDataLst>
                </p:nvPr>
              </p:nvSpPr>
              <p:spPr bwMode="auto">
                <a:xfrm>
                  <a:off x="3771" y="2001"/>
                  <a:ext cx="8" cy="11"/>
                </a:xfrm>
                <a:custGeom>
                  <a:avLst/>
                  <a:gdLst>
                    <a:gd name="T0" fmla="*/ 7 w 20"/>
                    <a:gd name="T1" fmla="*/ 4 h 26"/>
                    <a:gd name="T2" fmla="*/ 4 w 20"/>
                    <a:gd name="T3" fmla="*/ 12 h 26"/>
                    <a:gd name="T4" fmla="*/ 1 w 20"/>
                    <a:gd name="T5" fmla="*/ 16 h 26"/>
                    <a:gd name="T6" fmla="*/ 4 w 20"/>
                    <a:gd name="T7" fmla="*/ 23 h 26"/>
                    <a:gd name="T8" fmla="*/ 8 w 20"/>
                    <a:gd name="T9" fmla="*/ 25 h 26"/>
                    <a:gd name="T10" fmla="*/ 10 w 20"/>
                    <a:gd name="T11" fmla="*/ 19 h 26"/>
                    <a:gd name="T12" fmla="*/ 16 w 20"/>
                    <a:gd name="T13" fmla="*/ 12 h 26"/>
                    <a:gd name="T14" fmla="*/ 17 w 20"/>
                    <a:gd name="T15" fmla="*/ 7 h 26"/>
                    <a:gd name="T16" fmla="*/ 7 w 20"/>
                    <a:gd name="T17" fmla="*/ 4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0" h="26">
                      <a:moveTo>
                        <a:pt x="7" y="4"/>
                      </a:moveTo>
                      <a:cubicBezTo>
                        <a:pt x="5" y="9"/>
                        <a:pt x="6" y="9"/>
                        <a:pt x="4" y="12"/>
                      </a:cubicBezTo>
                      <a:cubicBezTo>
                        <a:pt x="2" y="15"/>
                        <a:pt x="1" y="13"/>
                        <a:pt x="1" y="16"/>
                      </a:cubicBezTo>
                      <a:cubicBezTo>
                        <a:pt x="0" y="19"/>
                        <a:pt x="1" y="22"/>
                        <a:pt x="4" y="23"/>
                      </a:cubicBezTo>
                      <a:cubicBezTo>
                        <a:pt x="6" y="25"/>
                        <a:pt x="8" y="26"/>
                        <a:pt x="8" y="25"/>
                      </a:cubicBezTo>
                      <a:cubicBezTo>
                        <a:pt x="9" y="23"/>
                        <a:pt x="10" y="21"/>
                        <a:pt x="10" y="19"/>
                      </a:cubicBezTo>
                      <a:cubicBezTo>
                        <a:pt x="10" y="17"/>
                        <a:pt x="15" y="12"/>
                        <a:pt x="16" y="12"/>
                      </a:cubicBezTo>
                      <a:cubicBezTo>
                        <a:pt x="18" y="12"/>
                        <a:pt x="20" y="10"/>
                        <a:pt x="17" y="7"/>
                      </a:cubicBezTo>
                      <a:cubicBezTo>
                        <a:pt x="15" y="3"/>
                        <a:pt x="9" y="0"/>
                        <a:pt x="7" y="4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86" name="Freeform 12"/>
                <p:cNvSpPr/>
                <p:nvPr>
                  <p:custDataLst>
                    <p:tags r:id="rId84"/>
                  </p:custDataLst>
                </p:nvPr>
              </p:nvSpPr>
              <p:spPr bwMode="auto">
                <a:xfrm>
                  <a:off x="3807" y="2097"/>
                  <a:ext cx="5" cy="13"/>
                </a:xfrm>
                <a:custGeom>
                  <a:avLst/>
                  <a:gdLst>
                    <a:gd name="T0" fmla="*/ 6 w 12"/>
                    <a:gd name="T1" fmla="*/ 3 h 30"/>
                    <a:gd name="T2" fmla="*/ 3 w 12"/>
                    <a:gd name="T3" fmla="*/ 10 h 30"/>
                    <a:gd name="T4" fmla="*/ 4 w 12"/>
                    <a:gd name="T5" fmla="*/ 19 h 30"/>
                    <a:gd name="T6" fmla="*/ 9 w 12"/>
                    <a:gd name="T7" fmla="*/ 27 h 30"/>
                    <a:gd name="T8" fmla="*/ 11 w 12"/>
                    <a:gd name="T9" fmla="*/ 6 h 30"/>
                    <a:gd name="T10" fmla="*/ 6 w 12"/>
                    <a:gd name="T11" fmla="*/ 3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2" h="30">
                      <a:moveTo>
                        <a:pt x="6" y="3"/>
                      </a:moveTo>
                      <a:cubicBezTo>
                        <a:pt x="5" y="6"/>
                        <a:pt x="4" y="6"/>
                        <a:pt x="3" y="10"/>
                      </a:cubicBezTo>
                      <a:cubicBezTo>
                        <a:pt x="1" y="14"/>
                        <a:pt x="0" y="14"/>
                        <a:pt x="4" y="19"/>
                      </a:cubicBezTo>
                      <a:cubicBezTo>
                        <a:pt x="8" y="25"/>
                        <a:pt x="6" y="30"/>
                        <a:pt x="9" y="27"/>
                      </a:cubicBezTo>
                      <a:cubicBezTo>
                        <a:pt x="12" y="24"/>
                        <a:pt x="11" y="8"/>
                        <a:pt x="11" y="6"/>
                      </a:cubicBezTo>
                      <a:cubicBezTo>
                        <a:pt x="12" y="3"/>
                        <a:pt x="12" y="0"/>
                        <a:pt x="6" y="3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87" name="Freeform 13"/>
                <p:cNvSpPr/>
                <p:nvPr>
                  <p:custDataLst>
                    <p:tags r:id="rId85"/>
                  </p:custDataLst>
                </p:nvPr>
              </p:nvSpPr>
              <p:spPr bwMode="auto">
                <a:xfrm>
                  <a:off x="3714" y="2037"/>
                  <a:ext cx="6" cy="12"/>
                </a:xfrm>
                <a:custGeom>
                  <a:avLst/>
                  <a:gdLst>
                    <a:gd name="T0" fmla="*/ 7 w 15"/>
                    <a:gd name="T1" fmla="*/ 3 h 29"/>
                    <a:gd name="T2" fmla="*/ 2 w 15"/>
                    <a:gd name="T3" fmla="*/ 17 h 29"/>
                    <a:gd name="T4" fmla="*/ 4 w 15"/>
                    <a:gd name="T5" fmla="*/ 27 h 29"/>
                    <a:gd name="T6" fmla="*/ 14 w 15"/>
                    <a:gd name="T7" fmla="*/ 17 h 29"/>
                    <a:gd name="T8" fmla="*/ 7 w 15"/>
                    <a:gd name="T9" fmla="*/ 3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5" h="28">
                      <a:moveTo>
                        <a:pt x="7" y="3"/>
                      </a:moveTo>
                      <a:cubicBezTo>
                        <a:pt x="4" y="9"/>
                        <a:pt x="0" y="9"/>
                        <a:pt x="2" y="17"/>
                      </a:cubicBezTo>
                      <a:cubicBezTo>
                        <a:pt x="4" y="25"/>
                        <a:pt x="0" y="29"/>
                        <a:pt x="4" y="27"/>
                      </a:cubicBezTo>
                      <a:cubicBezTo>
                        <a:pt x="9" y="24"/>
                        <a:pt x="13" y="22"/>
                        <a:pt x="14" y="17"/>
                      </a:cubicBezTo>
                      <a:cubicBezTo>
                        <a:pt x="15" y="12"/>
                        <a:pt x="15" y="0"/>
                        <a:pt x="7" y="3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88" name="Freeform 14"/>
                <p:cNvSpPr/>
                <p:nvPr>
                  <p:custDataLst>
                    <p:tags r:id="rId86"/>
                  </p:custDataLst>
                </p:nvPr>
              </p:nvSpPr>
              <p:spPr bwMode="auto">
                <a:xfrm>
                  <a:off x="3686" y="2211"/>
                  <a:ext cx="13" cy="7"/>
                </a:xfrm>
                <a:custGeom>
                  <a:avLst/>
                  <a:gdLst>
                    <a:gd name="T0" fmla="*/ 10 w 30"/>
                    <a:gd name="T1" fmla="*/ 3 h 17"/>
                    <a:gd name="T2" fmla="*/ 2 w 30"/>
                    <a:gd name="T3" fmla="*/ 7 h 17"/>
                    <a:gd name="T4" fmla="*/ 10 w 30"/>
                    <a:gd name="T5" fmla="*/ 13 h 17"/>
                    <a:gd name="T6" fmla="*/ 20 w 30"/>
                    <a:gd name="T7" fmla="*/ 15 h 17"/>
                    <a:gd name="T8" fmla="*/ 30 w 30"/>
                    <a:gd name="T9" fmla="*/ 13 h 17"/>
                    <a:gd name="T10" fmla="*/ 26 w 30"/>
                    <a:gd name="T11" fmla="*/ 8 h 17"/>
                    <a:gd name="T12" fmla="*/ 10 w 30"/>
                    <a:gd name="T13" fmla="*/ 3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0" h="17">
                      <a:moveTo>
                        <a:pt x="10" y="3"/>
                      </a:moveTo>
                      <a:cubicBezTo>
                        <a:pt x="5" y="4"/>
                        <a:pt x="0" y="1"/>
                        <a:pt x="2" y="7"/>
                      </a:cubicBezTo>
                      <a:cubicBezTo>
                        <a:pt x="4" y="12"/>
                        <a:pt x="4" y="13"/>
                        <a:pt x="10" y="13"/>
                      </a:cubicBezTo>
                      <a:cubicBezTo>
                        <a:pt x="17" y="13"/>
                        <a:pt x="14" y="14"/>
                        <a:pt x="20" y="15"/>
                      </a:cubicBezTo>
                      <a:cubicBezTo>
                        <a:pt x="25" y="17"/>
                        <a:pt x="30" y="15"/>
                        <a:pt x="30" y="13"/>
                      </a:cubicBezTo>
                      <a:cubicBezTo>
                        <a:pt x="30" y="10"/>
                        <a:pt x="30" y="10"/>
                        <a:pt x="26" y="8"/>
                      </a:cubicBezTo>
                      <a:cubicBezTo>
                        <a:pt x="22" y="6"/>
                        <a:pt x="17" y="0"/>
                        <a:pt x="10" y="3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89" name="Freeform 15"/>
                <p:cNvSpPr/>
                <p:nvPr>
                  <p:custDataLst>
                    <p:tags r:id="rId87"/>
                  </p:custDataLst>
                </p:nvPr>
              </p:nvSpPr>
              <p:spPr bwMode="auto">
                <a:xfrm>
                  <a:off x="3662" y="2231"/>
                  <a:ext cx="7" cy="9"/>
                </a:xfrm>
                <a:custGeom>
                  <a:avLst/>
                  <a:gdLst>
                    <a:gd name="T0" fmla="*/ 9 w 17"/>
                    <a:gd name="T1" fmla="*/ 7 h 19"/>
                    <a:gd name="T2" fmla="*/ 2 w 17"/>
                    <a:gd name="T3" fmla="*/ 18 h 19"/>
                    <a:gd name="T4" fmla="*/ 11 w 17"/>
                    <a:gd name="T5" fmla="*/ 15 h 19"/>
                    <a:gd name="T6" fmla="*/ 16 w 17"/>
                    <a:gd name="T7" fmla="*/ 13 h 19"/>
                    <a:gd name="T8" fmla="*/ 15 w 17"/>
                    <a:gd name="T9" fmla="*/ 4 h 19"/>
                    <a:gd name="T10" fmla="*/ 9 w 17"/>
                    <a:gd name="T11" fmla="*/ 7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7" h="19">
                      <a:moveTo>
                        <a:pt x="9" y="7"/>
                      </a:moveTo>
                      <a:cubicBezTo>
                        <a:pt x="6" y="9"/>
                        <a:pt x="0" y="16"/>
                        <a:pt x="2" y="18"/>
                      </a:cubicBezTo>
                      <a:cubicBezTo>
                        <a:pt x="4" y="19"/>
                        <a:pt x="7" y="16"/>
                        <a:pt x="11" y="15"/>
                      </a:cubicBezTo>
                      <a:cubicBezTo>
                        <a:pt x="15" y="14"/>
                        <a:pt x="15" y="16"/>
                        <a:pt x="16" y="13"/>
                      </a:cubicBezTo>
                      <a:cubicBezTo>
                        <a:pt x="17" y="11"/>
                        <a:pt x="16" y="8"/>
                        <a:pt x="15" y="4"/>
                      </a:cubicBezTo>
                      <a:cubicBezTo>
                        <a:pt x="14" y="0"/>
                        <a:pt x="13" y="4"/>
                        <a:pt x="9" y="7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90" name="Freeform 16"/>
                <p:cNvSpPr/>
                <p:nvPr>
                  <p:custDataLst>
                    <p:tags r:id="rId88"/>
                  </p:custDataLst>
                </p:nvPr>
              </p:nvSpPr>
              <p:spPr bwMode="auto">
                <a:xfrm>
                  <a:off x="3661" y="2048"/>
                  <a:ext cx="9" cy="10"/>
                </a:xfrm>
                <a:custGeom>
                  <a:avLst/>
                  <a:gdLst>
                    <a:gd name="T0" fmla="*/ 19 w 21"/>
                    <a:gd name="T1" fmla="*/ 8 h 24"/>
                    <a:gd name="T2" fmla="*/ 10 w 21"/>
                    <a:gd name="T3" fmla="*/ 4 h 24"/>
                    <a:gd name="T4" fmla="*/ 1 w 21"/>
                    <a:gd name="T5" fmla="*/ 7 h 24"/>
                    <a:gd name="T6" fmla="*/ 2 w 21"/>
                    <a:gd name="T7" fmla="*/ 15 h 24"/>
                    <a:gd name="T8" fmla="*/ 7 w 21"/>
                    <a:gd name="T9" fmla="*/ 23 h 24"/>
                    <a:gd name="T10" fmla="*/ 15 w 21"/>
                    <a:gd name="T11" fmla="*/ 17 h 24"/>
                    <a:gd name="T12" fmla="*/ 19 w 21"/>
                    <a:gd name="T13" fmla="*/ 8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1" h="24">
                      <a:moveTo>
                        <a:pt x="19" y="8"/>
                      </a:moveTo>
                      <a:cubicBezTo>
                        <a:pt x="17" y="3"/>
                        <a:pt x="15" y="8"/>
                        <a:pt x="10" y="4"/>
                      </a:cubicBezTo>
                      <a:cubicBezTo>
                        <a:pt x="3" y="0"/>
                        <a:pt x="1" y="3"/>
                        <a:pt x="1" y="7"/>
                      </a:cubicBezTo>
                      <a:cubicBezTo>
                        <a:pt x="2" y="10"/>
                        <a:pt x="4" y="12"/>
                        <a:pt x="2" y="15"/>
                      </a:cubicBezTo>
                      <a:cubicBezTo>
                        <a:pt x="0" y="19"/>
                        <a:pt x="4" y="24"/>
                        <a:pt x="7" y="23"/>
                      </a:cubicBezTo>
                      <a:cubicBezTo>
                        <a:pt x="9" y="22"/>
                        <a:pt x="11" y="17"/>
                        <a:pt x="15" y="17"/>
                      </a:cubicBezTo>
                      <a:cubicBezTo>
                        <a:pt x="19" y="16"/>
                        <a:pt x="21" y="13"/>
                        <a:pt x="19" y="8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91" name="Freeform 17"/>
                <p:cNvSpPr/>
                <p:nvPr>
                  <p:custDataLst>
                    <p:tags r:id="rId89"/>
                  </p:custDataLst>
                </p:nvPr>
              </p:nvSpPr>
              <p:spPr bwMode="auto">
                <a:xfrm>
                  <a:off x="3671" y="2012"/>
                  <a:ext cx="33" cy="38"/>
                </a:xfrm>
                <a:custGeom>
                  <a:avLst/>
                  <a:gdLst>
                    <a:gd name="T0" fmla="*/ 72 w 77"/>
                    <a:gd name="T1" fmla="*/ 33 h 88"/>
                    <a:gd name="T2" fmla="*/ 74 w 77"/>
                    <a:gd name="T3" fmla="*/ 25 h 88"/>
                    <a:gd name="T4" fmla="*/ 54 w 77"/>
                    <a:gd name="T5" fmla="*/ 17 h 88"/>
                    <a:gd name="T6" fmla="*/ 43 w 77"/>
                    <a:gd name="T7" fmla="*/ 8 h 88"/>
                    <a:gd name="T8" fmla="*/ 25 w 77"/>
                    <a:gd name="T9" fmla="*/ 5 h 88"/>
                    <a:gd name="T10" fmla="*/ 6 w 77"/>
                    <a:gd name="T11" fmla="*/ 2 h 88"/>
                    <a:gd name="T12" fmla="*/ 5 w 77"/>
                    <a:gd name="T13" fmla="*/ 12 h 88"/>
                    <a:gd name="T14" fmla="*/ 20 w 77"/>
                    <a:gd name="T15" fmla="*/ 25 h 88"/>
                    <a:gd name="T16" fmla="*/ 28 w 77"/>
                    <a:gd name="T17" fmla="*/ 39 h 88"/>
                    <a:gd name="T18" fmla="*/ 32 w 77"/>
                    <a:gd name="T19" fmla="*/ 56 h 88"/>
                    <a:gd name="T20" fmla="*/ 45 w 77"/>
                    <a:gd name="T21" fmla="*/ 65 h 88"/>
                    <a:gd name="T22" fmla="*/ 52 w 77"/>
                    <a:gd name="T23" fmla="*/ 80 h 88"/>
                    <a:gd name="T24" fmla="*/ 61 w 77"/>
                    <a:gd name="T25" fmla="*/ 83 h 88"/>
                    <a:gd name="T26" fmla="*/ 70 w 77"/>
                    <a:gd name="T27" fmla="*/ 68 h 88"/>
                    <a:gd name="T28" fmla="*/ 73 w 77"/>
                    <a:gd name="T29" fmla="*/ 58 h 88"/>
                    <a:gd name="T30" fmla="*/ 71 w 77"/>
                    <a:gd name="T31" fmla="*/ 42 h 88"/>
                    <a:gd name="T32" fmla="*/ 72 w 77"/>
                    <a:gd name="T33" fmla="*/ 33 h 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77" h="88">
                      <a:moveTo>
                        <a:pt x="72" y="33"/>
                      </a:moveTo>
                      <a:cubicBezTo>
                        <a:pt x="76" y="30"/>
                        <a:pt x="77" y="28"/>
                        <a:pt x="74" y="25"/>
                      </a:cubicBezTo>
                      <a:cubicBezTo>
                        <a:pt x="71" y="21"/>
                        <a:pt x="60" y="23"/>
                        <a:pt x="54" y="17"/>
                      </a:cubicBezTo>
                      <a:cubicBezTo>
                        <a:pt x="49" y="11"/>
                        <a:pt x="49" y="9"/>
                        <a:pt x="43" y="8"/>
                      </a:cubicBezTo>
                      <a:cubicBezTo>
                        <a:pt x="37" y="7"/>
                        <a:pt x="31" y="8"/>
                        <a:pt x="25" y="5"/>
                      </a:cubicBezTo>
                      <a:cubicBezTo>
                        <a:pt x="19" y="3"/>
                        <a:pt x="10" y="0"/>
                        <a:pt x="6" y="2"/>
                      </a:cubicBezTo>
                      <a:cubicBezTo>
                        <a:pt x="3" y="4"/>
                        <a:pt x="0" y="8"/>
                        <a:pt x="5" y="12"/>
                      </a:cubicBezTo>
                      <a:cubicBezTo>
                        <a:pt x="9" y="15"/>
                        <a:pt x="13" y="21"/>
                        <a:pt x="20" y="25"/>
                      </a:cubicBezTo>
                      <a:cubicBezTo>
                        <a:pt x="27" y="31"/>
                        <a:pt x="28" y="30"/>
                        <a:pt x="28" y="39"/>
                      </a:cubicBezTo>
                      <a:cubicBezTo>
                        <a:pt x="29" y="48"/>
                        <a:pt x="23" y="49"/>
                        <a:pt x="32" y="56"/>
                      </a:cubicBezTo>
                      <a:cubicBezTo>
                        <a:pt x="40" y="62"/>
                        <a:pt x="40" y="57"/>
                        <a:pt x="45" y="65"/>
                      </a:cubicBezTo>
                      <a:cubicBezTo>
                        <a:pt x="49" y="73"/>
                        <a:pt x="49" y="76"/>
                        <a:pt x="52" y="80"/>
                      </a:cubicBezTo>
                      <a:cubicBezTo>
                        <a:pt x="55" y="83"/>
                        <a:pt x="56" y="88"/>
                        <a:pt x="61" y="83"/>
                      </a:cubicBezTo>
                      <a:cubicBezTo>
                        <a:pt x="65" y="78"/>
                        <a:pt x="68" y="71"/>
                        <a:pt x="70" y="68"/>
                      </a:cubicBezTo>
                      <a:cubicBezTo>
                        <a:pt x="73" y="64"/>
                        <a:pt x="74" y="65"/>
                        <a:pt x="73" y="58"/>
                      </a:cubicBezTo>
                      <a:cubicBezTo>
                        <a:pt x="73" y="50"/>
                        <a:pt x="72" y="47"/>
                        <a:pt x="71" y="42"/>
                      </a:cubicBezTo>
                      <a:cubicBezTo>
                        <a:pt x="69" y="37"/>
                        <a:pt x="68" y="35"/>
                        <a:pt x="72" y="33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92" name="Freeform 18"/>
                <p:cNvSpPr/>
                <p:nvPr>
                  <p:custDataLst>
                    <p:tags r:id="rId90"/>
                  </p:custDataLst>
                </p:nvPr>
              </p:nvSpPr>
              <p:spPr bwMode="auto">
                <a:xfrm>
                  <a:off x="3710" y="2055"/>
                  <a:ext cx="36" cy="42"/>
                </a:xfrm>
                <a:custGeom>
                  <a:avLst/>
                  <a:gdLst>
                    <a:gd name="T0" fmla="*/ 44 w 84"/>
                    <a:gd name="T1" fmla="*/ 27 h 98"/>
                    <a:gd name="T2" fmla="*/ 24 w 84"/>
                    <a:gd name="T3" fmla="*/ 13 h 98"/>
                    <a:gd name="T4" fmla="*/ 11 w 84"/>
                    <a:gd name="T5" fmla="*/ 5 h 98"/>
                    <a:gd name="T6" fmla="*/ 7 w 84"/>
                    <a:gd name="T7" fmla="*/ 20 h 98"/>
                    <a:gd name="T8" fmla="*/ 16 w 84"/>
                    <a:gd name="T9" fmla="*/ 25 h 98"/>
                    <a:gd name="T10" fmla="*/ 15 w 84"/>
                    <a:gd name="T11" fmla="*/ 42 h 98"/>
                    <a:gd name="T12" fmla="*/ 12 w 84"/>
                    <a:gd name="T13" fmla="*/ 60 h 98"/>
                    <a:gd name="T14" fmla="*/ 9 w 84"/>
                    <a:gd name="T15" fmla="*/ 80 h 98"/>
                    <a:gd name="T16" fmla="*/ 9 w 84"/>
                    <a:gd name="T17" fmla="*/ 96 h 98"/>
                    <a:gd name="T18" fmla="*/ 24 w 84"/>
                    <a:gd name="T19" fmla="*/ 89 h 98"/>
                    <a:gd name="T20" fmla="*/ 45 w 84"/>
                    <a:gd name="T21" fmla="*/ 75 h 98"/>
                    <a:gd name="T22" fmla="*/ 63 w 84"/>
                    <a:gd name="T23" fmla="*/ 64 h 98"/>
                    <a:gd name="T24" fmla="*/ 72 w 84"/>
                    <a:gd name="T25" fmla="*/ 48 h 98"/>
                    <a:gd name="T26" fmla="*/ 83 w 84"/>
                    <a:gd name="T27" fmla="*/ 31 h 98"/>
                    <a:gd name="T28" fmla="*/ 64 w 84"/>
                    <a:gd name="T29" fmla="*/ 30 h 98"/>
                    <a:gd name="T30" fmla="*/ 44 w 84"/>
                    <a:gd name="T31" fmla="*/ 27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84" h="98">
                      <a:moveTo>
                        <a:pt x="44" y="27"/>
                      </a:moveTo>
                      <a:cubicBezTo>
                        <a:pt x="38" y="21"/>
                        <a:pt x="32" y="20"/>
                        <a:pt x="24" y="13"/>
                      </a:cubicBezTo>
                      <a:cubicBezTo>
                        <a:pt x="17" y="6"/>
                        <a:pt x="14" y="0"/>
                        <a:pt x="11" y="5"/>
                      </a:cubicBezTo>
                      <a:cubicBezTo>
                        <a:pt x="7" y="10"/>
                        <a:pt x="0" y="16"/>
                        <a:pt x="7" y="20"/>
                      </a:cubicBezTo>
                      <a:cubicBezTo>
                        <a:pt x="14" y="23"/>
                        <a:pt x="15" y="17"/>
                        <a:pt x="16" y="25"/>
                      </a:cubicBezTo>
                      <a:cubicBezTo>
                        <a:pt x="17" y="33"/>
                        <a:pt x="16" y="36"/>
                        <a:pt x="15" y="42"/>
                      </a:cubicBezTo>
                      <a:cubicBezTo>
                        <a:pt x="13" y="49"/>
                        <a:pt x="13" y="50"/>
                        <a:pt x="12" y="60"/>
                      </a:cubicBezTo>
                      <a:cubicBezTo>
                        <a:pt x="11" y="71"/>
                        <a:pt x="11" y="72"/>
                        <a:pt x="9" y="80"/>
                      </a:cubicBezTo>
                      <a:cubicBezTo>
                        <a:pt x="7" y="89"/>
                        <a:pt x="4" y="96"/>
                        <a:pt x="9" y="96"/>
                      </a:cubicBezTo>
                      <a:cubicBezTo>
                        <a:pt x="14" y="96"/>
                        <a:pt x="18" y="98"/>
                        <a:pt x="24" y="89"/>
                      </a:cubicBezTo>
                      <a:cubicBezTo>
                        <a:pt x="30" y="80"/>
                        <a:pt x="37" y="79"/>
                        <a:pt x="45" y="75"/>
                      </a:cubicBezTo>
                      <a:cubicBezTo>
                        <a:pt x="54" y="71"/>
                        <a:pt x="59" y="71"/>
                        <a:pt x="63" y="64"/>
                      </a:cubicBezTo>
                      <a:cubicBezTo>
                        <a:pt x="67" y="57"/>
                        <a:pt x="64" y="58"/>
                        <a:pt x="72" y="48"/>
                      </a:cubicBezTo>
                      <a:cubicBezTo>
                        <a:pt x="81" y="39"/>
                        <a:pt x="84" y="35"/>
                        <a:pt x="83" y="31"/>
                      </a:cubicBezTo>
                      <a:cubicBezTo>
                        <a:pt x="81" y="27"/>
                        <a:pt x="73" y="28"/>
                        <a:pt x="64" y="30"/>
                      </a:cubicBezTo>
                      <a:cubicBezTo>
                        <a:pt x="56" y="32"/>
                        <a:pt x="50" y="33"/>
                        <a:pt x="44" y="27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93" name="Freeform 19"/>
                <p:cNvSpPr/>
                <p:nvPr>
                  <p:custDataLst>
                    <p:tags r:id="rId91"/>
                  </p:custDataLst>
                </p:nvPr>
              </p:nvSpPr>
              <p:spPr bwMode="auto">
                <a:xfrm>
                  <a:off x="3712" y="1865"/>
                  <a:ext cx="3" cy="5"/>
                </a:xfrm>
                <a:custGeom>
                  <a:avLst/>
                  <a:gdLst>
                    <a:gd name="T0" fmla="*/ 2 w 6"/>
                    <a:gd name="T1" fmla="*/ 3 h 11"/>
                    <a:gd name="T2" fmla="*/ 0 w 6"/>
                    <a:gd name="T3" fmla="*/ 7 h 11"/>
                    <a:gd name="T4" fmla="*/ 4 w 6"/>
                    <a:gd name="T5" fmla="*/ 9 h 11"/>
                    <a:gd name="T6" fmla="*/ 5 w 6"/>
                    <a:gd name="T7" fmla="*/ 4 h 11"/>
                    <a:gd name="T8" fmla="*/ 2 w 6"/>
                    <a:gd name="T9" fmla="*/ 3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11">
                      <a:moveTo>
                        <a:pt x="2" y="3"/>
                      </a:moveTo>
                      <a:cubicBezTo>
                        <a:pt x="2" y="5"/>
                        <a:pt x="0" y="4"/>
                        <a:pt x="0" y="7"/>
                      </a:cubicBezTo>
                      <a:cubicBezTo>
                        <a:pt x="1" y="10"/>
                        <a:pt x="3" y="11"/>
                        <a:pt x="4" y="9"/>
                      </a:cubicBezTo>
                      <a:cubicBezTo>
                        <a:pt x="4" y="6"/>
                        <a:pt x="5" y="8"/>
                        <a:pt x="5" y="4"/>
                      </a:cubicBezTo>
                      <a:cubicBezTo>
                        <a:pt x="6" y="0"/>
                        <a:pt x="2" y="0"/>
                        <a:pt x="2" y="3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94" name="Freeform 20"/>
                <p:cNvSpPr/>
                <p:nvPr>
                  <p:custDataLst>
                    <p:tags r:id="rId92"/>
                  </p:custDataLst>
                </p:nvPr>
              </p:nvSpPr>
              <p:spPr bwMode="auto">
                <a:xfrm>
                  <a:off x="3775" y="2038"/>
                  <a:ext cx="37" cy="38"/>
                </a:xfrm>
                <a:custGeom>
                  <a:avLst/>
                  <a:gdLst>
                    <a:gd name="T0" fmla="*/ 13 w 87"/>
                    <a:gd name="T1" fmla="*/ 4 h 89"/>
                    <a:gd name="T2" fmla="*/ 5 w 87"/>
                    <a:gd name="T3" fmla="*/ 17 h 89"/>
                    <a:gd name="T4" fmla="*/ 21 w 87"/>
                    <a:gd name="T5" fmla="*/ 32 h 89"/>
                    <a:gd name="T6" fmla="*/ 37 w 87"/>
                    <a:gd name="T7" fmla="*/ 42 h 89"/>
                    <a:gd name="T8" fmla="*/ 46 w 87"/>
                    <a:gd name="T9" fmla="*/ 57 h 89"/>
                    <a:gd name="T10" fmla="*/ 48 w 87"/>
                    <a:gd name="T11" fmla="*/ 72 h 89"/>
                    <a:gd name="T12" fmla="*/ 53 w 87"/>
                    <a:gd name="T13" fmla="*/ 81 h 89"/>
                    <a:gd name="T14" fmla="*/ 69 w 87"/>
                    <a:gd name="T15" fmla="*/ 88 h 89"/>
                    <a:gd name="T16" fmla="*/ 80 w 87"/>
                    <a:gd name="T17" fmla="*/ 78 h 89"/>
                    <a:gd name="T18" fmla="*/ 82 w 87"/>
                    <a:gd name="T19" fmla="*/ 60 h 89"/>
                    <a:gd name="T20" fmla="*/ 78 w 87"/>
                    <a:gd name="T21" fmla="*/ 44 h 89"/>
                    <a:gd name="T22" fmla="*/ 74 w 87"/>
                    <a:gd name="T23" fmla="*/ 21 h 89"/>
                    <a:gd name="T24" fmla="*/ 66 w 87"/>
                    <a:gd name="T25" fmla="*/ 9 h 89"/>
                    <a:gd name="T26" fmla="*/ 49 w 87"/>
                    <a:gd name="T27" fmla="*/ 2 h 89"/>
                    <a:gd name="T28" fmla="*/ 32 w 87"/>
                    <a:gd name="T29" fmla="*/ 4 h 89"/>
                    <a:gd name="T30" fmla="*/ 13 w 87"/>
                    <a:gd name="T31" fmla="*/ 4 h 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87" h="89">
                      <a:moveTo>
                        <a:pt x="13" y="4"/>
                      </a:moveTo>
                      <a:cubicBezTo>
                        <a:pt x="7" y="9"/>
                        <a:pt x="0" y="9"/>
                        <a:pt x="5" y="17"/>
                      </a:cubicBezTo>
                      <a:cubicBezTo>
                        <a:pt x="10" y="25"/>
                        <a:pt x="12" y="27"/>
                        <a:pt x="21" y="32"/>
                      </a:cubicBezTo>
                      <a:cubicBezTo>
                        <a:pt x="30" y="36"/>
                        <a:pt x="30" y="35"/>
                        <a:pt x="37" y="42"/>
                      </a:cubicBezTo>
                      <a:cubicBezTo>
                        <a:pt x="45" y="49"/>
                        <a:pt x="46" y="48"/>
                        <a:pt x="46" y="57"/>
                      </a:cubicBezTo>
                      <a:cubicBezTo>
                        <a:pt x="47" y="67"/>
                        <a:pt x="43" y="68"/>
                        <a:pt x="48" y="72"/>
                      </a:cubicBezTo>
                      <a:cubicBezTo>
                        <a:pt x="52" y="77"/>
                        <a:pt x="48" y="74"/>
                        <a:pt x="53" y="81"/>
                      </a:cubicBezTo>
                      <a:cubicBezTo>
                        <a:pt x="58" y="88"/>
                        <a:pt x="65" y="89"/>
                        <a:pt x="69" y="88"/>
                      </a:cubicBezTo>
                      <a:cubicBezTo>
                        <a:pt x="72" y="87"/>
                        <a:pt x="78" y="84"/>
                        <a:pt x="80" y="78"/>
                      </a:cubicBezTo>
                      <a:cubicBezTo>
                        <a:pt x="82" y="72"/>
                        <a:pt x="87" y="69"/>
                        <a:pt x="82" y="60"/>
                      </a:cubicBezTo>
                      <a:cubicBezTo>
                        <a:pt x="78" y="52"/>
                        <a:pt x="78" y="52"/>
                        <a:pt x="78" y="44"/>
                      </a:cubicBezTo>
                      <a:cubicBezTo>
                        <a:pt x="78" y="36"/>
                        <a:pt x="81" y="26"/>
                        <a:pt x="74" y="21"/>
                      </a:cubicBezTo>
                      <a:cubicBezTo>
                        <a:pt x="67" y="16"/>
                        <a:pt x="67" y="13"/>
                        <a:pt x="66" y="9"/>
                      </a:cubicBezTo>
                      <a:cubicBezTo>
                        <a:pt x="64" y="6"/>
                        <a:pt x="59" y="0"/>
                        <a:pt x="49" y="2"/>
                      </a:cubicBezTo>
                      <a:cubicBezTo>
                        <a:pt x="39" y="4"/>
                        <a:pt x="37" y="4"/>
                        <a:pt x="32" y="4"/>
                      </a:cubicBezTo>
                      <a:cubicBezTo>
                        <a:pt x="28" y="4"/>
                        <a:pt x="20" y="1"/>
                        <a:pt x="13" y="4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95" name="Freeform 21"/>
                <p:cNvSpPr/>
                <p:nvPr>
                  <p:custDataLst>
                    <p:tags r:id="rId93"/>
                  </p:custDataLst>
                </p:nvPr>
              </p:nvSpPr>
              <p:spPr bwMode="auto">
                <a:xfrm>
                  <a:off x="3712" y="1973"/>
                  <a:ext cx="5" cy="10"/>
                </a:xfrm>
                <a:custGeom>
                  <a:avLst/>
                  <a:gdLst>
                    <a:gd name="T0" fmla="*/ 4 w 12"/>
                    <a:gd name="T1" fmla="*/ 20 h 22"/>
                    <a:gd name="T2" fmla="*/ 8 w 12"/>
                    <a:gd name="T3" fmla="*/ 16 h 22"/>
                    <a:gd name="T4" fmla="*/ 11 w 12"/>
                    <a:gd name="T5" fmla="*/ 8 h 22"/>
                    <a:gd name="T6" fmla="*/ 3 w 12"/>
                    <a:gd name="T7" fmla="*/ 0 h 22"/>
                    <a:gd name="T8" fmla="*/ 0 w 12"/>
                    <a:gd name="T9" fmla="*/ 5 h 22"/>
                    <a:gd name="T10" fmla="*/ 3 w 12"/>
                    <a:gd name="T11" fmla="*/ 13 h 22"/>
                    <a:gd name="T12" fmla="*/ 4 w 12"/>
                    <a:gd name="T13" fmla="*/ 20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22">
                      <a:moveTo>
                        <a:pt x="4" y="20"/>
                      </a:moveTo>
                      <a:cubicBezTo>
                        <a:pt x="7" y="21"/>
                        <a:pt x="8" y="22"/>
                        <a:pt x="8" y="16"/>
                      </a:cubicBezTo>
                      <a:cubicBezTo>
                        <a:pt x="8" y="11"/>
                        <a:pt x="11" y="12"/>
                        <a:pt x="11" y="8"/>
                      </a:cubicBezTo>
                      <a:cubicBezTo>
                        <a:pt x="12" y="4"/>
                        <a:pt x="9" y="0"/>
                        <a:pt x="3" y="0"/>
                      </a:cubicBezTo>
                      <a:cubicBezTo>
                        <a:pt x="1" y="1"/>
                        <a:pt x="0" y="2"/>
                        <a:pt x="0" y="5"/>
                      </a:cubicBezTo>
                      <a:cubicBezTo>
                        <a:pt x="0" y="9"/>
                        <a:pt x="2" y="10"/>
                        <a:pt x="3" y="13"/>
                      </a:cubicBezTo>
                      <a:cubicBezTo>
                        <a:pt x="3" y="16"/>
                        <a:pt x="1" y="20"/>
                        <a:pt x="4" y="20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96" name="Freeform 22"/>
                <p:cNvSpPr/>
                <p:nvPr>
                  <p:custDataLst>
                    <p:tags r:id="rId94"/>
                  </p:custDataLst>
                </p:nvPr>
              </p:nvSpPr>
              <p:spPr bwMode="auto">
                <a:xfrm>
                  <a:off x="3656" y="1877"/>
                  <a:ext cx="118" cy="163"/>
                </a:xfrm>
                <a:custGeom>
                  <a:avLst/>
                  <a:gdLst>
                    <a:gd name="T0" fmla="*/ 3 w 276"/>
                    <a:gd name="T1" fmla="*/ 162 h 380"/>
                    <a:gd name="T2" fmla="*/ 17 w 276"/>
                    <a:gd name="T3" fmla="*/ 194 h 380"/>
                    <a:gd name="T4" fmla="*/ 23 w 276"/>
                    <a:gd name="T5" fmla="*/ 240 h 380"/>
                    <a:gd name="T6" fmla="*/ 40 w 276"/>
                    <a:gd name="T7" fmla="*/ 258 h 380"/>
                    <a:gd name="T8" fmla="*/ 51 w 276"/>
                    <a:gd name="T9" fmla="*/ 249 h 380"/>
                    <a:gd name="T10" fmla="*/ 60 w 276"/>
                    <a:gd name="T11" fmla="*/ 243 h 380"/>
                    <a:gd name="T12" fmla="*/ 75 w 276"/>
                    <a:gd name="T13" fmla="*/ 261 h 380"/>
                    <a:gd name="T14" fmla="*/ 56 w 276"/>
                    <a:gd name="T15" fmla="*/ 273 h 380"/>
                    <a:gd name="T16" fmla="*/ 56 w 276"/>
                    <a:gd name="T17" fmla="*/ 292 h 380"/>
                    <a:gd name="T18" fmla="*/ 73 w 276"/>
                    <a:gd name="T19" fmla="*/ 304 h 380"/>
                    <a:gd name="T20" fmla="*/ 102 w 276"/>
                    <a:gd name="T21" fmla="*/ 307 h 380"/>
                    <a:gd name="T22" fmla="*/ 128 w 276"/>
                    <a:gd name="T23" fmla="*/ 294 h 380"/>
                    <a:gd name="T24" fmla="*/ 148 w 276"/>
                    <a:gd name="T25" fmla="*/ 306 h 380"/>
                    <a:gd name="T26" fmla="*/ 162 w 276"/>
                    <a:gd name="T27" fmla="*/ 322 h 380"/>
                    <a:gd name="T28" fmla="*/ 173 w 276"/>
                    <a:gd name="T29" fmla="*/ 309 h 380"/>
                    <a:gd name="T30" fmla="*/ 172 w 276"/>
                    <a:gd name="T31" fmla="*/ 293 h 380"/>
                    <a:gd name="T32" fmla="*/ 189 w 276"/>
                    <a:gd name="T33" fmla="*/ 306 h 380"/>
                    <a:gd name="T34" fmla="*/ 208 w 276"/>
                    <a:gd name="T35" fmla="*/ 326 h 380"/>
                    <a:gd name="T36" fmla="*/ 221 w 276"/>
                    <a:gd name="T37" fmla="*/ 338 h 380"/>
                    <a:gd name="T38" fmla="*/ 236 w 276"/>
                    <a:gd name="T39" fmla="*/ 354 h 380"/>
                    <a:gd name="T40" fmla="*/ 258 w 276"/>
                    <a:gd name="T41" fmla="*/ 355 h 380"/>
                    <a:gd name="T42" fmla="*/ 261 w 276"/>
                    <a:gd name="T43" fmla="*/ 364 h 380"/>
                    <a:gd name="T44" fmla="*/ 265 w 276"/>
                    <a:gd name="T45" fmla="*/ 374 h 380"/>
                    <a:gd name="T46" fmla="*/ 273 w 276"/>
                    <a:gd name="T47" fmla="*/ 375 h 380"/>
                    <a:gd name="T48" fmla="*/ 276 w 276"/>
                    <a:gd name="T49" fmla="*/ 353 h 380"/>
                    <a:gd name="T50" fmla="*/ 262 w 276"/>
                    <a:gd name="T51" fmla="*/ 345 h 380"/>
                    <a:gd name="T52" fmla="*/ 255 w 276"/>
                    <a:gd name="T53" fmla="*/ 339 h 380"/>
                    <a:gd name="T54" fmla="*/ 240 w 276"/>
                    <a:gd name="T55" fmla="*/ 322 h 380"/>
                    <a:gd name="T56" fmla="*/ 249 w 276"/>
                    <a:gd name="T57" fmla="*/ 309 h 380"/>
                    <a:gd name="T58" fmla="*/ 253 w 276"/>
                    <a:gd name="T59" fmla="*/ 303 h 380"/>
                    <a:gd name="T60" fmla="*/ 234 w 276"/>
                    <a:gd name="T61" fmla="*/ 293 h 380"/>
                    <a:gd name="T62" fmla="*/ 216 w 276"/>
                    <a:gd name="T63" fmla="*/ 302 h 380"/>
                    <a:gd name="T64" fmla="*/ 205 w 276"/>
                    <a:gd name="T65" fmla="*/ 291 h 380"/>
                    <a:gd name="T66" fmla="*/ 187 w 276"/>
                    <a:gd name="T67" fmla="*/ 273 h 380"/>
                    <a:gd name="T68" fmla="*/ 160 w 276"/>
                    <a:gd name="T69" fmla="*/ 280 h 380"/>
                    <a:gd name="T70" fmla="*/ 142 w 276"/>
                    <a:gd name="T71" fmla="*/ 288 h 380"/>
                    <a:gd name="T72" fmla="*/ 124 w 276"/>
                    <a:gd name="T73" fmla="*/ 278 h 380"/>
                    <a:gd name="T74" fmla="*/ 122 w 276"/>
                    <a:gd name="T75" fmla="*/ 254 h 380"/>
                    <a:gd name="T76" fmla="*/ 117 w 276"/>
                    <a:gd name="T77" fmla="*/ 236 h 380"/>
                    <a:gd name="T78" fmla="*/ 107 w 276"/>
                    <a:gd name="T79" fmla="*/ 216 h 380"/>
                    <a:gd name="T80" fmla="*/ 105 w 276"/>
                    <a:gd name="T81" fmla="*/ 194 h 380"/>
                    <a:gd name="T82" fmla="*/ 113 w 276"/>
                    <a:gd name="T83" fmla="*/ 176 h 380"/>
                    <a:gd name="T84" fmla="*/ 142 w 276"/>
                    <a:gd name="T85" fmla="*/ 154 h 380"/>
                    <a:gd name="T86" fmla="*/ 158 w 276"/>
                    <a:gd name="T87" fmla="*/ 135 h 380"/>
                    <a:gd name="T88" fmla="*/ 172 w 276"/>
                    <a:gd name="T89" fmla="*/ 102 h 380"/>
                    <a:gd name="T90" fmla="*/ 155 w 276"/>
                    <a:gd name="T91" fmla="*/ 76 h 380"/>
                    <a:gd name="T92" fmla="*/ 154 w 276"/>
                    <a:gd name="T93" fmla="*/ 41 h 380"/>
                    <a:gd name="T94" fmla="*/ 144 w 276"/>
                    <a:gd name="T95" fmla="*/ 9 h 380"/>
                    <a:gd name="T96" fmla="*/ 120 w 276"/>
                    <a:gd name="T97" fmla="*/ 29 h 380"/>
                    <a:gd name="T98" fmla="*/ 112 w 276"/>
                    <a:gd name="T99" fmla="*/ 14 h 380"/>
                    <a:gd name="T100" fmla="*/ 90 w 276"/>
                    <a:gd name="T101" fmla="*/ 2 h 380"/>
                    <a:gd name="T102" fmla="*/ 61 w 276"/>
                    <a:gd name="T103" fmla="*/ 2 h 380"/>
                    <a:gd name="T104" fmla="*/ 46 w 276"/>
                    <a:gd name="T105" fmla="*/ 35 h 380"/>
                    <a:gd name="T106" fmla="*/ 42 w 276"/>
                    <a:gd name="T107" fmla="*/ 75 h 380"/>
                    <a:gd name="T108" fmla="*/ 35 w 276"/>
                    <a:gd name="T109" fmla="*/ 120 h 380"/>
                    <a:gd name="T110" fmla="*/ 42 w 276"/>
                    <a:gd name="T111" fmla="*/ 151 h 380"/>
                    <a:gd name="T112" fmla="*/ 23 w 276"/>
                    <a:gd name="T113" fmla="*/ 158 h 380"/>
                    <a:gd name="T114" fmla="*/ 3 w 276"/>
                    <a:gd name="T115" fmla="*/ 144 h 3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276" h="380">
                      <a:moveTo>
                        <a:pt x="3" y="144"/>
                      </a:moveTo>
                      <a:cubicBezTo>
                        <a:pt x="0" y="146"/>
                        <a:pt x="1" y="156"/>
                        <a:pt x="3" y="162"/>
                      </a:cubicBezTo>
                      <a:cubicBezTo>
                        <a:pt x="4" y="167"/>
                        <a:pt x="8" y="172"/>
                        <a:pt x="11" y="176"/>
                      </a:cubicBezTo>
                      <a:cubicBezTo>
                        <a:pt x="14" y="180"/>
                        <a:pt x="15" y="186"/>
                        <a:pt x="17" y="194"/>
                      </a:cubicBezTo>
                      <a:cubicBezTo>
                        <a:pt x="19" y="203"/>
                        <a:pt x="19" y="215"/>
                        <a:pt x="17" y="223"/>
                      </a:cubicBezTo>
                      <a:cubicBezTo>
                        <a:pt x="16" y="232"/>
                        <a:pt x="18" y="231"/>
                        <a:pt x="23" y="240"/>
                      </a:cubicBezTo>
                      <a:cubicBezTo>
                        <a:pt x="28" y="249"/>
                        <a:pt x="28" y="242"/>
                        <a:pt x="33" y="247"/>
                      </a:cubicBezTo>
                      <a:cubicBezTo>
                        <a:pt x="37" y="251"/>
                        <a:pt x="38" y="251"/>
                        <a:pt x="40" y="258"/>
                      </a:cubicBezTo>
                      <a:cubicBezTo>
                        <a:pt x="42" y="265"/>
                        <a:pt x="48" y="261"/>
                        <a:pt x="52" y="259"/>
                      </a:cubicBezTo>
                      <a:cubicBezTo>
                        <a:pt x="56" y="256"/>
                        <a:pt x="54" y="255"/>
                        <a:pt x="51" y="249"/>
                      </a:cubicBezTo>
                      <a:cubicBezTo>
                        <a:pt x="48" y="244"/>
                        <a:pt x="48" y="242"/>
                        <a:pt x="52" y="238"/>
                      </a:cubicBezTo>
                      <a:cubicBezTo>
                        <a:pt x="55" y="234"/>
                        <a:pt x="58" y="240"/>
                        <a:pt x="60" y="243"/>
                      </a:cubicBezTo>
                      <a:cubicBezTo>
                        <a:pt x="61" y="247"/>
                        <a:pt x="64" y="248"/>
                        <a:pt x="68" y="251"/>
                      </a:cubicBezTo>
                      <a:cubicBezTo>
                        <a:pt x="73" y="255"/>
                        <a:pt x="74" y="255"/>
                        <a:pt x="75" y="261"/>
                      </a:cubicBezTo>
                      <a:cubicBezTo>
                        <a:pt x="75" y="266"/>
                        <a:pt x="73" y="265"/>
                        <a:pt x="70" y="268"/>
                      </a:cubicBezTo>
                      <a:cubicBezTo>
                        <a:pt x="66" y="271"/>
                        <a:pt x="64" y="270"/>
                        <a:pt x="56" y="273"/>
                      </a:cubicBezTo>
                      <a:cubicBezTo>
                        <a:pt x="48" y="276"/>
                        <a:pt x="54" y="276"/>
                        <a:pt x="55" y="282"/>
                      </a:cubicBezTo>
                      <a:cubicBezTo>
                        <a:pt x="56" y="288"/>
                        <a:pt x="55" y="286"/>
                        <a:pt x="56" y="292"/>
                      </a:cubicBezTo>
                      <a:cubicBezTo>
                        <a:pt x="58" y="298"/>
                        <a:pt x="62" y="296"/>
                        <a:pt x="67" y="297"/>
                      </a:cubicBezTo>
                      <a:cubicBezTo>
                        <a:pt x="72" y="298"/>
                        <a:pt x="72" y="300"/>
                        <a:pt x="73" y="304"/>
                      </a:cubicBezTo>
                      <a:cubicBezTo>
                        <a:pt x="74" y="308"/>
                        <a:pt x="82" y="310"/>
                        <a:pt x="85" y="312"/>
                      </a:cubicBezTo>
                      <a:cubicBezTo>
                        <a:pt x="89" y="314"/>
                        <a:pt x="99" y="313"/>
                        <a:pt x="102" y="307"/>
                      </a:cubicBezTo>
                      <a:cubicBezTo>
                        <a:pt x="104" y="302"/>
                        <a:pt x="111" y="299"/>
                        <a:pt x="114" y="295"/>
                      </a:cubicBezTo>
                      <a:cubicBezTo>
                        <a:pt x="117" y="291"/>
                        <a:pt x="125" y="294"/>
                        <a:pt x="128" y="294"/>
                      </a:cubicBezTo>
                      <a:cubicBezTo>
                        <a:pt x="132" y="294"/>
                        <a:pt x="133" y="297"/>
                        <a:pt x="139" y="300"/>
                      </a:cubicBezTo>
                      <a:cubicBezTo>
                        <a:pt x="145" y="303"/>
                        <a:pt x="142" y="303"/>
                        <a:pt x="148" y="306"/>
                      </a:cubicBezTo>
                      <a:cubicBezTo>
                        <a:pt x="153" y="309"/>
                        <a:pt x="154" y="309"/>
                        <a:pt x="158" y="313"/>
                      </a:cubicBezTo>
                      <a:cubicBezTo>
                        <a:pt x="162" y="316"/>
                        <a:pt x="162" y="318"/>
                        <a:pt x="162" y="322"/>
                      </a:cubicBezTo>
                      <a:cubicBezTo>
                        <a:pt x="162" y="326"/>
                        <a:pt x="170" y="327"/>
                        <a:pt x="170" y="321"/>
                      </a:cubicBezTo>
                      <a:cubicBezTo>
                        <a:pt x="170" y="316"/>
                        <a:pt x="171" y="314"/>
                        <a:pt x="173" y="309"/>
                      </a:cubicBezTo>
                      <a:cubicBezTo>
                        <a:pt x="174" y="305"/>
                        <a:pt x="170" y="303"/>
                        <a:pt x="168" y="298"/>
                      </a:cubicBezTo>
                      <a:cubicBezTo>
                        <a:pt x="166" y="294"/>
                        <a:pt x="170" y="293"/>
                        <a:pt x="172" y="293"/>
                      </a:cubicBezTo>
                      <a:cubicBezTo>
                        <a:pt x="175" y="293"/>
                        <a:pt x="178" y="297"/>
                        <a:pt x="183" y="297"/>
                      </a:cubicBezTo>
                      <a:cubicBezTo>
                        <a:pt x="187" y="298"/>
                        <a:pt x="188" y="302"/>
                        <a:pt x="189" y="306"/>
                      </a:cubicBezTo>
                      <a:cubicBezTo>
                        <a:pt x="189" y="311"/>
                        <a:pt x="194" y="313"/>
                        <a:pt x="197" y="314"/>
                      </a:cubicBezTo>
                      <a:cubicBezTo>
                        <a:pt x="201" y="316"/>
                        <a:pt x="207" y="321"/>
                        <a:pt x="208" y="326"/>
                      </a:cubicBezTo>
                      <a:cubicBezTo>
                        <a:pt x="209" y="331"/>
                        <a:pt x="212" y="330"/>
                        <a:pt x="216" y="332"/>
                      </a:cubicBezTo>
                      <a:cubicBezTo>
                        <a:pt x="220" y="333"/>
                        <a:pt x="220" y="334"/>
                        <a:pt x="221" y="338"/>
                      </a:cubicBezTo>
                      <a:cubicBezTo>
                        <a:pt x="221" y="342"/>
                        <a:pt x="223" y="344"/>
                        <a:pt x="225" y="349"/>
                      </a:cubicBezTo>
                      <a:cubicBezTo>
                        <a:pt x="227" y="354"/>
                        <a:pt x="233" y="352"/>
                        <a:pt x="236" y="354"/>
                      </a:cubicBezTo>
                      <a:cubicBezTo>
                        <a:pt x="239" y="355"/>
                        <a:pt x="243" y="356"/>
                        <a:pt x="249" y="357"/>
                      </a:cubicBezTo>
                      <a:cubicBezTo>
                        <a:pt x="255" y="357"/>
                        <a:pt x="254" y="356"/>
                        <a:pt x="258" y="355"/>
                      </a:cubicBezTo>
                      <a:cubicBezTo>
                        <a:pt x="261" y="353"/>
                        <a:pt x="263" y="355"/>
                        <a:pt x="264" y="358"/>
                      </a:cubicBezTo>
                      <a:cubicBezTo>
                        <a:pt x="266" y="362"/>
                        <a:pt x="263" y="362"/>
                        <a:pt x="261" y="364"/>
                      </a:cubicBezTo>
                      <a:cubicBezTo>
                        <a:pt x="258" y="365"/>
                        <a:pt x="256" y="366"/>
                        <a:pt x="256" y="369"/>
                      </a:cubicBezTo>
                      <a:cubicBezTo>
                        <a:pt x="256" y="372"/>
                        <a:pt x="260" y="373"/>
                        <a:pt x="265" y="374"/>
                      </a:cubicBezTo>
                      <a:cubicBezTo>
                        <a:pt x="270" y="375"/>
                        <a:pt x="269" y="379"/>
                        <a:pt x="271" y="380"/>
                      </a:cubicBezTo>
                      <a:cubicBezTo>
                        <a:pt x="273" y="380"/>
                        <a:pt x="273" y="378"/>
                        <a:pt x="273" y="375"/>
                      </a:cubicBezTo>
                      <a:cubicBezTo>
                        <a:pt x="272" y="372"/>
                        <a:pt x="273" y="368"/>
                        <a:pt x="274" y="362"/>
                      </a:cubicBezTo>
                      <a:cubicBezTo>
                        <a:pt x="275" y="357"/>
                        <a:pt x="276" y="357"/>
                        <a:pt x="276" y="353"/>
                      </a:cubicBezTo>
                      <a:cubicBezTo>
                        <a:pt x="276" y="349"/>
                        <a:pt x="273" y="349"/>
                        <a:pt x="270" y="347"/>
                      </a:cubicBezTo>
                      <a:cubicBezTo>
                        <a:pt x="267" y="346"/>
                        <a:pt x="267" y="345"/>
                        <a:pt x="262" y="345"/>
                      </a:cubicBezTo>
                      <a:cubicBezTo>
                        <a:pt x="258" y="345"/>
                        <a:pt x="256" y="347"/>
                        <a:pt x="253" y="345"/>
                      </a:cubicBezTo>
                      <a:cubicBezTo>
                        <a:pt x="250" y="344"/>
                        <a:pt x="252" y="343"/>
                        <a:pt x="255" y="339"/>
                      </a:cubicBezTo>
                      <a:cubicBezTo>
                        <a:pt x="258" y="336"/>
                        <a:pt x="255" y="336"/>
                        <a:pt x="251" y="328"/>
                      </a:cubicBezTo>
                      <a:cubicBezTo>
                        <a:pt x="247" y="320"/>
                        <a:pt x="247" y="326"/>
                        <a:pt x="240" y="322"/>
                      </a:cubicBezTo>
                      <a:cubicBezTo>
                        <a:pt x="233" y="317"/>
                        <a:pt x="237" y="313"/>
                        <a:pt x="239" y="309"/>
                      </a:cubicBezTo>
                      <a:cubicBezTo>
                        <a:pt x="240" y="305"/>
                        <a:pt x="244" y="309"/>
                        <a:pt x="249" y="309"/>
                      </a:cubicBezTo>
                      <a:cubicBezTo>
                        <a:pt x="254" y="310"/>
                        <a:pt x="257" y="310"/>
                        <a:pt x="260" y="309"/>
                      </a:cubicBezTo>
                      <a:cubicBezTo>
                        <a:pt x="262" y="308"/>
                        <a:pt x="259" y="305"/>
                        <a:pt x="253" y="303"/>
                      </a:cubicBezTo>
                      <a:cubicBezTo>
                        <a:pt x="248" y="302"/>
                        <a:pt x="249" y="301"/>
                        <a:pt x="244" y="297"/>
                      </a:cubicBezTo>
                      <a:cubicBezTo>
                        <a:pt x="240" y="294"/>
                        <a:pt x="238" y="295"/>
                        <a:pt x="234" y="293"/>
                      </a:cubicBezTo>
                      <a:cubicBezTo>
                        <a:pt x="230" y="291"/>
                        <a:pt x="223" y="288"/>
                        <a:pt x="222" y="293"/>
                      </a:cubicBezTo>
                      <a:cubicBezTo>
                        <a:pt x="222" y="298"/>
                        <a:pt x="221" y="298"/>
                        <a:pt x="216" y="302"/>
                      </a:cubicBezTo>
                      <a:cubicBezTo>
                        <a:pt x="212" y="306"/>
                        <a:pt x="208" y="308"/>
                        <a:pt x="206" y="305"/>
                      </a:cubicBezTo>
                      <a:cubicBezTo>
                        <a:pt x="204" y="302"/>
                        <a:pt x="205" y="295"/>
                        <a:pt x="205" y="291"/>
                      </a:cubicBezTo>
                      <a:cubicBezTo>
                        <a:pt x="205" y="286"/>
                        <a:pt x="204" y="283"/>
                        <a:pt x="198" y="279"/>
                      </a:cubicBezTo>
                      <a:cubicBezTo>
                        <a:pt x="192" y="274"/>
                        <a:pt x="191" y="277"/>
                        <a:pt x="187" y="273"/>
                      </a:cubicBezTo>
                      <a:cubicBezTo>
                        <a:pt x="183" y="270"/>
                        <a:pt x="177" y="268"/>
                        <a:pt x="171" y="270"/>
                      </a:cubicBezTo>
                      <a:cubicBezTo>
                        <a:pt x="165" y="271"/>
                        <a:pt x="161" y="275"/>
                        <a:pt x="160" y="280"/>
                      </a:cubicBezTo>
                      <a:cubicBezTo>
                        <a:pt x="159" y="286"/>
                        <a:pt x="157" y="289"/>
                        <a:pt x="153" y="292"/>
                      </a:cubicBezTo>
                      <a:cubicBezTo>
                        <a:pt x="149" y="295"/>
                        <a:pt x="147" y="292"/>
                        <a:pt x="142" y="288"/>
                      </a:cubicBezTo>
                      <a:cubicBezTo>
                        <a:pt x="138" y="284"/>
                        <a:pt x="138" y="285"/>
                        <a:pt x="132" y="284"/>
                      </a:cubicBezTo>
                      <a:cubicBezTo>
                        <a:pt x="125" y="282"/>
                        <a:pt x="127" y="282"/>
                        <a:pt x="124" y="278"/>
                      </a:cubicBezTo>
                      <a:cubicBezTo>
                        <a:pt x="121" y="273"/>
                        <a:pt x="125" y="272"/>
                        <a:pt x="126" y="266"/>
                      </a:cubicBezTo>
                      <a:cubicBezTo>
                        <a:pt x="126" y="260"/>
                        <a:pt x="122" y="258"/>
                        <a:pt x="122" y="254"/>
                      </a:cubicBezTo>
                      <a:cubicBezTo>
                        <a:pt x="122" y="250"/>
                        <a:pt x="123" y="249"/>
                        <a:pt x="122" y="242"/>
                      </a:cubicBezTo>
                      <a:cubicBezTo>
                        <a:pt x="121" y="236"/>
                        <a:pt x="121" y="239"/>
                        <a:pt x="117" y="236"/>
                      </a:cubicBezTo>
                      <a:cubicBezTo>
                        <a:pt x="114" y="232"/>
                        <a:pt x="113" y="231"/>
                        <a:pt x="113" y="228"/>
                      </a:cubicBezTo>
                      <a:cubicBezTo>
                        <a:pt x="113" y="224"/>
                        <a:pt x="112" y="223"/>
                        <a:pt x="107" y="216"/>
                      </a:cubicBezTo>
                      <a:cubicBezTo>
                        <a:pt x="102" y="210"/>
                        <a:pt x="101" y="210"/>
                        <a:pt x="100" y="207"/>
                      </a:cubicBezTo>
                      <a:cubicBezTo>
                        <a:pt x="100" y="203"/>
                        <a:pt x="103" y="196"/>
                        <a:pt x="105" y="194"/>
                      </a:cubicBezTo>
                      <a:cubicBezTo>
                        <a:pt x="107" y="191"/>
                        <a:pt x="112" y="189"/>
                        <a:pt x="116" y="187"/>
                      </a:cubicBezTo>
                      <a:cubicBezTo>
                        <a:pt x="121" y="184"/>
                        <a:pt x="118" y="179"/>
                        <a:pt x="113" y="176"/>
                      </a:cubicBezTo>
                      <a:cubicBezTo>
                        <a:pt x="109" y="173"/>
                        <a:pt x="110" y="169"/>
                        <a:pt x="115" y="166"/>
                      </a:cubicBezTo>
                      <a:cubicBezTo>
                        <a:pt x="119" y="163"/>
                        <a:pt x="137" y="154"/>
                        <a:pt x="142" y="154"/>
                      </a:cubicBezTo>
                      <a:cubicBezTo>
                        <a:pt x="147" y="157"/>
                        <a:pt x="145" y="152"/>
                        <a:pt x="147" y="147"/>
                      </a:cubicBezTo>
                      <a:cubicBezTo>
                        <a:pt x="148" y="142"/>
                        <a:pt x="155" y="142"/>
                        <a:pt x="158" y="135"/>
                      </a:cubicBezTo>
                      <a:cubicBezTo>
                        <a:pt x="162" y="128"/>
                        <a:pt x="158" y="126"/>
                        <a:pt x="160" y="120"/>
                      </a:cubicBezTo>
                      <a:cubicBezTo>
                        <a:pt x="161" y="114"/>
                        <a:pt x="168" y="110"/>
                        <a:pt x="172" y="102"/>
                      </a:cubicBezTo>
                      <a:cubicBezTo>
                        <a:pt x="176" y="93"/>
                        <a:pt x="173" y="94"/>
                        <a:pt x="170" y="89"/>
                      </a:cubicBezTo>
                      <a:cubicBezTo>
                        <a:pt x="166" y="84"/>
                        <a:pt x="163" y="84"/>
                        <a:pt x="155" y="76"/>
                      </a:cubicBezTo>
                      <a:cubicBezTo>
                        <a:pt x="147" y="69"/>
                        <a:pt x="152" y="65"/>
                        <a:pt x="153" y="58"/>
                      </a:cubicBezTo>
                      <a:cubicBezTo>
                        <a:pt x="154" y="50"/>
                        <a:pt x="155" y="48"/>
                        <a:pt x="154" y="41"/>
                      </a:cubicBezTo>
                      <a:cubicBezTo>
                        <a:pt x="152" y="34"/>
                        <a:pt x="162" y="7"/>
                        <a:pt x="158" y="4"/>
                      </a:cubicBezTo>
                      <a:cubicBezTo>
                        <a:pt x="149" y="1"/>
                        <a:pt x="148" y="4"/>
                        <a:pt x="144" y="9"/>
                      </a:cubicBezTo>
                      <a:cubicBezTo>
                        <a:pt x="139" y="14"/>
                        <a:pt x="139" y="16"/>
                        <a:pt x="133" y="16"/>
                      </a:cubicBezTo>
                      <a:cubicBezTo>
                        <a:pt x="124" y="16"/>
                        <a:pt x="123" y="25"/>
                        <a:pt x="120" y="29"/>
                      </a:cubicBezTo>
                      <a:cubicBezTo>
                        <a:pt x="116" y="33"/>
                        <a:pt x="116" y="28"/>
                        <a:pt x="115" y="23"/>
                      </a:cubicBezTo>
                      <a:cubicBezTo>
                        <a:pt x="114" y="17"/>
                        <a:pt x="115" y="16"/>
                        <a:pt x="112" y="14"/>
                      </a:cubicBezTo>
                      <a:cubicBezTo>
                        <a:pt x="109" y="12"/>
                        <a:pt x="107" y="12"/>
                        <a:pt x="102" y="8"/>
                      </a:cubicBezTo>
                      <a:cubicBezTo>
                        <a:pt x="98" y="4"/>
                        <a:pt x="94" y="5"/>
                        <a:pt x="90" y="2"/>
                      </a:cubicBezTo>
                      <a:cubicBezTo>
                        <a:pt x="85" y="0"/>
                        <a:pt x="83" y="2"/>
                        <a:pt x="77" y="1"/>
                      </a:cubicBezTo>
                      <a:cubicBezTo>
                        <a:pt x="71" y="1"/>
                        <a:pt x="68" y="2"/>
                        <a:pt x="61" y="2"/>
                      </a:cubicBezTo>
                      <a:cubicBezTo>
                        <a:pt x="55" y="3"/>
                        <a:pt x="53" y="7"/>
                        <a:pt x="50" y="13"/>
                      </a:cubicBezTo>
                      <a:cubicBezTo>
                        <a:pt x="47" y="18"/>
                        <a:pt x="49" y="29"/>
                        <a:pt x="46" y="35"/>
                      </a:cubicBezTo>
                      <a:cubicBezTo>
                        <a:pt x="42" y="41"/>
                        <a:pt x="43" y="44"/>
                        <a:pt x="42" y="52"/>
                      </a:cubicBezTo>
                      <a:cubicBezTo>
                        <a:pt x="40" y="60"/>
                        <a:pt x="40" y="66"/>
                        <a:pt x="42" y="75"/>
                      </a:cubicBezTo>
                      <a:cubicBezTo>
                        <a:pt x="43" y="85"/>
                        <a:pt x="44" y="89"/>
                        <a:pt x="43" y="99"/>
                      </a:cubicBezTo>
                      <a:cubicBezTo>
                        <a:pt x="43" y="109"/>
                        <a:pt x="42" y="114"/>
                        <a:pt x="35" y="120"/>
                      </a:cubicBezTo>
                      <a:cubicBezTo>
                        <a:pt x="27" y="127"/>
                        <a:pt x="35" y="130"/>
                        <a:pt x="38" y="137"/>
                      </a:cubicBezTo>
                      <a:cubicBezTo>
                        <a:pt x="40" y="145"/>
                        <a:pt x="41" y="145"/>
                        <a:pt x="42" y="151"/>
                      </a:cubicBezTo>
                      <a:cubicBezTo>
                        <a:pt x="42" y="157"/>
                        <a:pt x="39" y="156"/>
                        <a:pt x="33" y="160"/>
                      </a:cubicBezTo>
                      <a:cubicBezTo>
                        <a:pt x="27" y="164"/>
                        <a:pt x="26" y="161"/>
                        <a:pt x="23" y="158"/>
                      </a:cubicBezTo>
                      <a:cubicBezTo>
                        <a:pt x="19" y="156"/>
                        <a:pt x="17" y="149"/>
                        <a:pt x="14" y="145"/>
                      </a:cubicBezTo>
                      <a:cubicBezTo>
                        <a:pt x="12" y="140"/>
                        <a:pt x="7" y="141"/>
                        <a:pt x="3" y="144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97" name="Freeform 23"/>
                <p:cNvSpPr/>
                <p:nvPr>
                  <p:custDataLst>
                    <p:tags r:id="rId95"/>
                  </p:custDataLst>
                </p:nvPr>
              </p:nvSpPr>
              <p:spPr bwMode="auto">
                <a:xfrm>
                  <a:off x="3713" y="2115"/>
                  <a:ext cx="124" cy="111"/>
                </a:xfrm>
                <a:custGeom>
                  <a:avLst/>
                  <a:gdLst>
                    <a:gd name="T0" fmla="*/ 218 w 290"/>
                    <a:gd name="T1" fmla="*/ 3 h 260"/>
                    <a:gd name="T2" fmla="*/ 224 w 290"/>
                    <a:gd name="T3" fmla="*/ 36 h 260"/>
                    <a:gd name="T4" fmla="*/ 202 w 290"/>
                    <a:gd name="T5" fmla="*/ 46 h 260"/>
                    <a:gd name="T6" fmla="*/ 182 w 290"/>
                    <a:gd name="T7" fmla="*/ 44 h 260"/>
                    <a:gd name="T8" fmla="*/ 176 w 290"/>
                    <a:gd name="T9" fmla="*/ 42 h 260"/>
                    <a:gd name="T10" fmla="*/ 175 w 290"/>
                    <a:gd name="T11" fmla="*/ 75 h 260"/>
                    <a:gd name="T12" fmla="*/ 148 w 290"/>
                    <a:gd name="T13" fmla="*/ 81 h 260"/>
                    <a:gd name="T14" fmla="*/ 122 w 290"/>
                    <a:gd name="T15" fmla="*/ 107 h 260"/>
                    <a:gd name="T16" fmla="*/ 113 w 290"/>
                    <a:gd name="T17" fmla="*/ 100 h 260"/>
                    <a:gd name="T18" fmla="*/ 117 w 290"/>
                    <a:gd name="T19" fmla="*/ 81 h 260"/>
                    <a:gd name="T20" fmla="*/ 100 w 290"/>
                    <a:gd name="T21" fmla="*/ 71 h 260"/>
                    <a:gd name="T22" fmla="*/ 80 w 290"/>
                    <a:gd name="T23" fmla="*/ 72 h 260"/>
                    <a:gd name="T24" fmla="*/ 63 w 290"/>
                    <a:gd name="T25" fmla="*/ 96 h 260"/>
                    <a:gd name="T26" fmla="*/ 34 w 290"/>
                    <a:gd name="T27" fmla="*/ 111 h 260"/>
                    <a:gd name="T28" fmla="*/ 15 w 290"/>
                    <a:gd name="T29" fmla="*/ 125 h 260"/>
                    <a:gd name="T30" fmla="*/ 9 w 290"/>
                    <a:gd name="T31" fmla="*/ 147 h 260"/>
                    <a:gd name="T32" fmla="*/ 10 w 290"/>
                    <a:gd name="T33" fmla="*/ 172 h 260"/>
                    <a:gd name="T34" fmla="*/ 23 w 290"/>
                    <a:gd name="T35" fmla="*/ 155 h 260"/>
                    <a:gd name="T36" fmla="*/ 36 w 290"/>
                    <a:gd name="T37" fmla="*/ 129 h 260"/>
                    <a:gd name="T38" fmla="*/ 49 w 290"/>
                    <a:gd name="T39" fmla="*/ 127 h 260"/>
                    <a:gd name="T40" fmla="*/ 59 w 290"/>
                    <a:gd name="T41" fmla="*/ 140 h 260"/>
                    <a:gd name="T42" fmla="*/ 70 w 290"/>
                    <a:gd name="T43" fmla="*/ 132 h 260"/>
                    <a:gd name="T44" fmla="*/ 81 w 290"/>
                    <a:gd name="T45" fmla="*/ 135 h 260"/>
                    <a:gd name="T46" fmla="*/ 93 w 290"/>
                    <a:gd name="T47" fmla="*/ 144 h 260"/>
                    <a:gd name="T48" fmla="*/ 109 w 290"/>
                    <a:gd name="T49" fmla="*/ 121 h 260"/>
                    <a:gd name="T50" fmla="*/ 133 w 290"/>
                    <a:gd name="T51" fmla="*/ 142 h 260"/>
                    <a:gd name="T52" fmla="*/ 132 w 290"/>
                    <a:gd name="T53" fmla="*/ 163 h 260"/>
                    <a:gd name="T54" fmla="*/ 136 w 290"/>
                    <a:gd name="T55" fmla="*/ 208 h 260"/>
                    <a:gd name="T56" fmla="*/ 180 w 290"/>
                    <a:gd name="T57" fmla="*/ 232 h 260"/>
                    <a:gd name="T58" fmla="*/ 197 w 290"/>
                    <a:gd name="T59" fmla="*/ 228 h 260"/>
                    <a:gd name="T60" fmla="*/ 204 w 290"/>
                    <a:gd name="T61" fmla="*/ 244 h 260"/>
                    <a:gd name="T62" fmla="*/ 221 w 290"/>
                    <a:gd name="T63" fmla="*/ 245 h 260"/>
                    <a:gd name="T64" fmla="*/ 230 w 290"/>
                    <a:gd name="T65" fmla="*/ 218 h 260"/>
                    <a:gd name="T66" fmla="*/ 217 w 290"/>
                    <a:gd name="T67" fmla="*/ 194 h 260"/>
                    <a:gd name="T68" fmla="*/ 227 w 290"/>
                    <a:gd name="T69" fmla="*/ 165 h 260"/>
                    <a:gd name="T70" fmla="*/ 234 w 290"/>
                    <a:gd name="T71" fmla="*/ 159 h 260"/>
                    <a:gd name="T72" fmla="*/ 251 w 290"/>
                    <a:gd name="T73" fmla="*/ 173 h 260"/>
                    <a:gd name="T74" fmla="*/ 263 w 290"/>
                    <a:gd name="T75" fmla="*/ 194 h 260"/>
                    <a:gd name="T76" fmla="*/ 281 w 290"/>
                    <a:gd name="T77" fmla="*/ 170 h 260"/>
                    <a:gd name="T78" fmla="*/ 287 w 290"/>
                    <a:gd name="T79" fmla="*/ 124 h 260"/>
                    <a:gd name="T80" fmla="*/ 282 w 290"/>
                    <a:gd name="T81" fmla="*/ 98 h 260"/>
                    <a:gd name="T82" fmla="*/ 275 w 290"/>
                    <a:gd name="T83" fmla="*/ 82 h 260"/>
                    <a:gd name="T84" fmla="*/ 261 w 290"/>
                    <a:gd name="T85" fmla="*/ 63 h 260"/>
                    <a:gd name="T86" fmla="*/ 270 w 290"/>
                    <a:gd name="T87" fmla="*/ 39 h 260"/>
                    <a:gd name="T88" fmla="*/ 251 w 290"/>
                    <a:gd name="T89" fmla="*/ 25 h 2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290" h="260">
                      <a:moveTo>
                        <a:pt x="242" y="15"/>
                      </a:moveTo>
                      <a:cubicBezTo>
                        <a:pt x="238" y="9"/>
                        <a:pt x="234" y="9"/>
                        <a:pt x="230" y="5"/>
                      </a:cubicBezTo>
                      <a:cubicBezTo>
                        <a:pt x="225" y="2"/>
                        <a:pt x="220" y="0"/>
                        <a:pt x="218" y="3"/>
                      </a:cubicBezTo>
                      <a:cubicBezTo>
                        <a:pt x="217" y="7"/>
                        <a:pt x="221" y="8"/>
                        <a:pt x="220" y="13"/>
                      </a:cubicBezTo>
                      <a:cubicBezTo>
                        <a:pt x="220" y="18"/>
                        <a:pt x="219" y="19"/>
                        <a:pt x="219" y="25"/>
                      </a:cubicBezTo>
                      <a:cubicBezTo>
                        <a:pt x="220" y="31"/>
                        <a:pt x="223" y="33"/>
                        <a:pt x="224" y="36"/>
                      </a:cubicBezTo>
                      <a:cubicBezTo>
                        <a:pt x="226" y="40"/>
                        <a:pt x="222" y="44"/>
                        <a:pt x="219" y="45"/>
                      </a:cubicBezTo>
                      <a:cubicBezTo>
                        <a:pt x="217" y="45"/>
                        <a:pt x="213" y="44"/>
                        <a:pt x="208" y="42"/>
                      </a:cubicBezTo>
                      <a:cubicBezTo>
                        <a:pt x="203" y="40"/>
                        <a:pt x="202" y="42"/>
                        <a:pt x="202" y="46"/>
                      </a:cubicBezTo>
                      <a:cubicBezTo>
                        <a:pt x="201" y="50"/>
                        <a:pt x="202" y="51"/>
                        <a:pt x="199" y="54"/>
                      </a:cubicBezTo>
                      <a:cubicBezTo>
                        <a:pt x="197" y="56"/>
                        <a:pt x="193" y="53"/>
                        <a:pt x="189" y="51"/>
                      </a:cubicBezTo>
                      <a:cubicBezTo>
                        <a:pt x="185" y="48"/>
                        <a:pt x="185" y="47"/>
                        <a:pt x="182" y="44"/>
                      </a:cubicBezTo>
                      <a:cubicBezTo>
                        <a:pt x="179" y="40"/>
                        <a:pt x="180" y="39"/>
                        <a:pt x="178" y="34"/>
                      </a:cubicBezTo>
                      <a:cubicBezTo>
                        <a:pt x="177" y="30"/>
                        <a:pt x="175" y="33"/>
                        <a:pt x="172" y="35"/>
                      </a:cubicBezTo>
                      <a:cubicBezTo>
                        <a:pt x="169" y="37"/>
                        <a:pt x="174" y="40"/>
                        <a:pt x="176" y="42"/>
                      </a:cubicBezTo>
                      <a:cubicBezTo>
                        <a:pt x="178" y="45"/>
                        <a:pt x="178" y="46"/>
                        <a:pt x="179" y="51"/>
                      </a:cubicBezTo>
                      <a:cubicBezTo>
                        <a:pt x="180" y="57"/>
                        <a:pt x="177" y="56"/>
                        <a:pt x="177" y="63"/>
                      </a:cubicBezTo>
                      <a:cubicBezTo>
                        <a:pt x="177" y="71"/>
                        <a:pt x="176" y="71"/>
                        <a:pt x="175" y="75"/>
                      </a:cubicBezTo>
                      <a:cubicBezTo>
                        <a:pt x="174" y="80"/>
                        <a:pt x="170" y="76"/>
                        <a:pt x="167" y="74"/>
                      </a:cubicBezTo>
                      <a:cubicBezTo>
                        <a:pt x="164" y="71"/>
                        <a:pt x="160" y="70"/>
                        <a:pt x="155" y="71"/>
                      </a:cubicBezTo>
                      <a:cubicBezTo>
                        <a:pt x="150" y="73"/>
                        <a:pt x="152" y="75"/>
                        <a:pt x="148" y="81"/>
                      </a:cubicBezTo>
                      <a:cubicBezTo>
                        <a:pt x="144" y="86"/>
                        <a:pt x="141" y="86"/>
                        <a:pt x="139" y="89"/>
                      </a:cubicBezTo>
                      <a:cubicBezTo>
                        <a:pt x="136" y="92"/>
                        <a:pt x="134" y="93"/>
                        <a:pt x="132" y="97"/>
                      </a:cubicBezTo>
                      <a:cubicBezTo>
                        <a:pt x="130" y="100"/>
                        <a:pt x="126" y="102"/>
                        <a:pt x="122" y="107"/>
                      </a:cubicBezTo>
                      <a:cubicBezTo>
                        <a:pt x="118" y="111"/>
                        <a:pt x="116" y="110"/>
                        <a:pt x="113" y="110"/>
                      </a:cubicBezTo>
                      <a:cubicBezTo>
                        <a:pt x="109" y="111"/>
                        <a:pt x="110" y="110"/>
                        <a:pt x="108" y="107"/>
                      </a:cubicBezTo>
                      <a:cubicBezTo>
                        <a:pt x="107" y="104"/>
                        <a:pt x="110" y="102"/>
                        <a:pt x="113" y="100"/>
                      </a:cubicBezTo>
                      <a:cubicBezTo>
                        <a:pt x="116" y="98"/>
                        <a:pt x="117" y="97"/>
                        <a:pt x="119" y="95"/>
                      </a:cubicBezTo>
                      <a:cubicBezTo>
                        <a:pt x="122" y="93"/>
                        <a:pt x="121" y="92"/>
                        <a:pt x="119" y="88"/>
                      </a:cubicBezTo>
                      <a:cubicBezTo>
                        <a:pt x="118" y="84"/>
                        <a:pt x="118" y="86"/>
                        <a:pt x="117" y="81"/>
                      </a:cubicBezTo>
                      <a:cubicBezTo>
                        <a:pt x="117" y="77"/>
                        <a:pt x="117" y="78"/>
                        <a:pt x="114" y="75"/>
                      </a:cubicBezTo>
                      <a:cubicBezTo>
                        <a:pt x="111" y="71"/>
                        <a:pt x="111" y="74"/>
                        <a:pt x="107" y="73"/>
                      </a:cubicBezTo>
                      <a:cubicBezTo>
                        <a:pt x="103" y="71"/>
                        <a:pt x="101" y="72"/>
                        <a:pt x="100" y="71"/>
                      </a:cubicBezTo>
                      <a:cubicBezTo>
                        <a:pt x="99" y="71"/>
                        <a:pt x="96" y="66"/>
                        <a:pt x="92" y="64"/>
                      </a:cubicBezTo>
                      <a:cubicBezTo>
                        <a:pt x="88" y="63"/>
                        <a:pt x="88" y="65"/>
                        <a:pt x="84" y="67"/>
                      </a:cubicBezTo>
                      <a:cubicBezTo>
                        <a:pt x="81" y="70"/>
                        <a:pt x="83" y="70"/>
                        <a:pt x="80" y="72"/>
                      </a:cubicBezTo>
                      <a:cubicBezTo>
                        <a:pt x="77" y="74"/>
                        <a:pt x="76" y="74"/>
                        <a:pt x="73" y="77"/>
                      </a:cubicBezTo>
                      <a:cubicBezTo>
                        <a:pt x="69" y="80"/>
                        <a:pt x="70" y="82"/>
                        <a:pt x="68" y="86"/>
                      </a:cubicBezTo>
                      <a:cubicBezTo>
                        <a:pt x="67" y="89"/>
                        <a:pt x="65" y="93"/>
                        <a:pt x="63" y="96"/>
                      </a:cubicBezTo>
                      <a:cubicBezTo>
                        <a:pt x="62" y="99"/>
                        <a:pt x="59" y="102"/>
                        <a:pt x="51" y="103"/>
                      </a:cubicBezTo>
                      <a:cubicBezTo>
                        <a:pt x="43" y="104"/>
                        <a:pt x="46" y="106"/>
                        <a:pt x="43" y="106"/>
                      </a:cubicBezTo>
                      <a:cubicBezTo>
                        <a:pt x="39" y="107"/>
                        <a:pt x="38" y="109"/>
                        <a:pt x="34" y="111"/>
                      </a:cubicBezTo>
                      <a:cubicBezTo>
                        <a:pt x="30" y="112"/>
                        <a:pt x="28" y="113"/>
                        <a:pt x="25" y="113"/>
                      </a:cubicBezTo>
                      <a:cubicBezTo>
                        <a:pt x="21" y="113"/>
                        <a:pt x="21" y="115"/>
                        <a:pt x="18" y="117"/>
                      </a:cubicBezTo>
                      <a:cubicBezTo>
                        <a:pt x="15" y="119"/>
                        <a:pt x="16" y="122"/>
                        <a:pt x="15" y="125"/>
                      </a:cubicBezTo>
                      <a:cubicBezTo>
                        <a:pt x="15" y="129"/>
                        <a:pt x="14" y="128"/>
                        <a:pt x="12" y="131"/>
                      </a:cubicBezTo>
                      <a:cubicBezTo>
                        <a:pt x="9" y="135"/>
                        <a:pt x="10" y="135"/>
                        <a:pt x="9" y="139"/>
                      </a:cubicBezTo>
                      <a:cubicBezTo>
                        <a:pt x="7" y="143"/>
                        <a:pt x="9" y="142"/>
                        <a:pt x="9" y="147"/>
                      </a:cubicBezTo>
                      <a:cubicBezTo>
                        <a:pt x="8" y="152"/>
                        <a:pt x="7" y="149"/>
                        <a:pt x="4" y="154"/>
                      </a:cubicBezTo>
                      <a:cubicBezTo>
                        <a:pt x="0" y="160"/>
                        <a:pt x="4" y="160"/>
                        <a:pt x="4" y="164"/>
                      </a:cubicBezTo>
                      <a:cubicBezTo>
                        <a:pt x="4" y="169"/>
                        <a:pt x="7" y="169"/>
                        <a:pt x="10" y="172"/>
                      </a:cubicBezTo>
                      <a:cubicBezTo>
                        <a:pt x="12" y="175"/>
                        <a:pt x="12" y="173"/>
                        <a:pt x="14" y="170"/>
                      </a:cubicBezTo>
                      <a:cubicBezTo>
                        <a:pt x="16" y="166"/>
                        <a:pt x="17" y="164"/>
                        <a:pt x="18" y="161"/>
                      </a:cubicBezTo>
                      <a:cubicBezTo>
                        <a:pt x="19" y="158"/>
                        <a:pt x="22" y="158"/>
                        <a:pt x="23" y="155"/>
                      </a:cubicBezTo>
                      <a:cubicBezTo>
                        <a:pt x="24" y="152"/>
                        <a:pt x="25" y="152"/>
                        <a:pt x="25" y="149"/>
                      </a:cubicBezTo>
                      <a:cubicBezTo>
                        <a:pt x="26" y="146"/>
                        <a:pt x="31" y="141"/>
                        <a:pt x="34" y="137"/>
                      </a:cubicBezTo>
                      <a:cubicBezTo>
                        <a:pt x="37" y="132"/>
                        <a:pt x="37" y="133"/>
                        <a:pt x="36" y="129"/>
                      </a:cubicBezTo>
                      <a:cubicBezTo>
                        <a:pt x="35" y="125"/>
                        <a:pt x="38" y="125"/>
                        <a:pt x="40" y="123"/>
                      </a:cubicBezTo>
                      <a:cubicBezTo>
                        <a:pt x="42" y="121"/>
                        <a:pt x="43" y="124"/>
                        <a:pt x="45" y="125"/>
                      </a:cubicBezTo>
                      <a:cubicBezTo>
                        <a:pt x="47" y="126"/>
                        <a:pt x="47" y="126"/>
                        <a:pt x="49" y="127"/>
                      </a:cubicBezTo>
                      <a:cubicBezTo>
                        <a:pt x="52" y="129"/>
                        <a:pt x="53" y="128"/>
                        <a:pt x="56" y="131"/>
                      </a:cubicBezTo>
                      <a:cubicBezTo>
                        <a:pt x="59" y="133"/>
                        <a:pt x="57" y="134"/>
                        <a:pt x="57" y="137"/>
                      </a:cubicBezTo>
                      <a:cubicBezTo>
                        <a:pt x="56" y="139"/>
                        <a:pt x="58" y="139"/>
                        <a:pt x="59" y="140"/>
                      </a:cubicBezTo>
                      <a:cubicBezTo>
                        <a:pt x="61" y="141"/>
                        <a:pt x="62" y="140"/>
                        <a:pt x="62" y="138"/>
                      </a:cubicBezTo>
                      <a:cubicBezTo>
                        <a:pt x="63" y="136"/>
                        <a:pt x="64" y="135"/>
                        <a:pt x="65" y="135"/>
                      </a:cubicBezTo>
                      <a:cubicBezTo>
                        <a:pt x="66" y="134"/>
                        <a:pt x="69" y="134"/>
                        <a:pt x="70" y="132"/>
                      </a:cubicBezTo>
                      <a:cubicBezTo>
                        <a:pt x="71" y="130"/>
                        <a:pt x="71" y="129"/>
                        <a:pt x="74" y="127"/>
                      </a:cubicBezTo>
                      <a:cubicBezTo>
                        <a:pt x="76" y="124"/>
                        <a:pt x="77" y="127"/>
                        <a:pt x="79" y="130"/>
                      </a:cubicBezTo>
                      <a:cubicBezTo>
                        <a:pt x="80" y="132"/>
                        <a:pt x="80" y="133"/>
                        <a:pt x="81" y="135"/>
                      </a:cubicBezTo>
                      <a:cubicBezTo>
                        <a:pt x="82" y="137"/>
                        <a:pt x="85" y="138"/>
                        <a:pt x="87" y="139"/>
                      </a:cubicBezTo>
                      <a:cubicBezTo>
                        <a:pt x="88" y="141"/>
                        <a:pt x="87" y="142"/>
                        <a:pt x="87" y="145"/>
                      </a:cubicBezTo>
                      <a:cubicBezTo>
                        <a:pt x="88" y="148"/>
                        <a:pt x="93" y="147"/>
                        <a:pt x="93" y="144"/>
                      </a:cubicBezTo>
                      <a:cubicBezTo>
                        <a:pt x="94" y="141"/>
                        <a:pt x="97" y="137"/>
                        <a:pt x="95" y="130"/>
                      </a:cubicBezTo>
                      <a:cubicBezTo>
                        <a:pt x="94" y="123"/>
                        <a:pt x="97" y="123"/>
                        <a:pt x="100" y="121"/>
                      </a:cubicBezTo>
                      <a:cubicBezTo>
                        <a:pt x="103" y="118"/>
                        <a:pt x="105" y="121"/>
                        <a:pt x="109" y="121"/>
                      </a:cubicBezTo>
                      <a:cubicBezTo>
                        <a:pt x="114" y="122"/>
                        <a:pt x="113" y="123"/>
                        <a:pt x="118" y="126"/>
                      </a:cubicBezTo>
                      <a:cubicBezTo>
                        <a:pt x="123" y="129"/>
                        <a:pt x="122" y="129"/>
                        <a:pt x="124" y="134"/>
                      </a:cubicBezTo>
                      <a:cubicBezTo>
                        <a:pt x="127" y="140"/>
                        <a:pt x="128" y="138"/>
                        <a:pt x="133" y="142"/>
                      </a:cubicBezTo>
                      <a:cubicBezTo>
                        <a:pt x="139" y="145"/>
                        <a:pt x="141" y="145"/>
                        <a:pt x="145" y="148"/>
                      </a:cubicBezTo>
                      <a:cubicBezTo>
                        <a:pt x="148" y="152"/>
                        <a:pt x="147" y="153"/>
                        <a:pt x="144" y="157"/>
                      </a:cubicBezTo>
                      <a:cubicBezTo>
                        <a:pt x="141" y="161"/>
                        <a:pt x="136" y="159"/>
                        <a:pt x="132" y="163"/>
                      </a:cubicBezTo>
                      <a:cubicBezTo>
                        <a:pt x="128" y="166"/>
                        <a:pt x="128" y="169"/>
                        <a:pt x="129" y="176"/>
                      </a:cubicBezTo>
                      <a:cubicBezTo>
                        <a:pt x="130" y="182"/>
                        <a:pt x="131" y="179"/>
                        <a:pt x="134" y="187"/>
                      </a:cubicBezTo>
                      <a:cubicBezTo>
                        <a:pt x="136" y="194"/>
                        <a:pt x="134" y="199"/>
                        <a:pt x="136" y="208"/>
                      </a:cubicBezTo>
                      <a:cubicBezTo>
                        <a:pt x="139" y="217"/>
                        <a:pt x="141" y="213"/>
                        <a:pt x="145" y="218"/>
                      </a:cubicBezTo>
                      <a:cubicBezTo>
                        <a:pt x="150" y="224"/>
                        <a:pt x="151" y="224"/>
                        <a:pt x="157" y="227"/>
                      </a:cubicBezTo>
                      <a:cubicBezTo>
                        <a:pt x="163" y="230"/>
                        <a:pt x="168" y="231"/>
                        <a:pt x="180" y="232"/>
                      </a:cubicBezTo>
                      <a:cubicBezTo>
                        <a:pt x="192" y="234"/>
                        <a:pt x="186" y="235"/>
                        <a:pt x="190" y="238"/>
                      </a:cubicBezTo>
                      <a:cubicBezTo>
                        <a:pt x="194" y="241"/>
                        <a:pt x="195" y="239"/>
                        <a:pt x="195" y="235"/>
                      </a:cubicBezTo>
                      <a:cubicBezTo>
                        <a:pt x="195" y="232"/>
                        <a:pt x="197" y="231"/>
                        <a:pt x="197" y="228"/>
                      </a:cubicBezTo>
                      <a:cubicBezTo>
                        <a:pt x="198" y="225"/>
                        <a:pt x="203" y="226"/>
                        <a:pt x="206" y="228"/>
                      </a:cubicBezTo>
                      <a:cubicBezTo>
                        <a:pt x="210" y="229"/>
                        <a:pt x="207" y="233"/>
                        <a:pt x="205" y="237"/>
                      </a:cubicBezTo>
                      <a:cubicBezTo>
                        <a:pt x="203" y="240"/>
                        <a:pt x="203" y="241"/>
                        <a:pt x="204" y="244"/>
                      </a:cubicBezTo>
                      <a:cubicBezTo>
                        <a:pt x="205" y="247"/>
                        <a:pt x="208" y="248"/>
                        <a:pt x="210" y="254"/>
                      </a:cubicBezTo>
                      <a:cubicBezTo>
                        <a:pt x="212" y="260"/>
                        <a:pt x="214" y="259"/>
                        <a:pt x="216" y="256"/>
                      </a:cubicBezTo>
                      <a:cubicBezTo>
                        <a:pt x="219" y="253"/>
                        <a:pt x="219" y="252"/>
                        <a:pt x="221" y="245"/>
                      </a:cubicBezTo>
                      <a:cubicBezTo>
                        <a:pt x="223" y="239"/>
                        <a:pt x="227" y="239"/>
                        <a:pt x="232" y="237"/>
                      </a:cubicBezTo>
                      <a:cubicBezTo>
                        <a:pt x="237" y="235"/>
                        <a:pt x="236" y="233"/>
                        <a:pt x="235" y="227"/>
                      </a:cubicBezTo>
                      <a:cubicBezTo>
                        <a:pt x="233" y="221"/>
                        <a:pt x="233" y="223"/>
                        <a:pt x="230" y="218"/>
                      </a:cubicBezTo>
                      <a:cubicBezTo>
                        <a:pt x="227" y="213"/>
                        <a:pt x="230" y="216"/>
                        <a:pt x="230" y="210"/>
                      </a:cubicBezTo>
                      <a:cubicBezTo>
                        <a:pt x="231" y="204"/>
                        <a:pt x="228" y="204"/>
                        <a:pt x="224" y="200"/>
                      </a:cubicBezTo>
                      <a:cubicBezTo>
                        <a:pt x="220" y="196"/>
                        <a:pt x="220" y="199"/>
                        <a:pt x="217" y="194"/>
                      </a:cubicBezTo>
                      <a:cubicBezTo>
                        <a:pt x="214" y="189"/>
                        <a:pt x="216" y="190"/>
                        <a:pt x="216" y="186"/>
                      </a:cubicBezTo>
                      <a:cubicBezTo>
                        <a:pt x="216" y="183"/>
                        <a:pt x="222" y="181"/>
                        <a:pt x="223" y="176"/>
                      </a:cubicBezTo>
                      <a:cubicBezTo>
                        <a:pt x="224" y="172"/>
                        <a:pt x="224" y="168"/>
                        <a:pt x="227" y="165"/>
                      </a:cubicBezTo>
                      <a:cubicBezTo>
                        <a:pt x="229" y="162"/>
                        <a:pt x="232" y="166"/>
                        <a:pt x="235" y="169"/>
                      </a:cubicBezTo>
                      <a:cubicBezTo>
                        <a:pt x="238" y="172"/>
                        <a:pt x="239" y="170"/>
                        <a:pt x="239" y="168"/>
                      </a:cubicBezTo>
                      <a:cubicBezTo>
                        <a:pt x="239" y="166"/>
                        <a:pt x="236" y="164"/>
                        <a:pt x="234" y="159"/>
                      </a:cubicBezTo>
                      <a:cubicBezTo>
                        <a:pt x="231" y="154"/>
                        <a:pt x="235" y="152"/>
                        <a:pt x="239" y="152"/>
                      </a:cubicBezTo>
                      <a:cubicBezTo>
                        <a:pt x="244" y="151"/>
                        <a:pt x="245" y="157"/>
                        <a:pt x="249" y="162"/>
                      </a:cubicBezTo>
                      <a:cubicBezTo>
                        <a:pt x="253" y="167"/>
                        <a:pt x="251" y="168"/>
                        <a:pt x="251" y="173"/>
                      </a:cubicBezTo>
                      <a:cubicBezTo>
                        <a:pt x="252" y="179"/>
                        <a:pt x="256" y="184"/>
                        <a:pt x="258" y="190"/>
                      </a:cubicBezTo>
                      <a:cubicBezTo>
                        <a:pt x="260" y="196"/>
                        <a:pt x="259" y="202"/>
                        <a:pt x="260" y="204"/>
                      </a:cubicBezTo>
                      <a:cubicBezTo>
                        <a:pt x="261" y="206"/>
                        <a:pt x="264" y="200"/>
                        <a:pt x="263" y="194"/>
                      </a:cubicBezTo>
                      <a:cubicBezTo>
                        <a:pt x="261" y="188"/>
                        <a:pt x="262" y="184"/>
                        <a:pt x="263" y="180"/>
                      </a:cubicBezTo>
                      <a:cubicBezTo>
                        <a:pt x="264" y="176"/>
                        <a:pt x="268" y="179"/>
                        <a:pt x="272" y="178"/>
                      </a:cubicBezTo>
                      <a:cubicBezTo>
                        <a:pt x="275" y="178"/>
                        <a:pt x="278" y="173"/>
                        <a:pt x="281" y="170"/>
                      </a:cubicBezTo>
                      <a:cubicBezTo>
                        <a:pt x="285" y="166"/>
                        <a:pt x="289" y="162"/>
                        <a:pt x="289" y="157"/>
                      </a:cubicBezTo>
                      <a:cubicBezTo>
                        <a:pt x="290" y="152"/>
                        <a:pt x="288" y="148"/>
                        <a:pt x="288" y="140"/>
                      </a:cubicBezTo>
                      <a:cubicBezTo>
                        <a:pt x="288" y="133"/>
                        <a:pt x="289" y="130"/>
                        <a:pt x="287" y="124"/>
                      </a:cubicBezTo>
                      <a:cubicBezTo>
                        <a:pt x="285" y="119"/>
                        <a:pt x="279" y="117"/>
                        <a:pt x="277" y="114"/>
                      </a:cubicBezTo>
                      <a:cubicBezTo>
                        <a:pt x="274" y="111"/>
                        <a:pt x="277" y="110"/>
                        <a:pt x="279" y="108"/>
                      </a:cubicBezTo>
                      <a:cubicBezTo>
                        <a:pt x="280" y="105"/>
                        <a:pt x="282" y="102"/>
                        <a:pt x="282" y="98"/>
                      </a:cubicBezTo>
                      <a:cubicBezTo>
                        <a:pt x="281" y="95"/>
                        <a:pt x="280" y="96"/>
                        <a:pt x="277" y="95"/>
                      </a:cubicBezTo>
                      <a:cubicBezTo>
                        <a:pt x="274" y="94"/>
                        <a:pt x="272" y="94"/>
                        <a:pt x="272" y="91"/>
                      </a:cubicBezTo>
                      <a:cubicBezTo>
                        <a:pt x="272" y="88"/>
                        <a:pt x="275" y="86"/>
                        <a:pt x="275" y="82"/>
                      </a:cubicBezTo>
                      <a:cubicBezTo>
                        <a:pt x="276" y="79"/>
                        <a:pt x="274" y="74"/>
                        <a:pt x="268" y="74"/>
                      </a:cubicBezTo>
                      <a:cubicBezTo>
                        <a:pt x="263" y="74"/>
                        <a:pt x="262" y="74"/>
                        <a:pt x="259" y="72"/>
                      </a:cubicBezTo>
                      <a:cubicBezTo>
                        <a:pt x="257" y="70"/>
                        <a:pt x="259" y="67"/>
                        <a:pt x="261" y="63"/>
                      </a:cubicBezTo>
                      <a:cubicBezTo>
                        <a:pt x="263" y="59"/>
                        <a:pt x="266" y="61"/>
                        <a:pt x="268" y="60"/>
                      </a:cubicBezTo>
                      <a:cubicBezTo>
                        <a:pt x="270" y="58"/>
                        <a:pt x="273" y="56"/>
                        <a:pt x="273" y="52"/>
                      </a:cubicBezTo>
                      <a:cubicBezTo>
                        <a:pt x="273" y="49"/>
                        <a:pt x="271" y="43"/>
                        <a:pt x="270" y="39"/>
                      </a:cubicBezTo>
                      <a:cubicBezTo>
                        <a:pt x="269" y="34"/>
                        <a:pt x="269" y="32"/>
                        <a:pt x="267" y="30"/>
                      </a:cubicBezTo>
                      <a:cubicBezTo>
                        <a:pt x="266" y="27"/>
                        <a:pt x="263" y="27"/>
                        <a:pt x="260" y="29"/>
                      </a:cubicBezTo>
                      <a:cubicBezTo>
                        <a:pt x="256" y="30"/>
                        <a:pt x="255" y="28"/>
                        <a:pt x="251" y="25"/>
                      </a:cubicBezTo>
                      <a:cubicBezTo>
                        <a:pt x="246" y="22"/>
                        <a:pt x="246" y="21"/>
                        <a:pt x="242" y="15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98" name="Freeform 24"/>
                <p:cNvSpPr/>
                <p:nvPr>
                  <p:custDataLst>
                    <p:tags r:id="rId96"/>
                  </p:custDataLst>
                </p:nvPr>
              </p:nvSpPr>
              <p:spPr bwMode="auto">
                <a:xfrm>
                  <a:off x="3709" y="1813"/>
                  <a:ext cx="5" cy="7"/>
                </a:xfrm>
                <a:custGeom>
                  <a:avLst/>
                  <a:gdLst>
                    <a:gd name="T0" fmla="*/ 4 w 11"/>
                    <a:gd name="T1" fmla="*/ 4 h 15"/>
                    <a:gd name="T2" fmla="*/ 0 w 11"/>
                    <a:gd name="T3" fmla="*/ 10 h 15"/>
                    <a:gd name="T4" fmla="*/ 3 w 11"/>
                    <a:gd name="T5" fmla="*/ 14 h 15"/>
                    <a:gd name="T6" fmla="*/ 10 w 11"/>
                    <a:gd name="T7" fmla="*/ 7 h 15"/>
                    <a:gd name="T8" fmla="*/ 4 w 11"/>
                    <a:gd name="T9" fmla="*/ 4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" h="15">
                      <a:moveTo>
                        <a:pt x="4" y="4"/>
                      </a:moveTo>
                      <a:cubicBezTo>
                        <a:pt x="3" y="9"/>
                        <a:pt x="0" y="7"/>
                        <a:pt x="0" y="10"/>
                      </a:cubicBezTo>
                      <a:cubicBezTo>
                        <a:pt x="0" y="14"/>
                        <a:pt x="1" y="15"/>
                        <a:pt x="3" y="14"/>
                      </a:cubicBezTo>
                      <a:cubicBezTo>
                        <a:pt x="5" y="13"/>
                        <a:pt x="9" y="12"/>
                        <a:pt x="10" y="7"/>
                      </a:cubicBezTo>
                      <a:cubicBezTo>
                        <a:pt x="11" y="3"/>
                        <a:pt x="5" y="0"/>
                        <a:pt x="4" y="4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99" name="Freeform 25"/>
                <p:cNvSpPr/>
                <p:nvPr>
                  <p:custDataLst>
                    <p:tags r:id="rId97"/>
                  </p:custDataLst>
                </p:nvPr>
              </p:nvSpPr>
              <p:spPr bwMode="auto">
                <a:xfrm>
                  <a:off x="3820" y="2108"/>
                  <a:ext cx="6" cy="7"/>
                </a:xfrm>
                <a:custGeom>
                  <a:avLst/>
                  <a:gdLst>
                    <a:gd name="T0" fmla="*/ 8 w 14"/>
                    <a:gd name="T1" fmla="*/ 15 h 16"/>
                    <a:gd name="T2" fmla="*/ 13 w 14"/>
                    <a:gd name="T3" fmla="*/ 10 h 16"/>
                    <a:gd name="T4" fmla="*/ 6 w 14"/>
                    <a:gd name="T5" fmla="*/ 0 h 16"/>
                    <a:gd name="T6" fmla="*/ 2 w 14"/>
                    <a:gd name="T7" fmla="*/ 6 h 16"/>
                    <a:gd name="T8" fmla="*/ 8 w 14"/>
                    <a:gd name="T9" fmla="*/ 15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4" h="16">
                      <a:moveTo>
                        <a:pt x="8" y="15"/>
                      </a:moveTo>
                      <a:cubicBezTo>
                        <a:pt x="11" y="13"/>
                        <a:pt x="13" y="15"/>
                        <a:pt x="13" y="10"/>
                      </a:cubicBezTo>
                      <a:cubicBezTo>
                        <a:pt x="14" y="4"/>
                        <a:pt x="8" y="0"/>
                        <a:pt x="6" y="0"/>
                      </a:cubicBezTo>
                      <a:cubicBezTo>
                        <a:pt x="3" y="3"/>
                        <a:pt x="0" y="1"/>
                        <a:pt x="2" y="6"/>
                      </a:cubicBezTo>
                      <a:cubicBezTo>
                        <a:pt x="5" y="11"/>
                        <a:pt x="4" y="16"/>
                        <a:pt x="8" y="15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00" name="Freeform 26"/>
                <p:cNvSpPr/>
                <p:nvPr>
                  <p:custDataLst>
                    <p:tags r:id="rId98"/>
                  </p:custDataLst>
                </p:nvPr>
              </p:nvSpPr>
              <p:spPr bwMode="auto">
                <a:xfrm>
                  <a:off x="3775" y="2064"/>
                  <a:ext cx="31" cy="43"/>
                </a:xfrm>
                <a:custGeom>
                  <a:avLst/>
                  <a:gdLst>
                    <a:gd name="T0" fmla="*/ 29 w 72"/>
                    <a:gd name="T1" fmla="*/ 74 h 101"/>
                    <a:gd name="T2" fmla="*/ 33 w 72"/>
                    <a:gd name="T3" fmla="*/ 89 h 101"/>
                    <a:gd name="T4" fmla="*/ 40 w 72"/>
                    <a:gd name="T5" fmla="*/ 98 h 101"/>
                    <a:gd name="T6" fmla="*/ 46 w 72"/>
                    <a:gd name="T7" fmla="*/ 76 h 101"/>
                    <a:gd name="T8" fmla="*/ 56 w 72"/>
                    <a:gd name="T9" fmla="*/ 84 h 101"/>
                    <a:gd name="T10" fmla="*/ 67 w 72"/>
                    <a:gd name="T11" fmla="*/ 77 h 101"/>
                    <a:gd name="T12" fmla="*/ 52 w 72"/>
                    <a:gd name="T13" fmla="*/ 62 h 101"/>
                    <a:gd name="T14" fmla="*/ 50 w 72"/>
                    <a:gd name="T15" fmla="*/ 45 h 101"/>
                    <a:gd name="T16" fmla="*/ 47 w 72"/>
                    <a:gd name="T17" fmla="*/ 23 h 101"/>
                    <a:gd name="T18" fmla="*/ 39 w 72"/>
                    <a:gd name="T19" fmla="*/ 21 h 101"/>
                    <a:gd name="T20" fmla="*/ 27 w 72"/>
                    <a:gd name="T21" fmla="*/ 14 h 101"/>
                    <a:gd name="T22" fmla="*/ 19 w 72"/>
                    <a:gd name="T23" fmla="*/ 4 h 101"/>
                    <a:gd name="T24" fmla="*/ 4 w 72"/>
                    <a:gd name="T25" fmla="*/ 7 h 101"/>
                    <a:gd name="T26" fmla="*/ 4 w 72"/>
                    <a:gd name="T27" fmla="*/ 25 h 101"/>
                    <a:gd name="T28" fmla="*/ 6 w 72"/>
                    <a:gd name="T29" fmla="*/ 39 h 101"/>
                    <a:gd name="T30" fmla="*/ 8 w 72"/>
                    <a:gd name="T31" fmla="*/ 51 h 101"/>
                    <a:gd name="T32" fmla="*/ 19 w 72"/>
                    <a:gd name="T33" fmla="*/ 45 h 101"/>
                    <a:gd name="T34" fmla="*/ 31 w 72"/>
                    <a:gd name="T35" fmla="*/ 44 h 101"/>
                    <a:gd name="T36" fmla="*/ 30 w 72"/>
                    <a:gd name="T37" fmla="*/ 59 h 101"/>
                    <a:gd name="T38" fmla="*/ 29 w 72"/>
                    <a:gd name="T39" fmla="*/ 74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72" h="100">
                      <a:moveTo>
                        <a:pt x="29" y="74"/>
                      </a:moveTo>
                      <a:cubicBezTo>
                        <a:pt x="33" y="82"/>
                        <a:pt x="31" y="82"/>
                        <a:pt x="33" y="89"/>
                      </a:cubicBezTo>
                      <a:cubicBezTo>
                        <a:pt x="34" y="97"/>
                        <a:pt x="34" y="101"/>
                        <a:pt x="40" y="98"/>
                      </a:cubicBezTo>
                      <a:cubicBezTo>
                        <a:pt x="46" y="95"/>
                        <a:pt x="43" y="77"/>
                        <a:pt x="46" y="76"/>
                      </a:cubicBezTo>
                      <a:cubicBezTo>
                        <a:pt x="49" y="76"/>
                        <a:pt x="48" y="81"/>
                        <a:pt x="56" y="84"/>
                      </a:cubicBezTo>
                      <a:cubicBezTo>
                        <a:pt x="64" y="87"/>
                        <a:pt x="72" y="84"/>
                        <a:pt x="67" y="77"/>
                      </a:cubicBezTo>
                      <a:cubicBezTo>
                        <a:pt x="63" y="70"/>
                        <a:pt x="55" y="69"/>
                        <a:pt x="52" y="62"/>
                      </a:cubicBezTo>
                      <a:cubicBezTo>
                        <a:pt x="49" y="55"/>
                        <a:pt x="51" y="50"/>
                        <a:pt x="50" y="45"/>
                      </a:cubicBezTo>
                      <a:cubicBezTo>
                        <a:pt x="49" y="40"/>
                        <a:pt x="49" y="24"/>
                        <a:pt x="47" y="23"/>
                      </a:cubicBezTo>
                      <a:cubicBezTo>
                        <a:pt x="44" y="22"/>
                        <a:pt x="46" y="22"/>
                        <a:pt x="39" y="21"/>
                      </a:cubicBezTo>
                      <a:cubicBezTo>
                        <a:pt x="31" y="19"/>
                        <a:pt x="28" y="21"/>
                        <a:pt x="27" y="14"/>
                      </a:cubicBezTo>
                      <a:cubicBezTo>
                        <a:pt x="27" y="7"/>
                        <a:pt x="21" y="4"/>
                        <a:pt x="19" y="4"/>
                      </a:cubicBezTo>
                      <a:cubicBezTo>
                        <a:pt x="18" y="4"/>
                        <a:pt x="8" y="0"/>
                        <a:pt x="4" y="7"/>
                      </a:cubicBezTo>
                      <a:cubicBezTo>
                        <a:pt x="0" y="15"/>
                        <a:pt x="0" y="19"/>
                        <a:pt x="4" y="25"/>
                      </a:cubicBezTo>
                      <a:cubicBezTo>
                        <a:pt x="8" y="31"/>
                        <a:pt x="7" y="31"/>
                        <a:pt x="6" y="39"/>
                      </a:cubicBezTo>
                      <a:cubicBezTo>
                        <a:pt x="5" y="47"/>
                        <a:pt x="1" y="51"/>
                        <a:pt x="8" y="51"/>
                      </a:cubicBezTo>
                      <a:cubicBezTo>
                        <a:pt x="16" y="51"/>
                        <a:pt x="14" y="49"/>
                        <a:pt x="19" y="45"/>
                      </a:cubicBezTo>
                      <a:cubicBezTo>
                        <a:pt x="24" y="40"/>
                        <a:pt x="30" y="39"/>
                        <a:pt x="31" y="44"/>
                      </a:cubicBezTo>
                      <a:cubicBezTo>
                        <a:pt x="32" y="50"/>
                        <a:pt x="32" y="51"/>
                        <a:pt x="30" y="59"/>
                      </a:cubicBezTo>
                      <a:cubicBezTo>
                        <a:pt x="28" y="66"/>
                        <a:pt x="25" y="66"/>
                        <a:pt x="29" y="74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01" name="Freeform 27"/>
                <p:cNvSpPr/>
                <p:nvPr>
                  <p:custDataLst>
                    <p:tags r:id="rId99"/>
                  </p:custDataLst>
                </p:nvPr>
              </p:nvSpPr>
              <p:spPr bwMode="auto">
                <a:xfrm>
                  <a:off x="3749" y="2074"/>
                  <a:ext cx="24" cy="48"/>
                </a:xfrm>
                <a:custGeom>
                  <a:avLst/>
                  <a:gdLst>
                    <a:gd name="T0" fmla="*/ 13 w 56"/>
                    <a:gd name="T1" fmla="*/ 56 h 111"/>
                    <a:gd name="T2" fmla="*/ 8 w 56"/>
                    <a:gd name="T3" fmla="*/ 73 h 111"/>
                    <a:gd name="T4" fmla="*/ 5 w 56"/>
                    <a:gd name="T5" fmla="*/ 90 h 111"/>
                    <a:gd name="T6" fmla="*/ 5 w 56"/>
                    <a:gd name="T7" fmla="*/ 110 h 111"/>
                    <a:gd name="T8" fmla="*/ 15 w 56"/>
                    <a:gd name="T9" fmla="*/ 87 h 111"/>
                    <a:gd name="T10" fmla="*/ 22 w 56"/>
                    <a:gd name="T11" fmla="*/ 69 h 111"/>
                    <a:gd name="T12" fmla="*/ 44 w 56"/>
                    <a:gd name="T13" fmla="*/ 55 h 111"/>
                    <a:gd name="T14" fmla="*/ 50 w 56"/>
                    <a:gd name="T15" fmla="*/ 40 h 111"/>
                    <a:gd name="T16" fmla="*/ 50 w 56"/>
                    <a:gd name="T17" fmla="*/ 20 h 111"/>
                    <a:gd name="T18" fmla="*/ 53 w 56"/>
                    <a:gd name="T19" fmla="*/ 3 h 111"/>
                    <a:gd name="T20" fmla="*/ 38 w 56"/>
                    <a:gd name="T21" fmla="*/ 19 h 111"/>
                    <a:gd name="T22" fmla="*/ 29 w 56"/>
                    <a:gd name="T23" fmla="*/ 36 h 111"/>
                    <a:gd name="T24" fmla="*/ 13 w 56"/>
                    <a:gd name="T25" fmla="*/ 56 h 1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56" h="110">
                      <a:moveTo>
                        <a:pt x="13" y="56"/>
                      </a:moveTo>
                      <a:cubicBezTo>
                        <a:pt x="11" y="63"/>
                        <a:pt x="8" y="67"/>
                        <a:pt x="8" y="73"/>
                      </a:cubicBezTo>
                      <a:cubicBezTo>
                        <a:pt x="8" y="79"/>
                        <a:pt x="6" y="83"/>
                        <a:pt x="5" y="90"/>
                      </a:cubicBezTo>
                      <a:cubicBezTo>
                        <a:pt x="5" y="98"/>
                        <a:pt x="0" y="111"/>
                        <a:pt x="5" y="110"/>
                      </a:cubicBezTo>
                      <a:cubicBezTo>
                        <a:pt x="11" y="108"/>
                        <a:pt x="13" y="94"/>
                        <a:pt x="15" y="87"/>
                      </a:cubicBezTo>
                      <a:cubicBezTo>
                        <a:pt x="17" y="80"/>
                        <a:pt x="13" y="74"/>
                        <a:pt x="22" y="69"/>
                      </a:cubicBezTo>
                      <a:cubicBezTo>
                        <a:pt x="30" y="65"/>
                        <a:pt x="39" y="56"/>
                        <a:pt x="44" y="55"/>
                      </a:cubicBezTo>
                      <a:cubicBezTo>
                        <a:pt x="48" y="54"/>
                        <a:pt x="50" y="48"/>
                        <a:pt x="50" y="40"/>
                      </a:cubicBezTo>
                      <a:cubicBezTo>
                        <a:pt x="50" y="32"/>
                        <a:pt x="48" y="28"/>
                        <a:pt x="50" y="20"/>
                      </a:cubicBezTo>
                      <a:cubicBezTo>
                        <a:pt x="51" y="12"/>
                        <a:pt x="56" y="7"/>
                        <a:pt x="53" y="3"/>
                      </a:cubicBezTo>
                      <a:cubicBezTo>
                        <a:pt x="50" y="0"/>
                        <a:pt x="39" y="12"/>
                        <a:pt x="38" y="19"/>
                      </a:cubicBezTo>
                      <a:cubicBezTo>
                        <a:pt x="36" y="28"/>
                        <a:pt x="34" y="27"/>
                        <a:pt x="29" y="36"/>
                      </a:cubicBezTo>
                      <a:cubicBezTo>
                        <a:pt x="23" y="46"/>
                        <a:pt x="14" y="48"/>
                        <a:pt x="13" y="56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02" name="Freeform 28"/>
                <p:cNvSpPr/>
                <p:nvPr>
                  <p:custDataLst>
                    <p:tags r:id="rId100"/>
                  </p:custDataLst>
                </p:nvPr>
              </p:nvSpPr>
              <p:spPr bwMode="auto">
                <a:xfrm>
                  <a:off x="3725" y="2083"/>
                  <a:ext cx="33" cy="50"/>
                </a:xfrm>
                <a:custGeom>
                  <a:avLst/>
                  <a:gdLst>
                    <a:gd name="T0" fmla="*/ 64 w 76"/>
                    <a:gd name="T1" fmla="*/ 0 h 118"/>
                    <a:gd name="T2" fmla="*/ 39 w 76"/>
                    <a:gd name="T3" fmla="*/ 1 h 118"/>
                    <a:gd name="T4" fmla="*/ 28 w 76"/>
                    <a:gd name="T5" fmla="*/ 16 h 118"/>
                    <a:gd name="T6" fmla="*/ 24 w 76"/>
                    <a:gd name="T7" fmla="*/ 40 h 118"/>
                    <a:gd name="T8" fmla="*/ 14 w 76"/>
                    <a:gd name="T9" fmla="*/ 57 h 118"/>
                    <a:gd name="T10" fmla="*/ 1 w 76"/>
                    <a:gd name="T11" fmla="*/ 67 h 118"/>
                    <a:gd name="T12" fmla="*/ 7 w 76"/>
                    <a:gd name="T13" fmla="*/ 83 h 118"/>
                    <a:gd name="T14" fmla="*/ 14 w 76"/>
                    <a:gd name="T15" fmla="*/ 94 h 118"/>
                    <a:gd name="T16" fmla="*/ 26 w 76"/>
                    <a:gd name="T17" fmla="*/ 97 h 118"/>
                    <a:gd name="T18" fmla="*/ 37 w 76"/>
                    <a:gd name="T19" fmla="*/ 111 h 118"/>
                    <a:gd name="T20" fmla="*/ 49 w 76"/>
                    <a:gd name="T21" fmla="*/ 115 h 118"/>
                    <a:gd name="T22" fmla="*/ 49 w 76"/>
                    <a:gd name="T23" fmla="*/ 94 h 118"/>
                    <a:gd name="T24" fmla="*/ 45 w 76"/>
                    <a:gd name="T25" fmla="*/ 73 h 118"/>
                    <a:gd name="T26" fmla="*/ 54 w 76"/>
                    <a:gd name="T27" fmla="*/ 55 h 118"/>
                    <a:gd name="T28" fmla="*/ 57 w 76"/>
                    <a:gd name="T29" fmla="*/ 31 h 118"/>
                    <a:gd name="T30" fmla="*/ 68 w 76"/>
                    <a:gd name="T31" fmla="*/ 14 h 118"/>
                    <a:gd name="T32" fmla="*/ 75 w 76"/>
                    <a:gd name="T33" fmla="*/ 9 h 118"/>
                    <a:gd name="T34" fmla="*/ 64 w 76"/>
                    <a:gd name="T35" fmla="*/ 0 h 1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6" h="118">
                      <a:moveTo>
                        <a:pt x="64" y="0"/>
                      </a:moveTo>
                      <a:cubicBezTo>
                        <a:pt x="57" y="0"/>
                        <a:pt x="44" y="0"/>
                        <a:pt x="39" y="1"/>
                      </a:cubicBezTo>
                      <a:cubicBezTo>
                        <a:pt x="31" y="7"/>
                        <a:pt x="29" y="4"/>
                        <a:pt x="28" y="16"/>
                      </a:cubicBezTo>
                      <a:cubicBezTo>
                        <a:pt x="28" y="29"/>
                        <a:pt x="27" y="28"/>
                        <a:pt x="24" y="40"/>
                      </a:cubicBezTo>
                      <a:cubicBezTo>
                        <a:pt x="20" y="52"/>
                        <a:pt x="21" y="53"/>
                        <a:pt x="14" y="57"/>
                      </a:cubicBezTo>
                      <a:cubicBezTo>
                        <a:pt x="8" y="62"/>
                        <a:pt x="1" y="58"/>
                        <a:pt x="1" y="67"/>
                      </a:cubicBezTo>
                      <a:cubicBezTo>
                        <a:pt x="1" y="76"/>
                        <a:pt x="0" y="75"/>
                        <a:pt x="7" y="83"/>
                      </a:cubicBezTo>
                      <a:cubicBezTo>
                        <a:pt x="13" y="91"/>
                        <a:pt x="8" y="91"/>
                        <a:pt x="14" y="94"/>
                      </a:cubicBezTo>
                      <a:cubicBezTo>
                        <a:pt x="20" y="97"/>
                        <a:pt x="21" y="90"/>
                        <a:pt x="26" y="97"/>
                      </a:cubicBezTo>
                      <a:cubicBezTo>
                        <a:pt x="31" y="103"/>
                        <a:pt x="31" y="103"/>
                        <a:pt x="37" y="111"/>
                      </a:cubicBezTo>
                      <a:cubicBezTo>
                        <a:pt x="43" y="118"/>
                        <a:pt x="47" y="118"/>
                        <a:pt x="49" y="115"/>
                      </a:cubicBezTo>
                      <a:cubicBezTo>
                        <a:pt x="51" y="111"/>
                        <a:pt x="52" y="102"/>
                        <a:pt x="49" y="94"/>
                      </a:cubicBezTo>
                      <a:cubicBezTo>
                        <a:pt x="46" y="87"/>
                        <a:pt x="42" y="81"/>
                        <a:pt x="45" y="73"/>
                      </a:cubicBezTo>
                      <a:cubicBezTo>
                        <a:pt x="48" y="66"/>
                        <a:pt x="54" y="66"/>
                        <a:pt x="54" y="55"/>
                      </a:cubicBezTo>
                      <a:cubicBezTo>
                        <a:pt x="54" y="43"/>
                        <a:pt x="53" y="39"/>
                        <a:pt x="57" y="31"/>
                      </a:cubicBezTo>
                      <a:cubicBezTo>
                        <a:pt x="62" y="24"/>
                        <a:pt x="64" y="17"/>
                        <a:pt x="68" y="14"/>
                      </a:cubicBezTo>
                      <a:cubicBezTo>
                        <a:pt x="72" y="11"/>
                        <a:pt x="76" y="15"/>
                        <a:pt x="75" y="9"/>
                      </a:cubicBezTo>
                      <a:cubicBezTo>
                        <a:pt x="75" y="3"/>
                        <a:pt x="72" y="0"/>
                        <a:pt x="64" y="0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03" name="Freeform 29"/>
                <p:cNvSpPr/>
                <p:nvPr>
                  <p:custDataLst>
                    <p:tags r:id="rId101"/>
                  </p:custDataLst>
                </p:nvPr>
              </p:nvSpPr>
              <p:spPr bwMode="auto">
                <a:xfrm>
                  <a:off x="3746" y="2035"/>
                  <a:ext cx="10" cy="22"/>
                </a:xfrm>
                <a:custGeom>
                  <a:avLst/>
                  <a:gdLst>
                    <a:gd name="T0" fmla="*/ 2 w 22"/>
                    <a:gd name="T1" fmla="*/ 13 h 51"/>
                    <a:gd name="T2" fmla="*/ 6 w 22"/>
                    <a:gd name="T3" fmla="*/ 36 h 51"/>
                    <a:gd name="T4" fmla="*/ 14 w 22"/>
                    <a:gd name="T5" fmla="*/ 43 h 51"/>
                    <a:gd name="T6" fmla="*/ 22 w 22"/>
                    <a:gd name="T7" fmla="*/ 25 h 51"/>
                    <a:gd name="T8" fmla="*/ 2 w 22"/>
                    <a:gd name="T9" fmla="*/ 13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2" h="51">
                      <a:moveTo>
                        <a:pt x="2" y="13"/>
                      </a:moveTo>
                      <a:cubicBezTo>
                        <a:pt x="5" y="25"/>
                        <a:pt x="6" y="30"/>
                        <a:pt x="6" y="36"/>
                      </a:cubicBezTo>
                      <a:cubicBezTo>
                        <a:pt x="6" y="42"/>
                        <a:pt x="9" y="51"/>
                        <a:pt x="14" y="43"/>
                      </a:cubicBezTo>
                      <a:cubicBezTo>
                        <a:pt x="18" y="35"/>
                        <a:pt x="22" y="30"/>
                        <a:pt x="22" y="25"/>
                      </a:cubicBezTo>
                      <a:cubicBezTo>
                        <a:pt x="21" y="19"/>
                        <a:pt x="0" y="0"/>
                        <a:pt x="2" y="13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04" name="Freeform 30"/>
                <p:cNvSpPr/>
                <p:nvPr>
                  <p:custDataLst>
                    <p:tags r:id="rId102"/>
                  </p:custDataLst>
                </p:nvPr>
              </p:nvSpPr>
              <p:spPr bwMode="auto">
                <a:xfrm>
                  <a:off x="3762" y="2104"/>
                  <a:ext cx="21" cy="16"/>
                </a:xfrm>
                <a:custGeom>
                  <a:avLst/>
                  <a:gdLst>
                    <a:gd name="T0" fmla="*/ 18 w 51"/>
                    <a:gd name="T1" fmla="*/ 6 h 38"/>
                    <a:gd name="T2" fmla="*/ 5 w 51"/>
                    <a:gd name="T3" fmla="*/ 17 h 38"/>
                    <a:gd name="T4" fmla="*/ 5 w 51"/>
                    <a:gd name="T5" fmla="*/ 28 h 38"/>
                    <a:gd name="T6" fmla="*/ 20 w 51"/>
                    <a:gd name="T7" fmla="*/ 35 h 38"/>
                    <a:gd name="T8" fmla="*/ 33 w 51"/>
                    <a:gd name="T9" fmla="*/ 29 h 38"/>
                    <a:gd name="T10" fmla="*/ 50 w 51"/>
                    <a:gd name="T11" fmla="*/ 22 h 38"/>
                    <a:gd name="T12" fmla="*/ 47 w 51"/>
                    <a:gd name="T13" fmla="*/ 9 h 38"/>
                    <a:gd name="T14" fmla="*/ 34 w 51"/>
                    <a:gd name="T15" fmla="*/ 5 h 38"/>
                    <a:gd name="T16" fmla="*/ 18 w 51"/>
                    <a:gd name="T17" fmla="*/ 6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1" h="38">
                      <a:moveTo>
                        <a:pt x="18" y="6"/>
                      </a:moveTo>
                      <a:cubicBezTo>
                        <a:pt x="15" y="10"/>
                        <a:pt x="5" y="11"/>
                        <a:pt x="5" y="17"/>
                      </a:cubicBezTo>
                      <a:cubicBezTo>
                        <a:pt x="4" y="23"/>
                        <a:pt x="0" y="22"/>
                        <a:pt x="5" y="28"/>
                      </a:cubicBezTo>
                      <a:cubicBezTo>
                        <a:pt x="11" y="35"/>
                        <a:pt x="12" y="38"/>
                        <a:pt x="20" y="35"/>
                      </a:cubicBezTo>
                      <a:cubicBezTo>
                        <a:pt x="27" y="32"/>
                        <a:pt x="26" y="30"/>
                        <a:pt x="33" y="29"/>
                      </a:cubicBezTo>
                      <a:cubicBezTo>
                        <a:pt x="41" y="29"/>
                        <a:pt x="50" y="29"/>
                        <a:pt x="50" y="22"/>
                      </a:cubicBezTo>
                      <a:cubicBezTo>
                        <a:pt x="50" y="16"/>
                        <a:pt x="51" y="11"/>
                        <a:pt x="47" y="9"/>
                      </a:cubicBezTo>
                      <a:cubicBezTo>
                        <a:pt x="42" y="6"/>
                        <a:pt x="39" y="9"/>
                        <a:pt x="34" y="5"/>
                      </a:cubicBezTo>
                      <a:cubicBezTo>
                        <a:pt x="30" y="1"/>
                        <a:pt x="22" y="0"/>
                        <a:pt x="18" y="6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05" name="Freeform 31"/>
                <p:cNvSpPr/>
                <p:nvPr>
                  <p:custDataLst>
                    <p:tags r:id="rId103"/>
                  </p:custDataLst>
                </p:nvPr>
              </p:nvSpPr>
              <p:spPr bwMode="auto">
                <a:xfrm>
                  <a:off x="3738" y="2023"/>
                  <a:ext cx="17" cy="13"/>
                </a:xfrm>
                <a:custGeom>
                  <a:avLst/>
                  <a:gdLst>
                    <a:gd name="T0" fmla="*/ 30 w 39"/>
                    <a:gd name="T1" fmla="*/ 21 h 31"/>
                    <a:gd name="T2" fmla="*/ 15 w 39"/>
                    <a:gd name="T3" fmla="*/ 9 h 31"/>
                    <a:gd name="T4" fmla="*/ 2 w 39"/>
                    <a:gd name="T5" fmla="*/ 4 h 31"/>
                    <a:gd name="T6" fmla="*/ 7 w 39"/>
                    <a:gd name="T7" fmla="*/ 13 h 31"/>
                    <a:gd name="T8" fmla="*/ 21 w 39"/>
                    <a:gd name="T9" fmla="*/ 24 h 31"/>
                    <a:gd name="T10" fmla="*/ 31 w 39"/>
                    <a:gd name="T11" fmla="*/ 29 h 31"/>
                    <a:gd name="T12" fmla="*/ 30 w 39"/>
                    <a:gd name="T13" fmla="*/ 21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9" h="31">
                      <a:moveTo>
                        <a:pt x="30" y="21"/>
                      </a:moveTo>
                      <a:cubicBezTo>
                        <a:pt x="21" y="18"/>
                        <a:pt x="16" y="13"/>
                        <a:pt x="15" y="9"/>
                      </a:cubicBezTo>
                      <a:cubicBezTo>
                        <a:pt x="14" y="5"/>
                        <a:pt x="6" y="0"/>
                        <a:pt x="2" y="4"/>
                      </a:cubicBezTo>
                      <a:cubicBezTo>
                        <a:pt x="0" y="6"/>
                        <a:pt x="0" y="9"/>
                        <a:pt x="7" y="13"/>
                      </a:cubicBezTo>
                      <a:cubicBezTo>
                        <a:pt x="15" y="17"/>
                        <a:pt x="17" y="22"/>
                        <a:pt x="21" y="24"/>
                      </a:cubicBezTo>
                      <a:cubicBezTo>
                        <a:pt x="25" y="26"/>
                        <a:pt x="29" y="31"/>
                        <a:pt x="31" y="29"/>
                      </a:cubicBezTo>
                      <a:cubicBezTo>
                        <a:pt x="34" y="26"/>
                        <a:pt x="39" y="24"/>
                        <a:pt x="30" y="21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06" name="Freeform 32"/>
                <p:cNvSpPr/>
                <p:nvPr>
                  <p:custDataLst>
                    <p:tags r:id="rId104"/>
                  </p:custDataLst>
                </p:nvPr>
              </p:nvSpPr>
              <p:spPr bwMode="auto">
                <a:xfrm>
                  <a:off x="3754" y="2126"/>
                  <a:ext cx="8" cy="7"/>
                </a:xfrm>
                <a:custGeom>
                  <a:avLst/>
                  <a:gdLst>
                    <a:gd name="T0" fmla="*/ 8 w 20"/>
                    <a:gd name="T1" fmla="*/ 3 h 16"/>
                    <a:gd name="T2" fmla="*/ 3 w 20"/>
                    <a:gd name="T3" fmla="*/ 11 h 16"/>
                    <a:gd name="T4" fmla="*/ 16 w 20"/>
                    <a:gd name="T5" fmla="*/ 13 h 16"/>
                    <a:gd name="T6" fmla="*/ 8 w 20"/>
                    <a:gd name="T7" fmla="*/ 3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0" h="16">
                      <a:moveTo>
                        <a:pt x="8" y="3"/>
                      </a:moveTo>
                      <a:cubicBezTo>
                        <a:pt x="3" y="5"/>
                        <a:pt x="0" y="7"/>
                        <a:pt x="3" y="11"/>
                      </a:cubicBezTo>
                      <a:cubicBezTo>
                        <a:pt x="7" y="14"/>
                        <a:pt x="12" y="16"/>
                        <a:pt x="16" y="13"/>
                      </a:cubicBezTo>
                      <a:cubicBezTo>
                        <a:pt x="20" y="9"/>
                        <a:pt x="17" y="0"/>
                        <a:pt x="8" y="3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07" name="Freeform 33"/>
                <p:cNvSpPr/>
                <p:nvPr>
                  <p:custDataLst>
                    <p:tags r:id="rId105"/>
                  </p:custDataLst>
                </p:nvPr>
              </p:nvSpPr>
              <p:spPr bwMode="auto">
                <a:xfrm>
                  <a:off x="3760" y="2046"/>
                  <a:ext cx="10" cy="17"/>
                </a:xfrm>
                <a:custGeom>
                  <a:avLst/>
                  <a:gdLst>
                    <a:gd name="T0" fmla="*/ 9 w 23"/>
                    <a:gd name="T1" fmla="*/ 27 h 38"/>
                    <a:gd name="T2" fmla="*/ 23 w 23"/>
                    <a:gd name="T3" fmla="*/ 32 h 38"/>
                    <a:gd name="T4" fmla="*/ 16 w 23"/>
                    <a:gd name="T5" fmla="*/ 17 h 38"/>
                    <a:gd name="T6" fmla="*/ 1 w 23"/>
                    <a:gd name="T7" fmla="*/ 9 h 38"/>
                    <a:gd name="T8" fmla="*/ 9 w 23"/>
                    <a:gd name="T9" fmla="*/ 27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3" h="38">
                      <a:moveTo>
                        <a:pt x="9" y="27"/>
                      </a:moveTo>
                      <a:cubicBezTo>
                        <a:pt x="15" y="31"/>
                        <a:pt x="23" y="38"/>
                        <a:pt x="23" y="32"/>
                      </a:cubicBezTo>
                      <a:cubicBezTo>
                        <a:pt x="23" y="26"/>
                        <a:pt x="17" y="25"/>
                        <a:pt x="16" y="17"/>
                      </a:cubicBezTo>
                      <a:cubicBezTo>
                        <a:pt x="15" y="9"/>
                        <a:pt x="1" y="0"/>
                        <a:pt x="1" y="9"/>
                      </a:cubicBezTo>
                      <a:cubicBezTo>
                        <a:pt x="0" y="15"/>
                        <a:pt x="4" y="24"/>
                        <a:pt x="9" y="27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08" name="Freeform 34"/>
                <p:cNvSpPr/>
                <p:nvPr>
                  <p:custDataLst>
                    <p:tags r:id="rId106"/>
                  </p:custDataLst>
                </p:nvPr>
              </p:nvSpPr>
              <p:spPr bwMode="auto">
                <a:xfrm>
                  <a:off x="3712" y="1823"/>
                  <a:ext cx="6" cy="6"/>
                </a:xfrm>
                <a:custGeom>
                  <a:avLst/>
                  <a:gdLst>
                    <a:gd name="T0" fmla="*/ 7 w 14"/>
                    <a:gd name="T1" fmla="*/ 2 h 13"/>
                    <a:gd name="T2" fmla="*/ 3 w 14"/>
                    <a:gd name="T3" fmla="*/ 10 h 13"/>
                    <a:gd name="T4" fmla="*/ 11 w 14"/>
                    <a:gd name="T5" fmla="*/ 5 h 13"/>
                    <a:gd name="T6" fmla="*/ 7 w 14"/>
                    <a:gd name="T7" fmla="*/ 2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4" h="13">
                      <a:moveTo>
                        <a:pt x="7" y="2"/>
                      </a:moveTo>
                      <a:cubicBezTo>
                        <a:pt x="5" y="6"/>
                        <a:pt x="0" y="6"/>
                        <a:pt x="3" y="10"/>
                      </a:cubicBezTo>
                      <a:cubicBezTo>
                        <a:pt x="6" y="13"/>
                        <a:pt x="9" y="8"/>
                        <a:pt x="11" y="5"/>
                      </a:cubicBezTo>
                      <a:cubicBezTo>
                        <a:pt x="14" y="3"/>
                        <a:pt x="11" y="0"/>
                        <a:pt x="7" y="2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09" name="Freeform 35"/>
                <p:cNvSpPr/>
                <p:nvPr>
                  <p:custDataLst>
                    <p:tags r:id="rId107"/>
                  </p:custDataLst>
                </p:nvPr>
              </p:nvSpPr>
              <p:spPr bwMode="auto">
                <a:xfrm>
                  <a:off x="3647" y="2243"/>
                  <a:ext cx="5" cy="7"/>
                </a:xfrm>
                <a:custGeom>
                  <a:avLst/>
                  <a:gdLst>
                    <a:gd name="T0" fmla="*/ 5 w 12"/>
                    <a:gd name="T1" fmla="*/ 16 h 17"/>
                    <a:gd name="T2" fmla="*/ 10 w 12"/>
                    <a:gd name="T3" fmla="*/ 12 h 17"/>
                    <a:gd name="T4" fmla="*/ 7 w 12"/>
                    <a:gd name="T5" fmla="*/ 6 h 17"/>
                    <a:gd name="T6" fmla="*/ 3 w 12"/>
                    <a:gd name="T7" fmla="*/ 4 h 17"/>
                    <a:gd name="T8" fmla="*/ 2 w 12"/>
                    <a:gd name="T9" fmla="*/ 12 h 17"/>
                    <a:gd name="T10" fmla="*/ 5 w 12"/>
                    <a:gd name="T11" fmla="*/ 16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2" h="17">
                      <a:moveTo>
                        <a:pt x="5" y="16"/>
                      </a:moveTo>
                      <a:cubicBezTo>
                        <a:pt x="9" y="16"/>
                        <a:pt x="12" y="15"/>
                        <a:pt x="10" y="12"/>
                      </a:cubicBezTo>
                      <a:cubicBezTo>
                        <a:pt x="9" y="10"/>
                        <a:pt x="7" y="9"/>
                        <a:pt x="7" y="6"/>
                      </a:cubicBezTo>
                      <a:cubicBezTo>
                        <a:pt x="7" y="3"/>
                        <a:pt x="6" y="0"/>
                        <a:pt x="3" y="4"/>
                      </a:cubicBezTo>
                      <a:cubicBezTo>
                        <a:pt x="2" y="7"/>
                        <a:pt x="1" y="7"/>
                        <a:pt x="2" y="12"/>
                      </a:cubicBezTo>
                      <a:cubicBezTo>
                        <a:pt x="2" y="16"/>
                        <a:pt x="0" y="17"/>
                        <a:pt x="5" y="16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10" name="Freeform 36"/>
                <p:cNvSpPr/>
                <p:nvPr>
                  <p:custDataLst>
                    <p:tags r:id="rId108"/>
                  </p:custDataLst>
                </p:nvPr>
              </p:nvSpPr>
              <p:spPr bwMode="auto">
                <a:xfrm>
                  <a:off x="3697" y="1852"/>
                  <a:ext cx="8" cy="8"/>
                </a:xfrm>
                <a:custGeom>
                  <a:avLst/>
                  <a:gdLst>
                    <a:gd name="T0" fmla="*/ 8 w 19"/>
                    <a:gd name="T1" fmla="*/ 2 h 17"/>
                    <a:gd name="T2" fmla="*/ 4 w 19"/>
                    <a:gd name="T3" fmla="*/ 7 h 17"/>
                    <a:gd name="T4" fmla="*/ 13 w 19"/>
                    <a:gd name="T5" fmla="*/ 12 h 17"/>
                    <a:gd name="T6" fmla="*/ 18 w 19"/>
                    <a:gd name="T7" fmla="*/ 9 h 17"/>
                    <a:gd name="T8" fmla="*/ 8 w 19"/>
                    <a:gd name="T9" fmla="*/ 2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9" h="17">
                      <a:moveTo>
                        <a:pt x="8" y="2"/>
                      </a:moveTo>
                      <a:cubicBezTo>
                        <a:pt x="3" y="4"/>
                        <a:pt x="0" y="4"/>
                        <a:pt x="4" y="7"/>
                      </a:cubicBezTo>
                      <a:cubicBezTo>
                        <a:pt x="8" y="10"/>
                        <a:pt x="10" y="7"/>
                        <a:pt x="13" y="12"/>
                      </a:cubicBezTo>
                      <a:cubicBezTo>
                        <a:pt x="16" y="17"/>
                        <a:pt x="18" y="13"/>
                        <a:pt x="18" y="9"/>
                      </a:cubicBezTo>
                      <a:cubicBezTo>
                        <a:pt x="19" y="5"/>
                        <a:pt x="14" y="0"/>
                        <a:pt x="8" y="2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11" name="Freeform 37"/>
                <p:cNvSpPr/>
                <p:nvPr>
                  <p:custDataLst>
                    <p:tags r:id="rId109"/>
                  </p:custDataLst>
                </p:nvPr>
              </p:nvSpPr>
              <p:spPr bwMode="auto">
                <a:xfrm>
                  <a:off x="3664" y="1690"/>
                  <a:ext cx="51" cy="97"/>
                </a:xfrm>
                <a:custGeom>
                  <a:avLst/>
                  <a:gdLst>
                    <a:gd name="T0" fmla="*/ 3 w 120"/>
                    <a:gd name="T1" fmla="*/ 143 h 226"/>
                    <a:gd name="T2" fmla="*/ 12 w 120"/>
                    <a:gd name="T3" fmla="*/ 162 h 226"/>
                    <a:gd name="T4" fmla="*/ 24 w 120"/>
                    <a:gd name="T5" fmla="*/ 187 h 226"/>
                    <a:gd name="T6" fmla="*/ 34 w 120"/>
                    <a:gd name="T7" fmla="*/ 203 h 226"/>
                    <a:gd name="T8" fmla="*/ 45 w 120"/>
                    <a:gd name="T9" fmla="*/ 222 h 226"/>
                    <a:gd name="T10" fmla="*/ 50 w 120"/>
                    <a:gd name="T11" fmla="*/ 200 h 226"/>
                    <a:gd name="T12" fmla="*/ 69 w 120"/>
                    <a:gd name="T13" fmla="*/ 167 h 226"/>
                    <a:gd name="T14" fmla="*/ 84 w 120"/>
                    <a:gd name="T15" fmla="*/ 132 h 226"/>
                    <a:gd name="T16" fmla="*/ 96 w 120"/>
                    <a:gd name="T17" fmla="*/ 100 h 226"/>
                    <a:gd name="T18" fmla="*/ 104 w 120"/>
                    <a:gd name="T19" fmla="*/ 74 h 226"/>
                    <a:gd name="T20" fmla="*/ 111 w 120"/>
                    <a:gd name="T21" fmla="*/ 47 h 226"/>
                    <a:gd name="T22" fmla="*/ 114 w 120"/>
                    <a:gd name="T23" fmla="*/ 33 h 226"/>
                    <a:gd name="T24" fmla="*/ 119 w 120"/>
                    <a:gd name="T25" fmla="*/ 19 h 226"/>
                    <a:gd name="T26" fmla="*/ 108 w 120"/>
                    <a:gd name="T27" fmla="*/ 13 h 226"/>
                    <a:gd name="T28" fmla="*/ 88 w 120"/>
                    <a:gd name="T29" fmla="*/ 3 h 226"/>
                    <a:gd name="T30" fmla="*/ 77 w 120"/>
                    <a:gd name="T31" fmla="*/ 13 h 226"/>
                    <a:gd name="T32" fmla="*/ 55 w 120"/>
                    <a:gd name="T33" fmla="*/ 29 h 226"/>
                    <a:gd name="T34" fmla="*/ 41 w 120"/>
                    <a:gd name="T35" fmla="*/ 49 h 226"/>
                    <a:gd name="T36" fmla="*/ 21 w 120"/>
                    <a:gd name="T37" fmla="*/ 81 h 226"/>
                    <a:gd name="T38" fmla="*/ 11 w 120"/>
                    <a:gd name="T39" fmla="*/ 100 h 226"/>
                    <a:gd name="T40" fmla="*/ 6 w 120"/>
                    <a:gd name="T41" fmla="*/ 120 h 226"/>
                    <a:gd name="T42" fmla="*/ 3 w 120"/>
                    <a:gd name="T43" fmla="*/ 143 h 2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20" h="226">
                      <a:moveTo>
                        <a:pt x="3" y="143"/>
                      </a:moveTo>
                      <a:cubicBezTo>
                        <a:pt x="6" y="152"/>
                        <a:pt x="7" y="152"/>
                        <a:pt x="12" y="162"/>
                      </a:cubicBezTo>
                      <a:cubicBezTo>
                        <a:pt x="17" y="172"/>
                        <a:pt x="20" y="178"/>
                        <a:pt x="24" y="187"/>
                      </a:cubicBezTo>
                      <a:cubicBezTo>
                        <a:pt x="28" y="197"/>
                        <a:pt x="28" y="189"/>
                        <a:pt x="34" y="203"/>
                      </a:cubicBezTo>
                      <a:cubicBezTo>
                        <a:pt x="40" y="217"/>
                        <a:pt x="42" y="226"/>
                        <a:pt x="45" y="222"/>
                      </a:cubicBezTo>
                      <a:cubicBezTo>
                        <a:pt x="48" y="219"/>
                        <a:pt x="49" y="206"/>
                        <a:pt x="50" y="200"/>
                      </a:cubicBezTo>
                      <a:cubicBezTo>
                        <a:pt x="50" y="194"/>
                        <a:pt x="65" y="176"/>
                        <a:pt x="69" y="167"/>
                      </a:cubicBezTo>
                      <a:cubicBezTo>
                        <a:pt x="74" y="158"/>
                        <a:pt x="76" y="143"/>
                        <a:pt x="84" y="132"/>
                      </a:cubicBezTo>
                      <a:cubicBezTo>
                        <a:pt x="92" y="121"/>
                        <a:pt x="96" y="108"/>
                        <a:pt x="96" y="100"/>
                      </a:cubicBezTo>
                      <a:cubicBezTo>
                        <a:pt x="96" y="93"/>
                        <a:pt x="103" y="81"/>
                        <a:pt x="104" y="74"/>
                      </a:cubicBezTo>
                      <a:cubicBezTo>
                        <a:pt x="105" y="67"/>
                        <a:pt x="110" y="53"/>
                        <a:pt x="111" y="47"/>
                      </a:cubicBezTo>
                      <a:cubicBezTo>
                        <a:pt x="113" y="40"/>
                        <a:pt x="111" y="38"/>
                        <a:pt x="114" y="33"/>
                      </a:cubicBezTo>
                      <a:cubicBezTo>
                        <a:pt x="117" y="28"/>
                        <a:pt x="120" y="23"/>
                        <a:pt x="119" y="19"/>
                      </a:cubicBezTo>
                      <a:cubicBezTo>
                        <a:pt x="117" y="16"/>
                        <a:pt x="115" y="17"/>
                        <a:pt x="108" y="13"/>
                      </a:cubicBezTo>
                      <a:cubicBezTo>
                        <a:pt x="100" y="8"/>
                        <a:pt x="92" y="0"/>
                        <a:pt x="88" y="3"/>
                      </a:cubicBezTo>
                      <a:cubicBezTo>
                        <a:pt x="84" y="6"/>
                        <a:pt x="83" y="9"/>
                        <a:pt x="77" y="13"/>
                      </a:cubicBezTo>
                      <a:cubicBezTo>
                        <a:pt x="72" y="17"/>
                        <a:pt x="56" y="18"/>
                        <a:pt x="55" y="29"/>
                      </a:cubicBezTo>
                      <a:cubicBezTo>
                        <a:pt x="50" y="44"/>
                        <a:pt x="50" y="39"/>
                        <a:pt x="41" y="49"/>
                      </a:cubicBezTo>
                      <a:cubicBezTo>
                        <a:pt x="32" y="59"/>
                        <a:pt x="23" y="70"/>
                        <a:pt x="21" y="81"/>
                      </a:cubicBezTo>
                      <a:cubicBezTo>
                        <a:pt x="20" y="91"/>
                        <a:pt x="14" y="91"/>
                        <a:pt x="11" y="100"/>
                      </a:cubicBezTo>
                      <a:cubicBezTo>
                        <a:pt x="8" y="108"/>
                        <a:pt x="4" y="110"/>
                        <a:pt x="6" y="120"/>
                      </a:cubicBezTo>
                      <a:cubicBezTo>
                        <a:pt x="8" y="130"/>
                        <a:pt x="0" y="135"/>
                        <a:pt x="3" y="143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12" name="Freeform 38"/>
                <p:cNvSpPr/>
                <p:nvPr>
                  <p:custDataLst>
                    <p:tags r:id="rId110"/>
                  </p:custDataLst>
                </p:nvPr>
              </p:nvSpPr>
              <p:spPr bwMode="auto">
                <a:xfrm>
                  <a:off x="3975" y="2246"/>
                  <a:ext cx="7" cy="4"/>
                </a:xfrm>
                <a:custGeom>
                  <a:avLst/>
                  <a:gdLst>
                    <a:gd name="T0" fmla="*/ 6 w 15"/>
                    <a:gd name="T1" fmla="*/ 5 h 10"/>
                    <a:gd name="T2" fmla="*/ 4 w 15"/>
                    <a:gd name="T3" fmla="*/ 10 h 10"/>
                    <a:gd name="T4" fmla="*/ 14 w 15"/>
                    <a:gd name="T5" fmla="*/ 5 h 10"/>
                    <a:gd name="T6" fmla="*/ 6 w 15"/>
                    <a:gd name="T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5" h="10">
                      <a:moveTo>
                        <a:pt x="6" y="5"/>
                      </a:moveTo>
                      <a:cubicBezTo>
                        <a:pt x="3" y="8"/>
                        <a:pt x="0" y="9"/>
                        <a:pt x="4" y="10"/>
                      </a:cubicBezTo>
                      <a:cubicBezTo>
                        <a:pt x="7" y="10"/>
                        <a:pt x="13" y="9"/>
                        <a:pt x="14" y="5"/>
                      </a:cubicBezTo>
                      <a:cubicBezTo>
                        <a:pt x="15" y="1"/>
                        <a:pt x="8" y="0"/>
                        <a:pt x="6" y="5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13" name="Freeform 39"/>
                <p:cNvSpPr/>
                <p:nvPr>
                  <p:custDataLst>
                    <p:tags r:id="rId111"/>
                  </p:custDataLst>
                </p:nvPr>
              </p:nvSpPr>
              <p:spPr bwMode="auto">
                <a:xfrm>
                  <a:off x="3944" y="2585"/>
                  <a:ext cx="10" cy="11"/>
                </a:xfrm>
                <a:custGeom>
                  <a:avLst/>
                  <a:gdLst>
                    <a:gd name="T0" fmla="*/ 13 w 22"/>
                    <a:gd name="T1" fmla="*/ 5 h 27"/>
                    <a:gd name="T2" fmla="*/ 5 w 22"/>
                    <a:gd name="T3" fmla="*/ 20 h 27"/>
                    <a:gd name="T4" fmla="*/ 7 w 22"/>
                    <a:gd name="T5" fmla="*/ 24 h 27"/>
                    <a:gd name="T6" fmla="*/ 22 w 22"/>
                    <a:gd name="T7" fmla="*/ 13 h 27"/>
                    <a:gd name="T8" fmla="*/ 13 w 22"/>
                    <a:gd name="T9" fmla="*/ 5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2" h="27">
                      <a:moveTo>
                        <a:pt x="13" y="5"/>
                      </a:moveTo>
                      <a:cubicBezTo>
                        <a:pt x="10" y="11"/>
                        <a:pt x="7" y="17"/>
                        <a:pt x="5" y="20"/>
                      </a:cubicBezTo>
                      <a:cubicBezTo>
                        <a:pt x="2" y="23"/>
                        <a:pt x="0" y="27"/>
                        <a:pt x="7" y="24"/>
                      </a:cubicBezTo>
                      <a:cubicBezTo>
                        <a:pt x="13" y="22"/>
                        <a:pt x="21" y="16"/>
                        <a:pt x="22" y="13"/>
                      </a:cubicBezTo>
                      <a:cubicBezTo>
                        <a:pt x="22" y="8"/>
                        <a:pt x="16" y="0"/>
                        <a:pt x="13" y="5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14" name="Freeform 40"/>
                <p:cNvSpPr/>
                <p:nvPr>
                  <p:custDataLst>
                    <p:tags r:id="rId112"/>
                  </p:custDataLst>
                </p:nvPr>
              </p:nvSpPr>
              <p:spPr bwMode="auto">
                <a:xfrm>
                  <a:off x="3855" y="2569"/>
                  <a:ext cx="6" cy="8"/>
                </a:xfrm>
                <a:custGeom>
                  <a:avLst/>
                  <a:gdLst>
                    <a:gd name="T0" fmla="*/ 10 w 14"/>
                    <a:gd name="T1" fmla="*/ 16 h 19"/>
                    <a:gd name="T2" fmla="*/ 14 w 14"/>
                    <a:gd name="T3" fmla="*/ 9 h 19"/>
                    <a:gd name="T4" fmla="*/ 7 w 14"/>
                    <a:gd name="T5" fmla="*/ 8 h 19"/>
                    <a:gd name="T6" fmla="*/ 2 w 14"/>
                    <a:gd name="T7" fmla="*/ 17 h 19"/>
                    <a:gd name="T8" fmla="*/ 10 w 14"/>
                    <a:gd name="T9" fmla="*/ 16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4" h="19">
                      <a:moveTo>
                        <a:pt x="10" y="16"/>
                      </a:moveTo>
                      <a:cubicBezTo>
                        <a:pt x="12" y="13"/>
                        <a:pt x="14" y="11"/>
                        <a:pt x="14" y="9"/>
                      </a:cubicBezTo>
                      <a:cubicBezTo>
                        <a:pt x="13" y="7"/>
                        <a:pt x="7" y="0"/>
                        <a:pt x="7" y="8"/>
                      </a:cubicBezTo>
                      <a:cubicBezTo>
                        <a:pt x="7" y="12"/>
                        <a:pt x="0" y="14"/>
                        <a:pt x="2" y="17"/>
                      </a:cubicBezTo>
                      <a:cubicBezTo>
                        <a:pt x="4" y="19"/>
                        <a:pt x="7" y="19"/>
                        <a:pt x="10" y="16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15" name="Freeform 41"/>
                <p:cNvSpPr/>
                <p:nvPr>
                  <p:custDataLst>
                    <p:tags r:id="rId113"/>
                  </p:custDataLst>
                </p:nvPr>
              </p:nvSpPr>
              <p:spPr bwMode="auto">
                <a:xfrm>
                  <a:off x="3795" y="2593"/>
                  <a:ext cx="63" cy="30"/>
                </a:xfrm>
                <a:custGeom>
                  <a:avLst/>
                  <a:gdLst>
                    <a:gd name="T0" fmla="*/ 34 w 147"/>
                    <a:gd name="T1" fmla="*/ 61 h 69"/>
                    <a:gd name="T2" fmla="*/ 66 w 147"/>
                    <a:gd name="T3" fmla="*/ 45 h 69"/>
                    <a:gd name="T4" fmla="*/ 100 w 147"/>
                    <a:gd name="T5" fmla="*/ 31 h 69"/>
                    <a:gd name="T6" fmla="*/ 141 w 147"/>
                    <a:gd name="T7" fmla="*/ 12 h 69"/>
                    <a:gd name="T8" fmla="*/ 107 w 147"/>
                    <a:gd name="T9" fmla="*/ 6 h 69"/>
                    <a:gd name="T10" fmla="*/ 61 w 147"/>
                    <a:gd name="T11" fmla="*/ 15 h 69"/>
                    <a:gd name="T12" fmla="*/ 7 w 147"/>
                    <a:gd name="T13" fmla="*/ 23 h 69"/>
                    <a:gd name="T14" fmla="*/ 0 w 147"/>
                    <a:gd name="T15" fmla="*/ 36 h 69"/>
                    <a:gd name="T16" fmla="*/ 6 w 147"/>
                    <a:gd name="T17" fmla="*/ 39 h 69"/>
                    <a:gd name="T18" fmla="*/ 17 w 147"/>
                    <a:gd name="T19" fmla="*/ 69 h 69"/>
                    <a:gd name="T20" fmla="*/ 34 w 147"/>
                    <a:gd name="T21" fmla="*/ 61 h 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47" h="69">
                      <a:moveTo>
                        <a:pt x="34" y="61"/>
                      </a:moveTo>
                      <a:cubicBezTo>
                        <a:pt x="46" y="56"/>
                        <a:pt x="48" y="53"/>
                        <a:pt x="66" y="45"/>
                      </a:cubicBezTo>
                      <a:cubicBezTo>
                        <a:pt x="84" y="38"/>
                        <a:pt x="74" y="37"/>
                        <a:pt x="100" y="31"/>
                      </a:cubicBezTo>
                      <a:cubicBezTo>
                        <a:pt x="127" y="26"/>
                        <a:pt x="147" y="17"/>
                        <a:pt x="141" y="12"/>
                      </a:cubicBezTo>
                      <a:cubicBezTo>
                        <a:pt x="135" y="6"/>
                        <a:pt x="126" y="0"/>
                        <a:pt x="107" y="6"/>
                      </a:cubicBezTo>
                      <a:cubicBezTo>
                        <a:pt x="88" y="12"/>
                        <a:pt x="77" y="15"/>
                        <a:pt x="61" y="15"/>
                      </a:cubicBezTo>
                      <a:cubicBezTo>
                        <a:pt x="46" y="14"/>
                        <a:pt x="17" y="15"/>
                        <a:pt x="7" y="23"/>
                      </a:cubicBezTo>
                      <a:cubicBezTo>
                        <a:pt x="2" y="31"/>
                        <a:pt x="6" y="32"/>
                        <a:pt x="0" y="36"/>
                      </a:cubicBezTo>
                      <a:cubicBezTo>
                        <a:pt x="1" y="37"/>
                        <a:pt x="3" y="38"/>
                        <a:pt x="6" y="39"/>
                      </a:cubicBezTo>
                      <a:cubicBezTo>
                        <a:pt x="12" y="43"/>
                        <a:pt x="15" y="57"/>
                        <a:pt x="17" y="69"/>
                      </a:cubicBezTo>
                      <a:cubicBezTo>
                        <a:pt x="22" y="66"/>
                        <a:pt x="27" y="63"/>
                        <a:pt x="34" y="61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16" name="Freeform 42"/>
                <p:cNvSpPr>
                  <a:spLocks noEditPoints="1"/>
                </p:cNvSpPr>
                <p:nvPr>
                  <p:custDataLst>
                    <p:tags r:id="rId114"/>
                  </p:custDataLst>
                </p:nvPr>
              </p:nvSpPr>
              <p:spPr bwMode="auto">
                <a:xfrm>
                  <a:off x="3629" y="2327"/>
                  <a:ext cx="247" cy="197"/>
                </a:xfrm>
                <a:custGeom>
                  <a:avLst/>
                  <a:gdLst>
                    <a:gd name="T0" fmla="*/ 242 w 578"/>
                    <a:gd name="T1" fmla="*/ 360 h 461"/>
                    <a:gd name="T2" fmla="*/ 226 w 578"/>
                    <a:gd name="T3" fmla="*/ 317 h 461"/>
                    <a:gd name="T4" fmla="*/ 198 w 578"/>
                    <a:gd name="T5" fmla="*/ 264 h 461"/>
                    <a:gd name="T6" fmla="*/ 185 w 578"/>
                    <a:gd name="T7" fmla="*/ 224 h 461"/>
                    <a:gd name="T8" fmla="*/ 257 w 578"/>
                    <a:gd name="T9" fmla="*/ 163 h 461"/>
                    <a:gd name="T10" fmla="*/ 288 w 578"/>
                    <a:gd name="T11" fmla="*/ 149 h 461"/>
                    <a:gd name="T12" fmla="*/ 215 w 578"/>
                    <a:gd name="T13" fmla="*/ 157 h 461"/>
                    <a:gd name="T14" fmla="*/ 149 w 578"/>
                    <a:gd name="T15" fmla="*/ 193 h 461"/>
                    <a:gd name="T16" fmla="*/ 88 w 578"/>
                    <a:gd name="T17" fmla="*/ 152 h 461"/>
                    <a:gd name="T18" fmla="*/ 110 w 578"/>
                    <a:gd name="T19" fmla="*/ 77 h 461"/>
                    <a:gd name="T20" fmla="*/ 243 w 578"/>
                    <a:gd name="T21" fmla="*/ 76 h 461"/>
                    <a:gd name="T22" fmla="*/ 339 w 578"/>
                    <a:gd name="T23" fmla="*/ 83 h 461"/>
                    <a:gd name="T24" fmla="*/ 399 w 578"/>
                    <a:gd name="T25" fmla="*/ 14 h 461"/>
                    <a:gd name="T26" fmla="*/ 358 w 578"/>
                    <a:gd name="T27" fmla="*/ 34 h 461"/>
                    <a:gd name="T28" fmla="*/ 293 w 578"/>
                    <a:gd name="T29" fmla="*/ 53 h 461"/>
                    <a:gd name="T30" fmla="*/ 232 w 578"/>
                    <a:gd name="T31" fmla="*/ 50 h 461"/>
                    <a:gd name="T32" fmla="*/ 167 w 578"/>
                    <a:gd name="T33" fmla="*/ 28 h 461"/>
                    <a:gd name="T34" fmla="*/ 122 w 578"/>
                    <a:gd name="T35" fmla="*/ 51 h 461"/>
                    <a:gd name="T36" fmla="*/ 70 w 578"/>
                    <a:gd name="T37" fmla="*/ 77 h 461"/>
                    <a:gd name="T38" fmla="*/ 69 w 578"/>
                    <a:gd name="T39" fmla="*/ 152 h 461"/>
                    <a:gd name="T40" fmla="*/ 37 w 578"/>
                    <a:gd name="T41" fmla="*/ 207 h 461"/>
                    <a:gd name="T42" fmla="*/ 12 w 578"/>
                    <a:gd name="T43" fmla="*/ 284 h 461"/>
                    <a:gd name="T44" fmla="*/ 47 w 578"/>
                    <a:gd name="T45" fmla="*/ 330 h 461"/>
                    <a:gd name="T46" fmla="*/ 50 w 578"/>
                    <a:gd name="T47" fmla="*/ 387 h 461"/>
                    <a:gd name="T48" fmla="*/ 49 w 578"/>
                    <a:gd name="T49" fmla="*/ 452 h 461"/>
                    <a:gd name="T50" fmla="*/ 107 w 578"/>
                    <a:gd name="T51" fmla="*/ 450 h 461"/>
                    <a:gd name="T52" fmla="*/ 106 w 578"/>
                    <a:gd name="T53" fmla="*/ 385 h 461"/>
                    <a:gd name="T54" fmla="*/ 102 w 578"/>
                    <a:gd name="T55" fmla="*/ 288 h 461"/>
                    <a:gd name="T56" fmla="*/ 142 w 578"/>
                    <a:gd name="T57" fmla="*/ 312 h 461"/>
                    <a:gd name="T58" fmla="*/ 179 w 578"/>
                    <a:gd name="T59" fmla="*/ 360 h 461"/>
                    <a:gd name="T60" fmla="*/ 192 w 578"/>
                    <a:gd name="T61" fmla="*/ 405 h 461"/>
                    <a:gd name="T62" fmla="*/ 225 w 578"/>
                    <a:gd name="T63" fmla="*/ 382 h 461"/>
                    <a:gd name="T64" fmla="*/ 532 w 578"/>
                    <a:gd name="T65" fmla="*/ 94 h 461"/>
                    <a:gd name="T66" fmla="*/ 538 w 578"/>
                    <a:gd name="T67" fmla="*/ 63 h 461"/>
                    <a:gd name="T68" fmla="*/ 521 w 578"/>
                    <a:gd name="T69" fmla="*/ 135 h 461"/>
                    <a:gd name="T70" fmla="*/ 441 w 578"/>
                    <a:gd name="T71" fmla="*/ 241 h 461"/>
                    <a:gd name="T72" fmla="*/ 508 w 578"/>
                    <a:gd name="T73" fmla="*/ 305 h 461"/>
                    <a:gd name="T74" fmla="*/ 464 w 578"/>
                    <a:gd name="T75" fmla="*/ 329 h 461"/>
                    <a:gd name="T76" fmla="*/ 438 w 578"/>
                    <a:gd name="T77" fmla="*/ 220 h 461"/>
                    <a:gd name="T78" fmla="*/ 437 w 578"/>
                    <a:gd name="T79" fmla="*/ 224 h 461"/>
                    <a:gd name="T80" fmla="*/ 352 w 578"/>
                    <a:gd name="T81" fmla="*/ 226 h 461"/>
                    <a:gd name="T82" fmla="*/ 555 w 578"/>
                    <a:gd name="T83" fmla="*/ 152 h 461"/>
                    <a:gd name="T84" fmla="*/ 539 w 578"/>
                    <a:gd name="T85" fmla="*/ 149 h 461"/>
                    <a:gd name="T86" fmla="*/ 551 w 578"/>
                    <a:gd name="T87" fmla="*/ 186 h 461"/>
                    <a:gd name="T88" fmla="*/ 272 w 578"/>
                    <a:gd name="T89" fmla="*/ 200 h 461"/>
                    <a:gd name="T90" fmla="*/ 577 w 578"/>
                    <a:gd name="T91" fmla="*/ 211 h 461"/>
                    <a:gd name="T92" fmla="*/ 550 w 578"/>
                    <a:gd name="T93" fmla="*/ 212 h 461"/>
                    <a:gd name="T94" fmla="*/ 575 w 578"/>
                    <a:gd name="T95" fmla="*/ 303 h 461"/>
                    <a:gd name="T96" fmla="*/ 297 w 578"/>
                    <a:gd name="T97" fmla="*/ 212 h 461"/>
                    <a:gd name="T98" fmla="*/ 202 w 578"/>
                    <a:gd name="T99" fmla="*/ 131 h 461"/>
                    <a:gd name="T100" fmla="*/ 199 w 578"/>
                    <a:gd name="T101" fmla="*/ 138 h 461"/>
                    <a:gd name="T102" fmla="*/ 218 w 578"/>
                    <a:gd name="T103" fmla="*/ 118 h 461"/>
                    <a:gd name="T104" fmla="*/ 260 w 578"/>
                    <a:gd name="T105" fmla="*/ 182 h 461"/>
                    <a:gd name="T106" fmla="*/ 274 w 578"/>
                    <a:gd name="T107" fmla="*/ 218 h 461"/>
                    <a:gd name="T108" fmla="*/ 200 w 578"/>
                    <a:gd name="T109" fmla="*/ 430 h 461"/>
                    <a:gd name="T110" fmla="*/ 248 w 578"/>
                    <a:gd name="T111" fmla="*/ 408 h 461"/>
                    <a:gd name="T112" fmla="*/ 225 w 578"/>
                    <a:gd name="T113" fmla="*/ 441 h 461"/>
                    <a:gd name="T114" fmla="*/ 259 w 578"/>
                    <a:gd name="T115" fmla="*/ 404 h 461"/>
                    <a:gd name="T116" fmla="*/ 255 w 578"/>
                    <a:gd name="T117" fmla="*/ 453 h 461"/>
                    <a:gd name="T118" fmla="*/ 271 w 578"/>
                    <a:gd name="T119" fmla="*/ 405 h 4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578" h="461">
                      <a:moveTo>
                        <a:pt x="239" y="380"/>
                      </a:moveTo>
                      <a:cubicBezTo>
                        <a:pt x="243" y="380"/>
                        <a:pt x="247" y="382"/>
                        <a:pt x="251" y="381"/>
                      </a:cubicBezTo>
                      <a:cubicBezTo>
                        <a:pt x="256" y="381"/>
                        <a:pt x="255" y="377"/>
                        <a:pt x="257" y="374"/>
                      </a:cubicBezTo>
                      <a:cubicBezTo>
                        <a:pt x="259" y="370"/>
                        <a:pt x="258" y="366"/>
                        <a:pt x="255" y="364"/>
                      </a:cubicBezTo>
                      <a:cubicBezTo>
                        <a:pt x="252" y="361"/>
                        <a:pt x="252" y="366"/>
                        <a:pt x="249" y="366"/>
                      </a:cubicBezTo>
                      <a:cubicBezTo>
                        <a:pt x="246" y="366"/>
                        <a:pt x="245" y="365"/>
                        <a:pt x="242" y="360"/>
                      </a:cubicBezTo>
                      <a:cubicBezTo>
                        <a:pt x="239" y="355"/>
                        <a:pt x="240" y="358"/>
                        <a:pt x="240" y="354"/>
                      </a:cubicBezTo>
                      <a:cubicBezTo>
                        <a:pt x="241" y="351"/>
                        <a:pt x="241" y="349"/>
                        <a:pt x="238" y="346"/>
                      </a:cubicBezTo>
                      <a:cubicBezTo>
                        <a:pt x="235" y="343"/>
                        <a:pt x="233" y="343"/>
                        <a:pt x="228" y="340"/>
                      </a:cubicBezTo>
                      <a:cubicBezTo>
                        <a:pt x="224" y="337"/>
                        <a:pt x="221" y="336"/>
                        <a:pt x="218" y="332"/>
                      </a:cubicBezTo>
                      <a:cubicBezTo>
                        <a:pt x="215" y="328"/>
                        <a:pt x="218" y="329"/>
                        <a:pt x="221" y="327"/>
                      </a:cubicBezTo>
                      <a:cubicBezTo>
                        <a:pt x="223" y="325"/>
                        <a:pt x="227" y="322"/>
                        <a:pt x="226" y="317"/>
                      </a:cubicBezTo>
                      <a:cubicBezTo>
                        <a:pt x="224" y="312"/>
                        <a:pt x="224" y="311"/>
                        <a:pt x="225" y="308"/>
                      </a:cubicBezTo>
                      <a:cubicBezTo>
                        <a:pt x="226" y="305"/>
                        <a:pt x="229" y="307"/>
                        <a:pt x="230" y="305"/>
                      </a:cubicBezTo>
                      <a:cubicBezTo>
                        <a:pt x="232" y="303"/>
                        <a:pt x="230" y="300"/>
                        <a:pt x="226" y="296"/>
                      </a:cubicBezTo>
                      <a:cubicBezTo>
                        <a:pt x="221" y="291"/>
                        <a:pt x="219" y="292"/>
                        <a:pt x="213" y="288"/>
                      </a:cubicBezTo>
                      <a:cubicBezTo>
                        <a:pt x="207" y="283"/>
                        <a:pt x="209" y="284"/>
                        <a:pt x="204" y="276"/>
                      </a:cubicBezTo>
                      <a:cubicBezTo>
                        <a:pt x="198" y="268"/>
                        <a:pt x="200" y="271"/>
                        <a:pt x="198" y="264"/>
                      </a:cubicBezTo>
                      <a:cubicBezTo>
                        <a:pt x="195" y="258"/>
                        <a:pt x="193" y="256"/>
                        <a:pt x="191" y="252"/>
                      </a:cubicBezTo>
                      <a:cubicBezTo>
                        <a:pt x="190" y="248"/>
                        <a:pt x="185" y="242"/>
                        <a:pt x="179" y="238"/>
                      </a:cubicBezTo>
                      <a:cubicBezTo>
                        <a:pt x="173" y="235"/>
                        <a:pt x="165" y="234"/>
                        <a:pt x="162" y="232"/>
                      </a:cubicBezTo>
                      <a:cubicBezTo>
                        <a:pt x="158" y="229"/>
                        <a:pt x="160" y="222"/>
                        <a:pt x="162" y="220"/>
                      </a:cubicBezTo>
                      <a:cubicBezTo>
                        <a:pt x="165" y="218"/>
                        <a:pt x="170" y="223"/>
                        <a:pt x="175" y="225"/>
                      </a:cubicBezTo>
                      <a:cubicBezTo>
                        <a:pt x="180" y="227"/>
                        <a:pt x="183" y="225"/>
                        <a:pt x="185" y="224"/>
                      </a:cubicBezTo>
                      <a:cubicBezTo>
                        <a:pt x="188" y="222"/>
                        <a:pt x="199" y="218"/>
                        <a:pt x="200" y="214"/>
                      </a:cubicBezTo>
                      <a:cubicBezTo>
                        <a:pt x="201" y="209"/>
                        <a:pt x="207" y="206"/>
                        <a:pt x="211" y="201"/>
                      </a:cubicBezTo>
                      <a:cubicBezTo>
                        <a:pt x="214" y="196"/>
                        <a:pt x="220" y="194"/>
                        <a:pt x="224" y="189"/>
                      </a:cubicBezTo>
                      <a:cubicBezTo>
                        <a:pt x="229" y="184"/>
                        <a:pt x="235" y="185"/>
                        <a:pt x="240" y="181"/>
                      </a:cubicBezTo>
                      <a:cubicBezTo>
                        <a:pt x="244" y="178"/>
                        <a:pt x="245" y="176"/>
                        <a:pt x="246" y="171"/>
                      </a:cubicBezTo>
                      <a:cubicBezTo>
                        <a:pt x="247" y="165"/>
                        <a:pt x="252" y="166"/>
                        <a:pt x="257" y="163"/>
                      </a:cubicBezTo>
                      <a:cubicBezTo>
                        <a:pt x="262" y="160"/>
                        <a:pt x="263" y="163"/>
                        <a:pt x="268" y="161"/>
                      </a:cubicBezTo>
                      <a:cubicBezTo>
                        <a:pt x="273" y="160"/>
                        <a:pt x="277" y="162"/>
                        <a:pt x="280" y="163"/>
                      </a:cubicBezTo>
                      <a:cubicBezTo>
                        <a:pt x="283" y="163"/>
                        <a:pt x="282" y="168"/>
                        <a:pt x="283" y="173"/>
                      </a:cubicBezTo>
                      <a:cubicBezTo>
                        <a:pt x="285" y="177"/>
                        <a:pt x="289" y="173"/>
                        <a:pt x="288" y="169"/>
                      </a:cubicBezTo>
                      <a:cubicBezTo>
                        <a:pt x="287" y="165"/>
                        <a:pt x="289" y="164"/>
                        <a:pt x="289" y="161"/>
                      </a:cubicBezTo>
                      <a:cubicBezTo>
                        <a:pt x="290" y="157"/>
                        <a:pt x="290" y="152"/>
                        <a:pt x="288" y="149"/>
                      </a:cubicBezTo>
                      <a:cubicBezTo>
                        <a:pt x="286" y="147"/>
                        <a:pt x="284" y="149"/>
                        <a:pt x="281" y="148"/>
                      </a:cubicBezTo>
                      <a:cubicBezTo>
                        <a:pt x="278" y="146"/>
                        <a:pt x="277" y="145"/>
                        <a:pt x="270" y="144"/>
                      </a:cubicBezTo>
                      <a:cubicBezTo>
                        <a:pt x="262" y="143"/>
                        <a:pt x="266" y="147"/>
                        <a:pt x="263" y="153"/>
                      </a:cubicBezTo>
                      <a:cubicBezTo>
                        <a:pt x="260" y="158"/>
                        <a:pt x="255" y="156"/>
                        <a:pt x="250" y="156"/>
                      </a:cubicBezTo>
                      <a:cubicBezTo>
                        <a:pt x="246" y="156"/>
                        <a:pt x="241" y="156"/>
                        <a:pt x="231" y="156"/>
                      </a:cubicBezTo>
                      <a:cubicBezTo>
                        <a:pt x="220" y="156"/>
                        <a:pt x="223" y="156"/>
                        <a:pt x="215" y="157"/>
                      </a:cubicBezTo>
                      <a:cubicBezTo>
                        <a:pt x="207" y="158"/>
                        <a:pt x="208" y="160"/>
                        <a:pt x="204" y="164"/>
                      </a:cubicBezTo>
                      <a:cubicBezTo>
                        <a:pt x="199" y="168"/>
                        <a:pt x="196" y="167"/>
                        <a:pt x="192" y="165"/>
                      </a:cubicBezTo>
                      <a:cubicBezTo>
                        <a:pt x="187" y="163"/>
                        <a:pt x="184" y="158"/>
                        <a:pt x="177" y="159"/>
                      </a:cubicBezTo>
                      <a:cubicBezTo>
                        <a:pt x="171" y="160"/>
                        <a:pt x="172" y="166"/>
                        <a:pt x="167" y="172"/>
                      </a:cubicBezTo>
                      <a:cubicBezTo>
                        <a:pt x="162" y="177"/>
                        <a:pt x="161" y="177"/>
                        <a:pt x="159" y="181"/>
                      </a:cubicBezTo>
                      <a:cubicBezTo>
                        <a:pt x="156" y="184"/>
                        <a:pt x="152" y="190"/>
                        <a:pt x="149" y="193"/>
                      </a:cubicBezTo>
                      <a:cubicBezTo>
                        <a:pt x="145" y="195"/>
                        <a:pt x="141" y="196"/>
                        <a:pt x="135" y="196"/>
                      </a:cubicBezTo>
                      <a:cubicBezTo>
                        <a:pt x="130" y="195"/>
                        <a:pt x="125" y="194"/>
                        <a:pt x="122" y="191"/>
                      </a:cubicBezTo>
                      <a:cubicBezTo>
                        <a:pt x="119" y="187"/>
                        <a:pt x="116" y="178"/>
                        <a:pt x="115" y="175"/>
                      </a:cubicBezTo>
                      <a:cubicBezTo>
                        <a:pt x="114" y="173"/>
                        <a:pt x="112" y="169"/>
                        <a:pt x="106" y="165"/>
                      </a:cubicBezTo>
                      <a:cubicBezTo>
                        <a:pt x="101" y="160"/>
                        <a:pt x="102" y="162"/>
                        <a:pt x="95" y="159"/>
                      </a:cubicBezTo>
                      <a:cubicBezTo>
                        <a:pt x="88" y="156"/>
                        <a:pt x="90" y="157"/>
                        <a:pt x="88" y="152"/>
                      </a:cubicBezTo>
                      <a:cubicBezTo>
                        <a:pt x="86" y="147"/>
                        <a:pt x="85" y="149"/>
                        <a:pt x="84" y="143"/>
                      </a:cubicBezTo>
                      <a:cubicBezTo>
                        <a:pt x="82" y="138"/>
                        <a:pt x="80" y="131"/>
                        <a:pt x="80" y="125"/>
                      </a:cubicBezTo>
                      <a:cubicBezTo>
                        <a:pt x="79" y="120"/>
                        <a:pt x="83" y="115"/>
                        <a:pt x="83" y="108"/>
                      </a:cubicBezTo>
                      <a:cubicBezTo>
                        <a:pt x="83" y="101"/>
                        <a:pt x="85" y="102"/>
                        <a:pt x="88" y="99"/>
                      </a:cubicBezTo>
                      <a:cubicBezTo>
                        <a:pt x="91" y="96"/>
                        <a:pt x="94" y="95"/>
                        <a:pt x="96" y="92"/>
                      </a:cubicBezTo>
                      <a:cubicBezTo>
                        <a:pt x="98" y="89"/>
                        <a:pt x="107" y="77"/>
                        <a:pt x="110" y="77"/>
                      </a:cubicBezTo>
                      <a:cubicBezTo>
                        <a:pt x="113" y="76"/>
                        <a:pt x="117" y="77"/>
                        <a:pt x="123" y="76"/>
                      </a:cubicBezTo>
                      <a:cubicBezTo>
                        <a:pt x="128" y="76"/>
                        <a:pt x="139" y="74"/>
                        <a:pt x="147" y="78"/>
                      </a:cubicBezTo>
                      <a:cubicBezTo>
                        <a:pt x="156" y="81"/>
                        <a:pt x="164" y="83"/>
                        <a:pt x="170" y="83"/>
                      </a:cubicBezTo>
                      <a:cubicBezTo>
                        <a:pt x="177" y="83"/>
                        <a:pt x="187" y="82"/>
                        <a:pt x="194" y="79"/>
                      </a:cubicBezTo>
                      <a:cubicBezTo>
                        <a:pt x="201" y="77"/>
                        <a:pt x="207" y="80"/>
                        <a:pt x="216" y="80"/>
                      </a:cubicBezTo>
                      <a:cubicBezTo>
                        <a:pt x="224" y="80"/>
                        <a:pt x="235" y="77"/>
                        <a:pt x="243" y="76"/>
                      </a:cubicBezTo>
                      <a:cubicBezTo>
                        <a:pt x="250" y="76"/>
                        <a:pt x="253" y="77"/>
                        <a:pt x="264" y="77"/>
                      </a:cubicBezTo>
                      <a:cubicBezTo>
                        <a:pt x="275" y="78"/>
                        <a:pt x="275" y="80"/>
                        <a:pt x="280" y="81"/>
                      </a:cubicBezTo>
                      <a:cubicBezTo>
                        <a:pt x="285" y="81"/>
                        <a:pt x="287" y="85"/>
                        <a:pt x="293" y="89"/>
                      </a:cubicBezTo>
                      <a:cubicBezTo>
                        <a:pt x="298" y="94"/>
                        <a:pt x="302" y="93"/>
                        <a:pt x="309" y="93"/>
                      </a:cubicBezTo>
                      <a:cubicBezTo>
                        <a:pt x="316" y="93"/>
                        <a:pt x="314" y="92"/>
                        <a:pt x="321" y="88"/>
                      </a:cubicBezTo>
                      <a:cubicBezTo>
                        <a:pt x="329" y="84"/>
                        <a:pt x="331" y="84"/>
                        <a:pt x="339" y="83"/>
                      </a:cubicBezTo>
                      <a:cubicBezTo>
                        <a:pt x="346" y="82"/>
                        <a:pt x="345" y="82"/>
                        <a:pt x="351" y="76"/>
                      </a:cubicBezTo>
                      <a:cubicBezTo>
                        <a:pt x="356" y="71"/>
                        <a:pt x="354" y="73"/>
                        <a:pt x="359" y="67"/>
                      </a:cubicBezTo>
                      <a:cubicBezTo>
                        <a:pt x="364" y="60"/>
                        <a:pt x="367" y="58"/>
                        <a:pt x="373" y="54"/>
                      </a:cubicBezTo>
                      <a:cubicBezTo>
                        <a:pt x="378" y="50"/>
                        <a:pt x="381" y="49"/>
                        <a:pt x="381" y="44"/>
                      </a:cubicBezTo>
                      <a:cubicBezTo>
                        <a:pt x="382" y="39"/>
                        <a:pt x="384" y="37"/>
                        <a:pt x="390" y="31"/>
                      </a:cubicBezTo>
                      <a:cubicBezTo>
                        <a:pt x="396" y="25"/>
                        <a:pt x="394" y="19"/>
                        <a:pt x="399" y="14"/>
                      </a:cubicBezTo>
                      <a:cubicBezTo>
                        <a:pt x="404" y="9"/>
                        <a:pt x="400" y="4"/>
                        <a:pt x="396" y="2"/>
                      </a:cubicBezTo>
                      <a:cubicBezTo>
                        <a:pt x="393" y="0"/>
                        <a:pt x="385" y="3"/>
                        <a:pt x="381" y="7"/>
                      </a:cubicBezTo>
                      <a:cubicBezTo>
                        <a:pt x="377" y="11"/>
                        <a:pt x="376" y="19"/>
                        <a:pt x="373" y="20"/>
                      </a:cubicBezTo>
                      <a:cubicBezTo>
                        <a:pt x="370" y="21"/>
                        <a:pt x="367" y="20"/>
                        <a:pt x="363" y="23"/>
                      </a:cubicBezTo>
                      <a:cubicBezTo>
                        <a:pt x="360" y="25"/>
                        <a:pt x="363" y="25"/>
                        <a:pt x="364" y="29"/>
                      </a:cubicBezTo>
                      <a:cubicBezTo>
                        <a:pt x="364" y="34"/>
                        <a:pt x="361" y="34"/>
                        <a:pt x="358" y="34"/>
                      </a:cubicBezTo>
                      <a:cubicBezTo>
                        <a:pt x="355" y="34"/>
                        <a:pt x="348" y="39"/>
                        <a:pt x="345" y="44"/>
                      </a:cubicBezTo>
                      <a:cubicBezTo>
                        <a:pt x="342" y="49"/>
                        <a:pt x="339" y="48"/>
                        <a:pt x="333" y="49"/>
                      </a:cubicBezTo>
                      <a:cubicBezTo>
                        <a:pt x="327" y="49"/>
                        <a:pt x="327" y="51"/>
                        <a:pt x="325" y="55"/>
                      </a:cubicBezTo>
                      <a:cubicBezTo>
                        <a:pt x="324" y="60"/>
                        <a:pt x="321" y="58"/>
                        <a:pt x="317" y="58"/>
                      </a:cubicBezTo>
                      <a:cubicBezTo>
                        <a:pt x="313" y="58"/>
                        <a:pt x="311" y="58"/>
                        <a:pt x="308" y="55"/>
                      </a:cubicBezTo>
                      <a:cubicBezTo>
                        <a:pt x="305" y="52"/>
                        <a:pt x="300" y="53"/>
                        <a:pt x="293" y="53"/>
                      </a:cubicBezTo>
                      <a:cubicBezTo>
                        <a:pt x="289" y="53"/>
                        <a:pt x="286" y="53"/>
                        <a:pt x="284" y="54"/>
                      </a:cubicBezTo>
                      <a:cubicBezTo>
                        <a:pt x="282" y="54"/>
                        <a:pt x="279" y="54"/>
                        <a:pt x="273" y="52"/>
                      </a:cubicBezTo>
                      <a:cubicBezTo>
                        <a:pt x="267" y="51"/>
                        <a:pt x="268" y="54"/>
                        <a:pt x="264" y="57"/>
                      </a:cubicBezTo>
                      <a:cubicBezTo>
                        <a:pt x="260" y="59"/>
                        <a:pt x="258" y="61"/>
                        <a:pt x="256" y="60"/>
                      </a:cubicBezTo>
                      <a:cubicBezTo>
                        <a:pt x="253" y="59"/>
                        <a:pt x="251" y="58"/>
                        <a:pt x="244" y="56"/>
                      </a:cubicBezTo>
                      <a:cubicBezTo>
                        <a:pt x="238" y="55"/>
                        <a:pt x="235" y="56"/>
                        <a:pt x="232" y="50"/>
                      </a:cubicBezTo>
                      <a:cubicBezTo>
                        <a:pt x="228" y="45"/>
                        <a:pt x="222" y="45"/>
                        <a:pt x="216" y="45"/>
                      </a:cubicBezTo>
                      <a:cubicBezTo>
                        <a:pt x="211" y="45"/>
                        <a:pt x="210" y="47"/>
                        <a:pt x="205" y="44"/>
                      </a:cubicBezTo>
                      <a:cubicBezTo>
                        <a:pt x="200" y="42"/>
                        <a:pt x="198" y="44"/>
                        <a:pt x="191" y="46"/>
                      </a:cubicBezTo>
                      <a:cubicBezTo>
                        <a:pt x="184" y="47"/>
                        <a:pt x="185" y="45"/>
                        <a:pt x="179" y="44"/>
                      </a:cubicBezTo>
                      <a:cubicBezTo>
                        <a:pt x="173" y="42"/>
                        <a:pt x="175" y="40"/>
                        <a:pt x="174" y="35"/>
                      </a:cubicBezTo>
                      <a:cubicBezTo>
                        <a:pt x="174" y="30"/>
                        <a:pt x="171" y="30"/>
                        <a:pt x="167" y="28"/>
                      </a:cubicBezTo>
                      <a:cubicBezTo>
                        <a:pt x="163" y="26"/>
                        <a:pt x="161" y="29"/>
                        <a:pt x="155" y="30"/>
                      </a:cubicBezTo>
                      <a:cubicBezTo>
                        <a:pt x="148" y="31"/>
                        <a:pt x="149" y="30"/>
                        <a:pt x="145" y="30"/>
                      </a:cubicBezTo>
                      <a:cubicBezTo>
                        <a:pt x="140" y="30"/>
                        <a:pt x="140" y="28"/>
                        <a:pt x="137" y="25"/>
                      </a:cubicBezTo>
                      <a:cubicBezTo>
                        <a:pt x="133" y="22"/>
                        <a:pt x="130" y="27"/>
                        <a:pt x="128" y="30"/>
                      </a:cubicBezTo>
                      <a:cubicBezTo>
                        <a:pt x="125" y="34"/>
                        <a:pt x="128" y="35"/>
                        <a:pt x="128" y="43"/>
                      </a:cubicBezTo>
                      <a:cubicBezTo>
                        <a:pt x="128" y="50"/>
                        <a:pt x="125" y="47"/>
                        <a:pt x="122" y="51"/>
                      </a:cubicBezTo>
                      <a:cubicBezTo>
                        <a:pt x="119" y="54"/>
                        <a:pt x="118" y="57"/>
                        <a:pt x="112" y="58"/>
                      </a:cubicBezTo>
                      <a:cubicBezTo>
                        <a:pt x="107" y="60"/>
                        <a:pt x="105" y="56"/>
                        <a:pt x="101" y="53"/>
                      </a:cubicBezTo>
                      <a:cubicBezTo>
                        <a:pt x="96" y="50"/>
                        <a:pt x="96" y="51"/>
                        <a:pt x="91" y="55"/>
                      </a:cubicBezTo>
                      <a:cubicBezTo>
                        <a:pt x="86" y="58"/>
                        <a:pt x="88" y="58"/>
                        <a:pt x="85" y="63"/>
                      </a:cubicBezTo>
                      <a:cubicBezTo>
                        <a:pt x="82" y="68"/>
                        <a:pt x="83" y="67"/>
                        <a:pt x="79" y="70"/>
                      </a:cubicBezTo>
                      <a:cubicBezTo>
                        <a:pt x="75" y="72"/>
                        <a:pt x="74" y="73"/>
                        <a:pt x="70" y="77"/>
                      </a:cubicBezTo>
                      <a:cubicBezTo>
                        <a:pt x="65" y="81"/>
                        <a:pt x="69" y="83"/>
                        <a:pt x="69" y="88"/>
                      </a:cubicBezTo>
                      <a:cubicBezTo>
                        <a:pt x="68" y="93"/>
                        <a:pt x="66" y="95"/>
                        <a:pt x="62" y="99"/>
                      </a:cubicBezTo>
                      <a:cubicBezTo>
                        <a:pt x="57" y="104"/>
                        <a:pt x="59" y="105"/>
                        <a:pt x="60" y="110"/>
                      </a:cubicBezTo>
                      <a:cubicBezTo>
                        <a:pt x="60" y="115"/>
                        <a:pt x="62" y="112"/>
                        <a:pt x="67" y="116"/>
                      </a:cubicBezTo>
                      <a:cubicBezTo>
                        <a:pt x="72" y="121"/>
                        <a:pt x="67" y="139"/>
                        <a:pt x="70" y="143"/>
                      </a:cubicBezTo>
                      <a:cubicBezTo>
                        <a:pt x="73" y="147"/>
                        <a:pt x="71" y="148"/>
                        <a:pt x="69" y="152"/>
                      </a:cubicBezTo>
                      <a:cubicBezTo>
                        <a:pt x="67" y="156"/>
                        <a:pt x="67" y="153"/>
                        <a:pt x="63" y="152"/>
                      </a:cubicBezTo>
                      <a:cubicBezTo>
                        <a:pt x="59" y="150"/>
                        <a:pt x="58" y="153"/>
                        <a:pt x="53" y="156"/>
                      </a:cubicBezTo>
                      <a:cubicBezTo>
                        <a:pt x="49" y="159"/>
                        <a:pt x="50" y="160"/>
                        <a:pt x="47" y="166"/>
                      </a:cubicBezTo>
                      <a:cubicBezTo>
                        <a:pt x="44" y="173"/>
                        <a:pt x="44" y="173"/>
                        <a:pt x="39" y="176"/>
                      </a:cubicBezTo>
                      <a:cubicBezTo>
                        <a:pt x="33" y="179"/>
                        <a:pt x="37" y="181"/>
                        <a:pt x="35" y="188"/>
                      </a:cubicBezTo>
                      <a:cubicBezTo>
                        <a:pt x="33" y="195"/>
                        <a:pt x="35" y="200"/>
                        <a:pt x="37" y="207"/>
                      </a:cubicBezTo>
                      <a:cubicBezTo>
                        <a:pt x="40" y="213"/>
                        <a:pt x="39" y="225"/>
                        <a:pt x="35" y="228"/>
                      </a:cubicBezTo>
                      <a:cubicBezTo>
                        <a:pt x="31" y="231"/>
                        <a:pt x="28" y="234"/>
                        <a:pt x="25" y="238"/>
                      </a:cubicBezTo>
                      <a:cubicBezTo>
                        <a:pt x="22" y="241"/>
                        <a:pt x="24" y="245"/>
                        <a:pt x="19" y="251"/>
                      </a:cubicBezTo>
                      <a:cubicBezTo>
                        <a:pt x="14" y="257"/>
                        <a:pt x="14" y="256"/>
                        <a:pt x="9" y="258"/>
                      </a:cubicBezTo>
                      <a:cubicBezTo>
                        <a:pt x="3" y="261"/>
                        <a:pt x="3" y="267"/>
                        <a:pt x="5" y="274"/>
                      </a:cubicBezTo>
                      <a:cubicBezTo>
                        <a:pt x="6" y="280"/>
                        <a:pt x="9" y="277"/>
                        <a:pt x="12" y="284"/>
                      </a:cubicBezTo>
                      <a:cubicBezTo>
                        <a:pt x="15" y="290"/>
                        <a:pt x="12" y="291"/>
                        <a:pt x="6" y="292"/>
                      </a:cubicBezTo>
                      <a:cubicBezTo>
                        <a:pt x="0" y="294"/>
                        <a:pt x="2" y="296"/>
                        <a:pt x="2" y="301"/>
                      </a:cubicBezTo>
                      <a:cubicBezTo>
                        <a:pt x="2" y="307"/>
                        <a:pt x="4" y="309"/>
                        <a:pt x="12" y="312"/>
                      </a:cubicBezTo>
                      <a:cubicBezTo>
                        <a:pt x="19" y="315"/>
                        <a:pt x="15" y="323"/>
                        <a:pt x="20" y="327"/>
                      </a:cubicBezTo>
                      <a:cubicBezTo>
                        <a:pt x="24" y="330"/>
                        <a:pt x="33" y="327"/>
                        <a:pt x="38" y="326"/>
                      </a:cubicBezTo>
                      <a:cubicBezTo>
                        <a:pt x="42" y="324"/>
                        <a:pt x="43" y="326"/>
                        <a:pt x="47" y="330"/>
                      </a:cubicBezTo>
                      <a:cubicBezTo>
                        <a:pt x="50" y="335"/>
                        <a:pt x="47" y="335"/>
                        <a:pt x="44" y="341"/>
                      </a:cubicBezTo>
                      <a:cubicBezTo>
                        <a:pt x="41" y="346"/>
                        <a:pt x="46" y="346"/>
                        <a:pt x="52" y="352"/>
                      </a:cubicBezTo>
                      <a:cubicBezTo>
                        <a:pt x="57" y="358"/>
                        <a:pt x="56" y="357"/>
                        <a:pt x="57" y="360"/>
                      </a:cubicBezTo>
                      <a:cubicBezTo>
                        <a:pt x="58" y="363"/>
                        <a:pt x="57" y="363"/>
                        <a:pt x="55" y="364"/>
                      </a:cubicBezTo>
                      <a:cubicBezTo>
                        <a:pt x="54" y="365"/>
                        <a:pt x="52" y="367"/>
                        <a:pt x="50" y="371"/>
                      </a:cubicBezTo>
                      <a:cubicBezTo>
                        <a:pt x="48" y="376"/>
                        <a:pt x="49" y="381"/>
                        <a:pt x="50" y="387"/>
                      </a:cubicBezTo>
                      <a:cubicBezTo>
                        <a:pt x="51" y="394"/>
                        <a:pt x="51" y="392"/>
                        <a:pt x="50" y="397"/>
                      </a:cubicBezTo>
                      <a:cubicBezTo>
                        <a:pt x="50" y="401"/>
                        <a:pt x="48" y="402"/>
                        <a:pt x="43" y="408"/>
                      </a:cubicBezTo>
                      <a:cubicBezTo>
                        <a:pt x="39" y="413"/>
                        <a:pt x="43" y="414"/>
                        <a:pt x="45" y="422"/>
                      </a:cubicBezTo>
                      <a:cubicBezTo>
                        <a:pt x="48" y="429"/>
                        <a:pt x="45" y="428"/>
                        <a:pt x="43" y="434"/>
                      </a:cubicBezTo>
                      <a:cubicBezTo>
                        <a:pt x="42" y="439"/>
                        <a:pt x="44" y="440"/>
                        <a:pt x="44" y="443"/>
                      </a:cubicBezTo>
                      <a:cubicBezTo>
                        <a:pt x="44" y="447"/>
                        <a:pt x="45" y="450"/>
                        <a:pt x="49" y="452"/>
                      </a:cubicBezTo>
                      <a:cubicBezTo>
                        <a:pt x="52" y="455"/>
                        <a:pt x="55" y="452"/>
                        <a:pt x="59" y="450"/>
                      </a:cubicBezTo>
                      <a:cubicBezTo>
                        <a:pt x="63" y="449"/>
                        <a:pt x="66" y="451"/>
                        <a:pt x="67" y="456"/>
                      </a:cubicBezTo>
                      <a:cubicBezTo>
                        <a:pt x="69" y="460"/>
                        <a:pt x="71" y="461"/>
                        <a:pt x="76" y="460"/>
                      </a:cubicBezTo>
                      <a:cubicBezTo>
                        <a:pt x="82" y="459"/>
                        <a:pt x="84" y="452"/>
                        <a:pt x="87" y="449"/>
                      </a:cubicBezTo>
                      <a:cubicBezTo>
                        <a:pt x="90" y="446"/>
                        <a:pt x="95" y="449"/>
                        <a:pt x="97" y="451"/>
                      </a:cubicBezTo>
                      <a:cubicBezTo>
                        <a:pt x="99" y="452"/>
                        <a:pt x="106" y="455"/>
                        <a:pt x="107" y="450"/>
                      </a:cubicBezTo>
                      <a:cubicBezTo>
                        <a:pt x="107" y="446"/>
                        <a:pt x="106" y="442"/>
                        <a:pt x="104" y="436"/>
                      </a:cubicBezTo>
                      <a:cubicBezTo>
                        <a:pt x="101" y="429"/>
                        <a:pt x="100" y="433"/>
                        <a:pt x="96" y="429"/>
                      </a:cubicBezTo>
                      <a:cubicBezTo>
                        <a:pt x="92" y="425"/>
                        <a:pt x="95" y="425"/>
                        <a:pt x="97" y="420"/>
                      </a:cubicBezTo>
                      <a:cubicBezTo>
                        <a:pt x="98" y="414"/>
                        <a:pt x="99" y="415"/>
                        <a:pt x="101" y="412"/>
                      </a:cubicBezTo>
                      <a:cubicBezTo>
                        <a:pt x="104" y="410"/>
                        <a:pt x="106" y="405"/>
                        <a:pt x="107" y="401"/>
                      </a:cubicBezTo>
                      <a:cubicBezTo>
                        <a:pt x="108" y="397"/>
                        <a:pt x="108" y="392"/>
                        <a:pt x="106" y="385"/>
                      </a:cubicBezTo>
                      <a:cubicBezTo>
                        <a:pt x="104" y="379"/>
                        <a:pt x="100" y="371"/>
                        <a:pt x="101" y="360"/>
                      </a:cubicBezTo>
                      <a:cubicBezTo>
                        <a:pt x="102" y="349"/>
                        <a:pt x="109" y="349"/>
                        <a:pt x="108" y="343"/>
                      </a:cubicBezTo>
                      <a:cubicBezTo>
                        <a:pt x="107" y="338"/>
                        <a:pt x="108" y="332"/>
                        <a:pt x="108" y="325"/>
                      </a:cubicBezTo>
                      <a:cubicBezTo>
                        <a:pt x="108" y="317"/>
                        <a:pt x="109" y="317"/>
                        <a:pt x="107" y="310"/>
                      </a:cubicBezTo>
                      <a:cubicBezTo>
                        <a:pt x="104" y="303"/>
                        <a:pt x="102" y="305"/>
                        <a:pt x="99" y="297"/>
                      </a:cubicBezTo>
                      <a:cubicBezTo>
                        <a:pt x="95" y="289"/>
                        <a:pt x="99" y="291"/>
                        <a:pt x="102" y="288"/>
                      </a:cubicBezTo>
                      <a:cubicBezTo>
                        <a:pt x="105" y="285"/>
                        <a:pt x="109" y="285"/>
                        <a:pt x="112" y="279"/>
                      </a:cubicBezTo>
                      <a:cubicBezTo>
                        <a:pt x="115" y="273"/>
                        <a:pt x="119" y="276"/>
                        <a:pt x="125" y="275"/>
                      </a:cubicBezTo>
                      <a:cubicBezTo>
                        <a:pt x="131" y="274"/>
                        <a:pt x="135" y="276"/>
                        <a:pt x="140" y="277"/>
                      </a:cubicBezTo>
                      <a:cubicBezTo>
                        <a:pt x="144" y="279"/>
                        <a:pt x="143" y="283"/>
                        <a:pt x="143" y="288"/>
                      </a:cubicBezTo>
                      <a:cubicBezTo>
                        <a:pt x="143" y="293"/>
                        <a:pt x="143" y="292"/>
                        <a:pt x="145" y="298"/>
                      </a:cubicBezTo>
                      <a:cubicBezTo>
                        <a:pt x="147" y="304"/>
                        <a:pt x="146" y="306"/>
                        <a:pt x="142" y="312"/>
                      </a:cubicBezTo>
                      <a:cubicBezTo>
                        <a:pt x="138" y="317"/>
                        <a:pt x="136" y="315"/>
                        <a:pt x="134" y="320"/>
                      </a:cubicBezTo>
                      <a:cubicBezTo>
                        <a:pt x="132" y="325"/>
                        <a:pt x="136" y="323"/>
                        <a:pt x="137" y="326"/>
                      </a:cubicBezTo>
                      <a:cubicBezTo>
                        <a:pt x="137" y="330"/>
                        <a:pt x="143" y="333"/>
                        <a:pt x="149" y="336"/>
                      </a:cubicBezTo>
                      <a:cubicBezTo>
                        <a:pt x="154" y="339"/>
                        <a:pt x="155" y="340"/>
                        <a:pt x="157" y="344"/>
                      </a:cubicBezTo>
                      <a:cubicBezTo>
                        <a:pt x="160" y="349"/>
                        <a:pt x="161" y="351"/>
                        <a:pt x="165" y="353"/>
                      </a:cubicBezTo>
                      <a:cubicBezTo>
                        <a:pt x="169" y="356"/>
                        <a:pt x="175" y="357"/>
                        <a:pt x="179" y="360"/>
                      </a:cubicBezTo>
                      <a:cubicBezTo>
                        <a:pt x="183" y="363"/>
                        <a:pt x="179" y="364"/>
                        <a:pt x="177" y="369"/>
                      </a:cubicBezTo>
                      <a:cubicBezTo>
                        <a:pt x="175" y="374"/>
                        <a:pt x="177" y="375"/>
                        <a:pt x="176" y="378"/>
                      </a:cubicBezTo>
                      <a:cubicBezTo>
                        <a:pt x="175" y="380"/>
                        <a:pt x="173" y="384"/>
                        <a:pt x="172" y="389"/>
                      </a:cubicBezTo>
                      <a:cubicBezTo>
                        <a:pt x="171" y="395"/>
                        <a:pt x="173" y="394"/>
                        <a:pt x="174" y="396"/>
                      </a:cubicBezTo>
                      <a:cubicBezTo>
                        <a:pt x="174" y="399"/>
                        <a:pt x="179" y="403"/>
                        <a:pt x="182" y="405"/>
                      </a:cubicBezTo>
                      <a:cubicBezTo>
                        <a:pt x="185" y="408"/>
                        <a:pt x="191" y="405"/>
                        <a:pt x="192" y="405"/>
                      </a:cubicBezTo>
                      <a:cubicBezTo>
                        <a:pt x="193" y="405"/>
                        <a:pt x="203" y="409"/>
                        <a:pt x="207" y="409"/>
                      </a:cubicBezTo>
                      <a:cubicBezTo>
                        <a:pt x="212" y="408"/>
                        <a:pt x="209" y="404"/>
                        <a:pt x="211" y="401"/>
                      </a:cubicBezTo>
                      <a:cubicBezTo>
                        <a:pt x="213" y="398"/>
                        <a:pt x="212" y="396"/>
                        <a:pt x="209" y="394"/>
                      </a:cubicBezTo>
                      <a:cubicBezTo>
                        <a:pt x="206" y="392"/>
                        <a:pt x="205" y="391"/>
                        <a:pt x="204" y="388"/>
                      </a:cubicBezTo>
                      <a:cubicBezTo>
                        <a:pt x="204" y="385"/>
                        <a:pt x="207" y="384"/>
                        <a:pt x="212" y="383"/>
                      </a:cubicBezTo>
                      <a:cubicBezTo>
                        <a:pt x="216" y="383"/>
                        <a:pt x="219" y="384"/>
                        <a:pt x="225" y="382"/>
                      </a:cubicBezTo>
                      <a:cubicBezTo>
                        <a:pt x="230" y="380"/>
                        <a:pt x="234" y="380"/>
                        <a:pt x="239" y="380"/>
                      </a:cubicBezTo>
                      <a:close/>
                      <a:moveTo>
                        <a:pt x="527" y="157"/>
                      </a:moveTo>
                      <a:cubicBezTo>
                        <a:pt x="529" y="153"/>
                        <a:pt x="525" y="143"/>
                        <a:pt x="523" y="149"/>
                      </a:cubicBezTo>
                      <a:cubicBezTo>
                        <a:pt x="523" y="152"/>
                        <a:pt x="519" y="152"/>
                        <a:pt x="521" y="154"/>
                      </a:cubicBezTo>
                      <a:cubicBezTo>
                        <a:pt x="524" y="157"/>
                        <a:pt x="526" y="161"/>
                        <a:pt x="527" y="157"/>
                      </a:cubicBezTo>
                      <a:close/>
                      <a:moveTo>
                        <a:pt x="532" y="94"/>
                      </a:moveTo>
                      <a:cubicBezTo>
                        <a:pt x="536" y="93"/>
                        <a:pt x="537" y="93"/>
                        <a:pt x="538" y="89"/>
                      </a:cubicBezTo>
                      <a:cubicBezTo>
                        <a:pt x="540" y="86"/>
                        <a:pt x="537" y="78"/>
                        <a:pt x="536" y="83"/>
                      </a:cubicBezTo>
                      <a:cubicBezTo>
                        <a:pt x="534" y="87"/>
                        <a:pt x="531" y="87"/>
                        <a:pt x="531" y="90"/>
                      </a:cubicBezTo>
                      <a:cubicBezTo>
                        <a:pt x="530" y="93"/>
                        <a:pt x="528" y="94"/>
                        <a:pt x="532" y="94"/>
                      </a:cubicBezTo>
                      <a:close/>
                      <a:moveTo>
                        <a:pt x="531" y="61"/>
                      </a:moveTo>
                      <a:cubicBezTo>
                        <a:pt x="534" y="62"/>
                        <a:pt x="537" y="67"/>
                        <a:pt x="538" y="63"/>
                      </a:cubicBezTo>
                      <a:cubicBezTo>
                        <a:pt x="539" y="58"/>
                        <a:pt x="537" y="59"/>
                        <a:pt x="537" y="57"/>
                      </a:cubicBezTo>
                      <a:cubicBezTo>
                        <a:pt x="536" y="54"/>
                        <a:pt x="531" y="53"/>
                        <a:pt x="530" y="55"/>
                      </a:cubicBezTo>
                      <a:cubicBezTo>
                        <a:pt x="530" y="59"/>
                        <a:pt x="529" y="60"/>
                        <a:pt x="531" y="61"/>
                      </a:cubicBezTo>
                      <a:close/>
                      <a:moveTo>
                        <a:pt x="528" y="133"/>
                      </a:moveTo>
                      <a:cubicBezTo>
                        <a:pt x="528" y="130"/>
                        <a:pt x="522" y="126"/>
                        <a:pt x="520" y="128"/>
                      </a:cubicBezTo>
                      <a:cubicBezTo>
                        <a:pt x="519" y="131"/>
                        <a:pt x="518" y="134"/>
                        <a:pt x="521" y="135"/>
                      </a:cubicBezTo>
                      <a:cubicBezTo>
                        <a:pt x="524" y="135"/>
                        <a:pt x="527" y="135"/>
                        <a:pt x="528" y="133"/>
                      </a:cubicBezTo>
                      <a:close/>
                      <a:moveTo>
                        <a:pt x="447" y="250"/>
                      </a:moveTo>
                      <a:cubicBezTo>
                        <a:pt x="450" y="255"/>
                        <a:pt x="453" y="258"/>
                        <a:pt x="452" y="253"/>
                      </a:cubicBezTo>
                      <a:cubicBezTo>
                        <a:pt x="451" y="249"/>
                        <a:pt x="450" y="248"/>
                        <a:pt x="450" y="243"/>
                      </a:cubicBezTo>
                      <a:cubicBezTo>
                        <a:pt x="450" y="239"/>
                        <a:pt x="446" y="232"/>
                        <a:pt x="442" y="234"/>
                      </a:cubicBezTo>
                      <a:cubicBezTo>
                        <a:pt x="439" y="236"/>
                        <a:pt x="438" y="237"/>
                        <a:pt x="441" y="241"/>
                      </a:cubicBezTo>
                      <a:cubicBezTo>
                        <a:pt x="445" y="245"/>
                        <a:pt x="444" y="244"/>
                        <a:pt x="447" y="250"/>
                      </a:cubicBezTo>
                      <a:close/>
                      <a:moveTo>
                        <a:pt x="517" y="334"/>
                      </a:moveTo>
                      <a:cubicBezTo>
                        <a:pt x="522" y="333"/>
                        <a:pt x="524" y="331"/>
                        <a:pt x="524" y="326"/>
                      </a:cubicBezTo>
                      <a:cubicBezTo>
                        <a:pt x="525" y="321"/>
                        <a:pt x="525" y="320"/>
                        <a:pt x="524" y="317"/>
                      </a:cubicBezTo>
                      <a:cubicBezTo>
                        <a:pt x="523" y="313"/>
                        <a:pt x="523" y="314"/>
                        <a:pt x="519" y="313"/>
                      </a:cubicBezTo>
                      <a:cubicBezTo>
                        <a:pt x="515" y="311"/>
                        <a:pt x="513" y="310"/>
                        <a:pt x="508" y="305"/>
                      </a:cubicBezTo>
                      <a:cubicBezTo>
                        <a:pt x="504" y="299"/>
                        <a:pt x="497" y="297"/>
                        <a:pt x="493" y="296"/>
                      </a:cubicBezTo>
                      <a:cubicBezTo>
                        <a:pt x="489" y="296"/>
                        <a:pt x="478" y="299"/>
                        <a:pt x="475" y="299"/>
                      </a:cubicBezTo>
                      <a:cubicBezTo>
                        <a:pt x="471" y="301"/>
                        <a:pt x="467" y="303"/>
                        <a:pt x="461" y="303"/>
                      </a:cubicBezTo>
                      <a:cubicBezTo>
                        <a:pt x="455" y="303"/>
                        <a:pt x="451" y="305"/>
                        <a:pt x="449" y="307"/>
                      </a:cubicBezTo>
                      <a:cubicBezTo>
                        <a:pt x="446" y="310"/>
                        <a:pt x="453" y="315"/>
                        <a:pt x="453" y="320"/>
                      </a:cubicBezTo>
                      <a:cubicBezTo>
                        <a:pt x="454" y="324"/>
                        <a:pt x="459" y="326"/>
                        <a:pt x="464" y="329"/>
                      </a:cubicBezTo>
                      <a:cubicBezTo>
                        <a:pt x="470" y="331"/>
                        <a:pt x="472" y="333"/>
                        <a:pt x="475" y="336"/>
                      </a:cubicBezTo>
                      <a:cubicBezTo>
                        <a:pt x="478" y="339"/>
                        <a:pt x="486" y="344"/>
                        <a:pt x="491" y="345"/>
                      </a:cubicBezTo>
                      <a:cubicBezTo>
                        <a:pt x="495" y="345"/>
                        <a:pt x="498" y="344"/>
                        <a:pt x="503" y="338"/>
                      </a:cubicBezTo>
                      <a:cubicBezTo>
                        <a:pt x="507" y="331"/>
                        <a:pt x="512" y="336"/>
                        <a:pt x="517" y="334"/>
                      </a:cubicBezTo>
                      <a:close/>
                      <a:moveTo>
                        <a:pt x="437" y="224"/>
                      </a:moveTo>
                      <a:cubicBezTo>
                        <a:pt x="439" y="222"/>
                        <a:pt x="441" y="221"/>
                        <a:pt x="438" y="220"/>
                      </a:cubicBezTo>
                      <a:cubicBezTo>
                        <a:pt x="435" y="220"/>
                        <a:pt x="428" y="219"/>
                        <a:pt x="425" y="220"/>
                      </a:cubicBezTo>
                      <a:cubicBezTo>
                        <a:pt x="422" y="220"/>
                        <a:pt x="421" y="218"/>
                        <a:pt x="419" y="219"/>
                      </a:cubicBezTo>
                      <a:cubicBezTo>
                        <a:pt x="412" y="221"/>
                        <a:pt x="411" y="223"/>
                        <a:pt x="412" y="226"/>
                      </a:cubicBezTo>
                      <a:cubicBezTo>
                        <a:pt x="414" y="228"/>
                        <a:pt x="414" y="230"/>
                        <a:pt x="420" y="228"/>
                      </a:cubicBezTo>
                      <a:cubicBezTo>
                        <a:pt x="426" y="227"/>
                        <a:pt x="423" y="226"/>
                        <a:pt x="428" y="225"/>
                      </a:cubicBezTo>
                      <a:cubicBezTo>
                        <a:pt x="433" y="224"/>
                        <a:pt x="435" y="226"/>
                        <a:pt x="437" y="224"/>
                      </a:cubicBezTo>
                      <a:close/>
                      <a:moveTo>
                        <a:pt x="402" y="223"/>
                      </a:moveTo>
                      <a:cubicBezTo>
                        <a:pt x="402" y="218"/>
                        <a:pt x="404" y="217"/>
                        <a:pt x="398" y="216"/>
                      </a:cubicBezTo>
                      <a:cubicBezTo>
                        <a:pt x="393" y="216"/>
                        <a:pt x="390" y="218"/>
                        <a:pt x="386" y="216"/>
                      </a:cubicBezTo>
                      <a:cubicBezTo>
                        <a:pt x="383" y="214"/>
                        <a:pt x="377" y="214"/>
                        <a:pt x="372" y="215"/>
                      </a:cubicBezTo>
                      <a:cubicBezTo>
                        <a:pt x="362" y="216"/>
                        <a:pt x="357" y="212"/>
                        <a:pt x="354" y="213"/>
                      </a:cubicBezTo>
                      <a:cubicBezTo>
                        <a:pt x="351" y="214"/>
                        <a:pt x="350" y="222"/>
                        <a:pt x="352" y="226"/>
                      </a:cubicBezTo>
                      <a:cubicBezTo>
                        <a:pt x="354" y="231"/>
                        <a:pt x="352" y="232"/>
                        <a:pt x="358" y="232"/>
                      </a:cubicBezTo>
                      <a:cubicBezTo>
                        <a:pt x="363" y="232"/>
                        <a:pt x="362" y="230"/>
                        <a:pt x="369" y="228"/>
                      </a:cubicBezTo>
                      <a:cubicBezTo>
                        <a:pt x="376" y="226"/>
                        <a:pt x="377" y="226"/>
                        <a:pt x="382" y="226"/>
                      </a:cubicBezTo>
                      <a:cubicBezTo>
                        <a:pt x="387" y="227"/>
                        <a:pt x="387" y="226"/>
                        <a:pt x="392" y="226"/>
                      </a:cubicBezTo>
                      <a:cubicBezTo>
                        <a:pt x="398" y="225"/>
                        <a:pt x="402" y="228"/>
                        <a:pt x="402" y="223"/>
                      </a:cubicBezTo>
                      <a:close/>
                      <a:moveTo>
                        <a:pt x="555" y="152"/>
                      </a:moveTo>
                      <a:cubicBezTo>
                        <a:pt x="554" y="148"/>
                        <a:pt x="551" y="148"/>
                        <a:pt x="549" y="145"/>
                      </a:cubicBezTo>
                      <a:cubicBezTo>
                        <a:pt x="547" y="141"/>
                        <a:pt x="548" y="138"/>
                        <a:pt x="547" y="136"/>
                      </a:cubicBezTo>
                      <a:cubicBezTo>
                        <a:pt x="546" y="134"/>
                        <a:pt x="542" y="134"/>
                        <a:pt x="539" y="134"/>
                      </a:cubicBezTo>
                      <a:cubicBezTo>
                        <a:pt x="535" y="134"/>
                        <a:pt x="532" y="132"/>
                        <a:pt x="534" y="137"/>
                      </a:cubicBezTo>
                      <a:cubicBezTo>
                        <a:pt x="535" y="142"/>
                        <a:pt x="537" y="140"/>
                        <a:pt x="538" y="144"/>
                      </a:cubicBezTo>
                      <a:cubicBezTo>
                        <a:pt x="539" y="147"/>
                        <a:pt x="538" y="145"/>
                        <a:pt x="539" y="149"/>
                      </a:cubicBezTo>
                      <a:cubicBezTo>
                        <a:pt x="540" y="153"/>
                        <a:pt x="536" y="155"/>
                        <a:pt x="541" y="155"/>
                      </a:cubicBezTo>
                      <a:cubicBezTo>
                        <a:pt x="546" y="156"/>
                        <a:pt x="546" y="153"/>
                        <a:pt x="550" y="154"/>
                      </a:cubicBezTo>
                      <a:cubicBezTo>
                        <a:pt x="553" y="154"/>
                        <a:pt x="556" y="156"/>
                        <a:pt x="555" y="152"/>
                      </a:cubicBezTo>
                      <a:close/>
                      <a:moveTo>
                        <a:pt x="543" y="181"/>
                      </a:moveTo>
                      <a:cubicBezTo>
                        <a:pt x="542" y="183"/>
                        <a:pt x="538" y="182"/>
                        <a:pt x="543" y="184"/>
                      </a:cubicBezTo>
                      <a:cubicBezTo>
                        <a:pt x="547" y="186"/>
                        <a:pt x="549" y="188"/>
                        <a:pt x="551" y="186"/>
                      </a:cubicBezTo>
                      <a:cubicBezTo>
                        <a:pt x="553" y="184"/>
                        <a:pt x="555" y="184"/>
                        <a:pt x="553" y="182"/>
                      </a:cubicBezTo>
                      <a:cubicBezTo>
                        <a:pt x="551" y="181"/>
                        <a:pt x="549" y="180"/>
                        <a:pt x="543" y="181"/>
                      </a:cubicBezTo>
                      <a:close/>
                      <a:moveTo>
                        <a:pt x="285" y="193"/>
                      </a:moveTo>
                      <a:cubicBezTo>
                        <a:pt x="290" y="192"/>
                        <a:pt x="295" y="190"/>
                        <a:pt x="291" y="190"/>
                      </a:cubicBezTo>
                      <a:cubicBezTo>
                        <a:pt x="287" y="189"/>
                        <a:pt x="281" y="188"/>
                        <a:pt x="277" y="191"/>
                      </a:cubicBezTo>
                      <a:cubicBezTo>
                        <a:pt x="274" y="193"/>
                        <a:pt x="272" y="196"/>
                        <a:pt x="272" y="200"/>
                      </a:cubicBezTo>
                      <a:cubicBezTo>
                        <a:pt x="272" y="204"/>
                        <a:pt x="270" y="209"/>
                        <a:pt x="275" y="209"/>
                      </a:cubicBezTo>
                      <a:cubicBezTo>
                        <a:pt x="279" y="208"/>
                        <a:pt x="283" y="208"/>
                        <a:pt x="282" y="203"/>
                      </a:cubicBezTo>
                      <a:cubicBezTo>
                        <a:pt x="280" y="197"/>
                        <a:pt x="280" y="195"/>
                        <a:pt x="285" y="193"/>
                      </a:cubicBezTo>
                      <a:close/>
                      <a:moveTo>
                        <a:pt x="550" y="212"/>
                      </a:moveTo>
                      <a:cubicBezTo>
                        <a:pt x="555" y="212"/>
                        <a:pt x="554" y="211"/>
                        <a:pt x="562" y="211"/>
                      </a:cubicBezTo>
                      <a:cubicBezTo>
                        <a:pt x="570" y="211"/>
                        <a:pt x="576" y="213"/>
                        <a:pt x="577" y="211"/>
                      </a:cubicBezTo>
                      <a:cubicBezTo>
                        <a:pt x="578" y="208"/>
                        <a:pt x="578" y="208"/>
                        <a:pt x="574" y="205"/>
                      </a:cubicBezTo>
                      <a:cubicBezTo>
                        <a:pt x="569" y="202"/>
                        <a:pt x="564" y="200"/>
                        <a:pt x="562" y="197"/>
                      </a:cubicBezTo>
                      <a:cubicBezTo>
                        <a:pt x="559" y="195"/>
                        <a:pt x="561" y="193"/>
                        <a:pt x="557" y="193"/>
                      </a:cubicBezTo>
                      <a:cubicBezTo>
                        <a:pt x="553" y="194"/>
                        <a:pt x="547" y="196"/>
                        <a:pt x="543" y="197"/>
                      </a:cubicBezTo>
                      <a:cubicBezTo>
                        <a:pt x="541" y="199"/>
                        <a:pt x="537" y="199"/>
                        <a:pt x="540" y="204"/>
                      </a:cubicBezTo>
                      <a:cubicBezTo>
                        <a:pt x="543" y="210"/>
                        <a:pt x="544" y="212"/>
                        <a:pt x="550" y="212"/>
                      </a:cubicBezTo>
                      <a:close/>
                      <a:moveTo>
                        <a:pt x="568" y="303"/>
                      </a:moveTo>
                      <a:cubicBezTo>
                        <a:pt x="564" y="305"/>
                        <a:pt x="564" y="311"/>
                        <a:pt x="564" y="315"/>
                      </a:cubicBezTo>
                      <a:cubicBezTo>
                        <a:pt x="564" y="319"/>
                        <a:pt x="563" y="322"/>
                        <a:pt x="564" y="324"/>
                      </a:cubicBezTo>
                      <a:cubicBezTo>
                        <a:pt x="565" y="327"/>
                        <a:pt x="568" y="323"/>
                        <a:pt x="569" y="318"/>
                      </a:cubicBezTo>
                      <a:cubicBezTo>
                        <a:pt x="570" y="314"/>
                        <a:pt x="573" y="314"/>
                        <a:pt x="575" y="311"/>
                      </a:cubicBezTo>
                      <a:cubicBezTo>
                        <a:pt x="578" y="309"/>
                        <a:pt x="576" y="306"/>
                        <a:pt x="575" y="303"/>
                      </a:cubicBezTo>
                      <a:cubicBezTo>
                        <a:pt x="574" y="301"/>
                        <a:pt x="570" y="301"/>
                        <a:pt x="568" y="303"/>
                      </a:cubicBezTo>
                      <a:close/>
                      <a:moveTo>
                        <a:pt x="297" y="212"/>
                      </a:moveTo>
                      <a:cubicBezTo>
                        <a:pt x="300" y="209"/>
                        <a:pt x="299" y="207"/>
                        <a:pt x="300" y="204"/>
                      </a:cubicBezTo>
                      <a:cubicBezTo>
                        <a:pt x="300" y="201"/>
                        <a:pt x="298" y="199"/>
                        <a:pt x="296" y="199"/>
                      </a:cubicBezTo>
                      <a:cubicBezTo>
                        <a:pt x="295" y="202"/>
                        <a:pt x="293" y="201"/>
                        <a:pt x="294" y="205"/>
                      </a:cubicBezTo>
                      <a:cubicBezTo>
                        <a:pt x="295" y="209"/>
                        <a:pt x="295" y="215"/>
                        <a:pt x="297" y="212"/>
                      </a:cubicBezTo>
                      <a:close/>
                      <a:moveTo>
                        <a:pt x="320" y="231"/>
                      </a:moveTo>
                      <a:cubicBezTo>
                        <a:pt x="321" y="227"/>
                        <a:pt x="320" y="225"/>
                        <a:pt x="319" y="224"/>
                      </a:cubicBezTo>
                      <a:cubicBezTo>
                        <a:pt x="317" y="223"/>
                        <a:pt x="314" y="220"/>
                        <a:pt x="311" y="223"/>
                      </a:cubicBezTo>
                      <a:cubicBezTo>
                        <a:pt x="309" y="225"/>
                        <a:pt x="313" y="228"/>
                        <a:pt x="315" y="230"/>
                      </a:cubicBezTo>
                      <a:cubicBezTo>
                        <a:pt x="316" y="232"/>
                        <a:pt x="320" y="234"/>
                        <a:pt x="320" y="231"/>
                      </a:cubicBezTo>
                      <a:close/>
                      <a:moveTo>
                        <a:pt x="202" y="131"/>
                      </a:moveTo>
                      <a:cubicBezTo>
                        <a:pt x="205" y="129"/>
                        <a:pt x="203" y="125"/>
                        <a:pt x="198" y="126"/>
                      </a:cubicBezTo>
                      <a:cubicBezTo>
                        <a:pt x="194" y="130"/>
                        <a:pt x="196" y="133"/>
                        <a:pt x="191" y="134"/>
                      </a:cubicBezTo>
                      <a:cubicBezTo>
                        <a:pt x="186" y="135"/>
                        <a:pt x="183" y="131"/>
                        <a:pt x="181" y="135"/>
                      </a:cubicBezTo>
                      <a:cubicBezTo>
                        <a:pt x="179" y="138"/>
                        <a:pt x="176" y="142"/>
                        <a:pt x="181" y="143"/>
                      </a:cubicBezTo>
                      <a:cubicBezTo>
                        <a:pt x="186" y="144"/>
                        <a:pt x="188" y="142"/>
                        <a:pt x="191" y="140"/>
                      </a:cubicBezTo>
                      <a:cubicBezTo>
                        <a:pt x="193" y="139"/>
                        <a:pt x="197" y="141"/>
                        <a:pt x="199" y="138"/>
                      </a:cubicBezTo>
                      <a:cubicBezTo>
                        <a:pt x="201" y="134"/>
                        <a:pt x="199" y="133"/>
                        <a:pt x="202" y="131"/>
                      </a:cubicBezTo>
                      <a:close/>
                      <a:moveTo>
                        <a:pt x="218" y="118"/>
                      </a:moveTo>
                      <a:cubicBezTo>
                        <a:pt x="215" y="120"/>
                        <a:pt x="215" y="122"/>
                        <a:pt x="219" y="124"/>
                      </a:cubicBezTo>
                      <a:cubicBezTo>
                        <a:pt x="223" y="126"/>
                        <a:pt x="223" y="126"/>
                        <a:pt x="226" y="128"/>
                      </a:cubicBezTo>
                      <a:cubicBezTo>
                        <a:pt x="228" y="129"/>
                        <a:pt x="231" y="126"/>
                        <a:pt x="228" y="124"/>
                      </a:cubicBezTo>
                      <a:cubicBezTo>
                        <a:pt x="226" y="123"/>
                        <a:pt x="222" y="116"/>
                        <a:pt x="218" y="118"/>
                      </a:cubicBezTo>
                      <a:close/>
                      <a:moveTo>
                        <a:pt x="254" y="203"/>
                      </a:moveTo>
                      <a:cubicBezTo>
                        <a:pt x="258" y="204"/>
                        <a:pt x="261" y="206"/>
                        <a:pt x="262" y="201"/>
                      </a:cubicBezTo>
                      <a:cubicBezTo>
                        <a:pt x="263" y="196"/>
                        <a:pt x="261" y="194"/>
                        <a:pt x="264" y="192"/>
                      </a:cubicBezTo>
                      <a:cubicBezTo>
                        <a:pt x="268" y="190"/>
                        <a:pt x="268" y="188"/>
                        <a:pt x="272" y="187"/>
                      </a:cubicBezTo>
                      <a:cubicBezTo>
                        <a:pt x="276" y="186"/>
                        <a:pt x="280" y="188"/>
                        <a:pt x="278" y="184"/>
                      </a:cubicBezTo>
                      <a:cubicBezTo>
                        <a:pt x="275" y="181"/>
                        <a:pt x="265" y="180"/>
                        <a:pt x="260" y="182"/>
                      </a:cubicBezTo>
                      <a:cubicBezTo>
                        <a:pt x="254" y="185"/>
                        <a:pt x="253" y="186"/>
                        <a:pt x="253" y="192"/>
                      </a:cubicBezTo>
                      <a:cubicBezTo>
                        <a:pt x="253" y="198"/>
                        <a:pt x="250" y="202"/>
                        <a:pt x="254" y="203"/>
                      </a:cubicBezTo>
                      <a:close/>
                      <a:moveTo>
                        <a:pt x="268" y="218"/>
                      </a:moveTo>
                      <a:cubicBezTo>
                        <a:pt x="268" y="221"/>
                        <a:pt x="268" y="217"/>
                        <a:pt x="271" y="222"/>
                      </a:cubicBezTo>
                      <a:cubicBezTo>
                        <a:pt x="274" y="227"/>
                        <a:pt x="276" y="229"/>
                        <a:pt x="277" y="225"/>
                      </a:cubicBezTo>
                      <a:cubicBezTo>
                        <a:pt x="277" y="221"/>
                        <a:pt x="276" y="221"/>
                        <a:pt x="274" y="218"/>
                      </a:cubicBezTo>
                      <a:cubicBezTo>
                        <a:pt x="272" y="215"/>
                        <a:pt x="267" y="212"/>
                        <a:pt x="268" y="218"/>
                      </a:cubicBezTo>
                      <a:close/>
                      <a:moveTo>
                        <a:pt x="195" y="423"/>
                      </a:moveTo>
                      <a:cubicBezTo>
                        <a:pt x="193" y="427"/>
                        <a:pt x="191" y="425"/>
                        <a:pt x="191" y="428"/>
                      </a:cubicBezTo>
                      <a:cubicBezTo>
                        <a:pt x="191" y="432"/>
                        <a:pt x="191" y="434"/>
                        <a:pt x="194" y="437"/>
                      </a:cubicBezTo>
                      <a:cubicBezTo>
                        <a:pt x="197" y="441"/>
                        <a:pt x="199" y="444"/>
                        <a:pt x="201" y="441"/>
                      </a:cubicBezTo>
                      <a:cubicBezTo>
                        <a:pt x="202" y="437"/>
                        <a:pt x="199" y="436"/>
                        <a:pt x="200" y="430"/>
                      </a:cubicBezTo>
                      <a:cubicBezTo>
                        <a:pt x="201" y="423"/>
                        <a:pt x="197" y="418"/>
                        <a:pt x="195" y="423"/>
                      </a:cubicBezTo>
                      <a:close/>
                      <a:moveTo>
                        <a:pt x="225" y="441"/>
                      </a:moveTo>
                      <a:cubicBezTo>
                        <a:pt x="229" y="442"/>
                        <a:pt x="231" y="443"/>
                        <a:pt x="234" y="438"/>
                      </a:cubicBezTo>
                      <a:cubicBezTo>
                        <a:pt x="237" y="434"/>
                        <a:pt x="236" y="431"/>
                        <a:pt x="237" y="427"/>
                      </a:cubicBezTo>
                      <a:cubicBezTo>
                        <a:pt x="238" y="423"/>
                        <a:pt x="237" y="424"/>
                        <a:pt x="241" y="419"/>
                      </a:cubicBezTo>
                      <a:cubicBezTo>
                        <a:pt x="246" y="414"/>
                        <a:pt x="249" y="413"/>
                        <a:pt x="248" y="408"/>
                      </a:cubicBezTo>
                      <a:cubicBezTo>
                        <a:pt x="247" y="404"/>
                        <a:pt x="247" y="403"/>
                        <a:pt x="244" y="399"/>
                      </a:cubicBezTo>
                      <a:cubicBezTo>
                        <a:pt x="242" y="394"/>
                        <a:pt x="236" y="396"/>
                        <a:pt x="231" y="399"/>
                      </a:cubicBezTo>
                      <a:cubicBezTo>
                        <a:pt x="225" y="404"/>
                        <a:pt x="223" y="407"/>
                        <a:pt x="224" y="411"/>
                      </a:cubicBezTo>
                      <a:cubicBezTo>
                        <a:pt x="226" y="415"/>
                        <a:pt x="225" y="417"/>
                        <a:pt x="224" y="422"/>
                      </a:cubicBezTo>
                      <a:cubicBezTo>
                        <a:pt x="223" y="426"/>
                        <a:pt x="223" y="428"/>
                        <a:pt x="223" y="433"/>
                      </a:cubicBezTo>
                      <a:cubicBezTo>
                        <a:pt x="223" y="437"/>
                        <a:pt x="221" y="440"/>
                        <a:pt x="225" y="441"/>
                      </a:cubicBezTo>
                      <a:close/>
                      <a:moveTo>
                        <a:pt x="271" y="405"/>
                      </a:moveTo>
                      <a:cubicBezTo>
                        <a:pt x="275" y="408"/>
                        <a:pt x="278" y="410"/>
                        <a:pt x="278" y="406"/>
                      </a:cubicBezTo>
                      <a:cubicBezTo>
                        <a:pt x="278" y="402"/>
                        <a:pt x="273" y="397"/>
                        <a:pt x="273" y="393"/>
                      </a:cubicBezTo>
                      <a:cubicBezTo>
                        <a:pt x="272" y="389"/>
                        <a:pt x="269" y="385"/>
                        <a:pt x="266" y="385"/>
                      </a:cubicBezTo>
                      <a:cubicBezTo>
                        <a:pt x="260" y="388"/>
                        <a:pt x="260" y="389"/>
                        <a:pt x="259" y="394"/>
                      </a:cubicBezTo>
                      <a:cubicBezTo>
                        <a:pt x="259" y="399"/>
                        <a:pt x="259" y="401"/>
                        <a:pt x="259" y="404"/>
                      </a:cubicBezTo>
                      <a:cubicBezTo>
                        <a:pt x="259" y="407"/>
                        <a:pt x="257" y="407"/>
                        <a:pt x="255" y="412"/>
                      </a:cubicBezTo>
                      <a:cubicBezTo>
                        <a:pt x="254" y="417"/>
                        <a:pt x="253" y="419"/>
                        <a:pt x="254" y="423"/>
                      </a:cubicBezTo>
                      <a:cubicBezTo>
                        <a:pt x="255" y="427"/>
                        <a:pt x="254" y="431"/>
                        <a:pt x="252" y="433"/>
                      </a:cubicBezTo>
                      <a:cubicBezTo>
                        <a:pt x="249" y="435"/>
                        <a:pt x="246" y="437"/>
                        <a:pt x="245" y="440"/>
                      </a:cubicBezTo>
                      <a:cubicBezTo>
                        <a:pt x="245" y="444"/>
                        <a:pt x="244" y="444"/>
                        <a:pt x="247" y="448"/>
                      </a:cubicBezTo>
                      <a:cubicBezTo>
                        <a:pt x="249" y="451"/>
                        <a:pt x="251" y="455"/>
                        <a:pt x="255" y="453"/>
                      </a:cubicBezTo>
                      <a:cubicBezTo>
                        <a:pt x="259" y="452"/>
                        <a:pt x="257" y="452"/>
                        <a:pt x="263" y="447"/>
                      </a:cubicBezTo>
                      <a:cubicBezTo>
                        <a:pt x="268" y="441"/>
                        <a:pt x="273" y="438"/>
                        <a:pt x="274" y="436"/>
                      </a:cubicBezTo>
                      <a:cubicBezTo>
                        <a:pt x="276" y="434"/>
                        <a:pt x="276" y="430"/>
                        <a:pt x="272" y="428"/>
                      </a:cubicBezTo>
                      <a:cubicBezTo>
                        <a:pt x="269" y="426"/>
                        <a:pt x="265" y="425"/>
                        <a:pt x="265" y="419"/>
                      </a:cubicBezTo>
                      <a:cubicBezTo>
                        <a:pt x="265" y="412"/>
                        <a:pt x="266" y="410"/>
                        <a:pt x="267" y="407"/>
                      </a:cubicBezTo>
                      <a:cubicBezTo>
                        <a:pt x="267" y="405"/>
                        <a:pt x="267" y="403"/>
                        <a:pt x="271" y="405"/>
                      </a:cubicBezTo>
                      <a:close/>
                      <a:moveTo>
                        <a:pt x="280" y="363"/>
                      </a:moveTo>
                      <a:cubicBezTo>
                        <a:pt x="280" y="359"/>
                        <a:pt x="273" y="354"/>
                        <a:pt x="269" y="355"/>
                      </a:cubicBezTo>
                      <a:cubicBezTo>
                        <a:pt x="266" y="358"/>
                        <a:pt x="262" y="358"/>
                        <a:pt x="266" y="362"/>
                      </a:cubicBezTo>
                      <a:cubicBezTo>
                        <a:pt x="270" y="366"/>
                        <a:pt x="271" y="371"/>
                        <a:pt x="274" y="369"/>
                      </a:cubicBezTo>
                      <a:cubicBezTo>
                        <a:pt x="278" y="368"/>
                        <a:pt x="281" y="366"/>
                        <a:pt x="280" y="363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17" name="Freeform 43"/>
                <p:cNvSpPr>
                  <a:spLocks noEditPoints="1"/>
                </p:cNvSpPr>
                <p:nvPr>
                  <p:custDataLst>
                    <p:tags r:id="rId115"/>
                  </p:custDataLst>
                </p:nvPr>
              </p:nvSpPr>
              <p:spPr bwMode="auto">
                <a:xfrm>
                  <a:off x="3464" y="2523"/>
                  <a:ext cx="335" cy="141"/>
                </a:xfrm>
                <a:custGeom>
                  <a:avLst/>
                  <a:gdLst>
                    <a:gd name="T0" fmla="*/ 754 w 784"/>
                    <a:gd name="T1" fmla="*/ 266 h 329"/>
                    <a:gd name="T2" fmla="*/ 767 w 784"/>
                    <a:gd name="T3" fmla="*/ 204 h 329"/>
                    <a:gd name="T4" fmla="*/ 699 w 784"/>
                    <a:gd name="T5" fmla="*/ 240 h 329"/>
                    <a:gd name="T6" fmla="*/ 217 w 784"/>
                    <a:gd name="T7" fmla="*/ 188 h 329"/>
                    <a:gd name="T8" fmla="*/ 250 w 784"/>
                    <a:gd name="T9" fmla="*/ 197 h 329"/>
                    <a:gd name="T10" fmla="*/ 256 w 784"/>
                    <a:gd name="T11" fmla="*/ 162 h 329"/>
                    <a:gd name="T12" fmla="*/ 196 w 784"/>
                    <a:gd name="T13" fmla="*/ 163 h 329"/>
                    <a:gd name="T14" fmla="*/ 132 w 784"/>
                    <a:gd name="T15" fmla="*/ 155 h 329"/>
                    <a:gd name="T16" fmla="*/ 161 w 784"/>
                    <a:gd name="T17" fmla="*/ 183 h 329"/>
                    <a:gd name="T18" fmla="*/ 193 w 784"/>
                    <a:gd name="T19" fmla="*/ 172 h 329"/>
                    <a:gd name="T20" fmla="*/ 194 w 784"/>
                    <a:gd name="T21" fmla="*/ 195 h 329"/>
                    <a:gd name="T22" fmla="*/ 405 w 784"/>
                    <a:gd name="T23" fmla="*/ 191 h 329"/>
                    <a:gd name="T24" fmla="*/ 399 w 784"/>
                    <a:gd name="T25" fmla="*/ 166 h 329"/>
                    <a:gd name="T26" fmla="*/ 381 w 784"/>
                    <a:gd name="T27" fmla="*/ 166 h 329"/>
                    <a:gd name="T28" fmla="*/ 353 w 784"/>
                    <a:gd name="T29" fmla="*/ 159 h 329"/>
                    <a:gd name="T30" fmla="*/ 335 w 784"/>
                    <a:gd name="T31" fmla="*/ 170 h 329"/>
                    <a:gd name="T32" fmla="*/ 366 w 784"/>
                    <a:gd name="T33" fmla="*/ 195 h 329"/>
                    <a:gd name="T34" fmla="*/ 581 w 784"/>
                    <a:gd name="T35" fmla="*/ 309 h 329"/>
                    <a:gd name="T36" fmla="*/ 604 w 784"/>
                    <a:gd name="T37" fmla="*/ 190 h 329"/>
                    <a:gd name="T38" fmla="*/ 566 w 784"/>
                    <a:gd name="T39" fmla="*/ 176 h 329"/>
                    <a:gd name="T40" fmla="*/ 521 w 784"/>
                    <a:gd name="T41" fmla="*/ 169 h 329"/>
                    <a:gd name="T42" fmla="*/ 466 w 784"/>
                    <a:gd name="T43" fmla="*/ 170 h 329"/>
                    <a:gd name="T44" fmla="*/ 481 w 784"/>
                    <a:gd name="T45" fmla="*/ 194 h 329"/>
                    <a:gd name="T46" fmla="*/ 535 w 784"/>
                    <a:gd name="T47" fmla="*/ 201 h 329"/>
                    <a:gd name="T48" fmla="*/ 582 w 784"/>
                    <a:gd name="T49" fmla="*/ 196 h 329"/>
                    <a:gd name="T50" fmla="*/ 172 w 784"/>
                    <a:gd name="T51" fmla="*/ 81 h 329"/>
                    <a:gd name="T52" fmla="*/ 408 w 784"/>
                    <a:gd name="T53" fmla="*/ 159 h 329"/>
                    <a:gd name="T54" fmla="*/ 329 w 784"/>
                    <a:gd name="T55" fmla="*/ 200 h 329"/>
                    <a:gd name="T56" fmla="*/ 331 w 784"/>
                    <a:gd name="T57" fmla="*/ 192 h 329"/>
                    <a:gd name="T58" fmla="*/ 279 w 784"/>
                    <a:gd name="T59" fmla="*/ 174 h 329"/>
                    <a:gd name="T60" fmla="*/ 294 w 784"/>
                    <a:gd name="T61" fmla="*/ 210 h 329"/>
                    <a:gd name="T62" fmla="*/ 430 w 784"/>
                    <a:gd name="T63" fmla="*/ 182 h 329"/>
                    <a:gd name="T64" fmla="*/ 11 w 784"/>
                    <a:gd name="T65" fmla="*/ 10 h 329"/>
                    <a:gd name="T66" fmla="*/ 497 w 784"/>
                    <a:gd name="T67" fmla="*/ 35 h 329"/>
                    <a:gd name="T68" fmla="*/ 54 w 784"/>
                    <a:gd name="T69" fmla="*/ 75 h 329"/>
                    <a:gd name="T70" fmla="*/ 47 w 784"/>
                    <a:gd name="T71" fmla="*/ 98 h 329"/>
                    <a:gd name="T72" fmla="*/ 54 w 784"/>
                    <a:gd name="T73" fmla="*/ 75 h 329"/>
                    <a:gd name="T74" fmla="*/ 462 w 784"/>
                    <a:gd name="T75" fmla="*/ 269 h 329"/>
                    <a:gd name="T76" fmla="*/ 502 w 784"/>
                    <a:gd name="T77" fmla="*/ 281 h 329"/>
                    <a:gd name="T78" fmla="*/ 502 w 784"/>
                    <a:gd name="T79" fmla="*/ 253 h 329"/>
                    <a:gd name="T80" fmla="*/ 468 w 784"/>
                    <a:gd name="T81" fmla="*/ 232 h 329"/>
                    <a:gd name="T82" fmla="*/ 408 w 784"/>
                    <a:gd name="T83" fmla="*/ 239 h 329"/>
                    <a:gd name="T84" fmla="*/ 501 w 784"/>
                    <a:gd name="T85" fmla="*/ 18 h 329"/>
                    <a:gd name="T86" fmla="*/ 744 w 784"/>
                    <a:gd name="T87" fmla="*/ 175 h 329"/>
                    <a:gd name="T88" fmla="*/ 737 w 784"/>
                    <a:gd name="T89" fmla="*/ 162 h 329"/>
                    <a:gd name="T90" fmla="*/ 673 w 784"/>
                    <a:gd name="T91" fmla="*/ 173 h 329"/>
                    <a:gd name="T92" fmla="*/ 709 w 784"/>
                    <a:gd name="T93" fmla="*/ 169 h 329"/>
                    <a:gd name="T94" fmla="*/ 672 w 784"/>
                    <a:gd name="T95" fmla="*/ 279 h 329"/>
                    <a:gd name="T96" fmla="*/ 616 w 784"/>
                    <a:gd name="T97" fmla="*/ 187 h 329"/>
                    <a:gd name="T98" fmla="*/ 635 w 784"/>
                    <a:gd name="T99" fmla="*/ 165 h 329"/>
                    <a:gd name="T100" fmla="*/ 692 w 784"/>
                    <a:gd name="T101" fmla="*/ 167 h 329"/>
                    <a:gd name="T102" fmla="*/ 649 w 784"/>
                    <a:gd name="T103" fmla="*/ 323 h 329"/>
                    <a:gd name="T104" fmla="*/ 665 w 784"/>
                    <a:gd name="T105" fmla="*/ 303 h 3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784" h="329">
                      <a:moveTo>
                        <a:pt x="686" y="289"/>
                      </a:moveTo>
                      <a:cubicBezTo>
                        <a:pt x="692" y="293"/>
                        <a:pt x="689" y="293"/>
                        <a:pt x="703" y="287"/>
                      </a:cubicBezTo>
                      <a:cubicBezTo>
                        <a:pt x="718" y="281"/>
                        <a:pt x="721" y="285"/>
                        <a:pt x="732" y="281"/>
                      </a:cubicBezTo>
                      <a:cubicBezTo>
                        <a:pt x="742" y="278"/>
                        <a:pt x="744" y="275"/>
                        <a:pt x="754" y="266"/>
                      </a:cubicBezTo>
                      <a:cubicBezTo>
                        <a:pt x="764" y="256"/>
                        <a:pt x="765" y="255"/>
                        <a:pt x="776" y="245"/>
                      </a:cubicBezTo>
                      <a:cubicBezTo>
                        <a:pt x="779" y="243"/>
                        <a:pt x="782" y="241"/>
                        <a:pt x="784" y="239"/>
                      </a:cubicBezTo>
                      <a:cubicBezTo>
                        <a:pt x="784" y="227"/>
                        <a:pt x="782" y="213"/>
                        <a:pt x="777" y="210"/>
                      </a:cubicBezTo>
                      <a:cubicBezTo>
                        <a:pt x="772" y="208"/>
                        <a:pt x="769" y="206"/>
                        <a:pt x="767" y="204"/>
                      </a:cubicBezTo>
                      <a:cubicBezTo>
                        <a:pt x="761" y="207"/>
                        <a:pt x="762" y="203"/>
                        <a:pt x="755" y="211"/>
                      </a:cubicBezTo>
                      <a:cubicBezTo>
                        <a:pt x="747" y="220"/>
                        <a:pt x="746" y="221"/>
                        <a:pt x="740" y="227"/>
                      </a:cubicBezTo>
                      <a:cubicBezTo>
                        <a:pt x="734" y="232"/>
                        <a:pt x="730" y="229"/>
                        <a:pt x="719" y="233"/>
                      </a:cubicBezTo>
                      <a:cubicBezTo>
                        <a:pt x="708" y="236"/>
                        <a:pt x="704" y="231"/>
                        <a:pt x="699" y="240"/>
                      </a:cubicBezTo>
                      <a:cubicBezTo>
                        <a:pt x="694" y="250"/>
                        <a:pt x="691" y="250"/>
                        <a:pt x="692" y="260"/>
                      </a:cubicBezTo>
                      <a:cubicBezTo>
                        <a:pt x="692" y="270"/>
                        <a:pt x="697" y="269"/>
                        <a:pt x="693" y="277"/>
                      </a:cubicBezTo>
                      <a:cubicBezTo>
                        <a:pt x="688" y="284"/>
                        <a:pt x="680" y="284"/>
                        <a:pt x="686" y="289"/>
                      </a:cubicBezTo>
                      <a:close/>
                      <a:moveTo>
                        <a:pt x="217" y="188"/>
                      </a:moveTo>
                      <a:cubicBezTo>
                        <a:pt x="211" y="190"/>
                        <a:pt x="206" y="192"/>
                        <a:pt x="210" y="195"/>
                      </a:cubicBezTo>
                      <a:cubicBezTo>
                        <a:pt x="214" y="197"/>
                        <a:pt x="216" y="196"/>
                        <a:pt x="222" y="197"/>
                      </a:cubicBezTo>
                      <a:cubicBezTo>
                        <a:pt x="228" y="198"/>
                        <a:pt x="230" y="198"/>
                        <a:pt x="235" y="201"/>
                      </a:cubicBezTo>
                      <a:cubicBezTo>
                        <a:pt x="239" y="205"/>
                        <a:pt x="247" y="201"/>
                        <a:pt x="250" y="197"/>
                      </a:cubicBezTo>
                      <a:cubicBezTo>
                        <a:pt x="253" y="193"/>
                        <a:pt x="253" y="196"/>
                        <a:pt x="255" y="191"/>
                      </a:cubicBezTo>
                      <a:cubicBezTo>
                        <a:pt x="258" y="187"/>
                        <a:pt x="257" y="182"/>
                        <a:pt x="259" y="179"/>
                      </a:cubicBezTo>
                      <a:cubicBezTo>
                        <a:pt x="261" y="176"/>
                        <a:pt x="264" y="174"/>
                        <a:pt x="264" y="171"/>
                      </a:cubicBezTo>
                      <a:cubicBezTo>
                        <a:pt x="263" y="168"/>
                        <a:pt x="260" y="163"/>
                        <a:pt x="256" y="162"/>
                      </a:cubicBezTo>
                      <a:cubicBezTo>
                        <a:pt x="252" y="161"/>
                        <a:pt x="241" y="156"/>
                        <a:pt x="228" y="165"/>
                      </a:cubicBezTo>
                      <a:cubicBezTo>
                        <a:pt x="222" y="170"/>
                        <a:pt x="227" y="177"/>
                        <a:pt x="224" y="181"/>
                      </a:cubicBezTo>
                      <a:cubicBezTo>
                        <a:pt x="222" y="186"/>
                        <a:pt x="222" y="185"/>
                        <a:pt x="217" y="188"/>
                      </a:cubicBezTo>
                      <a:close/>
                      <a:moveTo>
                        <a:pt x="196" y="163"/>
                      </a:moveTo>
                      <a:cubicBezTo>
                        <a:pt x="194" y="159"/>
                        <a:pt x="189" y="159"/>
                        <a:pt x="183" y="154"/>
                      </a:cubicBezTo>
                      <a:cubicBezTo>
                        <a:pt x="177" y="149"/>
                        <a:pt x="174" y="150"/>
                        <a:pt x="163" y="149"/>
                      </a:cubicBezTo>
                      <a:cubicBezTo>
                        <a:pt x="158" y="149"/>
                        <a:pt x="154" y="151"/>
                        <a:pt x="149" y="153"/>
                      </a:cubicBezTo>
                      <a:cubicBezTo>
                        <a:pt x="143" y="155"/>
                        <a:pt x="142" y="153"/>
                        <a:pt x="132" y="155"/>
                      </a:cubicBezTo>
                      <a:cubicBezTo>
                        <a:pt x="123" y="156"/>
                        <a:pt x="126" y="158"/>
                        <a:pt x="128" y="161"/>
                      </a:cubicBezTo>
                      <a:cubicBezTo>
                        <a:pt x="129" y="164"/>
                        <a:pt x="133" y="166"/>
                        <a:pt x="138" y="169"/>
                      </a:cubicBezTo>
                      <a:cubicBezTo>
                        <a:pt x="143" y="172"/>
                        <a:pt x="146" y="171"/>
                        <a:pt x="153" y="172"/>
                      </a:cubicBezTo>
                      <a:cubicBezTo>
                        <a:pt x="161" y="174"/>
                        <a:pt x="160" y="178"/>
                        <a:pt x="161" y="183"/>
                      </a:cubicBezTo>
                      <a:cubicBezTo>
                        <a:pt x="162" y="187"/>
                        <a:pt x="161" y="189"/>
                        <a:pt x="161" y="194"/>
                      </a:cubicBezTo>
                      <a:cubicBezTo>
                        <a:pt x="162" y="199"/>
                        <a:pt x="168" y="194"/>
                        <a:pt x="170" y="189"/>
                      </a:cubicBezTo>
                      <a:cubicBezTo>
                        <a:pt x="173" y="183"/>
                        <a:pt x="177" y="182"/>
                        <a:pt x="181" y="179"/>
                      </a:cubicBezTo>
                      <a:cubicBezTo>
                        <a:pt x="185" y="176"/>
                        <a:pt x="189" y="176"/>
                        <a:pt x="193" y="172"/>
                      </a:cubicBezTo>
                      <a:cubicBezTo>
                        <a:pt x="197" y="169"/>
                        <a:pt x="198" y="167"/>
                        <a:pt x="196" y="163"/>
                      </a:cubicBezTo>
                      <a:close/>
                      <a:moveTo>
                        <a:pt x="186" y="189"/>
                      </a:moveTo>
                      <a:cubicBezTo>
                        <a:pt x="185" y="192"/>
                        <a:pt x="185" y="193"/>
                        <a:pt x="187" y="196"/>
                      </a:cubicBezTo>
                      <a:cubicBezTo>
                        <a:pt x="189" y="199"/>
                        <a:pt x="193" y="199"/>
                        <a:pt x="194" y="195"/>
                      </a:cubicBezTo>
                      <a:cubicBezTo>
                        <a:pt x="194" y="190"/>
                        <a:pt x="189" y="184"/>
                        <a:pt x="186" y="189"/>
                      </a:cubicBezTo>
                      <a:close/>
                      <a:moveTo>
                        <a:pt x="380" y="196"/>
                      </a:moveTo>
                      <a:cubicBezTo>
                        <a:pt x="385" y="193"/>
                        <a:pt x="387" y="195"/>
                        <a:pt x="391" y="191"/>
                      </a:cubicBezTo>
                      <a:cubicBezTo>
                        <a:pt x="394" y="188"/>
                        <a:pt x="400" y="191"/>
                        <a:pt x="405" y="191"/>
                      </a:cubicBezTo>
                      <a:cubicBezTo>
                        <a:pt x="411" y="190"/>
                        <a:pt x="410" y="190"/>
                        <a:pt x="411" y="188"/>
                      </a:cubicBezTo>
                      <a:cubicBezTo>
                        <a:pt x="412" y="185"/>
                        <a:pt x="410" y="185"/>
                        <a:pt x="406" y="183"/>
                      </a:cubicBezTo>
                      <a:cubicBezTo>
                        <a:pt x="402" y="180"/>
                        <a:pt x="404" y="179"/>
                        <a:pt x="405" y="174"/>
                      </a:cubicBezTo>
                      <a:cubicBezTo>
                        <a:pt x="405" y="169"/>
                        <a:pt x="403" y="169"/>
                        <a:pt x="399" y="166"/>
                      </a:cubicBezTo>
                      <a:cubicBezTo>
                        <a:pt x="397" y="163"/>
                        <a:pt x="392" y="166"/>
                        <a:pt x="389" y="168"/>
                      </a:cubicBezTo>
                      <a:cubicBezTo>
                        <a:pt x="386" y="171"/>
                        <a:pt x="388" y="172"/>
                        <a:pt x="386" y="175"/>
                      </a:cubicBezTo>
                      <a:cubicBezTo>
                        <a:pt x="384" y="178"/>
                        <a:pt x="382" y="175"/>
                        <a:pt x="379" y="173"/>
                      </a:cubicBezTo>
                      <a:cubicBezTo>
                        <a:pt x="377" y="172"/>
                        <a:pt x="381" y="169"/>
                        <a:pt x="381" y="166"/>
                      </a:cubicBezTo>
                      <a:cubicBezTo>
                        <a:pt x="382" y="162"/>
                        <a:pt x="380" y="163"/>
                        <a:pt x="376" y="162"/>
                      </a:cubicBezTo>
                      <a:cubicBezTo>
                        <a:pt x="372" y="162"/>
                        <a:pt x="370" y="163"/>
                        <a:pt x="367" y="167"/>
                      </a:cubicBezTo>
                      <a:cubicBezTo>
                        <a:pt x="365" y="170"/>
                        <a:pt x="364" y="170"/>
                        <a:pt x="360" y="168"/>
                      </a:cubicBezTo>
                      <a:cubicBezTo>
                        <a:pt x="355" y="166"/>
                        <a:pt x="355" y="163"/>
                        <a:pt x="353" y="159"/>
                      </a:cubicBezTo>
                      <a:cubicBezTo>
                        <a:pt x="351" y="155"/>
                        <a:pt x="349" y="157"/>
                        <a:pt x="342" y="157"/>
                      </a:cubicBezTo>
                      <a:cubicBezTo>
                        <a:pt x="336" y="156"/>
                        <a:pt x="336" y="154"/>
                        <a:pt x="331" y="153"/>
                      </a:cubicBezTo>
                      <a:cubicBezTo>
                        <a:pt x="325" y="152"/>
                        <a:pt x="328" y="156"/>
                        <a:pt x="328" y="161"/>
                      </a:cubicBezTo>
                      <a:cubicBezTo>
                        <a:pt x="328" y="165"/>
                        <a:pt x="331" y="167"/>
                        <a:pt x="335" y="170"/>
                      </a:cubicBezTo>
                      <a:cubicBezTo>
                        <a:pt x="339" y="172"/>
                        <a:pt x="345" y="173"/>
                        <a:pt x="353" y="177"/>
                      </a:cubicBezTo>
                      <a:cubicBezTo>
                        <a:pt x="360" y="181"/>
                        <a:pt x="357" y="181"/>
                        <a:pt x="360" y="180"/>
                      </a:cubicBezTo>
                      <a:cubicBezTo>
                        <a:pt x="362" y="180"/>
                        <a:pt x="367" y="182"/>
                        <a:pt x="370" y="184"/>
                      </a:cubicBezTo>
                      <a:cubicBezTo>
                        <a:pt x="372" y="186"/>
                        <a:pt x="368" y="189"/>
                        <a:pt x="366" y="195"/>
                      </a:cubicBezTo>
                      <a:cubicBezTo>
                        <a:pt x="364" y="201"/>
                        <a:pt x="375" y="198"/>
                        <a:pt x="380" y="196"/>
                      </a:cubicBezTo>
                      <a:close/>
                      <a:moveTo>
                        <a:pt x="579" y="301"/>
                      </a:moveTo>
                      <a:cubicBezTo>
                        <a:pt x="575" y="302"/>
                        <a:pt x="571" y="303"/>
                        <a:pt x="574" y="306"/>
                      </a:cubicBezTo>
                      <a:cubicBezTo>
                        <a:pt x="577" y="309"/>
                        <a:pt x="579" y="310"/>
                        <a:pt x="581" y="309"/>
                      </a:cubicBezTo>
                      <a:cubicBezTo>
                        <a:pt x="583" y="307"/>
                        <a:pt x="587" y="305"/>
                        <a:pt x="587" y="302"/>
                      </a:cubicBezTo>
                      <a:cubicBezTo>
                        <a:pt x="587" y="299"/>
                        <a:pt x="583" y="300"/>
                        <a:pt x="579" y="301"/>
                      </a:cubicBezTo>
                      <a:close/>
                      <a:moveTo>
                        <a:pt x="597" y="194"/>
                      </a:moveTo>
                      <a:cubicBezTo>
                        <a:pt x="604" y="194"/>
                        <a:pt x="604" y="193"/>
                        <a:pt x="604" y="190"/>
                      </a:cubicBezTo>
                      <a:cubicBezTo>
                        <a:pt x="604" y="186"/>
                        <a:pt x="603" y="189"/>
                        <a:pt x="599" y="186"/>
                      </a:cubicBezTo>
                      <a:cubicBezTo>
                        <a:pt x="596" y="184"/>
                        <a:pt x="598" y="184"/>
                        <a:pt x="595" y="181"/>
                      </a:cubicBezTo>
                      <a:cubicBezTo>
                        <a:pt x="593" y="178"/>
                        <a:pt x="589" y="179"/>
                        <a:pt x="582" y="177"/>
                      </a:cubicBezTo>
                      <a:cubicBezTo>
                        <a:pt x="576" y="175"/>
                        <a:pt x="573" y="176"/>
                        <a:pt x="566" y="176"/>
                      </a:cubicBezTo>
                      <a:cubicBezTo>
                        <a:pt x="560" y="176"/>
                        <a:pt x="564" y="179"/>
                        <a:pt x="560" y="182"/>
                      </a:cubicBezTo>
                      <a:cubicBezTo>
                        <a:pt x="556" y="186"/>
                        <a:pt x="554" y="183"/>
                        <a:pt x="549" y="179"/>
                      </a:cubicBezTo>
                      <a:cubicBezTo>
                        <a:pt x="544" y="176"/>
                        <a:pt x="544" y="176"/>
                        <a:pt x="538" y="172"/>
                      </a:cubicBezTo>
                      <a:cubicBezTo>
                        <a:pt x="532" y="167"/>
                        <a:pt x="532" y="169"/>
                        <a:pt x="521" y="169"/>
                      </a:cubicBezTo>
                      <a:cubicBezTo>
                        <a:pt x="510" y="169"/>
                        <a:pt x="515" y="169"/>
                        <a:pt x="510" y="167"/>
                      </a:cubicBezTo>
                      <a:cubicBezTo>
                        <a:pt x="504" y="165"/>
                        <a:pt x="503" y="166"/>
                        <a:pt x="496" y="166"/>
                      </a:cubicBezTo>
                      <a:cubicBezTo>
                        <a:pt x="490" y="166"/>
                        <a:pt x="481" y="166"/>
                        <a:pt x="477" y="167"/>
                      </a:cubicBezTo>
                      <a:cubicBezTo>
                        <a:pt x="473" y="167"/>
                        <a:pt x="474" y="169"/>
                        <a:pt x="466" y="170"/>
                      </a:cubicBezTo>
                      <a:cubicBezTo>
                        <a:pt x="459" y="170"/>
                        <a:pt x="462" y="173"/>
                        <a:pt x="459" y="176"/>
                      </a:cubicBezTo>
                      <a:cubicBezTo>
                        <a:pt x="456" y="180"/>
                        <a:pt x="454" y="182"/>
                        <a:pt x="455" y="189"/>
                      </a:cubicBezTo>
                      <a:cubicBezTo>
                        <a:pt x="455" y="196"/>
                        <a:pt x="459" y="191"/>
                        <a:pt x="468" y="190"/>
                      </a:cubicBezTo>
                      <a:cubicBezTo>
                        <a:pt x="476" y="190"/>
                        <a:pt x="476" y="191"/>
                        <a:pt x="481" y="194"/>
                      </a:cubicBezTo>
                      <a:cubicBezTo>
                        <a:pt x="486" y="196"/>
                        <a:pt x="492" y="196"/>
                        <a:pt x="500" y="193"/>
                      </a:cubicBezTo>
                      <a:cubicBezTo>
                        <a:pt x="508" y="191"/>
                        <a:pt x="509" y="193"/>
                        <a:pt x="516" y="193"/>
                      </a:cubicBezTo>
                      <a:cubicBezTo>
                        <a:pt x="522" y="193"/>
                        <a:pt x="520" y="197"/>
                        <a:pt x="524" y="200"/>
                      </a:cubicBezTo>
                      <a:cubicBezTo>
                        <a:pt x="527" y="204"/>
                        <a:pt x="529" y="203"/>
                        <a:pt x="535" y="201"/>
                      </a:cubicBezTo>
                      <a:cubicBezTo>
                        <a:pt x="540" y="199"/>
                        <a:pt x="541" y="197"/>
                        <a:pt x="550" y="194"/>
                      </a:cubicBezTo>
                      <a:cubicBezTo>
                        <a:pt x="559" y="191"/>
                        <a:pt x="557" y="195"/>
                        <a:pt x="559" y="197"/>
                      </a:cubicBezTo>
                      <a:cubicBezTo>
                        <a:pt x="561" y="199"/>
                        <a:pt x="567" y="202"/>
                        <a:pt x="572" y="202"/>
                      </a:cubicBezTo>
                      <a:cubicBezTo>
                        <a:pt x="577" y="202"/>
                        <a:pt x="577" y="200"/>
                        <a:pt x="582" y="196"/>
                      </a:cubicBezTo>
                      <a:cubicBezTo>
                        <a:pt x="586" y="193"/>
                        <a:pt x="591" y="194"/>
                        <a:pt x="597" y="194"/>
                      </a:cubicBezTo>
                      <a:close/>
                      <a:moveTo>
                        <a:pt x="184" y="82"/>
                      </a:moveTo>
                      <a:cubicBezTo>
                        <a:pt x="189" y="81"/>
                        <a:pt x="179" y="68"/>
                        <a:pt x="172" y="74"/>
                      </a:cubicBezTo>
                      <a:cubicBezTo>
                        <a:pt x="170" y="76"/>
                        <a:pt x="166" y="80"/>
                        <a:pt x="172" y="81"/>
                      </a:cubicBezTo>
                      <a:cubicBezTo>
                        <a:pt x="178" y="83"/>
                        <a:pt x="180" y="83"/>
                        <a:pt x="184" y="82"/>
                      </a:cubicBezTo>
                      <a:close/>
                      <a:moveTo>
                        <a:pt x="413" y="157"/>
                      </a:moveTo>
                      <a:cubicBezTo>
                        <a:pt x="414" y="154"/>
                        <a:pt x="410" y="147"/>
                        <a:pt x="407" y="152"/>
                      </a:cubicBezTo>
                      <a:cubicBezTo>
                        <a:pt x="407" y="155"/>
                        <a:pt x="405" y="158"/>
                        <a:pt x="408" y="159"/>
                      </a:cubicBezTo>
                      <a:cubicBezTo>
                        <a:pt x="411" y="159"/>
                        <a:pt x="412" y="161"/>
                        <a:pt x="413" y="157"/>
                      </a:cubicBezTo>
                      <a:close/>
                      <a:moveTo>
                        <a:pt x="294" y="210"/>
                      </a:moveTo>
                      <a:cubicBezTo>
                        <a:pt x="303" y="208"/>
                        <a:pt x="309" y="207"/>
                        <a:pt x="313" y="205"/>
                      </a:cubicBezTo>
                      <a:cubicBezTo>
                        <a:pt x="317" y="203"/>
                        <a:pt x="326" y="204"/>
                        <a:pt x="329" y="200"/>
                      </a:cubicBezTo>
                      <a:cubicBezTo>
                        <a:pt x="332" y="196"/>
                        <a:pt x="342" y="197"/>
                        <a:pt x="348" y="194"/>
                      </a:cubicBezTo>
                      <a:cubicBezTo>
                        <a:pt x="354" y="192"/>
                        <a:pt x="355" y="192"/>
                        <a:pt x="355" y="189"/>
                      </a:cubicBezTo>
                      <a:cubicBezTo>
                        <a:pt x="355" y="185"/>
                        <a:pt x="351" y="188"/>
                        <a:pt x="346" y="189"/>
                      </a:cubicBezTo>
                      <a:cubicBezTo>
                        <a:pt x="341" y="189"/>
                        <a:pt x="338" y="192"/>
                        <a:pt x="331" y="192"/>
                      </a:cubicBezTo>
                      <a:cubicBezTo>
                        <a:pt x="325" y="193"/>
                        <a:pt x="325" y="192"/>
                        <a:pt x="319" y="188"/>
                      </a:cubicBezTo>
                      <a:cubicBezTo>
                        <a:pt x="313" y="184"/>
                        <a:pt x="313" y="184"/>
                        <a:pt x="309" y="180"/>
                      </a:cubicBezTo>
                      <a:cubicBezTo>
                        <a:pt x="305" y="175"/>
                        <a:pt x="304" y="176"/>
                        <a:pt x="295" y="173"/>
                      </a:cubicBezTo>
                      <a:cubicBezTo>
                        <a:pt x="290" y="172"/>
                        <a:pt x="282" y="173"/>
                        <a:pt x="279" y="174"/>
                      </a:cubicBezTo>
                      <a:cubicBezTo>
                        <a:pt x="276" y="175"/>
                        <a:pt x="275" y="179"/>
                        <a:pt x="273" y="185"/>
                      </a:cubicBezTo>
                      <a:cubicBezTo>
                        <a:pt x="270" y="191"/>
                        <a:pt x="270" y="194"/>
                        <a:pt x="270" y="199"/>
                      </a:cubicBezTo>
                      <a:cubicBezTo>
                        <a:pt x="269" y="204"/>
                        <a:pt x="271" y="207"/>
                        <a:pt x="274" y="210"/>
                      </a:cubicBezTo>
                      <a:cubicBezTo>
                        <a:pt x="276" y="213"/>
                        <a:pt x="284" y="212"/>
                        <a:pt x="294" y="210"/>
                      </a:cubicBezTo>
                      <a:close/>
                      <a:moveTo>
                        <a:pt x="429" y="189"/>
                      </a:moveTo>
                      <a:cubicBezTo>
                        <a:pt x="434" y="189"/>
                        <a:pt x="439" y="187"/>
                        <a:pt x="439" y="184"/>
                      </a:cubicBezTo>
                      <a:cubicBezTo>
                        <a:pt x="439" y="181"/>
                        <a:pt x="438" y="167"/>
                        <a:pt x="430" y="174"/>
                      </a:cubicBezTo>
                      <a:cubicBezTo>
                        <a:pt x="429" y="177"/>
                        <a:pt x="430" y="179"/>
                        <a:pt x="430" y="182"/>
                      </a:cubicBezTo>
                      <a:cubicBezTo>
                        <a:pt x="429" y="186"/>
                        <a:pt x="423" y="189"/>
                        <a:pt x="429" y="189"/>
                      </a:cubicBezTo>
                      <a:close/>
                      <a:moveTo>
                        <a:pt x="7" y="4"/>
                      </a:moveTo>
                      <a:cubicBezTo>
                        <a:pt x="4" y="9"/>
                        <a:pt x="0" y="13"/>
                        <a:pt x="5" y="13"/>
                      </a:cubicBezTo>
                      <a:cubicBezTo>
                        <a:pt x="9" y="13"/>
                        <a:pt x="5" y="16"/>
                        <a:pt x="11" y="10"/>
                      </a:cubicBezTo>
                      <a:cubicBezTo>
                        <a:pt x="17" y="5"/>
                        <a:pt x="10" y="0"/>
                        <a:pt x="7" y="4"/>
                      </a:cubicBezTo>
                      <a:close/>
                      <a:moveTo>
                        <a:pt x="494" y="49"/>
                      </a:moveTo>
                      <a:cubicBezTo>
                        <a:pt x="497" y="47"/>
                        <a:pt x="496" y="45"/>
                        <a:pt x="497" y="41"/>
                      </a:cubicBezTo>
                      <a:cubicBezTo>
                        <a:pt x="498" y="38"/>
                        <a:pt x="499" y="36"/>
                        <a:pt x="497" y="35"/>
                      </a:cubicBezTo>
                      <a:cubicBezTo>
                        <a:pt x="496" y="35"/>
                        <a:pt x="494" y="34"/>
                        <a:pt x="493" y="37"/>
                      </a:cubicBezTo>
                      <a:cubicBezTo>
                        <a:pt x="494" y="42"/>
                        <a:pt x="492" y="40"/>
                        <a:pt x="492" y="45"/>
                      </a:cubicBezTo>
                      <a:cubicBezTo>
                        <a:pt x="492" y="49"/>
                        <a:pt x="490" y="51"/>
                        <a:pt x="494" y="49"/>
                      </a:cubicBezTo>
                      <a:close/>
                      <a:moveTo>
                        <a:pt x="54" y="75"/>
                      </a:moveTo>
                      <a:cubicBezTo>
                        <a:pt x="46" y="75"/>
                        <a:pt x="37" y="76"/>
                        <a:pt x="31" y="79"/>
                      </a:cubicBezTo>
                      <a:cubicBezTo>
                        <a:pt x="24" y="81"/>
                        <a:pt x="24" y="82"/>
                        <a:pt x="22" y="88"/>
                      </a:cubicBezTo>
                      <a:cubicBezTo>
                        <a:pt x="21" y="94"/>
                        <a:pt x="26" y="92"/>
                        <a:pt x="32" y="93"/>
                      </a:cubicBezTo>
                      <a:cubicBezTo>
                        <a:pt x="37" y="94"/>
                        <a:pt x="39" y="97"/>
                        <a:pt x="47" y="98"/>
                      </a:cubicBezTo>
                      <a:cubicBezTo>
                        <a:pt x="56" y="99"/>
                        <a:pt x="56" y="98"/>
                        <a:pt x="62" y="95"/>
                      </a:cubicBezTo>
                      <a:cubicBezTo>
                        <a:pt x="68" y="92"/>
                        <a:pt x="69" y="91"/>
                        <a:pt x="78" y="90"/>
                      </a:cubicBezTo>
                      <a:cubicBezTo>
                        <a:pt x="88" y="89"/>
                        <a:pt x="95" y="79"/>
                        <a:pt x="85" y="79"/>
                      </a:cubicBezTo>
                      <a:cubicBezTo>
                        <a:pt x="74" y="78"/>
                        <a:pt x="70" y="75"/>
                        <a:pt x="54" y="75"/>
                      </a:cubicBezTo>
                      <a:close/>
                      <a:moveTo>
                        <a:pt x="421" y="254"/>
                      </a:moveTo>
                      <a:cubicBezTo>
                        <a:pt x="427" y="256"/>
                        <a:pt x="429" y="256"/>
                        <a:pt x="434" y="256"/>
                      </a:cubicBezTo>
                      <a:cubicBezTo>
                        <a:pt x="440" y="256"/>
                        <a:pt x="445" y="257"/>
                        <a:pt x="451" y="259"/>
                      </a:cubicBezTo>
                      <a:cubicBezTo>
                        <a:pt x="457" y="260"/>
                        <a:pt x="458" y="264"/>
                        <a:pt x="462" y="269"/>
                      </a:cubicBezTo>
                      <a:cubicBezTo>
                        <a:pt x="466" y="274"/>
                        <a:pt x="471" y="273"/>
                        <a:pt x="475" y="275"/>
                      </a:cubicBezTo>
                      <a:cubicBezTo>
                        <a:pt x="480" y="277"/>
                        <a:pt x="481" y="279"/>
                        <a:pt x="483" y="283"/>
                      </a:cubicBezTo>
                      <a:cubicBezTo>
                        <a:pt x="484" y="287"/>
                        <a:pt x="490" y="287"/>
                        <a:pt x="493" y="287"/>
                      </a:cubicBezTo>
                      <a:cubicBezTo>
                        <a:pt x="496" y="286"/>
                        <a:pt x="499" y="284"/>
                        <a:pt x="502" y="281"/>
                      </a:cubicBezTo>
                      <a:cubicBezTo>
                        <a:pt x="505" y="278"/>
                        <a:pt x="508" y="280"/>
                        <a:pt x="512" y="278"/>
                      </a:cubicBezTo>
                      <a:cubicBezTo>
                        <a:pt x="515" y="276"/>
                        <a:pt x="513" y="269"/>
                        <a:pt x="511" y="268"/>
                      </a:cubicBezTo>
                      <a:cubicBezTo>
                        <a:pt x="509" y="266"/>
                        <a:pt x="508" y="266"/>
                        <a:pt x="504" y="260"/>
                      </a:cubicBezTo>
                      <a:cubicBezTo>
                        <a:pt x="500" y="255"/>
                        <a:pt x="503" y="256"/>
                        <a:pt x="502" y="253"/>
                      </a:cubicBezTo>
                      <a:cubicBezTo>
                        <a:pt x="500" y="249"/>
                        <a:pt x="496" y="250"/>
                        <a:pt x="491" y="249"/>
                      </a:cubicBezTo>
                      <a:cubicBezTo>
                        <a:pt x="486" y="248"/>
                        <a:pt x="486" y="249"/>
                        <a:pt x="481" y="246"/>
                      </a:cubicBezTo>
                      <a:cubicBezTo>
                        <a:pt x="475" y="243"/>
                        <a:pt x="478" y="243"/>
                        <a:pt x="476" y="238"/>
                      </a:cubicBezTo>
                      <a:cubicBezTo>
                        <a:pt x="473" y="232"/>
                        <a:pt x="474" y="237"/>
                        <a:pt x="468" y="232"/>
                      </a:cubicBezTo>
                      <a:cubicBezTo>
                        <a:pt x="462" y="228"/>
                        <a:pt x="461" y="230"/>
                        <a:pt x="454" y="228"/>
                      </a:cubicBezTo>
                      <a:cubicBezTo>
                        <a:pt x="448" y="227"/>
                        <a:pt x="445" y="229"/>
                        <a:pt x="438" y="229"/>
                      </a:cubicBezTo>
                      <a:cubicBezTo>
                        <a:pt x="429" y="230"/>
                        <a:pt x="419" y="233"/>
                        <a:pt x="415" y="235"/>
                      </a:cubicBezTo>
                      <a:cubicBezTo>
                        <a:pt x="411" y="238"/>
                        <a:pt x="410" y="237"/>
                        <a:pt x="408" y="239"/>
                      </a:cubicBezTo>
                      <a:cubicBezTo>
                        <a:pt x="405" y="240"/>
                        <a:pt x="401" y="244"/>
                        <a:pt x="403" y="247"/>
                      </a:cubicBezTo>
                      <a:cubicBezTo>
                        <a:pt x="405" y="250"/>
                        <a:pt x="414" y="252"/>
                        <a:pt x="421" y="254"/>
                      </a:cubicBezTo>
                      <a:close/>
                      <a:moveTo>
                        <a:pt x="498" y="24"/>
                      </a:moveTo>
                      <a:cubicBezTo>
                        <a:pt x="500" y="23"/>
                        <a:pt x="501" y="21"/>
                        <a:pt x="501" y="18"/>
                      </a:cubicBezTo>
                      <a:cubicBezTo>
                        <a:pt x="500" y="15"/>
                        <a:pt x="496" y="4"/>
                        <a:pt x="494" y="9"/>
                      </a:cubicBezTo>
                      <a:cubicBezTo>
                        <a:pt x="494" y="14"/>
                        <a:pt x="497" y="13"/>
                        <a:pt x="496" y="18"/>
                      </a:cubicBezTo>
                      <a:cubicBezTo>
                        <a:pt x="496" y="23"/>
                        <a:pt x="496" y="25"/>
                        <a:pt x="498" y="24"/>
                      </a:cubicBezTo>
                      <a:close/>
                      <a:moveTo>
                        <a:pt x="744" y="175"/>
                      </a:moveTo>
                      <a:cubicBezTo>
                        <a:pt x="751" y="175"/>
                        <a:pt x="748" y="171"/>
                        <a:pt x="761" y="170"/>
                      </a:cubicBezTo>
                      <a:cubicBezTo>
                        <a:pt x="774" y="169"/>
                        <a:pt x="773" y="167"/>
                        <a:pt x="765" y="158"/>
                      </a:cubicBezTo>
                      <a:cubicBezTo>
                        <a:pt x="757" y="148"/>
                        <a:pt x="754" y="158"/>
                        <a:pt x="739" y="154"/>
                      </a:cubicBezTo>
                      <a:cubicBezTo>
                        <a:pt x="736" y="153"/>
                        <a:pt x="736" y="159"/>
                        <a:pt x="737" y="162"/>
                      </a:cubicBezTo>
                      <a:cubicBezTo>
                        <a:pt x="738" y="164"/>
                        <a:pt x="735" y="169"/>
                        <a:pt x="734" y="173"/>
                      </a:cubicBezTo>
                      <a:cubicBezTo>
                        <a:pt x="733" y="176"/>
                        <a:pt x="737" y="176"/>
                        <a:pt x="744" y="175"/>
                      </a:cubicBezTo>
                      <a:close/>
                      <a:moveTo>
                        <a:pt x="679" y="179"/>
                      </a:moveTo>
                      <a:cubicBezTo>
                        <a:pt x="682" y="174"/>
                        <a:pt x="681" y="170"/>
                        <a:pt x="673" y="173"/>
                      </a:cubicBezTo>
                      <a:cubicBezTo>
                        <a:pt x="669" y="175"/>
                        <a:pt x="664" y="178"/>
                        <a:pt x="669" y="179"/>
                      </a:cubicBezTo>
                      <a:cubicBezTo>
                        <a:pt x="674" y="180"/>
                        <a:pt x="677" y="183"/>
                        <a:pt x="679" y="179"/>
                      </a:cubicBezTo>
                      <a:close/>
                      <a:moveTo>
                        <a:pt x="718" y="164"/>
                      </a:moveTo>
                      <a:cubicBezTo>
                        <a:pt x="715" y="167"/>
                        <a:pt x="710" y="165"/>
                        <a:pt x="709" y="169"/>
                      </a:cubicBezTo>
                      <a:cubicBezTo>
                        <a:pt x="709" y="174"/>
                        <a:pt x="709" y="174"/>
                        <a:pt x="714" y="174"/>
                      </a:cubicBezTo>
                      <a:cubicBezTo>
                        <a:pt x="719" y="175"/>
                        <a:pt x="722" y="174"/>
                        <a:pt x="723" y="169"/>
                      </a:cubicBezTo>
                      <a:cubicBezTo>
                        <a:pt x="724" y="165"/>
                        <a:pt x="722" y="160"/>
                        <a:pt x="718" y="164"/>
                      </a:cubicBezTo>
                      <a:close/>
                      <a:moveTo>
                        <a:pt x="672" y="279"/>
                      </a:moveTo>
                      <a:cubicBezTo>
                        <a:pt x="671" y="284"/>
                        <a:pt x="668" y="285"/>
                        <a:pt x="670" y="290"/>
                      </a:cubicBezTo>
                      <a:cubicBezTo>
                        <a:pt x="673" y="291"/>
                        <a:pt x="678" y="281"/>
                        <a:pt x="678" y="279"/>
                      </a:cubicBezTo>
                      <a:cubicBezTo>
                        <a:pt x="678" y="277"/>
                        <a:pt x="672" y="275"/>
                        <a:pt x="672" y="279"/>
                      </a:cubicBezTo>
                      <a:close/>
                      <a:moveTo>
                        <a:pt x="616" y="187"/>
                      </a:moveTo>
                      <a:cubicBezTo>
                        <a:pt x="621" y="188"/>
                        <a:pt x="622" y="188"/>
                        <a:pt x="627" y="184"/>
                      </a:cubicBezTo>
                      <a:cubicBezTo>
                        <a:pt x="632" y="180"/>
                        <a:pt x="639" y="182"/>
                        <a:pt x="643" y="178"/>
                      </a:cubicBezTo>
                      <a:cubicBezTo>
                        <a:pt x="647" y="174"/>
                        <a:pt x="649" y="172"/>
                        <a:pt x="647" y="165"/>
                      </a:cubicBezTo>
                      <a:cubicBezTo>
                        <a:pt x="646" y="157"/>
                        <a:pt x="640" y="156"/>
                        <a:pt x="635" y="165"/>
                      </a:cubicBezTo>
                      <a:cubicBezTo>
                        <a:pt x="631" y="171"/>
                        <a:pt x="628" y="166"/>
                        <a:pt x="622" y="174"/>
                      </a:cubicBezTo>
                      <a:cubicBezTo>
                        <a:pt x="617" y="182"/>
                        <a:pt x="610" y="187"/>
                        <a:pt x="616" y="187"/>
                      </a:cubicBezTo>
                      <a:close/>
                      <a:moveTo>
                        <a:pt x="692" y="160"/>
                      </a:moveTo>
                      <a:cubicBezTo>
                        <a:pt x="689" y="163"/>
                        <a:pt x="690" y="167"/>
                        <a:pt x="692" y="167"/>
                      </a:cubicBezTo>
                      <a:cubicBezTo>
                        <a:pt x="695" y="167"/>
                        <a:pt x="698" y="168"/>
                        <a:pt x="700" y="163"/>
                      </a:cubicBezTo>
                      <a:cubicBezTo>
                        <a:pt x="701" y="159"/>
                        <a:pt x="694" y="157"/>
                        <a:pt x="692" y="160"/>
                      </a:cubicBezTo>
                      <a:close/>
                      <a:moveTo>
                        <a:pt x="640" y="327"/>
                      </a:moveTo>
                      <a:cubicBezTo>
                        <a:pt x="643" y="329"/>
                        <a:pt x="646" y="327"/>
                        <a:pt x="649" y="323"/>
                      </a:cubicBezTo>
                      <a:cubicBezTo>
                        <a:pt x="651" y="320"/>
                        <a:pt x="652" y="321"/>
                        <a:pt x="659" y="318"/>
                      </a:cubicBezTo>
                      <a:cubicBezTo>
                        <a:pt x="667" y="315"/>
                        <a:pt x="673" y="315"/>
                        <a:pt x="674" y="312"/>
                      </a:cubicBezTo>
                      <a:cubicBezTo>
                        <a:pt x="674" y="309"/>
                        <a:pt x="676" y="300"/>
                        <a:pt x="675" y="300"/>
                      </a:cubicBezTo>
                      <a:cubicBezTo>
                        <a:pt x="673" y="300"/>
                        <a:pt x="669" y="300"/>
                        <a:pt x="665" y="303"/>
                      </a:cubicBezTo>
                      <a:cubicBezTo>
                        <a:pt x="660" y="306"/>
                        <a:pt x="662" y="304"/>
                        <a:pt x="656" y="308"/>
                      </a:cubicBezTo>
                      <a:cubicBezTo>
                        <a:pt x="650" y="312"/>
                        <a:pt x="648" y="308"/>
                        <a:pt x="643" y="314"/>
                      </a:cubicBezTo>
                      <a:cubicBezTo>
                        <a:pt x="638" y="321"/>
                        <a:pt x="637" y="326"/>
                        <a:pt x="640" y="327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18" name="Freeform 44"/>
                <p:cNvSpPr/>
                <p:nvPr>
                  <p:custDataLst>
                    <p:tags r:id="rId116"/>
                  </p:custDataLst>
                </p:nvPr>
              </p:nvSpPr>
              <p:spPr bwMode="auto">
                <a:xfrm>
                  <a:off x="3915" y="1441"/>
                  <a:ext cx="67" cy="88"/>
                </a:xfrm>
                <a:custGeom>
                  <a:avLst/>
                  <a:gdLst>
                    <a:gd name="T0" fmla="*/ 4 w 156"/>
                    <a:gd name="T1" fmla="*/ 49 h 206"/>
                    <a:gd name="T2" fmla="*/ 10 w 156"/>
                    <a:gd name="T3" fmla="*/ 59 h 206"/>
                    <a:gd name="T4" fmla="*/ 22 w 156"/>
                    <a:gd name="T5" fmla="*/ 67 h 206"/>
                    <a:gd name="T6" fmla="*/ 23 w 156"/>
                    <a:gd name="T7" fmla="*/ 74 h 206"/>
                    <a:gd name="T8" fmla="*/ 14 w 156"/>
                    <a:gd name="T9" fmla="*/ 75 h 206"/>
                    <a:gd name="T10" fmla="*/ 18 w 156"/>
                    <a:gd name="T11" fmla="*/ 85 h 206"/>
                    <a:gd name="T12" fmla="*/ 29 w 156"/>
                    <a:gd name="T13" fmla="*/ 83 h 206"/>
                    <a:gd name="T14" fmla="*/ 36 w 156"/>
                    <a:gd name="T15" fmla="*/ 74 h 206"/>
                    <a:gd name="T16" fmla="*/ 41 w 156"/>
                    <a:gd name="T17" fmla="*/ 68 h 206"/>
                    <a:gd name="T18" fmla="*/ 40 w 156"/>
                    <a:gd name="T19" fmla="*/ 55 h 206"/>
                    <a:gd name="T20" fmla="*/ 51 w 156"/>
                    <a:gd name="T21" fmla="*/ 58 h 206"/>
                    <a:gd name="T22" fmla="*/ 58 w 156"/>
                    <a:gd name="T23" fmla="*/ 68 h 206"/>
                    <a:gd name="T24" fmla="*/ 63 w 156"/>
                    <a:gd name="T25" fmla="*/ 79 h 206"/>
                    <a:gd name="T26" fmla="*/ 61 w 156"/>
                    <a:gd name="T27" fmla="*/ 86 h 206"/>
                    <a:gd name="T28" fmla="*/ 66 w 156"/>
                    <a:gd name="T29" fmla="*/ 92 h 206"/>
                    <a:gd name="T30" fmla="*/ 60 w 156"/>
                    <a:gd name="T31" fmla="*/ 100 h 206"/>
                    <a:gd name="T32" fmla="*/ 52 w 156"/>
                    <a:gd name="T33" fmla="*/ 113 h 206"/>
                    <a:gd name="T34" fmla="*/ 44 w 156"/>
                    <a:gd name="T35" fmla="*/ 124 h 206"/>
                    <a:gd name="T36" fmla="*/ 37 w 156"/>
                    <a:gd name="T37" fmla="*/ 135 h 206"/>
                    <a:gd name="T38" fmla="*/ 42 w 156"/>
                    <a:gd name="T39" fmla="*/ 153 h 206"/>
                    <a:gd name="T40" fmla="*/ 46 w 156"/>
                    <a:gd name="T41" fmla="*/ 167 h 206"/>
                    <a:gd name="T42" fmla="*/ 33 w 156"/>
                    <a:gd name="T43" fmla="*/ 171 h 206"/>
                    <a:gd name="T44" fmla="*/ 44 w 156"/>
                    <a:gd name="T45" fmla="*/ 179 h 206"/>
                    <a:gd name="T46" fmla="*/ 60 w 156"/>
                    <a:gd name="T47" fmla="*/ 186 h 206"/>
                    <a:gd name="T48" fmla="*/ 63 w 156"/>
                    <a:gd name="T49" fmla="*/ 179 h 206"/>
                    <a:gd name="T50" fmla="*/ 61 w 156"/>
                    <a:gd name="T51" fmla="*/ 161 h 206"/>
                    <a:gd name="T52" fmla="*/ 71 w 156"/>
                    <a:gd name="T53" fmla="*/ 151 h 206"/>
                    <a:gd name="T54" fmla="*/ 75 w 156"/>
                    <a:gd name="T55" fmla="*/ 160 h 206"/>
                    <a:gd name="T56" fmla="*/ 73 w 156"/>
                    <a:gd name="T57" fmla="*/ 171 h 206"/>
                    <a:gd name="T58" fmla="*/ 76 w 156"/>
                    <a:gd name="T59" fmla="*/ 186 h 206"/>
                    <a:gd name="T60" fmla="*/ 67 w 156"/>
                    <a:gd name="T61" fmla="*/ 199 h 206"/>
                    <a:gd name="T62" fmla="*/ 75 w 156"/>
                    <a:gd name="T63" fmla="*/ 199 h 206"/>
                    <a:gd name="T64" fmla="*/ 85 w 156"/>
                    <a:gd name="T65" fmla="*/ 189 h 206"/>
                    <a:gd name="T66" fmla="*/ 98 w 156"/>
                    <a:gd name="T67" fmla="*/ 181 h 206"/>
                    <a:gd name="T68" fmla="*/ 99 w 156"/>
                    <a:gd name="T69" fmla="*/ 170 h 206"/>
                    <a:gd name="T70" fmla="*/ 112 w 156"/>
                    <a:gd name="T71" fmla="*/ 175 h 206"/>
                    <a:gd name="T72" fmla="*/ 117 w 156"/>
                    <a:gd name="T73" fmla="*/ 163 h 206"/>
                    <a:gd name="T74" fmla="*/ 120 w 156"/>
                    <a:gd name="T75" fmla="*/ 152 h 206"/>
                    <a:gd name="T76" fmla="*/ 127 w 156"/>
                    <a:gd name="T77" fmla="*/ 133 h 206"/>
                    <a:gd name="T78" fmla="*/ 131 w 156"/>
                    <a:gd name="T79" fmla="*/ 114 h 206"/>
                    <a:gd name="T80" fmla="*/ 138 w 156"/>
                    <a:gd name="T81" fmla="*/ 95 h 206"/>
                    <a:gd name="T82" fmla="*/ 148 w 156"/>
                    <a:gd name="T83" fmla="*/ 78 h 206"/>
                    <a:gd name="T84" fmla="*/ 152 w 156"/>
                    <a:gd name="T85" fmla="*/ 65 h 206"/>
                    <a:gd name="T86" fmla="*/ 147 w 156"/>
                    <a:gd name="T87" fmla="*/ 55 h 206"/>
                    <a:gd name="T88" fmla="*/ 139 w 156"/>
                    <a:gd name="T89" fmla="*/ 47 h 206"/>
                    <a:gd name="T90" fmla="*/ 127 w 156"/>
                    <a:gd name="T91" fmla="*/ 47 h 206"/>
                    <a:gd name="T92" fmla="*/ 119 w 156"/>
                    <a:gd name="T93" fmla="*/ 40 h 206"/>
                    <a:gd name="T94" fmla="*/ 127 w 156"/>
                    <a:gd name="T95" fmla="*/ 33 h 206"/>
                    <a:gd name="T96" fmla="*/ 129 w 156"/>
                    <a:gd name="T97" fmla="*/ 24 h 206"/>
                    <a:gd name="T98" fmla="*/ 121 w 156"/>
                    <a:gd name="T99" fmla="*/ 20 h 206"/>
                    <a:gd name="T100" fmla="*/ 106 w 156"/>
                    <a:gd name="T101" fmla="*/ 23 h 206"/>
                    <a:gd name="T102" fmla="*/ 93 w 156"/>
                    <a:gd name="T103" fmla="*/ 16 h 206"/>
                    <a:gd name="T104" fmla="*/ 86 w 156"/>
                    <a:gd name="T105" fmla="*/ 8 h 206"/>
                    <a:gd name="T106" fmla="*/ 80 w 156"/>
                    <a:gd name="T107" fmla="*/ 2 h 206"/>
                    <a:gd name="T108" fmla="*/ 67 w 156"/>
                    <a:gd name="T109" fmla="*/ 1 h 206"/>
                    <a:gd name="T110" fmla="*/ 58 w 156"/>
                    <a:gd name="T111" fmla="*/ 14 h 206"/>
                    <a:gd name="T112" fmla="*/ 45 w 156"/>
                    <a:gd name="T113" fmla="*/ 20 h 206"/>
                    <a:gd name="T114" fmla="*/ 36 w 156"/>
                    <a:gd name="T115" fmla="*/ 29 h 206"/>
                    <a:gd name="T116" fmla="*/ 28 w 156"/>
                    <a:gd name="T117" fmla="*/ 30 h 206"/>
                    <a:gd name="T118" fmla="*/ 19 w 156"/>
                    <a:gd name="T119" fmla="*/ 29 h 206"/>
                    <a:gd name="T120" fmla="*/ 16 w 156"/>
                    <a:gd name="T121" fmla="*/ 40 h 206"/>
                    <a:gd name="T122" fmla="*/ 7 w 156"/>
                    <a:gd name="T123" fmla="*/ 41 h 206"/>
                    <a:gd name="T124" fmla="*/ 4 w 156"/>
                    <a:gd name="T125" fmla="*/ 49 h 2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156" h="206">
                      <a:moveTo>
                        <a:pt x="4" y="49"/>
                      </a:moveTo>
                      <a:cubicBezTo>
                        <a:pt x="5" y="52"/>
                        <a:pt x="7" y="56"/>
                        <a:pt x="10" y="59"/>
                      </a:cubicBezTo>
                      <a:cubicBezTo>
                        <a:pt x="13" y="62"/>
                        <a:pt x="18" y="65"/>
                        <a:pt x="22" y="67"/>
                      </a:cubicBezTo>
                      <a:cubicBezTo>
                        <a:pt x="27" y="69"/>
                        <a:pt x="25" y="72"/>
                        <a:pt x="23" y="74"/>
                      </a:cubicBezTo>
                      <a:cubicBezTo>
                        <a:pt x="21" y="77"/>
                        <a:pt x="20" y="74"/>
                        <a:pt x="14" y="75"/>
                      </a:cubicBezTo>
                      <a:cubicBezTo>
                        <a:pt x="8" y="75"/>
                        <a:pt x="15" y="81"/>
                        <a:pt x="18" y="85"/>
                      </a:cubicBezTo>
                      <a:cubicBezTo>
                        <a:pt x="21" y="89"/>
                        <a:pt x="25" y="86"/>
                        <a:pt x="29" y="83"/>
                      </a:cubicBezTo>
                      <a:cubicBezTo>
                        <a:pt x="32" y="80"/>
                        <a:pt x="33" y="79"/>
                        <a:pt x="36" y="74"/>
                      </a:cubicBezTo>
                      <a:cubicBezTo>
                        <a:pt x="39" y="70"/>
                        <a:pt x="42" y="71"/>
                        <a:pt x="41" y="68"/>
                      </a:cubicBezTo>
                      <a:cubicBezTo>
                        <a:pt x="40" y="64"/>
                        <a:pt x="37" y="58"/>
                        <a:pt x="40" y="55"/>
                      </a:cubicBezTo>
                      <a:cubicBezTo>
                        <a:pt x="43" y="51"/>
                        <a:pt x="50" y="56"/>
                        <a:pt x="51" y="58"/>
                      </a:cubicBezTo>
                      <a:cubicBezTo>
                        <a:pt x="52" y="61"/>
                        <a:pt x="54" y="65"/>
                        <a:pt x="58" y="68"/>
                      </a:cubicBezTo>
                      <a:cubicBezTo>
                        <a:pt x="63" y="71"/>
                        <a:pt x="63" y="74"/>
                        <a:pt x="63" y="79"/>
                      </a:cubicBezTo>
                      <a:cubicBezTo>
                        <a:pt x="63" y="84"/>
                        <a:pt x="62" y="82"/>
                        <a:pt x="61" y="86"/>
                      </a:cubicBezTo>
                      <a:cubicBezTo>
                        <a:pt x="61" y="91"/>
                        <a:pt x="63" y="90"/>
                        <a:pt x="66" y="92"/>
                      </a:cubicBezTo>
                      <a:cubicBezTo>
                        <a:pt x="68" y="95"/>
                        <a:pt x="64" y="95"/>
                        <a:pt x="60" y="100"/>
                      </a:cubicBezTo>
                      <a:cubicBezTo>
                        <a:pt x="55" y="106"/>
                        <a:pt x="55" y="107"/>
                        <a:pt x="52" y="113"/>
                      </a:cubicBezTo>
                      <a:cubicBezTo>
                        <a:pt x="50" y="119"/>
                        <a:pt x="50" y="122"/>
                        <a:pt x="44" y="124"/>
                      </a:cubicBezTo>
                      <a:cubicBezTo>
                        <a:pt x="38" y="127"/>
                        <a:pt x="39" y="130"/>
                        <a:pt x="37" y="135"/>
                      </a:cubicBezTo>
                      <a:cubicBezTo>
                        <a:pt x="36" y="140"/>
                        <a:pt x="40" y="146"/>
                        <a:pt x="42" y="153"/>
                      </a:cubicBezTo>
                      <a:cubicBezTo>
                        <a:pt x="43" y="159"/>
                        <a:pt x="46" y="163"/>
                        <a:pt x="46" y="167"/>
                      </a:cubicBezTo>
                      <a:cubicBezTo>
                        <a:pt x="46" y="172"/>
                        <a:pt x="38" y="169"/>
                        <a:pt x="33" y="171"/>
                      </a:cubicBezTo>
                      <a:cubicBezTo>
                        <a:pt x="29" y="173"/>
                        <a:pt x="39" y="179"/>
                        <a:pt x="44" y="179"/>
                      </a:cubicBezTo>
                      <a:cubicBezTo>
                        <a:pt x="49" y="179"/>
                        <a:pt x="55" y="184"/>
                        <a:pt x="60" y="186"/>
                      </a:cubicBezTo>
                      <a:cubicBezTo>
                        <a:pt x="65" y="187"/>
                        <a:pt x="65" y="184"/>
                        <a:pt x="63" y="179"/>
                      </a:cubicBezTo>
                      <a:cubicBezTo>
                        <a:pt x="60" y="173"/>
                        <a:pt x="63" y="172"/>
                        <a:pt x="61" y="161"/>
                      </a:cubicBezTo>
                      <a:cubicBezTo>
                        <a:pt x="59" y="151"/>
                        <a:pt x="63" y="155"/>
                        <a:pt x="71" y="151"/>
                      </a:cubicBezTo>
                      <a:cubicBezTo>
                        <a:pt x="79" y="146"/>
                        <a:pt x="77" y="153"/>
                        <a:pt x="75" y="160"/>
                      </a:cubicBezTo>
                      <a:cubicBezTo>
                        <a:pt x="73" y="167"/>
                        <a:pt x="73" y="166"/>
                        <a:pt x="73" y="171"/>
                      </a:cubicBezTo>
                      <a:cubicBezTo>
                        <a:pt x="73" y="175"/>
                        <a:pt x="76" y="179"/>
                        <a:pt x="76" y="186"/>
                      </a:cubicBezTo>
                      <a:cubicBezTo>
                        <a:pt x="76" y="193"/>
                        <a:pt x="71" y="192"/>
                        <a:pt x="67" y="199"/>
                      </a:cubicBezTo>
                      <a:cubicBezTo>
                        <a:pt x="63" y="206"/>
                        <a:pt x="70" y="202"/>
                        <a:pt x="75" y="199"/>
                      </a:cubicBezTo>
                      <a:cubicBezTo>
                        <a:pt x="79" y="196"/>
                        <a:pt x="82" y="191"/>
                        <a:pt x="85" y="189"/>
                      </a:cubicBezTo>
                      <a:cubicBezTo>
                        <a:pt x="88" y="187"/>
                        <a:pt x="97" y="187"/>
                        <a:pt x="98" y="181"/>
                      </a:cubicBezTo>
                      <a:cubicBezTo>
                        <a:pt x="99" y="174"/>
                        <a:pt x="98" y="175"/>
                        <a:pt x="99" y="170"/>
                      </a:cubicBezTo>
                      <a:cubicBezTo>
                        <a:pt x="100" y="164"/>
                        <a:pt x="106" y="173"/>
                        <a:pt x="112" y="175"/>
                      </a:cubicBezTo>
                      <a:cubicBezTo>
                        <a:pt x="118" y="176"/>
                        <a:pt x="117" y="172"/>
                        <a:pt x="117" y="163"/>
                      </a:cubicBezTo>
                      <a:cubicBezTo>
                        <a:pt x="117" y="153"/>
                        <a:pt x="118" y="159"/>
                        <a:pt x="120" y="152"/>
                      </a:cubicBezTo>
                      <a:cubicBezTo>
                        <a:pt x="121" y="144"/>
                        <a:pt x="125" y="144"/>
                        <a:pt x="127" y="133"/>
                      </a:cubicBezTo>
                      <a:cubicBezTo>
                        <a:pt x="130" y="123"/>
                        <a:pt x="128" y="122"/>
                        <a:pt x="131" y="114"/>
                      </a:cubicBezTo>
                      <a:cubicBezTo>
                        <a:pt x="134" y="106"/>
                        <a:pt x="138" y="104"/>
                        <a:pt x="138" y="95"/>
                      </a:cubicBezTo>
                      <a:cubicBezTo>
                        <a:pt x="138" y="86"/>
                        <a:pt x="142" y="81"/>
                        <a:pt x="148" y="78"/>
                      </a:cubicBezTo>
                      <a:cubicBezTo>
                        <a:pt x="154" y="74"/>
                        <a:pt x="156" y="70"/>
                        <a:pt x="152" y="65"/>
                      </a:cubicBezTo>
                      <a:cubicBezTo>
                        <a:pt x="148" y="60"/>
                        <a:pt x="147" y="61"/>
                        <a:pt x="147" y="55"/>
                      </a:cubicBezTo>
                      <a:cubicBezTo>
                        <a:pt x="146" y="48"/>
                        <a:pt x="145" y="51"/>
                        <a:pt x="139" y="47"/>
                      </a:cubicBezTo>
                      <a:cubicBezTo>
                        <a:pt x="134" y="43"/>
                        <a:pt x="133" y="47"/>
                        <a:pt x="127" y="47"/>
                      </a:cubicBezTo>
                      <a:cubicBezTo>
                        <a:pt x="120" y="47"/>
                        <a:pt x="123" y="45"/>
                        <a:pt x="119" y="40"/>
                      </a:cubicBezTo>
                      <a:cubicBezTo>
                        <a:pt x="115" y="35"/>
                        <a:pt x="121" y="36"/>
                        <a:pt x="127" y="33"/>
                      </a:cubicBezTo>
                      <a:cubicBezTo>
                        <a:pt x="132" y="30"/>
                        <a:pt x="130" y="29"/>
                        <a:pt x="129" y="24"/>
                      </a:cubicBezTo>
                      <a:cubicBezTo>
                        <a:pt x="128" y="20"/>
                        <a:pt x="126" y="20"/>
                        <a:pt x="121" y="20"/>
                      </a:cubicBezTo>
                      <a:cubicBezTo>
                        <a:pt x="116" y="20"/>
                        <a:pt x="112" y="21"/>
                        <a:pt x="106" y="23"/>
                      </a:cubicBezTo>
                      <a:cubicBezTo>
                        <a:pt x="99" y="24"/>
                        <a:pt x="97" y="23"/>
                        <a:pt x="93" y="16"/>
                      </a:cubicBezTo>
                      <a:cubicBezTo>
                        <a:pt x="93" y="11"/>
                        <a:pt x="87" y="12"/>
                        <a:pt x="86" y="8"/>
                      </a:cubicBezTo>
                      <a:cubicBezTo>
                        <a:pt x="85" y="5"/>
                        <a:pt x="84" y="4"/>
                        <a:pt x="80" y="2"/>
                      </a:cubicBezTo>
                      <a:cubicBezTo>
                        <a:pt x="76" y="0"/>
                        <a:pt x="74" y="0"/>
                        <a:pt x="67" y="1"/>
                      </a:cubicBezTo>
                      <a:cubicBezTo>
                        <a:pt x="61" y="1"/>
                        <a:pt x="61" y="5"/>
                        <a:pt x="58" y="14"/>
                      </a:cubicBezTo>
                      <a:cubicBezTo>
                        <a:pt x="54" y="24"/>
                        <a:pt x="52" y="19"/>
                        <a:pt x="45" y="20"/>
                      </a:cubicBezTo>
                      <a:cubicBezTo>
                        <a:pt x="38" y="22"/>
                        <a:pt x="40" y="26"/>
                        <a:pt x="36" y="29"/>
                      </a:cubicBezTo>
                      <a:cubicBezTo>
                        <a:pt x="32" y="33"/>
                        <a:pt x="32" y="32"/>
                        <a:pt x="28" y="30"/>
                      </a:cubicBezTo>
                      <a:cubicBezTo>
                        <a:pt x="24" y="28"/>
                        <a:pt x="21" y="27"/>
                        <a:pt x="19" y="29"/>
                      </a:cubicBezTo>
                      <a:cubicBezTo>
                        <a:pt x="16" y="30"/>
                        <a:pt x="17" y="35"/>
                        <a:pt x="16" y="40"/>
                      </a:cubicBezTo>
                      <a:cubicBezTo>
                        <a:pt x="15" y="44"/>
                        <a:pt x="14" y="41"/>
                        <a:pt x="7" y="41"/>
                      </a:cubicBezTo>
                      <a:cubicBezTo>
                        <a:pt x="0" y="41"/>
                        <a:pt x="3" y="45"/>
                        <a:pt x="4" y="49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19" name="Freeform 45"/>
                <p:cNvSpPr/>
                <p:nvPr>
                  <p:custDataLst>
                    <p:tags r:id="rId117"/>
                  </p:custDataLst>
                </p:nvPr>
              </p:nvSpPr>
              <p:spPr bwMode="auto">
                <a:xfrm>
                  <a:off x="3869" y="2587"/>
                  <a:ext cx="8" cy="6"/>
                </a:xfrm>
                <a:custGeom>
                  <a:avLst/>
                  <a:gdLst>
                    <a:gd name="T0" fmla="*/ 6 w 19"/>
                    <a:gd name="T1" fmla="*/ 8 h 15"/>
                    <a:gd name="T2" fmla="*/ 12 w 19"/>
                    <a:gd name="T3" fmla="*/ 15 h 15"/>
                    <a:gd name="T4" fmla="*/ 19 w 19"/>
                    <a:gd name="T5" fmla="*/ 9 h 15"/>
                    <a:gd name="T6" fmla="*/ 6 w 19"/>
                    <a:gd name="T7" fmla="*/ 3 h 15"/>
                    <a:gd name="T8" fmla="*/ 1 w 19"/>
                    <a:gd name="T9" fmla="*/ 3 h 15"/>
                    <a:gd name="T10" fmla="*/ 6 w 19"/>
                    <a:gd name="T11" fmla="*/ 8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9" h="15">
                      <a:moveTo>
                        <a:pt x="6" y="8"/>
                      </a:moveTo>
                      <a:cubicBezTo>
                        <a:pt x="9" y="11"/>
                        <a:pt x="7" y="15"/>
                        <a:pt x="12" y="15"/>
                      </a:cubicBezTo>
                      <a:cubicBezTo>
                        <a:pt x="17" y="14"/>
                        <a:pt x="18" y="12"/>
                        <a:pt x="19" y="9"/>
                      </a:cubicBezTo>
                      <a:cubicBezTo>
                        <a:pt x="19" y="6"/>
                        <a:pt x="12" y="6"/>
                        <a:pt x="6" y="3"/>
                      </a:cubicBezTo>
                      <a:cubicBezTo>
                        <a:pt x="3" y="1"/>
                        <a:pt x="0" y="0"/>
                        <a:pt x="1" y="3"/>
                      </a:cubicBezTo>
                      <a:cubicBezTo>
                        <a:pt x="2" y="5"/>
                        <a:pt x="2" y="5"/>
                        <a:pt x="6" y="8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20" name="Freeform 46"/>
                <p:cNvSpPr>
                  <a:spLocks noEditPoints="1"/>
                </p:cNvSpPr>
                <p:nvPr>
                  <p:custDataLst>
                    <p:tags r:id="rId118"/>
                  </p:custDataLst>
                </p:nvPr>
              </p:nvSpPr>
              <p:spPr bwMode="auto">
                <a:xfrm>
                  <a:off x="3825" y="1303"/>
                  <a:ext cx="128" cy="160"/>
                </a:xfrm>
                <a:custGeom>
                  <a:avLst/>
                  <a:gdLst>
                    <a:gd name="T0" fmla="*/ 20 w 299"/>
                    <a:gd name="T1" fmla="*/ 130 h 376"/>
                    <a:gd name="T2" fmla="*/ 26 w 299"/>
                    <a:gd name="T3" fmla="*/ 167 h 376"/>
                    <a:gd name="T4" fmla="*/ 38 w 299"/>
                    <a:gd name="T5" fmla="*/ 180 h 376"/>
                    <a:gd name="T6" fmla="*/ 34 w 299"/>
                    <a:gd name="T7" fmla="*/ 197 h 376"/>
                    <a:gd name="T8" fmla="*/ 29 w 299"/>
                    <a:gd name="T9" fmla="*/ 217 h 376"/>
                    <a:gd name="T10" fmla="*/ 14 w 299"/>
                    <a:gd name="T11" fmla="*/ 235 h 376"/>
                    <a:gd name="T12" fmla="*/ 19 w 299"/>
                    <a:gd name="T13" fmla="*/ 257 h 376"/>
                    <a:gd name="T14" fmla="*/ 28 w 299"/>
                    <a:gd name="T15" fmla="*/ 273 h 376"/>
                    <a:gd name="T16" fmla="*/ 10 w 299"/>
                    <a:gd name="T17" fmla="*/ 277 h 376"/>
                    <a:gd name="T18" fmla="*/ 33 w 299"/>
                    <a:gd name="T19" fmla="*/ 286 h 376"/>
                    <a:gd name="T20" fmla="*/ 72 w 299"/>
                    <a:gd name="T21" fmla="*/ 264 h 376"/>
                    <a:gd name="T22" fmla="*/ 92 w 299"/>
                    <a:gd name="T23" fmla="*/ 271 h 376"/>
                    <a:gd name="T24" fmla="*/ 110 w 299"/>
                    <a:gd name="T25" fmla="*/ 245 h 376"/>
                    <a:gd name="T26" fmla="*/ 140 w 299"/>
                    <a:gd name="T27" fmla="*/ 253 h 376"/>
                    <a:gd name="T28" fmla="*/ 159 w 299"/>
                    <a:gd name="T29" fmla="*/ 238 h 376"/>
                    <a:gd name="T30" fmla="*/ 188 w 299"/>
                    <a:gd name="T31" fmla="*/ 238 h 376"/>
                    <a:gd name="T32" fmla="*/ 211 w 299"/>
                    <a:gd name="T33" fmla="*/ 191 h 376"/>
                    <a:gd name="T34" fmla="*/ 197 w 299"/>
                    <a:gd name="T35" fmla="*/ 152 h 376"/>
                    <a:gd name="T36" fmla="*/ 188 w 299"/>
                    <a:gd name="T37" fmla="*/ 76 h 376"/>
                    <a:gd name="T38" fmla="*/ 144 w 299"/>
                    <a:gd name="T39" fmla="*/ 0 h 376"/>
                    <a:gd name="T40" fmla="*/ 119 w 299"/>
                    <a:gd name="T41" fmla="*/ 24 h 376"/>
                    <a:gd name="T42" fmla="*/ 89 w 299"/>
                    <a:gd name="T43" fmla="*/ 23 h 376"/>
                    <a:gd name="T44" fmla="*/ 48 w 299"/>
                    <a:gd name="T45" fmla="*/ 35 h 376"/>
                    <a:gd name="T46" fmla="*/ 35 w 299"/>
                    <a:gd name="T47" fmla="*/ 52 h 376"/>
                    <a:gd name="T48" fmla="*/ 35 w 299"/>
                    <a:gd name="T49" fmla="*/ 56 h 376"/>
                    <a:gd name="T50" fmla="*/ 42 w 299"/>
                    <a:gd name="T51" fmla="*/ 80 h 376"/>
                    <a:gd name="T52" fmla="*/ 42 w 299"/>
                    <a:gd name="T53" fmla="*/ 102 h 376"/>
                    <a:gd name="T54" fmla="*/ 56 w 299"/>
                    <a:gd name="T55" fmla="*/ 119 h 376"/>
                    <a:gd name="T56" fmla="*/ 37 w 299"/>
                    <a:gd name="T57" fmla="*/ 112 h 376"/>
                    <a:gd name="T58" fmla="*/ 13 w 299"/>
                    <a:gd name="T59" fmla="*/ 116 h 376"/>
                    <a:gd name="T60" fmla="*/ 222 w 299"/>
                    <a:gd name="T61" fmla="*/ 341 h 376"/>
                    <a:gd name="T62" fmla="*/ 222 w 299"/>
                    <a:gd name="T63" fmla="*/ 331 h 376"/>
                    <a:gd name="T64" fmla="*/ 222 w 299"/>
                    <a:gd name="T65" fmla="*/ 341 h 376"/>
                    <a:gd name="T66" fmla="*/ 292 w 299"/>
                    <a:gd name="T67" fmla="*/ 75 h 376"/>
                    <a:gd name="T68" fmla="*/ 291 w 299"/>
                    <a:gd name="T69" fmla="*/ 69 h 376"/>
                    <a:gd name="T70" fmla="*/ 82 w 299"/>
                    <a:gd name="T71" fmla="*/ 281 h 376"/>
                    <a:gd name="T72" fmla="*/ 68 w 299"/>
                    <a:gd name="T73" fmla="*/ 285 h 376"/>
                    <a:gd name="T74" fmla="*/ 117 w 299"/>
                    <a:gd name="T75" fmla="*/ 271 h 376"/>
                    <a:gd name="T76" fmla="*/ 109 w 299"/>
                    <a:gd name="T77" fmla="*/ 260 h 376"/>
                    <a:gd name="T78" fmla="*/ 117 w 299"/>
                    <a:gd name="T79" fmla="*/ 271 h 376"/>
                    <a:gd name="T80" fmla="*/ 16 w 299"/>
                    <a:gd name="T81" fmla="*/ 374 h 376"/>
                    <a:gd name="T82" fmla="*/ 41 w 299"/>
                    <a:gd name="T83" fmla="*/ 361 h 376"/>
                    <a:gd name="T84" fmla="*/ 34 w 299"/>
                    <a:gd name="T85" fmla="*/ 354 h 376"/>
                    <a:gd name="T86" fmla="*/ 6 w 299"/>
                    <a:gd name="T87" fmla="*/ 364 h 376"/>
                    <a:gd name="T88" fmla="*/ 18 w 299"/>
                    <a:gd name="T89" fmla="*/ 60 h 376"/>
                    <a:gd name="T90" fmla="*/ 25 w 299"/>
                    <a:gd name="T91" fmla="*/ 66 h 376"/>
                    <a:gd name="T92" fmla="*/ 20 w 299"/>
                    <a:gd name="T93" fmla="*/ 61 h 376"/>
                    <a:gd name="T94" fmla="*/ 18 w 299"/>
                    <a:gd name="T95" fmla="*/ 60 h 376"/>
                    <a:gd name="T96" fmla="*/ 157 w 299"/>
                    <a:gd name="T97" fmla="*/ 264 h 376"/>
                    <a:gd name="T98" fmla="*/ 149 w 299"/>
                    <a:gd name="T99" fmla="*/ 260 h 376"/>
                    <a:gd name="T100" fmla="*/ 194 w 299"/>
                    <a:gd name="T101" fmla="*/ 304 h 376"/>
                    <a:gd name="T102" fmla="*/ 205 w 299"/>
                    <a:gd name="T103" fmla="*/ 277 h 376"/>
                    <a:gd name="T104" fmla="*/ 193 w 299"/>
                    <a:gd name="T105" fmla="*/ 290 h 376"/>
                    <a:gd name="T106" fmla="*/ 194 w 299"/>
                    <a:gd name="T107" fmla="*/ 304 h 3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299" h="376">
                      <a:moveTo>
                        <a:pt x="12" y="124"/>
                      </a:moveTo>
                      <a:cubicBezTo>
                        <a:pt x="15" y="129"/>
                        <a:pt x="17" y="127"/>
                        <a:pt x="20" y="130"/>
                      </a:cubicBezTo>
                      <a:cubicBezTo>
                        <a:pt x="24" y="132"/>
                        <a:pt x="24" y="138"/>
                        <a:pt x="22" y="147"/>
                      </a:cubicBezTo>
                      <a:cubicBezTo>
                        <a:pt x="21" y="155"/>
                        <a:pt x="22" y="160"/>
                        <a:pt x="26" y="167"/>
                      </a:cubicBezTo>
                      <a:cubicBezTo>
                        <a:pt x="30" y="174"/>
                        <a:pt x="40" y="171"/>
                        <a:pt x="41" y="174"/>
                      </a:cubicBezTo>
                      <a:cubicBezTo>
                        <a:pt x="42" y="177"/>
                        <a:pt x="40" y="178"/>
                        <a:pt x="38" y="180"/>
                      </a:cubicBezTo>
                      <a:cubicBezTo>
                        <a:pt x="36" y="181"/>
                        <a:pt x="38" y="183"/>
                        <a:pt x="38" y="189"/>
                      </a:cubicBezTo>
                      <a:cubicBezTo>
                        <a:pt x="39" y="195"/>
                        <a:pt x="38" y="193"/>
                        <a:pt x="34" y="197"/>
                      </a:cubicBezTo>
                      <a:cubicBezTo>
                        <a:pt x="29" y="201"/>
                        <a:pt x="33" y="203"/>
                        <a:pt x="34" y="208"/>
                      </a:cubicBezTo>
                      <a:cubicBezTo>
                        <a:pt x="35" y="213"/>
                        <a:pt x="33" y="216"/>
                        <a:pt x="29" y="217"/>
                      </a:cubicBezTo>
                      <a:cubicBezTo>
                        <a:pt x="26" y="218"/>
                        <a:pt x="22" y="220"/>
                        <a:pt x="19" y="222"/>
                      </a:cubicBezTo>
                      <a:cubicBezTo>
                        <a:pt x="16" y="224"/>
                        <a:pt x="14" y="229"/>
                        <a:pt x="14" y="235"/>
                      </a:cubicBezTo>
                      <a:cubicBezTo>
                        <a:pt x="14" y="242"/>
                        <a:pt x="18" y="241"/>
                        <a:pt x="16" y="246"/>
                      </a:cubicBezTo>
                      <a:cubicBezTo>
                        <a:pt x="14" y="251"/>
                        <a:pt x="14" y="254"/>
                        <a:pt x="19" y="257"/>
                      </a:cubicBezTo>
                      <a:cubicBezTo>
                        <a:pt x="23" y="260"/>
                        <a:pt x="34" y="258"/>
                        <a:pt x="31" y="264"/>
                      </a:cubicBezTo>
                      <a:cubicBezTo>
                        <a:pt x="28" y="270"/>
                        <a:pt x="31" y="268"/>
                        <a:pt x="28" y="273"/>
                      </a:cubicBezTo>
                      <a:cubicBezTo>
                        <a:pt x="24" y="278"/>
                        <a:pt x="22" y="273"/>
                        <a:pt x="18" y="272"/>
                      </a:cubicBezTo>
                      <a:cubicBezTo>
                        <a:pt x="13" y="270"/>
                        <a:pt x="10" y="273"/>
                        <a:pt x="10" y="277"/>
                      </a:cubicBezTo>
                      <a:cubicBezTo>
                        <a:pt x="10" y="281"/>
                        <a:pt x="14" y="282"/>
                        <a:pt x="18" y="286"/>
                      </a:cubicBezTo>
                      <a:cubicBezTo>
                        <a:pt x="23" y="291"/>
                        <a:pt x="28" y="295"/>
                        <a:pt x="33" y="286"/>
                      </a:cubicBezTo>
                      <a:cubicBezTo>
                        <a:pt x="39" y="278"/>
                        <a:pt x="47" y="273"/>
                        <a:pt x="51" y="270"/>
                      </a:cubicBezTo>
                      <a:cubicBezTo>
                        <a:pt x="55" y="267"/>
                        <a:pt x="70" y="268"/>
                        <a:pt x="72" y="264"/>
                      </a:cubicBezTo>
                      <a:cubicBezTo>
                        <a:pt x="74" y="259"/>
                        <a:pt x="79" y="259"/>
                        <a:pt x="84" y="259"/>
                      </a:cubicBezTo>
                      <a:cubicBezTo>
                        <a:pt x="89" y="259"/>
                        <a:pt x="90" y="269"/>
                        <a:pt x="92" y="271"/>
                      </a:cubicBezTo>
                      <a:cubicBezTo>
                        <a:pt x="95" y="273"/>
                        <a:pt x="98" y="270"/>
                        <a:pt x="99" y="262"/>
                      </a:cubicBezTo>
                      <a:cubicBezTo>
                        <a:pt x="100" y="254"/>
                        <a:pt x="106" y="249"/>
                        <a:pt x="110" y="245"/>
                      </a:cubicBezTo>
                      <a:cubicBezTo>
                        <a:pt x="114" y="241"/>
                        <a:pt x="121" y="247"/>
                        <a:pt x="124" y="249"/>
                      </a:cubicBezTo>
                      <a:cubicBezTo>
                        <a:pt x="127" y="252"/>
                        <a:pt x="136" y="258"/>
                        <a:pt x="140" y="253"/>
                      </a:cubicBezTo>
                      <a:cubicBezTo>
                        <a:pt x="143" y="248"/>
                        <a:pt x="148" y="251"/>
                        <a:pt x="155" y="249"/>
                      </a:cubicBezTo>
                      <a:cubicBezTo>
                        <a:pt x="161" y="246"/>
                        <a:pt x="155" y="243"/>
                        <a:pt x="159" y="238"/>
                      </a:cubicBezTo>
                      <a:cubicBezTo>
                        <a:pt x="163" y="233"/>
                        <a:pt x="168" y="239"/>
                        <a:pt x="173" y="237"/>
                      </a:cubicBezTo>
                      <a:cubicBezTo>
                        <a:pt x="178" y="235"/>
                        <a:pt x="180" y="238"/>
                        <a:pt x="188" y="238"/>
                      </a:cubicBezTo>
                      <a:cubicBezTo>
                        <a:pt x="196" y="239"/>
                        <a:pt x="195" y="232"/>
                        <a:pt x="199" y="219"/>
                      </a:cubicBezTo>
                      <a:cubicBezTo>
                        <a:pt x="204" y="207"/>
                        <a:pt x="208" y="200"/>
                        <a:pt x="211" y="191"/>
                      </a:cubicBezTo>
                      <a:cubicBezTo>
                        <a:pt x="215" y="182"/>
                        <a:pt x="211" y="178"/>
                        <a:pt x="203" y="173"/>
                      </a:cubicBezTo>
                      <a:cubicBezTo>
                        <a:pt x="195" y="168"/>
                        <a:pt x="197" y="165"/>
                        <a:pt x="197" y="152"/>
                      </a:cubicBezTo>
                      <a:cubicBezTo>
                        <a:pt x="196" y="139"/>
                        <a:pt x="198" y="119"/>
                        <a:pt x="201" y="108"/>
                      </a:cubicBezTo>
                      <a:cubicBezTo>
                        <a:pt x="204" y="97"/>
                        <a:pt x="194" y="84"/>
                        <a:pt x="188" y="76"/>
                      </a:cubicBezTo>
                      <a:cubicBezTo>
                        <a:pt x="181" y="67"/>
                        <a:pt x="170" y="41"/>
                        <a:pt x="160" y="24"/>
                      </a:cubicBezTo>
                      <a:cubicBezTo>
                        <a:pt x="155" y="16"/>
                        <a:pt x="149" y="8"/>
                        <a:pt x="144" y="0"/>
                      </a:cubicBezTo>
                      <a:cubicBezTo>
                        <a:pt x="138" y="8"/>
                        <a:pt x="131" y="17"/>
                        <a:pt x="129" y="19"/>
                      </a:cubicBezTo>
                      <a:cubicBezTo>
                        <a:pt x="126" y="22"/>
                        <a:pt x="123" y="23"/>
                        <a:pt x="119" y="24"/>
                      </a:cubicBezTo>
                      <a:cubicBezTo>
                        <a:pt x="115" y="24"/>
                        <a:pt x="109" y="24"/>
                        <a:pt x="101" y="24"/>
                      </a:cubicBezTo>
                      <a:cubicBezTo>
                        <a:pt x="96" y="24"/>
                        <a:pt x="93" y="23"/>
                        <a:pt x="89" y="23"/>
                      </a:cubicBezTo>
                      <a:cubicBezTo>
                        <a:pt x="80" y="21"/>
                        <a:pt x="72" y="21"/>
                        <a:pt x="63" y="25"/>
                      </a:cubicBezTo>
                      <a:cubicBezTo>
                        <a:pt x="53" y="29"/>
                        <a:pt x="51" y="31"/>
                        <a:pt x="48" y="35"/>
                      </a:cubicBezTo>
                      <a:cubicBezTo>
                        <a:pt x="47" y="37"/>
                        <a:pt x="45" y="39"/>
                        <a:pt x="43" y="41"/>
                      </a:cubicBezTo>
                      <a:cubicBezTo>
                        <a:pt x="39" y="45"/>
                        <a:pt x="37" y="49"/>
                        <a:pt x="35" y="52"/>
                      </a:cubicBezTo>
                      <a:cubicBezTo>
                        <a:pt x="35" y="53"/>
                        <a:pt x="34" y="55"/>
                        <a:pt x="34" y="56"/>
                      </a:cubicBezTo>
                      <a:cubicBezTo>
                        <a:pt x="34" y="56"/>
                        <a:pt x="34" y="56"/>
                        <a:pt x="35" y="56"/>
                      </a:cubicBezTo>
                      <a:cubicBezTo>
                        <a:pt x="40" y="59"/>
                        <a:pt x="39" y="62"/>
                        <a:pt x="38" y="69"/>
                      </a:cubicBezTo>
                      <a:cubicBezTo>
                        <a:pt x="37" y="76"/>
                        <a:pt x="39" y="74"/>
                        <a:pt x="42" y="80"/>
                      </a:cubicBezTo>
                      <a:cubicBezTo>
                        <a:pt x="46" y="85"/>
                        <a:pt x="43" y="88"/>
                        <a:pt x="42" y="91"/>
                      </a:cubicBezTo>
                      <a:cubicBezTo>
                        <a:pt x="40" y="95"/>
                        <a:pt x="40" y="95"/>
                        <a:pt x="42" y="102"/>
                      </a:cubicBezTo>
                      <a:cubicBezTo>
                        <a:pt x="44" y="109"/>
                        <a:pt x="47" y="107"/>
                        <a:pt x="52" y="109"/>
                      </a:cubicBezTo>
                      <a:cubicBezTo>
                        <a:pt x="57" y="111"/>
                        <a:pt x="58" y="117"/>
                        <a:pt x="56" y="119"/>
                      </a:cubicBezTo>
                      <a:cubicBezTo>
                        <a:pt x="54" y="122"/>
                        <a:pt x="45" y="123"/>
                        <a:pt x="43" y="118"/>
                      </a:cubicBezTo>
                      <a:cubicBezTo>
                        <a:pt x="41" y="112"/>
                        <a:pt x="38" y="115"/>
                        <a:pt x="37" y="112"/>
                      </a:cubicBezTo>
                      <a:cubicBezTo>
                        <a:pt x="35" y="110"/>
                        <a:pt x="27" y="110"/>
                        <a:pt x="22" y="112"/>
                      </a:cubicBezTo>
                      <a:cubicBezTo>
                        <a:pt x="17" y="115"/>
                        <a:pt x="18" y="115"/>
                        <a:pt x="13" y="116"/>
                      </a:cubicBezTo>
                      <a:cubicBezTo>
                        <a:pt x="7" y="116"/>
                        <a:pt x="10" y="119"/>
                        <a:pt x="12" y="124"/>
                      </a:cubicBezTo>
                      <a:close/>
                      <a:moveTo>
                        <a:pt x="222" y="341"/>
                      </a:moveTo>
                      <a:cubicBezTo>
                        <a:pt x="224" y="339"/>
                        <a:pt x="225" y="334"/>
                        <a:pt x="226" y="333"/>
                      </a:cubicBezTo>
                      <a:cubicBezTo>
                        <a:pt x="227" y="331"/>
                        <a:pt x="224" y="330"/>
                        <a:pt x="222" y="331"/>
                      </a:cubicBezTo>
                      <a:cubicBezTo>
                        <a:pt x="218" y="335"/>
                        <a:pt x="215" y="336"/>
                        <a:pt x="216" y="338"/>
                      </a:cubicBezTo>
                      <a:cubicBezTo>
                        <a:pt x="218" y="340"/>
                        <a:pt x="221" y="343"/>
                        <a:pt x="222" y="341"/>
                      </a:cubicBezTo>
                      <a:close/>
                      <a:moveTo>
                        <a:pt x="291" y="69"/>
                      </a:moveTo>
                      <a:cubicBezTo>
                        <a:pt x="288" y="72"/>
                        <a:pt x="290" y="74"/>
                        <a:pt x="292" y="75"/>
                      </a:cubicBezTo>
                      <a:cubicBezTo>
                        <a:pt x="294" y="75"/>
                        <a:pt x="295" y="76"/>
                        <a:pt x="297" y="74"/>
                      </a:cubicBezTo>
                      <a:cubicBezTo>
                        <a:pt x="299" y="71"/>
                        <a:pt x="294" y="67"/>
                        <a:pt x="291" y="69"/>
                      </a:cubicBezTo>
                      <a:close/>
                      <a:moveTo>
                        <a:pt x="77" y="288"/>
                      </a:moveTo>
                      <a:cubicBezTo>
                        <a:pt x="80" y="286"/>
                        <a:pt x="82" y="284"/>
                        <a:pt x="82" y="281"/>
                      </a:cubicBezTo>
                      <a:cubicBezTo>
                        <a:pt x="82" y="278"/>
                        <a:pt x="77" y="275"/>
                        <a:pt x="72" y="276"/>
                      </a:cubicBezTo>
                      <a:cubicBezTo>
                        <a:pt x="67" y="280"/>
                        <a:pt x="65" y="283"/>
                        <a:pt x="68" y="285"/>
                      </a:cubicBezTo>
                      <a:cubicBezTo>
                        <a:pt x="71" y="287"/>
                        <a:pt x="73" y="289"/>
                        <a:pt x="77" y="288"/>
                      </a:cubicBezTo>
                      <a:close/>
                      <a:moveTo>
                        <a:pt x="117" y="271"/>
                      </a:moveTo>
                      <a:cubicBezTo>
                        <a:pt x="119" y="269"/>
                        <a:pt x="116" y="267"/>
                        <a:pt x="116" y="264"/>
                      </a:cubicBezTo>
                      <a:cubicBezTo>
                        <a:pt x="116" y="261"/>
                        <a:pt x="109" y="257"/>
                        <a:pt x="109" y="260"/>
                      </a:cubicBezTo>
                      <a:cubicBezTo>
                        <a:pt x="108" y="265"/>
                        <a:pt x="107" y="266"/>
                        <a:pt x="110" y="268"/>
                      </a:cubicBezTo>
                      <a:cubicBezTo>
                        <a:pt x="113" y="270"/>
                        <a:pt x="115" y="273"/>
                        <a:pt x="117" y="271"/>
                      </a:cubicBezTo>
                      <a:close/>
                      <a:moveTo>
                        <a:pt x="4" y="372"/>
                      </a:moveTo>
                      <a:cubicBezTo>
                        <a:pt x="8" y="374"/>
                        <a:pt x="9" y="376"/>
                        <a:pt x="16" y="374"/>
                      </a:cubicBezTo>
                      <a:cubicBezTo>
                        <a:pt x="24" y="373"/>
                        <a:pt x="24" y="373"/>
                        <a:pt x="30" y="369"/>
                      </a:cubicBezTo>
                      <a:cubicBezTo>
                        <a:pt x="35" y="365"/>
                        <a:pt x="34" y="363"/>
                        <a:pt x="41" y="361"/>
                      </a:cubicBezTo>
                      <a:cubicBezTo>
                        <a:pt x="49" y="358"/>
                        <a:pt x="51" y="355"/>
                        <a:pt x="47" y="355"/>
                      </a:cubicBezTo>
                      <a:cubicBezTo>
                        <a:pt x="43" y="355"/>
                        <a:pt x="38" y="356"/>
                        <a:pt x="34" y="354"/>
                      </a:cubicBezTo>
                      <a:cubicBezTo>
                        <a:pt x="30" y="353"/>
                        <a:pt x="15" y="350"/>
                        <a:pt x="14" y="357"/>
                      </a:cubicBezTo>
                      <a:cubicBezTo>
                        <a:pt x="11" y="361"/>
                        <a:pt x="10" y="361"/>
                        <a:pt x="6" y="364"/>
                      </a:cubicBezTo>
                      <a:cubicBezTo>
                        <a:pt x="2" y="368"/>
                        <a:pt x="0" y="370"/>
                        <a:pt x="4" y="372"/>
                      </a:cubicBezTo>
                      <a:close/>
                      <a:moveTo>
                        <a:pt x="18" y="60"/>
                      </a:moveTo>
                      <a:cubicBezTo>
                        <a:pt x="15" y="62"/>
                        <a:pt x="15" y="63"/>
                        <a:pt x="17" y="64"/>
                      </a:cubicBezTo>
                      <a:cubicBezTo>
                        <a:pt x="19" y="66"/>
                        <a:pt x="24" y="69"/>
                        <a:pt x="25" y="66"/>
                      </a:cubicBezTo>
                      <a:cubicBezTo>
                        <a:pt x="25" y="65"/>
                        <a:pt x="25" y="65"/>
                        <a:pt x="25" y="65"/>
                      </a:cubicBezTo>
                      <a:cubicBezTo>
                        <a:pt x="20" y="61"/>
                        <a:pt x="20" y="61"/>
                        <a:pt x="20" y="61"/>
                      </a:cubicBezTo>
                      <a:cubicBezTo>
                        <a:pt x="21" y="60"/>
                        <a:pt x="21" y="60"/>
                        <a:pt x="21" y="60"/>
                      </a:cubicBezTo>
                      <a:cubicBezTo>
                        <a:pt x="20" y="59"/>
                        <a:pt x="19" y="59"/>
                        <a:pt x="18" y="60"/>
                      </a:cubicBezTo>
                      <a:close/>
                      <a:moveTo>
                        <a:pt x="151" y="269"/>
                      </a:moveTo>
                      <a:cubicBezTo>
                        <a:pt x="155" y="268"/>
                        <a:pt x="154" y="267"/>
                        <a:pt x="157" y="264"/>
                      </a:cubicBezTo>
                      <a:cubicBezTo>
                        <a:pt x="159" y="261"/>
                        <a:pt x="159" y="258"/>
                        <a:pt x="157" y="257"/>
                      </a:cubicBezTo>
                      <a:cubicBezTo>
                        <a:pt x="155" y="257"/>
                        <a:pt x="153" y="259"/>
                        <a:pt x="149" y="260"/>
                      </a:cubicBezTo>
                      <a:cubicBezTo>
                        <a:pt x="145" y="261"/>
                        <a:pt x="147" y="270"/>
                        <a:pt x="151" y="269"/>
                      </a:cubicBezTo>
                      <a:close/>
                      <a:moveTo>
                        <a:pt x="194" y="304"/>
                      </a:moveTo>
                      <a:cubicBezTo>
                        <a:pt x="198" y="299"/>
                        <a:pt x="198" y="295"/>
                        <a:pt x="201" y="289"/>
                      </a:cubicBezTo>
                      <a:cubicBezTo>
                        <a:pt x="204" y="283"/>
                        <a:pt x="206" y="280"/>
                        <a:pt x="205" y="277"/>
                      </a:cubicBezTo>
                      <a:cubicBezTo>
                        <a:pt x="204" y="274"/>
                        <a:pt x="198" y="270"/>
                        <a:pt x="195" y="279"/>
                      </a:cubicBezTo>
                      <a:cubicBezTo>
                        <a:pt x="193" y="284"/>
                        <a:pt x="195" y="285"/>
                        <a:pt x="193" y="290"/>
                      </a:cubicBezTo>
                      <a:cubicBezTo>
                        <a:pt x="192" y="294"/>
                        <a:pt x="187" y="297"/>
                        <a:pt x="189" y="301"/>
                      </a:cubicBezTo>
                      <a:cubicBezTo>
                        <a:pt x="191" y="306"/>
                        <a:pt x="191" y="308"/>
                        <a:pt x="194" y="304"/>
                      </a:cubicBezTo>
                      <a:close/>
                    </a:path>
                  </a:pathLst>
                </a:custGeom>
                <a:solidFill>
                  <a:srgbClr val="BFAAD4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21" name="Freeform 47"/>
                <p:cNvSpPr/>
                <p:nvPr>
                  <p:custDataLst>
                    <p:tags r:id="rId119"/>
                  </p:custDataLst>
                </p:nvPr>
              </p:nvSpPr>
              <p:spPr bwMode="auto">
                <a:xfrm>
                  <a:off x="3815" y="2572"/>
                  <a:ext cx="28" cy="14"/>
                </a:xfrm>
                <a:custGeom>
                  <a:avLst/>
                  <a:gdLst>
                    <a:gd name="T0" fmla="*/ 5 w 64"/>
                    <a:gd name="T1" fmla="*/ 32 h 32"/>
                    <a:gd name="T2" fmla="*/ 14 w 64"/>
                    <a:gd name="T3" fmla="*/ 26 h 32"/>
                    <a:gd name="T4" fmla="*/ 23 w 64"/>
                    <a:gd name="T5" fmla="*/ 24 h 32"/>
                    <a:gd name="T6" fmla="*/ 32 w 64"/>
                    <a:gd name="T7" fmla="*/ 28 h 32"/>
                    <a:gd name="T8" fmla="*/ 46 w 64"/>
                    <a:gd name="T9" fmla="*/ 27 h 32"/>
                    <a:gd name="T10" fmla="*/ 56 w 64"/>
                    <a:gd name="T11" fmla="*/ 21 h 32"/>
                    <a:gd name="T12" fmla="*/ 64 w 64"/>
                    <a:gd name="T13" fmla="*/ 12 h 32"/>
                    <a:gd name="T14" fmla="*/ 55 w 64"/>
                    <a:gd name="T15" fmla="*/ 5 h 32"/>
                    <a:gd name="T16" fmla="*/ 47 w 64"/>
                    <a:gd name="T17" fmla="*/ 6 h 32"/>
                    <a:gd name="T18" fmla="*/ 32 w 64"/>
                    <a:gd name="T19" fmla="*/ 11 h 32"/>
                    <a:gd name="T20" fmla="*/ 23 w 64"/>
                    <a:gd name="T21" fmla="*/ 11 h 32"/>
                    <a:gd name="T22" fmla="*/ 15 w 64"/>
                    <a:gd name="T23" fmla="*/ 8 h 32"/>
                    <a:gd name="T24" fmla="*/ 10 w 64"/>
                    <a:gd name="T25" fmla="*/ 17 h 32"/>
                    <a:gd name="T26" fmla="*/ 4 w 64"/>
                    <a:gd name="T27" fmla="*/ 26 h 32"/>
                    <a:gd name="T28" fmla="*/ 5 w 64"/>
                    <a:gd name="T29" fmla="*/ 32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64" h="32">
                      <a:moveTo>
                        <a:pt x="5" y="32"/>
                      </a:moveTo>
                      <a:cubicBezTo>
                        <a:pt x="6" y="31"/>
                        <a:pt x="12" y="30"/>
                        <a:pt x="14" y="26"/>
                      </a:cubicBezTo>
                      <a:cubicBezTo>
                        <a:pt x="17" y="23"/>
                        <a:pt x="19" y="24"/>
                        <a:pt x="23" y="24"/>
                      </a:cubicBezTo>
                      <a:cubicBezTo>
                        <a:pt x="28" y="23"/>
                        <a:pt x="29" y="25"/>
                        <a:pt x="32" y="28"/>
                      </a:cubicBezTo>
                      <a:cubicBezTo>
                        <a:pt x="36" y="30"/>
                        <a:pt x="44" y="30"/>
                        <a:pt x="46" y="27"/>
                      </a:cubicBezTo>
                      <a:cubicBezTo>
                        <a:pt x="49" y="24"/>
                        <a:pt x="51" y="24"/>
                        <a:pt x="56" y="21"/>
                      </a:cubicBezTo>
                      <a:cubicBezTo>
                        <a:pt x="61" y="19"/>
                        <a:pt x="64" y="15"/>
                        <a:pt x="64" y="12"/>
                      </a:cubicBezTo>
                      <a:cubicBezTo>
                        <a:pt x="63" y="9"/>
                        <a:pt x="60" y="9"/>
                        <a:pt x="55" y="5"/>
                      </a:cubicBezTo>
                      <a:cubicBezTo>
                        <a:pt x="50" y="0"/>
                        <a:pt x="50" y="4"/>
                        <a:pt x="47" y="6"/>
                      </a:cubicBezTo>
                      <a:cubicBezTo>
                        <a:pt x="43" y="8"/>
                        <a:pt x="39" y="9"/>
                        <a:pt x="32" y="11"/>
                      </a:cubicBezTo>
                      <a:cubicBezTo>
                        <a:pt x="28" y="12"/>
                        <a:pt x="26" y="12"/>
                        <a:pt x="23" y="11"/>
                      </a:cubicBezTo>
                      <a:cubicBezTo>
                        <a:pt x="20" y="10"/>
                        <a:pt x="19" y="8"/>
                        <a:pt x="15" y="8"/>
                      </a:cubicBezTo>
                      <a:cubicBezTo>
                        <a:pt x="12" y="7"/>
                        <a:pt x="11" y="13"/>
                        <a:pt x="10" y="17"/>
                      </a:cubicBezTo>
                      <a:cubicBezTo>
                        <a:pt x="10" y="21"/>
                        <a:pt x="7" y="23"/>
                        <a:pt x="4" y="26"/>
                      </a:cubicBezTo>
                      <a:cubicBezTo>
                        <a:pt x="0" y="28"/>
                        <a:pt x="4" y="32"/>
                        <a:pt x="5" y="32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22" name="Freeform 48"/>
                <p:cNvSpPr/>
                <p:nvPr>
                  <p:custDataLst>
                    <p:tags r:id="rId120"/>
                  </p:custDataLst>
                </p:nvPr>
              </p:nvSpPr>
              <p:spPr bwMode="auto">
                <a:xfrm>
                  <a:off x="3806" y="2586"/>
                  <a:ext cx="7" cy="7"/>
                </a:xfrm>
                <a:custGeom>
                  <a:avLst/>
                  <a:gdLst>
                    <a:gd name="T0" fmla="*/ 12 w 17"/>
                    <a:gd name="T1" fmla="*/ 7 h 17"/>
                    <a:gd name="T2" fmla="*/ 6 w 17"/>
                    <a:gd name="T3" fmla="*/ 13 h 17"/>
                    <a:gd name="T4" fmla="*/ 3 w 17"/>
                    <a:gd name="T5" fmla="*/ 15 h 17"/>
                    <a:gd name="T6" fmla="*/ 12 w 17"/>
                    <a:gd name="T7" fmla="*/ 14 h 17"/>
                    <a:gd name="T8" fmla="*/ 17 w 17"/>
                    <a:gd name="T9" fmla="*/ 8 h 17"/>
                    <a:gd name="T10" fmla="*/ 12 w 17"/>
                    <a:gd name="T11" fmla="*/ 7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7" h="17">
                      <a:moveTo>
                        <a:pt x="12" y="7"/>
                      </a:moveTo>
                      <a:cubicBezTo>
                        <a:pt x="11" y="9"/>
                        <a:pt x="7" y="12"/>
                        <a:pt x="6" y="13"/>
                      </a:cubicBezTo>
                      <a:cubicBezTo>
                        <a:pt x="4" y="14"/>
                        <a:pt x="0" y="14"/>
                        <a:pt x="3" y="15"/>
                      </a:cubicBezTo>
                      <a:cubicBezTo>
                        <a:pt x="7" y="16"/>
                        <a:pt x="10" y="17"/>
                        <a:pt x="12" y="14"/>
                      </a:cubicBezTo>
                      <a:cubicBezTo>
                        <a:pt x="15" y="11"/>
                        <a:pt x="17" y="10"/>
                        <a:pt x="17" y="8"/>
                      </a:cubicBezTo>
                      <a:cubicBezTo>
                        <a:pt x="17" y="6"/>
                        <a:pt x="14" y="0"/>
                        <a:pt x="12" y="7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23" name="Freeform 49"/>
                <p:cNvSpPr/>
                <p:nvPr>
                  <p:custDataLst>
                    <p:tags r:id="rId121"/>
                  </p:custDataLst>
                </p:nvPr>
              </p:nvSpPr>
              <p:spPr bwMode="auto">
                <a:xfrm>
                  <a:off x="4197" y="2151"/>
                  <a:ext cx="7" cy="6"/>
                </a:xfrm>
                <a:custGeom>
                  <a:avLst/>
                  <a:gdLst>
                    <a:gd name="T0" fmla="*/ 16 w 16"/>
                    <a:gd name="T1" fmla="*/ 10 h 14"/>
                    <a:gd name="T2" fmla="*/ 8 w 16"/>
                    <a:gd name="T3" fmla="*/ 4 h 14"/>
                    <a:gd name="T4" fmla="*/ 6 w 16"/>
                    <a:gd name="T5" fmla="*/ 14 h 14"/>
                    <a:gd name="T6" fmla="*/ 16 w 16"/>
                    <a:gd name="T7" fmla="*/ 10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6" h="14">
                      <a:moveTo>
                        <a:pt x="16" y="10"/>
                      </a:moveTo>
                      <a:cubicBezTo>
                        <a:pt x="16" y="6"/>
                        <a:pt x="15" y="0"/>
                        <a:pt x="8" y="4"/>
                      </a:cubicBezTo>
                      <a:cubicBezTo>
                        <a:pt x="5" y="9"/>
                        <a:pt x="0" y="13"/>
                        <a:pt x="6" y="14"/>
                      </a:cubicBezTo>
                      <a:cubicBezTo>
                        <a:pt x="12" y="14"/>
                        <a:pt x="16" y="13"/>
                        <a:pt x="16" y="10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24" name="Freeform 50"/>
                <p:cNvSpPr/>
                <p:nvPr>
                  <p:custDataLst>
                    <p:tags r:id="rId122"/>
                  </p:custDataLst>
                </p:nvPr>
              </p:nvSpPr>
              <p:spPr bwMode="auto">
                <a:xfrm>
                  <a:off x="4224" y="1703"/>
                  <a:ext cx="4" cy="4"/>
                </a:xfrm>
                <a:custGeom>
                  <a:avLst/>
                  <a:gdLst>
                    <a:gd name="T0" fmla="*/ 10 w 10"/>
                    <a:gd name="T1" fmla="*/ 7 h 10"/>
                    <a:gd name="T2" fmla="*/ 5 w 10"/>
                    <a:gd name="T3" fmla="*/ 3 h 10"/>
                    <a:gd name="T4" fmla="*/ 3 w 10"/>
                    <a:gd name="T5" fmla="*/ 10 h 10"/>
                    <a:gd name="T6" fmla="*/ 10 w 10"/>
                    <a:gd name="T7" fmla="*/ 7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0" h="10">
                      <a:moveTo>
                        <a:pt x="10" y="7"/>
                      </a:moveTo>
                      <a:cubicBezTo>
                        <a:pt x="10" y="4"/>
                        <a:pt x="7" y="0"/>
                        <a:pt x="5" y="3"/>
                      </a:cubicBezTo>
                      <a:cubicBezTo>
                        <a:pt x="4" y="5"/>
                        <a:pt x="0" y="10"/>
                        <a:pt x="3" y="10"/>
                      </a:cubicBezTo>
                      <a:cubicBezTo>
                        <a:pt x="6" y="10"/>
                        <a:pt x="10" y="10"/>
                        <a:pt x="10" y="7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25" name="Freeform 51"/>
                <p:cNvSpPr/>
                <p:nvPr>
                  <p:custDataLst>
                    <p:tags r:id="rId123"/>
                  </p:custDataLst>
                </p:nvPr>
              </p:nvSpPr>
              <p:spPr bwMode="auto">
                <a:xfrm>
                  <a:off x="4134" y="2116"/>
                  <a:ext cx="12" cy="8"/>
                </a:xfrm>
                <a:custGeom>
                  <a:avLst/>
                  <a:gdLst>
                    <a:gd name="T0" fmla="*/ 28 w 28"/>
                    <a:gd name="T1" fmla="*/ 12 h 19"/>
                    <a:gd name="T2" fmla="*/ 17 w 28"/>
                    <a:gd name="T3" fmla="*/ 5 h 19"/>
                    <a:gd name="T4" fmla="*/ 9 w 28"/>
                    <a:gd name="T5" fmla="*/ 19 h 19"/>
                    <a:gd name="T6" fmla="*/ 28 w 28"/>
                    <a:gd name="T7" fmla="*/ 12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8" h="19">
                      <a:moveTo>
                        <a:pt x="28" y="12"/>
                      </a:moveTo>
                      <a:cubicBezTo>
                        <a:pt x="28" y="7"/>
                        <a:pt x="24" y="0"/>
                        <a:pt x="17" y="5"/>
                      </a:cubicBezTo>
                      <a:cubicBezTo>
                        <a:pt x="9" y="13"/>
                        <a:pt x="0" y="18"/>
                        <a:pt x="9" y="19"/>
                      </a:cubicBezTo>
                      <a:cubicBezTo>
                        <a:pt x="18" y="19"/>
                        <a:pt x="28" y="16"/>
                        <a:pt x="28" y="12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26" name="Freeform 52"/>
                <p:cNvSpPr/>
                <p:nvPr>
                  <p:custDataLst>
                    <p:tags r:id="rId124"/>
                  </p:custDataLst>
                </p:nvPr>
              </p:nvSpPr>
              <p:spPr bwMode="auto">
                <a:xfrm>
                  <a:off x="4327" y="1994"/>
                  <a:ext cx="6" cy="5"/>
                </a:xfrm>
                <a:custGeom>
                  <a:avLst/>
                  <a:gdLst>
                    <a:gd name="T0" fmla="*/ 13 w 14"/>
                    <a:gd name="T1" fmla="*/ 6 h 12"/>
                    <a:gd name="T2" fmla="*/ 5 w 14"/>
                    <a:gd name="T3" fmla="*/ 1 h 12"/>
                    <a:gd name="T4" fmla="*/ 1 w 14"/>
                    <a:gd name="T5" fmla="*/ 9 h 12"/>
                    <a:gd name="T6" fmla="*/ 13 w 14"/>
                    <a:gd name="T7" fmla="*/ 6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4" h="12">
                      <a:moveTo>
                        <a:pt x="13" y="6"/>
                      </a:moveTo>
                      <a:cubicBezTo>
                        <a:pt x="14" y="2"/>
                        <a:pt x="9" y="0"/>
                        <a:pt x="5" y="1"/>
                      </a:cubicBezTo>
                      <a:cubicBezTo>
                        <a:pt x="2" y="4"/>
                        <a:pt x="0" y="5"/>
                        <a:pt x="1" y="9"/>
                      </a:cubicBezTo>
                      <a:cubicBezTo>
                        <a:pt x="2" y="12"/>
                        <a:pt x="11" y="11"/>
                        <a:pt x="13" y="6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27" name="Freeform 53"/>
                <p:cNvSpPr/>
                <p:nvPr>
                  <p:custDataLst>
                    <p:tags r:id="rId125"/>
                  </p:custDataLst>
                </p:nvPr>
              </p:nvSpPr>
              <p:spPr bwMode="auto">
                <a:xfrm>
                  <a:off x="4246" y="1648"/>
                  <a:ext cx="7" cy="8"/>
                </a:xfrm>
                <a:custGeom>
                  <a:avLst/>
                  <a:gdLst>
                    <a:gd name="T0" fmla="*/ 5 w 17"/>
                    <a:gd name="T1" fmla="*/ 17 h 18"/>
                    <a:gd name="T2" fmla="*/ 15 w 17"/>
                    <a:gd name="T3" fmla="*/ 12 h 18"/>
                    <a:gd name="T4" fmla="*/ 10 w 17"/>
                    <a:gd name="T5" fmla="*/ 6 h 18"/>
                    <a:gd name="T6" fmla="*/ 2 w 17"/>
                    <a:gd name="T7" fmla="*/ 3 h 18"/>
                    <a:gd name="T8" fmla="*/ 3 w 17"/>
                    <a:gd name="T9" fmla="*/ 8 h 18"/>
                    <a:gd name="T10" fmla="*/ 5 w 17"/>
                    <a:gd name="T11" fmla="*/ 17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7" h="18">
                      <a:moveTo>
                        <a:pt x="5" y="17"/>
                      </a:moveTo>
                      <a:cubicBezTo>
                        <a:pt x="10" y="18"/>
                        <a:pt x="17" y="16"/>
                        <a:pt x="15" y="12"/>
                      </a:cubicBezTo>
                      <a:cubicBezTo>
                        <a:pt x="13" y="9"/>
                        <a:pt x="10" y="10"/>
                        <a:pt x="10" y="6"/>
                      </a:cubicBezTo>
                      <a:cubicBezTo>
                        <a:pt x="10" y="1"/>
                        <a:pt x="5" y="0"/>
                        <a:pt x="2" y="3"/>
                      </a:cubicBezTo>
                      <a:cubicBezTo>
                        <a:pt x="0" y="5"/>
                        <a:pt x="1" y="5"/>
                        <a:pt x="3" y="8"/>
                      </a:cubicBezTo>
                      <a:cubicBezTo>
                        <a:pt x="4" y="11"/>
                        <a:pt x="1" y="16"/>
                        <a:pt x="5" y="17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28" name="Freeform 54"/>
                <p:cNvSpPr/>
                <p:nvPr>
                  <p:custDataLst>
                    <p:tags r:id="rId126"/>
                  </p:custDataLst>
                </p:nvPr>
              </p:nvSpPr>
              <p:spPr bwMode="auto">
                <a:xfrm>
                  <a:off x="4312" y="2011"/>
                  <a:ext cx="12" cy="12"/>
                </a:xfrm>
                <a:custGeom>
                  <a:avLst/>
                  <a:gdLst>
                    <a:gd name="T0" fmla="*/ 14 w 27"/>
                    <a:gd name="T1" fmla="*/ 20 h 27"/>
                    <a:gd name="T2" fmla="*/ 23 w 27"/>
                    <a:gd name="T3" fmla="*/ 7 h 27"/>
                    <a:gd name="T4" fmla="*/ 19 w 27"/>
                    <a:gd name="T5" fmla="*/ 1 h 27"/>
                    <a:gd name="T6" fmla="*/ 3 w 27"/>
                    <a:gd name="T7" fmla="*/ 6 h 27"/>
                    <a:gd name="T8" fmla="*/ 3 w 27"/>
                    <a:gd name="T9" fmla="*/ 18 h 27"/>
                    <a:gd name="T10" fmla="*/ 14 w 27"/>
                    <a:gd name="T11" fmla="*/ 20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7">
                      <a:moveTo>
                        <a:pt x="14" y="20"/>
                      </a:moveTo>
                      <a:cubicBezTo>
                        <a:pt x="18" y="13"/>
                        <a:pt x="19" y="13"/>
                        <a:pt x="23" y="7"/>
                      </a:cubicBezTo>
                      <a:cubicBezTo>
                        <a:pt x="27" y="1"/>
                        <a:pt x="22" y="0"/>
                        <a:pt x="19" y="1"/>
                      </a:cubicBezTo>
                      <a:cubicBezTo>
                        <a:pt x="14" y="3"/>
                        <a:pt x="6" y="4"/>
                        <a:pt x="3" y="6"/>
                      </a:cubicBezTo>
                      <a:cubicBezTo>
                        <a:pt x="1" y="8"/>
                        <a:pt x="0" y="13"/>
                        <a:pt x="3" y="18"/>
                      </a:cubicBezTo>
                      <a:cubicBezTo>
                        <a:pt x="6" y="23"/>
                        <a:pt x="10" y="27"/>
                        <a:pt x="14" y="20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29" name="Freeform 55"/>
                <p:cNvSpPr/>
                <p:nvPr>
                  <p:custDataLst>
                    <p:tags r:id="rId127"/>
                  </p:custDataLst>
                </p:nvPr>
              </p:nvSpPr>
              <p:spPr bwMode="auto">
                <a:xfrm>
                  <a:off x="4306" y="2141"/>
                  <a:ext cx="9" cy="9"/>
                </a:xfrm>
                <a:custGeom>
                  <a:avLst/>
                  <a:gdLst>
                    <a:gd name="T0" fmla="*/ 13 w 22"/>
                    <a:gd name="T1" fmla="*/ 7 h 22"/>
                    <a:gd name="T2" fmla="*/ 4 w 22"/>
                    <a:gd name="T3" fmla="*/ 7 h 22"/>
                    <a:gd name="T4" fmla="*/ 18 w 22"/>
                    <a:gd name="T5" fmla="*/ 19 h 22"/>
                    <a:gd name="T6" fmla="*/ 13 w 22"/>
                    <a:gd name="T7" fmla="*/ 7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2" h="22">
                      <a:moveTo>
                        <a:pt x="13" y="7"/>
                      </a:moveTo>
                      <a:cubicBezTo>
                        <a:pt x="10" y="4"/>
                        <a:pt x="0" y="0"/>
                        <a:pt x="4" y="7"/>
                      </a:cubicBezTo>
                      <a:cubicBezTo>
                        <a:pt x="6" y="18"/>
                        <a:pt x="14" y="22"/>
                        <a:pt x="18" y="19"/>
                      </a:cubicBezTo>
                      <a:cubicBezTo>
                        <a:pt x="22" y="16"/>
                        <a:pt x="15" y="10"/>
                        <a:pt x="13" y="7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30" name="Freeform 56"/>
                <p:cNvSpPr/>
                <p:nvPr>
                  <p:custDataLst>
                    <p:tags r:id="rId128"/>
                  </p:custDataLst>
                </p:nvPr>
              </p:nvSpPr>
              <p:spPr bwMode="auto">
                <a:xfrm>
                  <a:off x="4271" y="2193"/>
                  <a:ext cx="6" cy="9"/>
                </a:xfrm>
                <a:custGeom>
                  <a:avLst/>
                  <a:gdLst>
                    <a:gd name="T0" fmla="*/ 6 w 14"/>
                    <a:gd name="T1" fmla="*/ 16 h 20"/>
                    <a:gd name="T2" fmla="*/ 13 w 14"/>
                    <a:gd name="T3" fmla="*/ 7 h 20"/>
                    <a:gd name="T4" fmla="*/ 0 w 14"/>
                    <a:gd name="T5" fmla="*/ 7 h 20"/>
                    <a:gd name="T6" fmla="*/ 6 w 14"/>
                    <a:gd name="T7" fmla="*/ 16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4" h="20">
                      <a:moveTo>
                        <a:pt x="6" y="16"/>
                      </a:moveTo>
                      <a:cubicBezTo>
                        <a:pt x="11" y="11"/>
                        <a:pt x="14" y="12"/>
                        <a:pt x="13" y="7"/>
                      </a:cubicBezTo>
                      <a:cubicBezTo>
                        <a:pt x="11" y="2"/>
                        <a:pt x="0" y="0"/>
                        <a:pt x="0" y="7"/>
                      </a:cubicBezTo>
                      <a:cubicBezTo>
                        <a:pt x="0" y="11"/>
                        <a:pt x="1" y="20"/>
                        <a:pt x="6" y="16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31" name="Freeform 57"/>
                <p:cNvSpPr>
                  <a:spLocks noEditPoints="1"/>
                </p:cNvSpPr>
                <p:nvPr>
                  <p:custDataLst>
                    <p:tags r:id="rId129"/>
                  </p:custDataLst>
                </p:nvPr>
              </p:nvSpPr>
              <p:spPr bwMode="auto">
                <a:xfrm>
                  <a:off x="3986" y="1076"/>
                  <a:ext cx="240" cy="409"/>
                </a:xfrm>
                <a:custGeom>
                  <a:avLst/>
                  <a:gdLst>
                    <a:gd name="T0" fmla="*/ 72 w 563"/>
                    <a:gd name="T1" fmla="*/ 854 h 957"/>
                    <a:gd name="T2" fmla="*/ 46 w 563"/>
                    <a:gd name="T3" fmla="*/ 848 h 957"/>
                    <a:gd name="T4" fmla="*/ 34 w 563"/>
                    <a:gd name="T5" fmla="*/ 864 h 957"/>
                    <a:gd name="T6" fmla="*/ 13 w 563"/>
                    <a:gd name="T7" fmla="*/ 883 h 957"/>
                    <a:gd name="T8" fmla="*/ 8 w 563"/>
                    <a:gd name="T9" fmla="*/ 887 h 957"/>
                    <a:gd name="T10" fmla="*/ 18 w 563"/>
                    <a:gd name="T11" fmla="*/ 899 h 957"/>
                    <a:gd name="T12" fmla="*/ 16 w 563"/>
                    <a:gd name="T13" fmla="*/ 920 h 957"/>
                    <a:gd name="T14" fmla="*/ 30 w 563"/>
                    <a:gd name="T15" fmla="*/ 932 h 957"/>
                    <a:gd name="T16" fmla="*/ 46 w 563"/>
                    <a:gd name="T17" fmla="*/ 927 h 957"/>
                    <a:gd name="T18" fmla="*/ 62 w 563"/>
                    <a:gd name="T19" fmla="*/ 901 h 957"/>
                    <a:gd name="T20" fmla="*/ 89 w 563"/>
                    <a:gd name="T21" fmla="*/ 880 h 957"/>
                    <a:gd name="T22" fmla="*/ 108 w 563"/>
                    <a:gd name="T23" fmla="*/ 887 h 957"/>
                    <a:gd name="T24" fmla="*/ 126 w 563"/>
                    <a:gd name="T25" fmla="*/ 895 h 957"/>
                    <a:gd name="T26" fmla="*/ 134 w 563"/>
                    <a:gd name="T27" fmla="*/ 876 h 957"/>
                    <a:gd name="T28" fmla="*/ 155 w 563"/>
                    <a:gd name="T29" fmla="*/ 861 h 957"/>
                    <a:gd name="T30" fmla="*/ 145 w 563"/>
                    <a:gd name="T31" fmla="*/ 844 h 957"/>
                    <a:gd name="T32" fmla="*/ 136 w 563"/>
                    <a:gd name="T33" fmla="*/ 835 h 957"/>
                    <a:gd name="T34" fmla="*/ 108 w 563"/>
                    <a:gd name="T35" fmla="*/ 825 h 957"/>
                    <a:gd name="T36" fmla="*/ 93 w 563"/>
                    <a:gd name="T37" fmla="*/ 831 h 957"/>
                    <a:gd name="T38" fmla="*/ 87 w 563"/>
                    <a:gd name="T39" fmla="*/ 843 h 957"/>
                    <a:gd name="T40" fmla="*/ 69 w 563"/>
                    <a:gd name="T41" fmla="*/ 696 h 957"/>
                    <a:gd name="T42" fmla="*/ 64 w 563"/>
                    <a:gd name="T43" fmla="*/ 687 h 957"/>
                    <a:gd name="T44" fmla="*/ 69 w 563"/>
                    <a:gd name="T45" fmla="*/ 696 h 957"/>
                    <a:gd name="T46" fmla="*/ 554 w 563"/>
                    <a:gd name="T47" fmla="*/ 33 h 957"/>
                    <a:gd name="T48" fmla="*/ 562 w 563"/>
                    <a:gd name="T49" fmla="*/ 36 h 957"/>
                    <a:gd name="T50" fmla="*/ 455 w 563"/>
                    <a:gd name="T51" fmla="*/ 261 h 957"/>
                    <a:gd name="T52" fmla="*/ 446 w 563"/>
                    <a:gd name="T53" fmla="*/ 268 h 957"/>
                    <a:gd name="T54" fmla="*/ 386 w 563"/>
                    <a:gd name="T55" fmla="*/ 573 h 957"/>
                    <a:gd name="T56" fmla="*/ 389 w 563"/>
                    <a:gd name="T57" fmla="*/ 555 h 957"/>
                    <a:gd name="T58" fmla="*/ 377 w 563"/>
                    <a:gd name="T59" fmla="*/ 560 h 957"/>
                    <a:gd name="T60" fmla="*/ 386 w 563"/>
                    <a:gd name="T61" fmla="*/ 573 h 957"/>
                    <a:gd name="T62" fmla="*/ 312 w 563"/>
                    <a:gd name="T63" fmla="*/ 613 h 957"/>
                    <a:gd name="T64" fmla="*/ 286 w 563"/>
                    <a:gd name="T65" fmla="*/ 613 h 957"/>
                    <a:gd name="T66" fmla="*/ 301 w 563"/>
                    <a:gd name="T67" fmla="*/ 620 h 957"/>
                    <a:gd name="T68" fmla="*/ 547 w 563"/>
                    <a:gd name="T69" fmla="*/ 6 h 957"/>
                    <a:gd name="T70" fmla="*/ 542 w 563"/>
                    <a:gd name="T71" fmla="*/ 21 h 957"/>
                    <a:gd name="T72" fmla="*/ 159 w 563"/>
                    <a:gd name="T73" fmla="*/ 826 h 957"/>
                    <a:gd name="T74" fmla="*/ 166 w 563"/>
                    <a:gd name="T75" fmla="*/ 830 h 957"/>
                    <a:gd name="T76" fmla="*/ 171 w 563"/>
                    <a:gd name="T77" fmla="*/ 817 h 957"/>
                    <a:gd name="T78" fmla="*/ 452 w 563"/>
                    <a:gd name="T79" fmla="*/ 846 h 957"/>
                    <a:gd name="T80" fmla="*/ 452 w 563"/>
                    <a:gd name="T81" fmla="*/ 838 h 957"/>
                    <a:gd name="T82" fmla="*/ 447 w 563"/>
                    <a:gd name="T83" fmla="*/ 788 h 957"/>
                    <a:gd name="T84" fmla="*/ 445 w 563"/>
                    <a:gd name="T85" fmla="*/ 807 h 957"/>
                    <a:gd name="T86" fmla="*/ 447 w 563"/>
                    <a:gd name="T87" fmla="*/ 788 h 957"/>
                    <a:gd name="T88" fmla="*/ 475 w 563"/>
                    <a:gd name="T89" fmla="*/ 950 h 957"/>
                    <a:gd name="T90" fmla="*/ 466 w 563"/>
                    <a:gd name="T91" fmla="*/ 957 h 957"/>
                    <a:gd name="T92" fmla="*/ 478 w 563"/>
                    <a:gd name="T93" fmla="*/ 914 h 957"/>
                    <a:gd name="T94" fmla="*/ 464 w 563"/>
                    <a:gd name="T95" fmla="*/ 907 h 9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563" h="957">
                      <a:moveTo>
                        <a:pt x="80" y="849"/>
                      </a:moveTo>
                      <a:cubicBezTo>
                        <a:pt x="75" y="850"/>
                        <a:pt x="76" y="852"/>
                        <a:pt x="72" y="854"/>
                      </a:cubicBezTo>
                      <a:cubicBezTo>
                        <a:pt x="67" y="856"/>
                        <a:pt x="62" y="855"/>
                        <a:pt x="56" y="852"/>
                      </a:cubicBezTo>
                      <a:cubicBezTo>
                        <a:pt x="51" y="849"/>
                        <a:pt x="51" y="848"/>
                        <a:pt x="46" y="848"/>
                      </a:cubicBezTo>
                      <a:cubicBezTo>
                        <a:pt x="40" y="847"/>
                        <a:pt x="44" y="849"/>
                        <a:pt x="41" y="855"/>
                      </a:cubicBezTo>
                      <a:cubicBezTo>
                        <a:pt x="38" y="861"/>
                        <a:pt x="36" y="862"/>
                        <a:pt x="34" y="864"/>
                      </a:cubicBezTo>
                      <a:cubicBezTo>
                        <a:pt x="31" y="867"/>
                        <a:pt x="27" y="872"/>
                        <a:pt x="25" y="873"/>
                      </a:cubicBezTo>
                      <a:cubicBezTo>
                        <a:pt x="23" y="874"/>
                        <a:pt x="19" y="883"/>
                        <a:pt x="13" y="883"/>
                      </a:cubicBezTo>
                      <a:cubicBezTo>
                        <a:pt x="7" y="883"/>
                        <a:pt x="0" y="885"/>
                        <a:pt x="0" y="887"/>
                      </a:cubicBezTo>
                      <a:cubicBezTo>
                        <a:pt x="0" y="890"/>
                        <a:pt x="4" y="886"/>
                        <a:pt x="8" y="887"/>
                      </a:cubicBezTo>
                      <a:cubicBezTo>
                        <a:pt x="12" y="888"/>
                        <a:pt x="9" y="891"/>
                        <a:pt x="11" y="894"/>
                      </a:cubicBezTo>
                      <a:cubicBezTo>
                        <a:pt x="13" y="897"/>
                        <a:pt x="16" y="897"/>
                        <a:pt x="18" y="899"/>
                      </a:cubicBezTo>
                      <a:cubicBezTo>
                        <a:pt x="19" y="901"/>
                        <a:pt x="17" y="903"/>
                        <a:pt x="14" y="907"/>
                      </a:cubicBezTo>
                      <a:cubicBezTo>
                        <a:pt x="11" y="912"/>
                        <a:pt x="15" y="916"/>
                        <a:pt x="16" y="920"/>
                      </a:cubicBezTo>
                      <a:cubicBezTo>
                        <a:pt x="17" y="925"/>
                        <a:pt x="22" y="922"/>
                        <a:pt x="27" y="924"/>
                      </a:cubicBezTo>
                      <a:cubicBezTo>
                        <a:pt x="33" y="927"/>
                        <a:pt x="30" y="930"/>
                        <a:pt x="30" y="932"/>
                      </a:cubicBezTo>
                      <a:cubicBezTo>
                        <a:pt x="31" y="935"/>
                        <a:pt x="38" y="934"/>
                        <a:pt x="43" y="936"/>
                      </a:cubicBezTo>
                      <a:cubicBezTo>
                        <a:pt x="48" y="937"/>
                        <a:pt x="46" y="933"/>
                        <a:pt x="46" y="927"/>
                      </a:cubicBezTo>
                      <a:cubicBezTo>
                        <a:pt x="46" y="921"/>
                        <a:pt x="48" y="918"/>
                        <a:pt x="53" y="914"/>
                      </a:cubicBezTo>
                      <a:cubicBezTo>
                        <a:pt x="58" y="909"/>
                        <a:pt x="60" y="905"/>
                        <a:pt x="62" y="901"/>
                      </a:cubicBezTo>
                      <a:cubicBezTo>
                        <a:pt x="65" y="896"/>
                        <a:pt x="76" y="894"/>
                        <a:pt x="79" y="890"/>
                      </a:cubicBezTo>
                      <a:cubicBezTo>
                        <a:pt x="82" y="885"/>
                        <a:pt x="84" y="883"/>
                        <a:pt x="89" y="880"/>
                      </a:cubicBezTo>
                      <a:cubicBezTo>
                        <a:pt x="94" y="878"/>
                        <a:pt x="95" y="882"/>
                        <a:pt x="100" y="883"/>
                      </a:cubicBezTo>
                      <a:cubicBezTo>
                        <a:pt x="106" y="883"/>
                        <a:pt x="107" y="883"/>
                        <a:pt x="108" y="887"/>
                      </a:cubicBezTo>
                      <a:cubicBezTo>
                        <a:pt x="110" y="892"/>
                        <a:pt x="116" y="891"/>
                        <a:pt x="119" y="895"/>
                      </a:cubicBezTo>
                      <a:cubicBezTo>
                        <a:pt x="122" y="899"/>
                        <a:pt x="124" y="898"/>
                        <a:pt x="126" y="895"/>
                      </a:cubicBezTo>
                      <a:cubicBezTo>
                        <a:pt x="128" y="892"/>
                        <a:pt x="127" y="889"/>
                        <a:pt x="127" y="883"/>
                      </a:cubicBezTo>
                      <a:cubicBezTo>
                        <a:pt x="127" y="877"/>
                        <a:pt x="132" y="880"/>
                        <a:pt x="134" y="876"/>
                      </a:cubicBezTo>
                      <a:cubicBezTo>
                        <a:pt x="136" y="872"/>
                        <a:pt x="141" y="870"/>
                        <a:pt x="146" y="867"/>
                      </a:cubicBezTo>
                      <a:cubicBezTo>
                        <a:pt x="150" y="864"/>
                        <a:pt x="153" y="865"/>
                        <a:pt x="155" y="861"/>
                      </a:cubicBezTo>
                      <a:cubicBezTo>
                        <a:pt x="158" y="858"/>
                        <a:pt x="154" y="857"/>
                        <a:pt x="150" y="855"/>
                      </a:cubicBezTo>
                      <a:cubicBezTo>
                        <a:pt x="145" y="852"/>
                        <a:pt x="145" y="849"/>
                        <a:pt x="145" y="844"/>
                      </a:cubicBezTo>
                      <a:cubicBezTo>
                        <a:pt x="144" y="839"/>
                        <a:pt x="148" y="839"/>
                        <a:pt x="147" y="836"/>
                      </a:cubicBezTo>
                      <a:cubicBezTo>
                        <a:pt x="147" y="833"/>
                        <a:pt x="143" y="835"/>
                        <a:pt x="136" y="835"/>
                      </a:cubicBezTo>
                      <a:cubicBezTo>
                        <a:pt x="129" y="835"/>
                        <a:pt x="128" y="834"/>
                        <a:pt x="120" y="832"/>
                      </a:cubicBezTo>
                      <a:cubicBezTo>
                        <a:pt x="112" y="829"/>
                        <a:pt x="114" y="830"/>
                        <a:pt x="108" y="825"/>
                      </a:cubicBezTo>
                      <a:cubicBezTo>
                        <a:pt x="105" y="823"/>
                        <a:pt x="104" y="826"/>
                        <a:pt x="101" y="828"/>
                      </a:cubicBezTo>
                      <a:cubicBezTo>
                        <a:pt x="99" y="830"/>
                        <a:pt x="97" y="831"/>
                        <a:pt x="93" y="831"/>
                      </a:cubicBezTo>
                      <a:cubicBezTo>
                        <a:pt x="89" y="831"/>
                        <a:pt x="89" y="832"/>
                        <a:pt x="87" y="834"/>
                      </a:cubicBezTo>
                      <a:cubicBezTo>
                        <a:pt x="86" y="837"/>
                        <a:pt x="88" y="839"/>
                        <a:pt x="87" y="843"/>
                      </a:cubicBezTo>
                      <a:cubicBezTo>
                        <a:pt x="86" y="848"/>
                        <a:pt x="85" y="848"/>
                        <a:pt x="80" y="849"/>
                      </a:cubicBezTo>
                      <a:close/>
                      <a:moveTo>
                        <a:pt x="69" y="696"/>
                      </a:moveTo>
                      <a:cubicBezTo>
                        <a:pt x="72" y="693"/>
                        <a:pt x="72" y="692"/>
                        <a:pt x="72" y="690"/>
                      </a:cubicBezTo>
                      <a:cubicBezTo>
                        <a:pt x="72" y="689"/>
                        <a:pt x="68" y="684"/>
                        <a:pt x="64" y="687"/>
                      </a:cubicBezTo>
                      <a:cubicBezTo>
                        <a:pt x="63" y="689"/>
                        <a:pt x="61" y="691"/>
                        <a:pt x="63" y="694"/>
                      </a:cubicBezTo>
                      <a:cubicBezTo>
                        <a:pt x="65" y="697"/>
                        <a:pt x="66" y="698"/>
                        <a:pt x="69" y="696"/>
                      </a:cubicBezTo>
                      <a:close/>
                      <a:moveTo>
                        <a:pt x="562" y="36"/>
                      </a:moveTo>
                      <a:cubicBezTo>
                        <a:pt x="563" y="30"/>
                        <a:pt x="554" y="29"/>
                        <a:pt x="554" y="33"/>
                      </a:cubicBezTo>
                      <a:cubicBezTo>
                        <a:pt x="553" y="36"/>
                        <a:pt x="551" y="39"/>
                        <a:pt x="556" y="41"/>
                      </a:cubicBezTo>
                      <a:cubicBezTo>
                        <a:pt x="560" y="43"/>
                        <a:pt x="561" y="42"/>
                        <a:pt x="562" y="36"/>
                      </a:cubicBezTo>
                      <a:close/>
                      <a:moveTo>
                        <a:pt x="452" y="271"/>
                      </a:moveTo>
                      <a:cubicBezTo>
                        <a:pt x="453" y="267"/>
                        <a:pt x="452" y="265"/>
                        <a:pt x="455" y="261"/>
                      </a:cubicBezTo>
                      <a:cubicBezTo>
                        <a:pt x="457" y="256"/>
                        <a:pt x="453" y="253"/>
                        <a:pt x="447" y="257"/>
                      </a:cubicBezTo>
                      <a:cubicBezTo>
                        <a:pt x="445" y="261"/>
                        <a:pt x="445" y="261"/>
                        <a:pt x="446" y="268"/>
                      </a:cubicBezTo>
                      <a:cubicBezTo>
                        <a:pt x="447" y="274"/>
                        <a:pt x="451" y="276"/>
                        <a:pt x="452" y="271"/>
                      </a:cubicBezTo>
                      <a:close/>
                      <a:moveTo>
                        <a:pt x="386" y="573"/>
                      </a:moveTo>
                      <a:cubicBezTo>
                        <a:pt x="386" y="568"/>
                        <a:pt x="385" y="569"/>
                        <a:pt x="387" y="564"/>
                      </a:cubicBezTo>
                      <a:cubicBezTo>
                        <a:pt x="389" y="559"/>
                        <a:pt x="389" y="557"/>
                        <a:pt x="389" y="555"/>
                      </a:cubicBezTo>
                      <a:cubicBezTo>
                        <a:pt x="390" y="552"/>
                        <a:pt x="389" y="545"/>
                        <a:pt x="382" y="552"/>
                      </a:cubicBezTo>
                      <a:cubicBezTo>
                        <a:pt x="381" y="556"/>
                        <a:pt x="378" y="554"/>
                        <a:pt x="377" y="560"/>
                      </a:cubicBezTo>
                      <a:cubicBezTo>
                        <a:pt x="375" y="566"/>
                        <a:pt x="377" y="568"/>
                        <a:pt x="377" y="574"/>
                      </a:cubicBezTo>
                      <a:cubicBezTo>
                        <a:pt x="376" y="581"/>
                        <a:pt x="385" y="577"/>
                        <a:pt x="386" y="573"/>
                      </a:cubicBezTo>
                      <a:close/>
                      <a:moveTo>
                        <a:pt x="301" y="620"/>
                      </a:moveTo>
                      <a:cubicBezTo>
                        <a:pt x="306" y="620"/>
                        <a:pt x="309" y="621"/>
                        <a:pt x="312" y="613"/>
                      </a:cubicBezTo>
                      <a:cubicBezTo>
                        <a:pt x="315" y="605"/>
                        <a:pt x="310" y="595"/>
                        <a:pt x="298" y="606"/>
                      </a:cubicBezTo>
                      <a:cubicBezTo>
                        <a:pt x="293" y="612"/>
                        <a:pt x="289" y="611"/>
                        <a:pt x="286" y="613"/>
                      </a:cubicBezTo>
                      <a:cubicBezTo>
                        <a:pt x="282" y="615"/>
                        <a:pt x="281" y="624"/>
                        <a:pt x="284" y="626"/>
                      </a:cubicBezTo>
                      <a:cubicBezTo>
                        <a:pt x="286" y="626"/>
                        <a:pt x="296" y="620"/>
                        <a:pt x="301" y="620"/>
                      </a:cubicBezTo>
                      <a:close/>
                      <a:moveTo>
                        <a:pt x="542" y="21"/>
                      </a:moveTo>
                      <a:cubicBezTo>
                        <a:pt x="549" y="20"/>
                        <a:pt x="547" y="10"/>
                        <a:pt x="547" y="6"/>
                      </a:cubicBezTo>
                      <a:cubicBezTo>
                        <a:pt x="547" y="3"/>
                        <a:pt x="541" y="0"/>
                        <a:pt x="538" y="11"/>
                      </a:cubicBezTo>
                      <a:cubicBezTo>
                        <a:pt x="538" y="16"/>
                        <a:pt x="535" y="22"/>
                        <a:pt x="542" y="21"/>
                      </a:cubicBezTo>
                      <a:close/>
                      <a:moveTo>
                        <a:pt x="163" y="820"/>
                      </a:moveTo>
                      <a:cubicBezTo>
                        <a:pt x="161" y="824"/>
                        <a:pt x="161" y="824"/>
                        <a:pt x="159" y="826"/>
                      </a:cubicBezTo>
                      <a:cubicBezTo>
                        <a:pt x="157" y="829"/>
                        <a:pt x="155" y="832"/>
                        <a:pt x="159" y="833"/>
                      </a:cubicBezTo>
                      <a:cubicBezTo>
                        <a:pt x="163" y="833"/>
                        <a:pt x="162" y="831"/>
                        <a:pt x="166" y="830"/>
                      </a:cubicBezTo>
                      <a:cubicBezTo>
                        <a:pt x="170" y="829"/>
                        <a:pt x="172" y="832"/>
                        <a:pt x="172" y="827"/>
                      </a:cubicBezTo>
                      <a:cubicBezTo>
                        <a:pt x="172" y="822"/>
                        <a:pt x="171" y="820"/>
                        <a:pt x="171" y="817"/>
                      </a:cubicBezTo>
                      <a:cubicBezTo>
                        <a:pt x="171" y="815"/>
                        <a:pt x="168" y="816"/>
                        <a:pt x="163" y="820"/>
                      </a:cubicBezTo>
                      <a:close/>
                      <a:moveTo>
                        <a:pt x="452" y="846"/>
                      </a:moveTo>
                      <a:cubicBezTo>
                        <a:pt x="455" y="847"/>
                        <a:pt x="457" y="848"/>
                        <a:pt x="460" y="844"/>
                      </a:cubicBezTo>
                      <a:cubicBezTo>
                        <a:pt x="462" y="839"/>
                        <a:pt x="454" y="836"/>
                        <a:pt x="452" y="838"/>
                      </a:cubicBezTo>
                      <a:cubicBezTo>
                        <a:pt x="451" y="841"/>
                        <a:pt x="449" y="845"/>
                        <a:pt x="452" y="846"/>
                      </a:cubicBezTo>
                      <a:close/>
                      <a:moveTo>
                        <a:pt x="447" y="788"/>
                      </a:moveTo>
                      <a:cubicBezTo>
                        <a:pt x="445" y="790"/>
                        <a:pt x="444" y="790"/>
                        <a:pt x="443" y="795"/>
                      </a:cubicBezTo>
                      <a:cubicBezTo>
                        <a:pt x="442" y="800"/>
                        <a:pt x="442" y="806"/>
                        <a:pt x="445" y="807"/>
                      </a:cubicBezTo>
                      <a:cubicBezTo>
                        <a:pt x="448" y="808"/>
                        <a:pt x="453" y="808"/>
                        <a:pt x="453" y="801"/>
                      </a:cubicBezTo>
                      <a:cubicBezTo>
                        <a:pt x="454" y="795"/>
                        <a:pt x="454" y="788"/>
                        <a:pt x="447" y="788"/>
                      </a:cubicBezTo>
                      <a:close/>
                      <a:moveTo>
                        <a:pt x="466" y="957"/>
                      </a:moveTo>
                      <a:cubicBezTo>
                        <a:pt x="472" y="957"/>
                        <a:pt x="474" y="954"/>
                        <a:pt x="475" y="950"/>
                      </a:cubicBezTo>
                      <a:cubicBezTo>
                        <a:pt x="476" y="947"/>
                        <a:pt x="464" y="943"/>
                        <a:pt x="463" y="949"/>
                      </a:cubicBezTo>
                      <a:cubicBezTo>
                        <a:pt x="463" y="952"/>
                        <a:pt x="460" y="957"/>
                        <a:pt x="466" y="957"/>
                      </a:cubicBezTo>
                      <a:close/>
                      <a:moveTo>
                        <a:pt x="469" y="916"/>
                      </a:moveTo>
                      <a:cubicBezTo>
                        <a:pt x="471" y="920"/>
                        <a:pt x="478" y="919"/>
                        <a:pt x="478" y="914"/>
                      </a:cubicBezTo>
                      <a:cubicBezTo>
                        <a:pt x="478" y="909"/>
                        <a:pt x="474" y="914"/>
                        <a:pt x="472" y="909"/>
                      </a:cubicBezTo>
                      <a:cubicBezTo>
                        <a:pt x="471" y="903"/>
                        <a:pt x="463" y="903"/>
                        <a:pt x="464" y="907"/>
                      </a:cubicBezTo>
                      <a:cubicBezTo>
                        <a:pt x="463" y="911"/>
                        <a:pt x="466" y="911"/>
                        <a:pt x="469" y="916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32" name="Freeform 58"/>
                <p:cNvSpPr/>
                <p:nvPr>
                  <p:custDataLst>
                    <p:tags r:id="rId130"/>
                  </p:custDataLst>
                </p:nvPr>
              </p:nvSpPr>
              <p:spPr bwMode="auto">
                <a:xfrm>
                  <a:off x="4041" y="2167"/>
                  <a:ext cx="11" cy="17"/>
                </a:xfrm>
                <a:custGeom>
                  <a:avLst/>
                  <a:gdLst>
                    <a:gd name="T0" fmla="*/ 9 w 25"/>
                    <a:gd name="T1" fmla="*/ 26 h 41"/>
                    <a:gd name="T2" fmla="*/ 2 w 25"/>
                    <a:gd name="T3" fmla="*/ 36 h 41"/>
                    <a:gd name="T4" fmla="*/ 12 w 25"/>
                    <a:gd name="T5" fmla="*/ 36 h 41"/>
                    <a:gd name="T6" fmla="*/ 20 w 25"/>
                    <a:gd name="T7" fmla="*/ 20 h 41"/>
                    <a:gd name="T8" fmla="*/ 24 w 25"/>
                    <a:gd name="T9" fmla="*/ 12 h 41"/>
                    <a:gd name="T10" fmla="*/ 19 w 25"/>
                    <a:gd name="T11" fmla="*/ 5 h 41"/>
                    <a:gd name="T12" fmla="*/ 11 w 25"/>
                    <a:gd name="T13" fmla="*/ 16 h 41"/>
                    <a:gd name="T14" fmla="*/ 9 w 25"/>
                    <a:gd name="T15" fmla="*/ 26 h 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5" h="41">
                      <a:moveTo>
                        <a:pt x="9" y="26"/>
                      </a:moveTo>
                      <a:cubicBezTo>
                        <a:pt x="4" y="29"/>
                        <a:pt x="0" y="32"/>
                        <a:pt x="2" y="36"/>
                      </a:cubicBezTo>
                      <a:cubicBezTo>
                        <a:pt x="4" y="39"/>
                        <a:pt x="10" y="41"/>
                        <a:pt x="12" y="36"/>
                      </a:cubicBezTo>
                      <a:cubicBezTo>
                        <a:pt x="14" y="31"/>
                        <a:pt x="18" y="22"/>
                        <a:pt x="20" y="20"/>
                      </a:cubicBezTo>
                      <a:cubicBezTo>
                        <a:pt x="22" y="17"/>
                        <a:pt x="23" y="17"/>
                        <a:pt x="24" y="12"/>
                      </a:cubicBezTo>
                      <a:cubicBezTo>
                        <a:pt x="25" y="8"/>
                        <a:pt x="22" y="0"/>
                        <a:pt x="19" y="5"/>
                      </a:cubicBezTo>
                      <a:cubicBezTo>
                        <a:pt x="12" y="13"/>
                        <a:pt x="9" y="12"/>
                        <a:pt x="11" y="16"/>
                      </a:cubicBezTo>
                      <a:cubicBezTo>
                        <a:pt x="12" y="21"/>
                        <a:pt x="15" y="22"/>
                        <a:pt x="9" y="26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33" name="Freeform 59"/>
                <p:cNvSpPr/>
                <p:nvPr>
                  <p:custDataLst>
                    <p:tags r:id="rId131"/>
                  </p:custDataLst>
                </p:nvPr>
              </p:nvSpPr>
              <p:spPr bwMode="auto">
                <a:xfrm>
                  <a:off x="3968" y="2487"/>
                  <a:ext cx="4" cy="7"/>
                </a:xfrm>
                <a:custGeom>
                  <a:avLst/>
                  <a:gdLst>
                    <a:gd name="T0" fmla="*/ 10 w 10"/>
                    <a:gd name="T1" fmla="*/ 12 h 15"/>
                    <a:gd name="T2" fmla="*/ 4 w 10"/>
                    <a:gd name="T3" fmla="*/ 6 h 15"/>
                    <a:gd name="T4" fmla="*/ 3 w 10"/>
                    <a:gd name="T5" fmla="*/ 12 h 15"/>
                    <a:gd name="T6" fmla="*/ 10 w 10"/>
                    <a:gd name="T7" fmla="*/ 12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0" h="15">
                      <a:moveTo>
                        <a:pt x="10" y="12"/>
                      </a:moveTo>
                      <a:cubicBezTo>
                        <a:pt x="10" y="10"/>
                        <a:pt x="6" y="0"/>
                        <a:pt x="4" y="6"/>
                      </a:cubicBezTo>
                      <a:cubicBezTo>
                        <a:pt x="2" y="10"/>
                        <a:pt x="0" y="10"/>
                        <a:pt x="3" y="12"/>
                      </a:cubicBezTo>
                      <a:cubicBezTo>
                        <a:pt x="7" y="15"/>
                        <a:pt x="9" y="14"/>
                        <a:pt x="10" y="12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34" name="Freeform 60"/>
                <p:cNvSpPr/>
                <p:nvPr>
                  <p:custDataLst>
                    <p:tags r:id="rId132"/>
                  </p:custDataLst>
                </p:nvPr>
              </p:nvSpPr>
              <p:spPr bwMode="auto">
                <a:xfrm>
                  <a:off x="3964" y="2476"/>
                  <a:ext cx="3" cy="5"/>
                </a:xfrm>
                <a:custGeom>
                  <a:avLst/>
                  <a:gdLst>
                    <a:gd name="T0" fmla="*/ 7 w 7"/>
                    <a:gd name="T1" fmla="*/ 9 h 13"/>
                    <a:gd name="T2" fmla="*/ 1 w 7"/>
                    <a:gd name="T3" fmla="*/ 6 h 13"/>
                    <a:gd name="T4" fmla="*/ 2 w 7"/>
                    <a:gd name="T5" fmla="*/ 12 h 13"/>
                    <a:gd name="T6" fmla="*/ 7 w 7"/>
                    <a:gd name="T7" fmla="*/ 9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" h="13">
                      <a:moveTo>
                        <a:pt x="7" y="9"/>
                      </a:moveTo>
                      <a:cubicBezTo>
                        <a:pt x="7" y="7"/>
                        <a:pt x="2" y="0"/>
                        <a:pt x="1" y="6"/>
                      </a:cubicBezTo>
                      <a:cubicBezTo>
                        <a:pt x="0" y="9"/>
                        <a:pt x="0" y="11"/>
                        <a:pt x="2" y="12"/>
                      </a:cubicBezTo>
                      <a:cubicBezTo>
                        <a:pt x="5" y="13"/>
                        <a:pt x="7" y="12"/>
                        <a:pt x="7" y="9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35" name="Freeform 61"/>
                <p:cNvSpPr/>
                <p:nvPr>
                  <p:custDataLst>
                    <p:tags r:id="rId133"/>
                  </p:custDataLst>
                </p:nvPr>
              </p:nvSpPr>
              <p:spPr bwMode="auto">
                <a:xfrm>
                  <a:off x="4122" y="2146"/>
                  <a:ext cx="5" cy="6"/>
                </a:xfrm>
                <a:custGeom>
                  <a:avLst/>
                  <a:gdLst>
                    <a:gd name="T0" fmla="*/ 7 w 12"/>
                    <a:gd name="T1" fmla="*/ 14 h 15"/>
                    <a:gd name="T2" fmla="*/ 12 w 12"/>
                    <a:gd name="T3" fmla="*/ 9 h 15"/>
                    <a:gd name="T4" fmla="*/ 3 w 12"/>
                    <a:gd name="T5" fmla="*/ 5 h 15"/>
                    <a:gd name="T6" fmla="*/ 7 w 12"/>
                    <a:gd name="T7" fmla="*/ 14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2" h="15">
                      <a:moveTo>
                        <a:pt x="7" y="14"/>
                      </a:moveTo>
                      <a:cubicBezTo>
                        <a:pt x="10" y="13"/>
                        <a:pt x="12" y="15"/>
                        <a:pt x="12" y="9"/>
                      </a:cubicBezTo>
                      <a:cubicBezTo>
                        <a:pt x="12" y="3"/>
                        <a:pt x="8" y="0"/>
                        <a:pt x="3" y="5"/>
                      </a:cubicBezTo>
                      <a:cubicBezTo>
                        <a:pt x="0" y="10"/>
                        <a:pt x="4" y="15"/>
                        <a:pt x="7" y="14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36" name="Freeform 62"/>
                <p:cNvSpPr/>
                <p:nvPr>
                  <p:custDataLst>
                    <p:tags r:id="rId134"/>
                  </p:custDataLst>
                </p:nvPr>
              </p:nvSpPr>
              <p:spPr bwMode="auto">
                <a:xfrm>
                  <a:off x="3983" y="2227"/>
                  <a:ext cx="6" cy="9"/>
                </a:xfrm>
                <a:custGeom>
                  <a:avLst/>
                  <a:gdLst>
                    <a:gd name="T0" fmla="*/ 2 w 14"/>
                    <a:gd name="T1" fmla="*/ 6 h 21"/>
                    <a:gd name="T2" fmla="*/ 5 w 14"/>
                    <a:gd name="T3" fmla="*/ 17 h 21"/>
                    <a:gd name="T4" fmla="*/ 13 w 14"/>
                    <a:gd name="T5" fmla="*/ 9 h 21"/>
                    <a:gd name="T6" fmla="*/ 2 w 14"/>
                    <a:gd name="T7" fmla="*/ 6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4" h="21">
                      <a:moveTo>
                        <a:pt x="2" y="6"/>
                      </a:moveTo>
                      <a:cubicBezTo>
                        <a:pt x="0" y="9"/>
                        <a:pt x="1" y="21"/>
                        <a:pt x="5" y="17"/>
                      </a:cubicBezTo>
                      <a:cubicBezTo>
                        <a:pt x="9" y="14"/>
                        <a:pt x="11" y="15"/>
                        <a:pt x="13" y="9"/>
                      </a:cubicBezTo>
                      <a:cubicBezTo>
                        <a:pt x="14" y="3"/>
                        <a:pt x="3" y="0"/>
                        <a:pt x="2" y="6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37" name="Freeform 63"/>
                <p:cNvSpPr/>
                <p:nvPr>
                  <p:custDataLst>
                    <p:tags r:id="rId135"/>
                  </p:custDataLst>
                </p:nvPr>
              </p:nvSpPr>
              <p:spPr bwMode="auto">
                <a:xfrm>
                  <a:off x="4339" y="1932"/>
                  <a:ext cx="7" cy="8"/>
                </a:xfrm>
                <a:custGeom>
                  <a:avLst/>
                  <a:gdLst>
                    <a:gd name="T0" fmla="*/ 2 w 18"/>
                    <a:gd name="T1" fmla="*/ 6 h 18"/>
                    <a:gd name="T2" fmla="*/ 7 w 18"/>
                    <a:gd name="T3" fmla="*/ 16 h 18"/>
                    <a:gd name="T4" fmla="*/ 18 w 18"/>
                    <a:gd name="T5" fmla="*/ 11 h 18"/>
                    <a:gd name="T6" fmla="*/ 2 w 18"/>
                    <a:gd name="T7" fmla="*/ 6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8" h="18">
                      <a:moveTo>
                        <a:pt x="2" y="6"/>
                      </a:moveTo>
                      <a:cubicBezTo>
                        <a:pt x="0" y="10"/>
                        <a:pt x="2" y="14"/>
                        <a:pt x="7" y="16"/>
                      </a:cubicBezTo>
                      <a:cubicBezTo>
                        <a:pt x="12" y="18"/>
                        <a:pt x="18" y="14"/>
                        <a:pt x="18" y="11"/>
                      </a:cubicBezTo>
                      <a:cubicBezTo>
                        <a:pt x="18" y="7"/>
                        <a:pt x="3" y="0"/>
                        <a:pt x="2" y="6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38" name="Freeform 64"/>
                <p:cNvSpPr/>
                <p:nvPr>
                  <p:custDataLst>
                    <p:tags r:id="rId136"/>
                  </p:custDataLst>
                </p:nvPr>
              </p:nvSpPr>
              <p:spPr bwMode="auto">
                <a:xfrm>
                  <a:off x="4341" y="1885"/>
                  <a:ext cx="6" cy="9"/>
                </a:xfrm>
                <a:custGeom>
                  <a:avLst/>
                  <a:gdLst>
                    <a:gd name="T0" fmla="*/ 7 w 15"/>
                    <a:gd name="T1" fmla="*/ 17 h 21"/>
                    <a:gd name="T2" fmla="*/ 14 w 15"/>
                    <a:gd name="T3" fmla="*/ 6 h 21"/>
                    <a:gd name="T4" fmla="*/ 8 w 15"/>
                    <a:gd name="T5" fmla="*/ 4 h 21"/>
                    <a:gd name="T6" fmla="*/ 1 w 15"/>
                    <a:gd name="T7" fmla="*/ 12 h 21"/>
                    <a:gd name="T8" fmla="*/ 7 w 15"/>
                    <a:gd name="T9" fmla="*/ 17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5" h="21">
                      <a:moveTo>
                        <a:pt x="7" y="17"/>
                      </a:moveTo>
                      <a:cubicBezTo>
                        <a:pt x="12" y="12"/>
                        <a:pt x="13" y="9"/>
                        <a:pt x="14" y="6"/>
                      </a:cubicBezTo>
                      <a:cubicBezTo>
                        <a:pt x="15" y="3"/>
                        <a:pt x="12" y="0"/>
                        <a:pt x="8" y="4"/>
                      </a:cubicBezTo>
                      <a:cubicBezTo>
                        <a:pt x="2" y="9"/>
                        <a:pt x="2" y="8"/>
                        <a:pt x="1" y="12"/>
                      </a:cubicBezTo>
                      <a:cubicBezTo>
                        <a:pt x="0" y="16"/>
                        <a:pt x="3" y="21"/>
                        <a:pt x="7" y="17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39" name="Freeform 65"/>
                <p:cNvSpPr/>
                <p:nvPr>
                  <p:custDataLst>
                    <p:tags r:id="rId137"/>
                  </p:custDataLst>
                </p:nvPr>
              </p:nvSpPr>
              <p:spPr bwMode="auto">
                <a:xfrm>
                  <a:off x="4336" y="1964"/>
                  <a:ext cx="11" cy="14"/>
                </a:xfrm>
                <a:custGeom>
                  <a:avLst/>
                  <a:gdLst>
                    <a:gd name="T0" fmla="*/ 6 w 26"/>
                    <a:gd name="T1" fmla="*/ 33 h 34"/>
                    <a:gd name="T2" fmla="*/ 15 w 26"/>
                    <a:gd name="T3" fmla="*/ 25 h 34"/>
                    <a:gd name="T4" fmla="*/ 23 w 26"/>
                    <a:gd name="T5" fmla="*/ 13 h 34"/>
                    <a:gd name="T6" fmla="*/ 20 w 26"/>
                    <a:gd name="T7" fmla="*/ 6 h 34"/>
                    <a:gd name="T8" fmla="*/ 15 w 26"/>
                    <a:gd name="T9" fmla="*/ 15 h 34"/>
                    <a:gd name="T10" fmla="*/ 6 w 26"/>
                    <a:gd name="T11" fmla="*/ 22 h 34"/>
                    <a:gd name="T12" fmla="*/ 6 w 26"/>
                    <a:gd name="T13" fmla="*/ 33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6" h="34">
                      <a:moveTo>
                        <a:pt x="6" y="33"/>
                      </a:moveTo>
                      <a:cubicBezTo>
                        <a:pt x="11" y="34"/>
                        <a:pt x="14" y="31"/>
                        <a:pt x="15" y="25"/>
                      </a:cubicBezTo>
                      <a:cubicBezTo>
                        <a:pt x="16" y="19"/>
                        <a:pt x="20" y="19"/>
                        <a:pt x="23" y="13"/>
                      </a:cubicBezTo>
                      <a:cubicBezTo>
                        <a:pt x="26" y="7"/>
                        <a:pt x="20" y="0"/>
                        <a:pt x="20" y="6"/>
                      </a:cubicBezTo>
                      <a:cubicBezTo>
                        <a:pt x="16" y="13"/>
                        <a:pt x="18" y="14"/>
                        <a:pt x="15" y="15"/>
                      </a:cubicBezTo>
                      <a:cubicBezTo>
                        <a:pt x="11" y="17"/>
                        <a:pt x="8" y="17"/>
                        <a:pt x="6" y="22"/>
                      </a:cubicBezTo>
                      <a:cubicBezTo>
                        <a:pt x="3" y="27"/>
                        <a:pt x="0" y="31"/>
                        <a:pt x="6" y="33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40" name="Freeform 66"/>
                <p:cNvSpPr/>
                <p:nvPr>
                  <p:custDataLst>
                    <p:tags r:id="rId138"/>
                  </p:custDataLst>
                </p:nvPr>
              </p:nvSpPr>
              <p:spPr bwMode="auto">
                <a:xfrm>
                  <a:off x="2609" y="1547"/>
                  <a:ext cx="210" cy="110"/>
                </a:xfrm>
                <a:custGeom>
                  <a:avLst/>
                  <a:gdLst>
                    <a:gd name="T0" fmla="*/ 13 w 491"/>
                    <a:gd name="T1" fmla="*/ 66 h 259"/>
                    <a:gd name="T2" fmla="*/ 5 w 491"/>
                    <a:gd name="T3" fmla="*/ 84 h 259"/>
                    <a:gd name="T4" fmla="*/ 1 w 491"/>
                    <a:gd name="T5" fmla="*/ 98 h 259"/>
                    <a:gd name="T6" fmla="*/ 13 w 491"/>
                    <a:gd name="T7" fmla="*/ 112 h 259"/>
                    <a:gd name="T8" fmla="*/ 27 w 491"/>
                    <a:gd name="T9" fmla="*/ 111 h 259"/>
                    <a:gd name="T10" fmla="*/ 53 w 491"/>
                    <a:gd name="T11" fmla="*/ 122 h 259"/>
                    <a:gd name="T12" fmla="*/ 86 w 491"/>
                    <a:gd name="T13" fmla="*/ 141 h 259"/>
                    <a:gd name="T14" fmla="*/ 101 w 491"/>
                    <a:gd name="T15" fmla="*/ 156 h 259"/>
                    <a:gd name="T16" fmla="*/ 114 w 491"/>
                    <a:gd name="T17" fmla="*/ 158 h 259"/>
                    <a:gd name="T18" fmla="*/ 135 w 491"/>
                    <a:gd name="T19" fmla="*/ 163 h 259"/>
                    <a:gd name="T20" fmla="*/ 148 w 491"/>
                    <a:gd name="T21" fmla="*/ 169 h 259"/>
                    <a:gd name="T22" fmla="*/ 179 w 491"/>
                    <a:gd name="T23" fmla="*/ 188 h 259"/>
                    <a:gd name="T24" fmla="*/ 189 w 491"/>
                    <a:gd name="T25" fmla="*/ 192 h 259"/>
                    <a:gd name="T26" fmla="*/ 197 w 491"/>
                    <a:gd name="T27" fmla="*/ 192 h 259"/>
                    <a:gd name="T28" fmla="*/ 217 w 491"/>
                    <a:gd name="T29" fmla="*/ 191 h 259"/>
                    <a:gd name="T30" fmla="*/ 233 w 491"/>
                    <a:gd name="T31" fmla="*/ 192 h 259"/>
                    <a:gd name="T32" fmla="*/ 259 w 491"/>
                    <a:gd name="T33" fmla="*/ 189 h 259"/>
                    <a:gd name="T34" fmla="*/ 275 w 491"/>
                    <a:gd name="T35" fmla="*/ 203 h 259"/>
                    <a:gd name="T36" fmla="*/ 294 w 491"/>
                    <a:gd name="T37" fmla="*/ 219 h 259"/>
                    <a:gd name="T38" fmla="*/ 309 w 491"/>
                    <a:gd name="T39" fmla="*/ 227 h 259"/>
                    <a:gd name="T40" fmla="*/ 328 w 491"/>
                    <a:gd name="T41" fmla="*/ 234 h 259"/>
                    <a:gd name="T42" fmla="*/ 349 w 491"/>
                    <a:gd name="T43" fmla="*/ 240 h 259"/>
                    <a:gd name="T44" fmla="*/ 366 w 491"/>
                    <a:gd name="T45" fmla="*/ 244 h 259"/>
                    <a:gd name="T46" fmla="*/ 399 w 491"/>
                    <a:gd name="T47" fmla="*/ 254 h 259"/>
                    <a:gd name="T48" fmla="*/ 407 w 491"/>
                    <a:gd name="T49" fmla="*/ 255 h 259"/>
                    <a:gd name="T50" fmla="*/ 429 w 491"/>
                    <a:gd name="T51" fmla="*/ 256 h 259"/>
                    <a:gd name="T52" fmla="*/ 437 w 491"/>
                    <a:gd name="T53" fmla="*/ 258 h 259"/>
                    <a:gd name="T54" fmla="*/ 472 w 491"/>
                    <a:gd name="T55" fmla="*/ 259 h 259"/>
                    <a:gd name="T56" fmla="*/ 481 w 491"/>
                    <a:gd name="T57" fmla="*/ 259 h 259"/>
                    <a:gd name="T58" fmla="*/ 491 w 491"/>
                    <a:gd name="T59" fmla="*/ 245 h 259"/>
                    <a:gd name="T60" fmla="*/ 487 w 491"/>
                    <a:gd name="T61" fmla="*/ 226 h 259"/>
                    <a:gd name="T62" fmla="*/ 485 w 491"/>
                    <a:gd name="T63" fmla="*/ 200 h 259"/>
                    <a:gd name="T64" fmla="*/ 488 w 491"/>
                    <a:gd name="T65" fmla="*/ 179 h 259"/>
                    <a:gd name="T66" fmla="*/ 486 w 491"/>
                    <a:gd name="T67" fmla="*/ 171 h 259"/>
                    <a:gd name="T68" fmla="*/ 436 w 491"/>
                    <a:gd name="T69" fmla="*/ 167 h 259"/>
                    <a:gd name="T70" fmla="*/ 409 w 491"/>
                    <a:gd name="T71" fmla="*/ 157 h 259"/>
                    <a:gd name="T72" fmla="*/ 392 w 491"/>
                    <a:gd name="T73" fmla="*/ 162 h 259"/>
                    <a:gd name="T74" fmla="*/ 382 w 491"/>
                    <a:gd name="T75" fmla="*/ 159 h 259"/>
                    <a:gd name="T76" fmla="*/ 370 w 491"/>
                    <a:gd name="T77" fmla="*/ 159 h 259"/>
                    <a:gd name="T78" fmla="*/ 351 w 491"/>
                    <a:gd name="T79" fmla="*/ 151 h 259"/>
                    <a:gd name="T80" fmla="*/ 332 w 491"/>
                    <a:gd name="T81" fmla="*/ 139 h 259"/>
                    <a:gd name="T82" fmla="*/ 307 w 491"/>
                    <a:gd name="T83" fmla="*/ 131 h 259"/>
                    <a:gd name="T84" fmla="*/ 304 w 491"/>
                    <a:gd name="T85" fmla="*/ 121 h 259"/>
                    <a:gd name="T86" fmla="*/ 286 w 491"/>
                    <a:gd name="T87" fmla="*/ 119 h 259"/>
                    <a:gd name="T88" fmla="*/ 264 w 491"/>
                    <a:gd name="T89" fmla="*/ 107 h 259"/>
                    <a:gd name="T90" fmla="*/ 249 w 491"/>
                    <a:gd name="T91" fmla="*/ 89 h 259"/>
                    <a:gd name="T92" fmla="*/ 248 w 491"/>
                    <a:gd name="T93" fmla="*/ 87 h 259"/>
                    <a:gd name="T94" fmla="*/ 239 w 491"/>
                    <a:gd name="T95" fmla="*/ 78 h 259"/>
                    <a:gd name="T96" fmla="*/ 217 w 491"/>
                    <a:gd name="T97" fmla="*/ 79 h 259"/>
                    <a:gd name="T98" fmla="*/ 197 w 491"/>
                    <a:gd name="T99" fmla="*/ 59 h 259"/>
                    <a:gd name="T100" fmla="*/ 182 w 491"/>
                    <a:gd name="T101" fmla="*/ 51 h 259"/>
                    <a:gd name="T102" fmla="*/ 164 w 491"/>
                    <a:gd name="T103" fmla="*/ 43 h 259"/>
                    <a:gd name="T104" fmla="*/ 126 w 491"/>
                    <a:gd name="T105" fmla="*/ 19 h 259"/>
                    <a:gd name="T106" fmla="*/ 118 w 491"/>
                    <a:gd name="T107" fmla="*/ 8 h 259"/>
                    <a:gd name="T108" fmla="*/ 97 w 491"/>
                    <a:gd name="T109" fmla="*/ 1 h 259"/>
                    <a:gd name="T110" fmla="*/ 81 w 491"/>
                    <a:gd name="T111" fmla="*/ 4 h 259"/>
                    <a:gd name="T112" fmla="*/ 76 w 491"/>
                    <a:gd name="T113" fmla="*/ 12 h 259"/>
                    <a:gd name="T114" fmla="*/ 63 w 491"/>
                    <a:gd name="T115" fmla="*/ 18 h 259"/>
                    <a:gd name="T116" fmla="*/ 59 w 491"/>
                    <a:gd name="T117" fmla="*/ 16 h 259"/>
                    <a:gd name="T118" fmla="*/ 50 w 491"/>
                    <a:gd name="T119" fmla="*/ 12 h 259"/>
                    <a:gd name="T120" fmla="*/ 40 w 491"/>
                    <a:gd name="T121" fmla="*/ 22 h 259"/>
                    <a:gd name="T122" fmla="*/ 24 w 491"/>
                    <a:gd name="T123" fmla="*/ 37 h 259"/>
                    <a:gd name="T124" fmla="*/ 20 w 491"/>
                    <a:gd name="T125" fmla="*/ 54 h 2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491" h="259">
                      <a:moveTo>
                        <a:pt x="17" y="57"/>
                      </a:moveTo>
                      <a:cubicBezTo>
                        <a:pt x="14" y="61"/>
                        <a:pt x="13" y="62"/>
                        <a:pt x="13" y="66"/>
                      </a:cubicBezTo>
                      <a:cubicBezTo>
                        <a:pt x="13" y="71"/>
                        <a:pt x="11" y="73"/>
                        <a:pt x="9" y="76"/>
                      </a:cubicBezTo>
                      <a:cubicBezTo>
                        <a:pt x="8" y="78"/>
                        <a:pt x="6" y="80"/>
                        <a:pt x="5" y="84"/>
                      </a:cubicBezTo>
                      <a:cubicBezTo>
                        <a:pt x="3" y="87"/>
                        <a:pt x="3" y="87"/>
                        <a:pt x="3" y="87"/>
                      </a:cubicBezTo>
                      <a:cubicBezTo>
                        <a:pt x="1" y="93"/>
                        <a:pt x="0" y="96"/>
                        <a:pt x="1" y="98"/>
                      </a:cubicBezTo>
                      <a:cubicBezTo>
                        <a:pt x="2" y="101"/>
                        <a:pt x="4" y="104"/>
                        <a:pt x="6" y="106"/>
                      </a:cubicBezTo>
                      <a:cubicBezTo>
                        <a:pt x="8" y="109"/>
                        <a:pt x="10" y="111"/>
                        <a:pt x="13" y="112"/>
                      </a:cubicBezTo>
                      <a:cubicBezTo>
                        <a:pt x="14" y="114"/>
                        <a:pt x="16" y="113"/>
                        <a:pt x="19" y="112"/>
                      </a:cubicBezTo>
                      <a:cubicBezTo>
                        <a:pt x="21" y="112"/>
                        <a:pt x="24" y="111"/>
                        <a:pt x="27" y="111"/>
                      </a:cubicBezTo>
                      <a:cubicBezTo>
                        <a:pt x="30" y="112"/>
                        <a:pt x="35" y="112"/>
                        <a:pt x="40" y="114"/>
                      </a:cubicBezTo>
                      <a:cubicBezTo>
                        <a:pt x="44" y="116"/>
                        <a:pt x="48" y="118"/>
                        <a:pt x="53" y="122"/>
                      </a:cubicBezTo>
                      <a:cubicBezTo>
                        <a:pt x="57" y="124"/>
                        <a:pt x="62" y="126"/>
                        <a:pt x="66" y="128"/>
                      </a:cubicBezTo>
                      <a:cubicBezTo>
                        <a:pt x="74" y="132"/>
                        <a:pt x="82" y="135"/>
                        <a:pt x="86" y="141"/>
                      </a:cubicBezTo>
                      <a:cubicBezTo>
                        <a:pt x="89" y="144"/>
                        <a:pt x="91" y="147"/>
                        <a:pt x="92" y="149"/>
                      </a:cubicBezTo>
                      <a:cubicBezTo>
                        <a:pt x="95" y="152"/>
                        <a:pt x="96" y="155"/>
                        <a:pt x="101" y="156"/>
                      </a:cubicBezTo>
                      <a:cubicBezTo>
                        <a:pt x="105" y="158"/>
                        <a:pt x="110" y="158"/>
                        <a:pt x="114" y="158"/>
                      </a:cubicBezTo>
                      <a:cubicBezTo>
                        <a:pt x="114" y="158"/>
                        <a:pt x="114" y="158"/>
                        <a:pt x="114" y="158"/>
                      </a:cubicBezTo>
                      <a:cubicBezTo>
                        <a:pt x="118" y="158"/>
                        <a:pt x="121" y="158"/>
                        <a:pt x="125" y="159"/>
                      </a:cubicBezTo>
                      <a:cubicBezTo>
                        <a:pt x="128" y="160"/>
                        <a:pt x="131" y="161"/>
                        <a:pt x="135" y="163"/>
                      </a:cubicBezTo>
                      <a:cubicBezTo>
                        <a:pt x="138" y="164"/>
                        <a:pt x="142" y="166"/>
                        <a:pt x="145" y="167"/>
                      </a:cubicBezTo>
                      <a:cubicBezTo>
                        <a:pt x="146" y="168"/>
                        <a:pt x="147" y="168"/>
                        <a:pt x="148" y="169"/>
                      </a:cubicBezTo>
                      <a:cubicBezTo>
                        <a:pt x="154" y="171"/>
                        <a:pt x="158" y="173"/>
                        <a:pt x="164" y="180"/>
                      </a:cubicBezTo>
                      <a:cubicBezTo>
                        <a:pt x="169" y="186"/>
                        <a:pt x="174" y="187"/>
                        <a:pt x="179" y="188"/>
                      </a:cubicBezTo>
                      <a:cubicBezTo>
                        <a:pt x="179" y="188"/>
                        <a:pt x="180" y="188"/>
                        <a:pt x="181" y="188"/>
                      </a:cubicBezTo>
                      <a:cubicBezTo>
                        <a:pt x="183" y="189"/>
                        <a:pt x="186" y="190"/>
                        <a:pt x="189" y="192"/>
                      </a:cubicBezTo>
                      <a:cubicBezTo>
                        <a:pt x="191" y="193"/>
                        <a:pt x="194" y="195"/>
                        <a:pt x="195" y="194"/>
                      </a:cubicBezTo>
                      <a:cubicBezTo>
                        <a:pt x="195" y="194"/>
                        <a:pt x="196" y="193"/>
                        <a:pt x="197" y="192"/>
                      </a:cubicBezTo>
                      <a:cubicBezTo>
                        <a:pt x="199" y="190"/>
                        <a:pt x="201" y="188"/>
                        <a:pt x="206" y="188"/>
                      </a:cubicBezTo>
                      <a:cubicBezTo>
                        <a:pt x="210" y="188"/>
                        <a:pt x="213" y="189"/>
                        <a:pt x="217" y="191"/>
                      </a:cubicBezTo>
                      <a:cubicBezTo>
                        <a:pt x="220" y="192"/>
                        <a:pt x="223" y="193"/>
                        <a:pt x="224" y="193"/>
                      </a:cubicBezTo>
                      <a:cubicBezTo>
                        <a:pt x="226" y="193"/>
                        <a:pt x="230" y="193"/>
                        <a:pt x="233" y="192"/>
                      </a:cubicBezTo>
                      <a:cubicBezTo>
                        <a:pt x="238" y="191"/>
                        <a:pt x="243" y="190"/>
                        <a:pt x="247" y="189"/>
                      </a:cubicBezTo>
                      <a:cubicBezTo>
                        <a:pt x="251" y="189"/>
                        <a:pt x="255" y="188"/>
                        <a:pt x="259" y="189"/>
                      </a:cubicBezTo>
                      <a:cubicBezTo>
                        <a:pt x="263" y="190"/>
                        <a:pt x="267" y="192"/>
                        <a:pt x="269" y="194"/>
                      </a:cubicBezTo>
                      <a:cubicBezTo>
                        <a:pt x="272" y="197"/>
                        <a:pt x="274" y="200"/>
                        <a:pt x="275" y="203"/>
                      </a:cubicBezTo>
                      <a:cubicBezTo>
                        <a:pt x="276" y="205"/>
                        <a:pt x="278" y="209"/>
                        <a:pt x="281" y="213"/>
                      </a:cubicBezTo>
                      <a:cubicBezTo>
                        <a:pt x="285" y="218"/>
                        <a:pt x="290" y="218"/>
                        <a:pt x="294" y="219"/>
                      </a:cubicBezTo>
                      <a:cubicBezTo>
                        <a:pt x="298" y="220"/>
                        <a:pt x="301" y="220"/>
                        <a:pt x="304" y="223"/>
                      </a:cubicBezTo>
                      <a:cubicBezTo>
                        <a:pt x="306" y="224"/>
                        <a:pt x="307" y="226"/>
                        <a:pt x="309" y="227"/>
                      </a:cubicBezTo>
                      <a:cubicBezTo>
                        <a:pt x="312" y="231"/>
                        <a:pt x="316" y="235"/>
                        <a:pt x="321" y="235"/>
                      </a:cubicBezTo>
                      <a:cubicBezTo>
                        <a:pt x="324" y="235"/>
                        <a:pt x="326" y="234"/>
                        <a:pt x="328" y="234"/>
                      </a:cubicBezTo>
                      <a:cubicBezTo>
                        <a:pt x="332" y="232"/>
                        <a:pt x="335" y="231"/>
                        <a:pt x="341" y="234"/>
                      </a:cubicBezTo>
                      <a:cubicBezTo>
                        <a:pt x="344" y="235"/>
                        <a:pt x="346" y="238"/>
                        <a:pt x="349" y="240"/>
                      </a:cubicBezTo>
                      <a:cubicBezTo>
                        <a:pt x="351" y="243"/>
                        <a:pt x="354" y="245"/>
                        <a:pt x="359" y="245"/>
                      </a:cubicBezTo>
                      <a:cubicBezTo>
                        <a:pt x="362" y="245"/>
                        <a:pt x="364" y="245"/>
                        <a:pt x="366" y="244"/>
                      </a:cubicBezTo>
                      <a:cubicBezTo>
                        <a:pt x="372" y="243"/>
                        <a:pt x="376" y="242"/>
                        <a:pt x="385" y="246"/>
                      </a:cubicBezTo>
                      <a:cubicBezTo>
                        <a:pt x="392" y="249"/>
                        <a:pt x="396" y="252"/>
                        <a:pt x="399" y="254"/>
                      </a:cubicBezTo>
                      <a:cubicBezTo>
                        <a:pt x="402" y="256"/>
                        <a:pt x="404" y="257"/>
                        <a:pt x="404" y="257"/>
                      </a:cubicBezTo>
                      <a:cubicBezTo>
                        <a:pt x="405" y="257"/>
                        <a:pt x="406" y="256"/>
                        <a:pt x="407" y="255"/>
                      </a:cubicBezTo>
                      <a:cubicBezTo>
                        <a:pt x="411" y="253"/>
                        <a:pt x="415" y="250"/>
                        <a:pt x="421" y="250"/>
                      </a:cubicBezTo>
                      <a:cubicBezTo>
                        <a:pt x="426" y="251"/>
                        <a:pt x="428" y="253"/>
                        <a:pt x="429" y="256"/>
                      </a:cubicBezTo>
                      <a:cubicBezTo>
                        <a:pt x="430" y="257"/>
                        <a:pt x="430" y="258"/>
                        <a:pt x="435" y="258"/>
                      </a:cubicBezTo>
                      <a:cubicBezTo>
                        <a:pt x="437" y="258"/>
                        <a:pt x="437" y="258"/>
                        <a:pt x="437" y="258"/>
                      </a:cubicBezTo>
                      <a:cubicBezTo>
                        <a:pt x="446" y="259"/>
                        <a:pt x="446" y="259"/>
                        <a:pt x="460" y="259"/>
                      </a:cubicBezTo>
                      <a:cubicBezTo>
                        <a:pt x="464" y="259"/>
                        <a:pt x="468" y="259"/>
                        <a:pt x="472" y="259"/>
                      </a:cubicBezTo>
                      <a:cubicBezTo>
                        <a:pt x="478" y="259"/>
                        <a:pt x="481" y="259"/>
                        <a:pt x="481" y="259"/>
                      </a:cubicBezTo>
                      <a:cubicBezTo>
                        <a:pt x="481" y="259"/>
                        <a:pt x="481" y="259"/>
                        <a:pt x="481" y="259"/>
                      </a:cubicBezTo>
                      <a:cubicBezTo>
                        <a:pt x="482" y="257"/>
                        <a:pt x="484" y="256"/>
                        <a:pt x="485" y="254"/>
                      </a:cubicBezTo>
                      <a:cubicBezTo>
                        <a:pt x="488" y="252"/>
                        <a:pt x="491" y="248"/>
                        <a:pt x="491" y="245"/>
                      </a:cubicBezTo>
                      <a:cubicBezTo>
                        <a:pt x="491" y="242"/>
                        <a:pt x="491" y="239"/>
                        <a:pt x="490" y="236"/>
                      </a:cubicBezTo>
                      <a:cubicBezTo>
                        <a:pt x="489" y="233"/>
                        <a:pt x="488" y="230"/>
                        <a:pt x="487" y="226"/>
                      </a:cubicBezTo>
                      <a:cubicBezTo>
                        <a:pt x="486" y="223"/>
                        <a:pt x="486" y="221"/>
                        <a:pt x="486" y="220"/>
                      </a:cubicBezTo>
                      <a:cubicBezTo>
                        <a:pt x="484" y="214"/>
                        <a:pt x="484" y="210"/>
                        <a:pt x="485" y="200"/>
                      </a:cubicBezTo>
                      <a:cubicBezTo>
                        <a:pt x="486" y="194"/>
                        <a:pt x="486" y="190"/>
                        <a:pt x="487" y="187"/>
                      </a:cubicBezTo>
                      <a:cubicBezTo>
                        <a:pt x="487" y="184"/>
                        <a:pt x="488" y="182"/>
                        <a:pt x="488" y="179"/>
                      </a:cubicBezTo>
                      <a:cubicBezTo>
                        <a:pt x="488" y="177"/>
                        <a:pt x="488" y="174"/>
                        <a:pt x="487" y="171"/>
                      </a:cubicBezTo>
                      <a:cubicBezTo>
                        <a:pt x="487" y="171"/>
                        <a:pt x="486" y="171"/>
                        <a:pt x="486" y="171"/>
                      </a:cubicBezTo>
                      <a:cubicBezTo>
                        <a:pt x="480" y="172"/>
                        <a:pt x="471" y="171"/>
                        <a:pt x="462" y="171"/>
                      </a:cubicBezTo>
                      <a:cubicBezTo>
                        <a:pt x="453" y="170"/>
                        <a:pt x="443" y="169"/>
                        <a:pt x="436" y="167"/>
                      </a:cubicBezTo>
                      <a:cubicBezTo>
                        <a:pt x="428" y="165"/>
                        <a:pt x="423" y="163"/>
                        <a:pt x="419" y="161"/>
                      </a:cubicBezTo>
                      <a:cubicBezTo>
                        <a:pt x="415" y="159"/>
                        <a:pt x="412" y="157"/>
                        <a:pt x="409" y="157"/>
                      </a:cubicBezTo>
                      <a:cubicBezTo>
                        <a:pt x="406" y="156"/>
                        <a:pt x="404" y="158"/>
                        <a:pt x="401" y="159"/>
                      </a:cubicBezTo>
                      <a:cubicBezTo>
                        <a:pt x="399" y="161"/>
                        <a:pt x="396" y="163"/>
                        <a:pt x="392" y="162"/>
                      </a:cubicBezTo>
                      <a:cubicBezTo>
                        <a:pt x="388" y="162"/>
                        <a:pt x="385" y="160"/>
                        <a:pt x="382" y="159"/>
                      </a:cubicBezTo>
                      <a:cubicBezTo>
                        <a:pt x="382" y="159"/>
                        <a:pt x="382" y="159"/>
                        <a:pt x="382" y="159"/>
                      </a:cubicBezTo>
                      <a:cubicBezTo>
                        <a:pt x="380" y="157"/>
                        <a:pt x="377" y="156"/>
                        <a:pt x="375" y="157"/>
                      </a:cubicBezTo>
                      <a:cubicBezTo>
                        <a:pt x="372" y="157"/>
                        <a:pt x="371" y="158"/>
                        <a:pt x="370" y="159"/>
                      </a:cubicBezTo>
                      <a:cubicBezTo>
                        <a:pt x="368" y="161"/>
                        <a:pt x="366" y="163"/>
                        <a:pt x="361" y="161"/>
                      </a:cubicBezTo>
                      <a:cubicBezTo>
                        <a:pt x="357" y="160"/>
                        <a:pt x="354" y="156"/>
                        <a:pt x="351" y="151"/>
                      </a:cubicBezTo>
                      <a:cubicBezTo>
                        <a:pt x="348" y="146"/>
                        <a:pt x="344" y="140"/>
                        <a:pt x="341" y="140"/>
                      </a:cubicBezTo>
                      <a:cubicBezTo>
                        <a:pt x="339" y="139"/>
                        <a:pt x="336" y="139"/>
                        <a:pt x="332" y="139"/>
                      </a:cubicBezTo>
                      <a:cubicBezTo>
                        <a:pt x="322" y="139"/>
                        <a:pt x="309" y="138"/>
                        <a:pt x="307" y="131"/>
                      </a:cubicBezTo>
                      <a:cubicBezTo>
                        <a:pt x="307" y="131"/>
                        <a:pt x="307" y="131"/>
                        <a:pt x="307" y="131"/>
                      </a:cubicBezTo>
                      <a:cubicBezTo>
                        <a:pt x="306" y="129"/>
                        <a:pt x="306" y="127"/>
                        <a:pt x="306" y="126"/>
                      </a:cubicBezTo>
                      <a:cubicBezTo>
                        <a:pt x="305" y="123"/>
                        <a:pt x="305" y="122"/>
                        <a:pt x="304" y="121"/>
                      </a:cubicBezTo>
                      <a:cubicBezTo>
                        <a:pt x="302" y="121"/>
                        <a:pt x="301" y="121"/>
                        <a:pt x="299" y="121"/>
                      </a:cubicBezTo>
                      <a:cubicBezTo>
                        <a:pt x="296" y="121"/>
                        <a:pt x="292" y="121"/>
                        <a:pt x="286" y="119"/>
                      </a:cubicBezTo>
                      <a:cubicBezTo>
                        <a:pt x="280" y="117"/>
                        <a:pt x="277" y="115"/>
                        <a:pt x="272" y="112"/>
                      </a:cubicBezTo>
                      <a:cubicBezTo>
                        <a:pt x="270" y="111"/>
                        <a:pt x="267" y="109"/>
                        <a:pt x="264" y="107"/>
                      </a:cubicBezTo>
                      <a:cubicBezTo>
                        <a:pt x="255" y="103"/>
                        <a:pt x="253" y="97"/>
                        <a:pt x="249" y="89"/>
                      </a:cubicBezTo>
                      <a:cubicBezTo>
                        <a:pt x="249" y="89"/>
                        <a:pt x="249" y="89"/>
                        <a:pt x="249" y="89"/>
                      </a:cubicBezTo>
                      <a:cubicBezTo>
                        <a:pt x="248" y="87"/>
                        <a:pt x="248" y="87"/>
                        <a:pt x="248" y="87"/>
                      </a:cubicBezTo>
                      <a:cubicBezTo>
                        <a:pt x="248" y="87"/>
                        <a:pt x="248" y="87"/>
                        <a:pt x="248" y="87"/>
                      </a:cubicBezTo>
                      <a:cubicBezTo>
                        <a:pt x="247" y="83"/>
                        <a:pt x="246" y="81"/>
                        <a:pt x="244" y="79"/>
                      </a:cubicBezTo>
                      <a:cubicBezTo>
                        <a:pt x="243" y="78"/>
                        <a:pt x="241" y="78"/>
                        <a:pt x="239" y="78"/>
                      </a:cubicBezTo>
                      <a:cubicBezTo>
                        <a:pt x="236" y="78"/>
                        <a:pt x="234" y="78"/>
                        <a:pt x="231" y="79"/>
                      </a:cubicBezTo>
                      <a:cubicBezTo>
                        <a:pt x="227" y="80"/>
                        <a:pt x="222" y="81"/>
                        <a:pt x="217" y="79"/>
                      </a:cubicBezTo>
                      <a:cubicBezTo>
                        <a:pt x="211" y="77"/>
                        <a:pt x="208" y="73"/>
                        <a:pt x="205" y="68"/>
                      </a:cubicBezTo>
                      <a:cubicBezTo>
                        <a:pt x="203" y="65"/>
                        <a:pt x="200" y="62"/>
                        <a:pt x="197" y="59"/>
                      </a:cubicBezTo>
                      <a:cubicBezTo>
                        <a:pt x="194" y="56"/>
                        <a:pt x="191" y="54"/>
                        <a:pt x="188" y="53"/>
                      </a:cubicBezTo>
                      <a:cubicBezTo>
                        <a:pt x="186" y="52"/>
                        <a:pt x="184" y="52"/>
                        <a:pt x="182" y="51"/>
                      </a:cubicBezTo>
                      <a:cubicBezTo>
                        <a:pt x="179" y="51"/>
                        <a:pt x="176" y="50"/>
                        <a:pt x="173" y="49"/>
                      </a:cubicBezTo>
                      <a:cubicBezTo>
                        <a:pt x="170" y="47"/>
                        <a:pt x="167" y="45"/>
                        <a:pt x="164" y="43"/>
                      </a:cubicBezTo>
                      <a:cubicBezTo>
                        <a:pt x="161" y="41"/>
                        <a:pt x="157" y="39"/>
                        <a:pt x="151" y="35"/>
                      </a:cubicBezTo>
                      <a:cubicBezTo>
                        <a:pt x="143" y="30"/>
                        <a:pt x="133" y="24"/>
                        <a:pt x="126" y="19"/>
                      </a:cubicBezTo>
                      <a:cubicBezTo>
                        <a:pt x="126" y="19"/>
                        <a:pt x="126" y="19"/>
                        <a:pt x="126" y="19"/>
                      </a:cubicBezTo>
                      <a:cubicBezTo>
                        <a:pt x="121" y="14"/>
                        <a:pt x="119" y="11"/>
                        <a:pt x="118" y="8"/>
                      </a:cubicBezTo>
                      <a:cubicBezTo>
                        <a:pt x="117" y="6"/>
                        <a:pt x="116" y="5"/>
                        <a:pt x="112" y="4"/>
                      </a:cubicBezTo>
                      <a:cubicBezTo>
                        <a:pt x="107" y="2"/>
                        <a:pt x="102" y="1"/>
                        <a:pt x="97" y="1"/>
                      </a:cubicBezTo>
                      <a:cubicBezTo>
                        <a:pt x="91" y="0"/>
                        <a:pt x="85" y="0"/>
                        <a:pt x="84" y="1"/>
                      </a:cubicBezTo>
                      <a:cubicBezTo>
                        <a:pt x="84" y="1"/>
                        <a:pt x="82" y="2"/>
                        <a:pt x="81" y="4"/>
                      </a:cubicBezTo>
                      <a:cubicBezTo>
                        <a:pt x="81" y="4"/>
                        <a:pt x="81" y="4"/>
                        <a:pt x="81" y="4"/>
                      </a:cubicBezTo>
                      <a:cubicBezTo>
                        <a:pt x="79" y="7"/>
                        <a:pt x="77" y="9"/>
                        <a:pt x="76" y="12"/>
                      </a:cubicBezTo>
                      <a:cubicBezTo>
                        <a:pt x="73" y="21"/>
                        <a:pt x="68" y="20"/>
                        <a:pt x="63" y="18"/>
                      </a:cubicBezTo>
                      <a:cubicBezTo>
                        <a:pt x="63" y="18"/>
                        <a:pt x="63" y="18"/>
                        <a:pt x="63" y="18"/>
                      </a:cubicBezTo>
                      <a:cubicBezTo>
                        <a:pt x="62" y="18"/>
                        <a:pt x="62" y="18"/>
                        <a:pt x="61" y="17"/>
                      </a:cubicBezTo>
                      <a:cubicBezTo>
                        <a:pt x="60" y="17"/>
                        <a:pt x="59" y="17"/>
                        <a:pt x="59" y="16"/>
                      </a:cubicBezTo>
                      <a:cubicBezTo>
                        <a:pt x="59" y="16"/>
                        <a:pt x="59" y="16"/>
                        <a:pt x="59" y="16"/>
                      </a:cubicBezTo>
                      <a:cubicBezTo>
                        <a:pt x="57" y="16"/>
                        <a:pt x="54" y="14"/>
                        <a:pt x="50" y="12"/>
                      </a:cubicBezTo>
                      <a:cubicBezTo>
                        <a:pt x="50" y="13"/>
                        <a:pt x="50" y="13"/>
                        <a:pt x="50" y="13"/>
                      </a:cubicBezTo>
                      <a:cubicBezTo>
                        <a:pt x="48" y="16"/>
                        <a:pt x="47" y="18"/>
                        <a:pt x="40" y="22"/>
                      </a:cubicBezTo>
                      <a:cubicBezTo>
                        <a:pt x="39" y="23"/>
                        <a:pt x="39" y="23"/>
                        <a:pt x="39" y="23"/>
                      </a:cubicBezTo>
                      <a:cubicBezTo>
                        <a:pt x="32" y="28"/>
                        <a:pt x="27" y="31"/>
                        <a:pt x="24" y="37"/>
                      </a:cubicBezTo>
                      <a:cubicBezTo>
                        <a:pt x="23" y="40"/>
                        <a:pt x="23" y="41"/>
                        <a:pt x="24" y="42"/>
                      </a:cubicBezTo>
                      <a:cubicBezTo>
                        <a:pt x="24" y="45"/>
                        <a:pt x="24" y="48"/>
                        <a:pt x="20" y="54"/>
                      </a:cubicBezTo>
                      <a:cubicBezTo>
                        <a:pt x="18" y="55"/>
                        <a:pt x="18" y="56"/>
                        <a:pt x="17" y="57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41" name="Freeform 67"/>
                <p:cNvSpPr/>
                <p:nvPr>
                  <p:custDataLst>
                    <p:tags r:id="rId139"/>
                  </p:custDataLst>
                </p:nvPr>
              </p:nvSpPr>
              <p:spPr bwMode="auto">
                <a:xfrm>
                  <a:off x="2840" y="1607"/>
                  <a:ext cx="84" cy="41"/>
                </a:xfrm>
                <a:custGeom>
                  <a:avLst/>
                  <a:gdLst>
                    <a:gd name="T0" fmla="*/ 193 w 197"/>
                    <a:gd name="T1" fmla="*/ 69 h 97"/>
                    <a:gd name="T2" fmla="*/ 194 w 197"/>
                    <a:gd name="T3" fmla="*/ 61 h 97"/>
                    <a:gd name="T4" fmla="*/ 186 w 197"/>
                    <a:gd name="T5" fmla="*/ 58 h 97"/>
                    <a:gd name="T6" fmla="*/ 178 w 197"/>
                    <a:gd name="T7" fmla="*/ 55 h 97"/>
                    <a:gd name="T8" fmla="*/ 172 w 197"/>
                    <a:gd name="T9" fmla="*/ 48 h 97"/>
                    <a:gd name="T10" fmla="*/ 169 w 197"/>
                    <a:gd name="T11" fmla="*/ 38 h 97"/>
                    <a:gd name="T12" fmla="*/ 171 w 197"/>
                    <a:gd name="T13" fmla="*/ 30 h 97"/>
                    <a:gd name="T14" fmla="*/ 174 w 197"/>
                    <a:gd name="T15" fmla="*/ 28 h 97"/>
                    <a:gd name="T16" fmla="*/ 170 w 197"/>
                    <a:gd name="T17" fmla="*/ 21 h 97"/>
                    <a:gd name="T18" fmla="*/ 164 w 197"/>
                    <a:gd name="T19" fmla="*/ 18 h 97"/>
                    <a:gd name="T20" fmla="*/ 152 w 197"/>
                    <a:gd name="T21" fmla="*/ 16 h 97"/>
                    <a:gd name="T22" fmla="*/ 138 w 197"/>
                    <a:gd name="T23" fmla="*/ 18 h 97"/>
                    <a:gd name="T24" fmla="*/ 124 w 197"/>
                    <a:gd name="T25" fmla="*/ 19 h 97"/>
                    <a:gd name="T26" fmla="*/ 113 w 197"/>
                    <a:gd name="T27" fmla="*/ 16 h 97"/>
                    <a:gd name="T28" fmla="*/ 104 w 197"/>
                    <a:gd name="T29" fmla="*/ 15 h 97"/>
                    <a:gd name="T30" fmla="*/ 89 w 197"/>
                    <a:gd name="T31" fmla="*/ 7 h 97"/>
                    <a:gd name="T32" fmla="*/ 84 w 197"/>
                    <a:gd name="T33" fmla="*/ 3 h 97"/>
                    <a:gd name="T34" fmla="*/ 75 w 197"/>
                    <a:gd name="T35" fmla="*/ 2 h 97"/>
                    <a:gd name="T36" fmla="*/ 65 w 197"/>
                    <a:gd name="T37" fmla="*/ 4 h 97"/>
                    <a:gd name="T38" fmla="*/ 52 w 197"/>
                    <a:gd name="T39" fmla="*/ 11 h 97"/>
                    <a:gd name="T40" fmla="*/ 38 w 197"/>
                    <a:gd name="T41" fmla="*/ 22 h 97"/>
                    <a:gd name="T42" fmla="*/ 24 w 197"/>
                    <a:gd name="T43" fmla="*/ 36 h 97"/>
                    <a:gd name="T44" fmla="*/ 24 w 197"/>
                    <a:gd name="T45" fmla="*/ 36 h 97"/>
                    <a:gd name="T46" fmla="*/ 18 w 197"/>
                    <a:gd name="T47" fmla="*/ 44 h 97"/>
                    <a:gd name="T48" fmla="*/ 11 w 197"/>
                    <a:gd name="T49" fmla="*/ 53 h 97"/>
                    <a:gd name="T50" fmla="*/ 11 w 197"/>
                    <a:gd name="T51" fmla="*/ 53 h 97"/>
                    <a:gd name="T52" fmla="*/ 4 w 197"/>
                    <a:gd name="T53" fmla="*/ 63 h 97"/>
                    <a:gd name="T54" fmla="*/ 4 w 197"/>
                    <a:gd name="T55" fmla="*/ 63 h 97"/>
                    <a:gd name="T56" fmla="*/ 4 w 197"/>
                    <a:gd name="T57" fmla="*/ 63 h 97"/>
                    <a:gd name="T58" fmla="*/ 2 w 197"/>
                    <a:gd name="T59" fmla="*/ 69 h 97"/>
                    <a:gd name="T60" fmla="*/ 2 w 197"/>
                    <a:gd name="T61" fmla="*/ 69 h 97"/>
                    <a:gd name="T62" fmla="*/ 1 w 197"/>
                    <a:gd name="T63" fmla="*/ 73 h 97"/>
                    <a:gd name="T64" fmla="*/ 3 w 197"/>
                    <a:gd name="T65" fmla="*/ 79 h 97"/>
                    <a:gd name="T66" fmla="*/ 15 w 197"/>
                    <a:gd name="T67" fmla="*/ 87 h 97"/>
                    <a:gd name="T68" fmla="*/ 28 w 197"/>
                    <a:gd name="T69" fmla="*/ 90 h 97"/>
                    <a:gd name="T70" fmla="*/ 40 w 197"/>
                    <a:gd name="T71" fmla="*/ 92 h 97"/>
                    <a:gd name="T72" fmla="*/ 47 w 197"/>
                    <a:gd name="T73" fmla="*/ 94 h 97"/>
                    <a:gd name="T74" fmla="*/ 61 w 197"/>
                    <a:gd name="T75" fmla="*/ 97 h 97"/>
                    <a:gd name="T76" fmla="*/ 72 w 197"/>
                    <a:gd name="T77" fmla="*/ 93 h 97"/>
                    <a:gd name="T78" fmla="*/ 89 w 197"/>
                    <a:gd name="T79" fmla="*/ 88 h 97"/>
                    <a:gd name="T80" fmla="*/ 99 w 197"/>
                    <a:gd name="T81" fmla="*/ 90 h 97"/>
                    <a:gd name="T82" fmla="*/ 116 w 197"/>
                    <a:gd name="T83" fmla="*/ 92 h 97"/>
                    <a:gd name="T84" fmla="*/ 163 w 197"/>
                    <a:gd name="T85" fmla="*/ 92 h 97"/>
                    <a:gd name="T86" fmla="*/ 179 w 197"/>
                    <a:gd name="T87" fmla="*/ 92 h 97"/>
                    <a:gd name="T88" fmla="*/ 179 w 197"/>
                    <a:gd name="T89" fmla="*/ 92 h 97"/>
                    <a:gd name="T90" fmla="*/ 182 w 197"/>
                    <a:gd name="T91" fmla="*/ 92 h 97"/>
                    <a:gd name="T92" fmla="*/ 197 w 197"/>
                    <a:gd name="T93" fmla="*/ 91 h 97"/>
                    <a:gd name="T94" fmla="*/ 195 w 197"/>
                    <a:gd name="T95" fmla="*/ 87 h 97"/>
                    <a:gd name="T96" fmla="*/ 192 w 197"/>
                    <a:gd name="T97" fmla="*/ 75 h 97"/>
                    <a:gd name="T98" fmla="*/ 193 w 197"/>
                    <a:gd name="T99" fmla="*/ 69 h 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197" h="97">
                      <a:moveTo>
                        <a:pt x="193" y="69"/>
                      </a:moveTo>
                      <a:cubicBezTo>
                        <a:pt x="195" y="65"/>
                        <a:pt x="196" y="62"/>
                        <a:pt x="194" y="61"/>
                      </a:cubicBezTo>
                      <a:cubicBezTo>
                        <a:pt x="191" y="59"/>
                        <a:pt x="189" y="59"/>
                        <a:pt x="186" y="58"/>
                      </a:cubicBezTo>
                      <a:cubicBezTo>
                        <a:pt x="184" y="57"/>
                        <a:pt x="181" y="57"/>
                        <a:pt x="178" y="55"/>
                      </a:cubicBezTo>
                      <a:cubicBezTo>
                        <a:pt x="176" y="53"/>
                        <a:pt x="173" y="51"/>
                        <a:pt x="172" y="48"/>
                      </a:cubicBezTo>
                      <a:cubicBezTo>
                        <a:pt x="170" y="44"/>
                        <a:pt x="169" y="40"/>
                        <a:pt x="169" y="38"/>
                      </a:cubicBezTo>
                      <a:cubicBezTo>
                        <a:pt x="169" y="35"/>
                        <a:pt x="169" y="32"/>
                        <a:pt x="171" y="30"/>
                      </a:cubicBezTo>
                      <a:cubicBezTo>
                        <a:pt x="172" y="29"/>
                        <a:pt x="173" y="29"/>
                        <a:pt x="174" y="28"/>
                      </a:cubicBezTo>
                      <a:cubicBezTo>
                        <a:pt x="173" y="26"/>
                        <a:pt x="172" y="23"/>
                        <a:pt x="170" y="21"/>
                      </a:cubicBezTo>
                      <a:cubicBezTo>
                        <a:pt x="169" y="19"/>
                        <a:pt x="167" y="18"/>
                        <a:pt x="164" y="18"/>
                      </a:cubicBezTo>
                      <a:cubicBezTo>
                        <a:pt x="161" y="17"/>
                        <a:pt x="157" y="16"/>
                        <a:pt x="152" y="16"/>
                      </a:cubicBezTo>
                      <a:cubicBezTo>
                        <a:pt x="147" y="15"/>
                        <a:pt x="142" y="17"/>
                        <a:pt x="138" y="18"/>
                      </a:cubicBezTo>
                      <a:cubicBezTo>
                        <a:pt x="133" y="20"/>
                        <a:pt x="129" y="21"/>
                        <a:pt x="124" y="19"/>
                      </a:cubicBezTo>
                      <a:cubicBezTo>
                        <a:pt x="120" y="17"/>
                        <a:pt x="118" y="17"/>
                        <a:pt x="113" y="16"/>
                      </a:cubicBezTo>
                      <a:cubicBezTo>
                        <a:pt x="111" y="16"/>
                        <a:pt x="108" y="16"/>
                        <a:pt x="104" y="15"/>
                      </a:cubicBezTo>
                      <a:cubicBezTo>
                        <a:pt x="94" y="13"/>
                        <a:pt x="92" y="11"/>
                        <a:pt x="89" y="7"/>
                      </a:cubicBezTo>
                      <a:cubicBezTo>
                        <a:pt x="88" y="6"/>
                        <a:pt x="86" y="4"/>
                        <a:pt x="84" y="3"/>
                      </a:cubicBezTo>
                      <a:cubicBezTo>
                        <a:pt x="81" y="0"/>
                        <a:pt x="79" y="1"/>
                        <a:pt x="75" y="2"/>
                      </a:cubicBezTo>
                      <a:cubicBezTo>
                        <a:pt x="72" y="2"/>
                        <a:pt x="69" y="3"/>
                        <a:pt x="65" y="4"/>
                      </a:cubicBezTo>
                      <a:cubicBezTo>
                        <a:pt x="60" y="4"/>
                        <a:pt x="56" y="7"/>
                        <a:pt x="52" y="11"/>
                      </a:cubicBezTo>
                      <a:cubicBezTo>
                        <a:pt x="48" y="15"/>
                        <a:pt x="44" y="19"/>
                        <a:pt x="38" y="22"/>
                      </a:cubicBezTo>
                      <a:cubicBezTo>
                        <a:pt x="29" y="26"/>
                        <a:pt x="27" y="31"/>
                        <a:pt x="24" y="36"/>
                      </a:cubicBezTo>
                      <a:cubicBezTo>
                        <a:pt x="24" y="36"/>
                        <a:pt x="24" y="36"/>
                        <a:pt x="24" y="36"/>
                      </a:cubicBezTo>
                      <a:cubicBezTo>
                        <a:pt x="22" y="38"/>
                        <a:pt x="21" y="41"/>
                        <a:pt x="18" y="44"/>
                      </a:cubicBezTo>
                      <a:cubicBezTo>
                        <a:pt x="15" y="47"/>
                        <a:pt x="13" y="51"/>
                        <a:pt x="11" y="53"/>
                      </a:cubicBezTo>
                      <a:cubicBezTo>
                        <a:pt x="11" y="53"/>
                        <a:pt x="11" y="53"/>
                        <a:pt x="11" y="53"/>
                      </a:cubicBezTo>
                      <a:cubicBezTo>
                        <a:pt x="9" y="58"/>
                        <a:pt x="7" y="61"/>
                        <a:pt x="4" y="63"/>
                      </a:cubicBezTo>
                      <a:cubicBezTo>
                        <a:pt x="4" y="63"/>
                        <a:pt x="4" y="63"/>
                        <a:pt x="4" y="63"/>
                      </a:cubicBezTo>
                      <a:cubicBezTo>
                        <a:pt x="4" y="63"/>
                        <a:pt x="4" y="63"/>
                        <a:pt x="4" y="63"/>
                      </a:cubicBezTo>
                      <a:cubicBezTo>
                        <a:pt x="3" y="66"/>
                        <a:pt x="2" y="67"/>
                        <a:pt x="2" y="69"/>
                      </a:cubicBezTo>
                      <a:cubicBezTo>
                        <a:pt x="2" y="69"/>
                        <a:pt x="2" y="69"/>
                        <a:pt x="2" y="69"/>
                      </a:cubicBezTo>
                      <a:cubicBezTo>
                        <a:pt x="1" y="70"/>
                        <a:pt x="0" y="71"/>
                        <a:pt x="1" y="73"/>
                      </a:cubicBezTo>
                      <a:cubicBezTo>
                        <a:pt x="1" y="75"/>
                        <a:pt x="1" y="77"/>
                        <a:pt x="3" y="79"/>
                      </a:cubicBezTo>
                      <a:cubicBezTo>
                        <a:pt x="5" y="81"/>
                        <a:pt x="9" y="84"/>
                        <a:pt x="15" y="87"/>
                      </a:cubicBezTo>
                      <a:cubicBezTo>
                        <a:pt x="21" y="90"/>
                        <a:pt x="25" y="90"/>
                        <a:pt x="28" y="90"/>
                      </a:cubicBezTo>
                      <a:cubicBezTo>
                        <a:pt x="32" y="90"/>
                        <a:pt x="35" y="90"/>
                        <a:pt x="40" y="92"/>
                      </a:cubicBezTo>
                      <a:cubicBezTo>
                        <a:pt x="43" y="93"/>
                        <a:pt x="45" y="94"/>
                        <a:pt x="47" y="94"/>
                      </a:cubicBezTo>
                      <a:cubicBezTo>
                        <a:pt x="51" y="96"/>
                        <a:pt x="53" y="97"/>
                        <a:pt x="61" y="97"/>
                      </a:cubicBezTo>
                      <a:cubicBezTo>
                        <a:pt x="65" y="97"/>
                        <a:pt x="69" y="95"/>
                        <a:pt x="72" y="93"/>
                      </a:cubicBezTo>
                      <a:cubicBezTo>
                        <a:pt x="77" y="90"/>
                        <a:pt x="82" y="87"/>
                        <a:pt x="89" y="88"/>
                      </a:cubicBezTo>
                      <a:cubicBezTo>
                        <a:pt x="94" y="88"/>
                        <a:pt x="97" y="89"/>
                        <a:pt x="99" y="90"/>
                      </a:cubicBezTo>
                      <a:cubicBezTo>
                        <a:pt x="102" y="91"/>
                        <a:pt x="105" y="92"/>
                        <a:pt x="116" y="92"/>
                      </a:cubicBezTo>
                      <a:cubicBezTo>
                        <a:pt x="130" y="93"/>
                        <a:pt x="148" y="92"/>
                        <a:pt x="163" y="92"/>
                      </a:cubicBezTo>
                      <a:cubicBezTo>
                        <a:pt x="170" y="92"/>
                        <a:pt x="177" y="92"/>
                        <a:pt x="179" y="92"/>
                      </a:cubicBezTo>
                      <a:cubicBezTo>
                        <a:pt x="179" y="92"/>
                        <a:pt x="179" y="92"/>
                        <a:pt x="179" y="92"/>
                      </a:cubicBezTo>
                      <a:cubicBezTo>
                        <a:pt x="182" y="92"/>
                        <a:pt x="182" y="92"/>
                        <a:pt x="182" y="92"/>
                      </a:cubicBezTo>
                      <a:cubicBezTo>
                        <a:pt x="191" y="92"/>
                        <a:pt x="197" y="92"/>
                        <a:pt x="197" y="91"/>
                      </a:cubicBezTo>
                      <a:cubicBezTo>
                        <a:pt x="197" y="90"/>
                        <a:pt x="196" y="89"/>
                        <a:pt x="195" y="87"/>
                      </a:cubicBezTo>
                      <a:cubicBezTo>
                        <a:pt x="193" y="84"/>
                        <a:pt x="190" y="81"/>
                        <a:pt x="192" y="75"/>
                      </a:cubicBezTo>
                      <a:cubicBezTo>
                        <a:pt x="192" y="73"/>
                        <a:pt x="193" y="71"/>
                        <a:pt x="193" y="69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42" name="Freeform 68"/>
                <p:cNvSpPr>
                  <a:spLocks noEditPoints="1"/>
                </p:cNvSpPr>
                <p:nvPr>
                  <p:custDataLst>
                    <p:tags r:id="rId140"/>
                  </p:custDataLst>
                </p:nvPr>
              </p:nvSpPr>
              <p:spPr bwMode="auto">
                <a:xfrm>
                  <a:off x="3774" y="1163"/>
                  <a:ext cx="169" cy="167"/>
                </a:xfrm>
                <a:custGeom>
                  <a:avLst/>
                  <a:gdLst>
                    <a:gd name="T0" fmla="*/ 382 w 395"/>
                    <a:gd name="T1" fmla="*/ 33 h 390"/>
                    <a:gd name="T2" fmla="*/ 372 w 395"/>
                    <a:gd name="T3" fmla="*/ 14 h 390"/>
                    <a:gd name="T4" fmla="*/ 364 w 395"/>
                    <a:gd name="T5" fmla="*/ 4 h 390"/>
                    <a:gd name="T6" fmla="*/ 351 w 395"/>
                    <a:gd name="T7" fmla="*/ 2 h 390"/>
                    <a:gd name="T8" fmla="*/ 349 w 395"/>
                    <a:gd name="T9" fmla="*/ 15 h 390"/>
                    <a:gd name="T10" fmla="*/ 341 w 395"/>
                    <a:gd name="T11" fmla="*/ 34 h 390"/>
                    <a:gd name="T12" fmla="*/ 320 w 395"/>
                    <a:gd name="T13" fmla="*/ 40 h 390"/>
                    <a:gd name="T14" fmla="*/ 297 w 395"/>
                    <a:gd name="T15" fmla="*/ 67 h 390"/>
                    <a:gd name="T16" fmla="*/ 245 w 395"/>
                    <a:gd name="T17" fmla="*/ 71 h 390"/>
                    <a:gd name="T18" fmla="*/ 243 w 395"/>
                    <a:gd name="T19" fmla="*/ 72 h 390"/>
                    <a:gd name="T20" fmla="*/ 244 w 395"/>
                    <a:gd name="T21" fmla="*/ 74 h 390"/>
                    <a:gd name="T22" fmla="*/ 255 w 395"/>
                    <a:gd name="T23" fmla="*/ 97 h 390"/>
                    <a:gd name="T24" fmla="*/ 247 w 395"/>
                    <a:gd name="T25" fmla="*/ 117 h 390"/>
                    <a:gd name="T26" fmla="*/ 224 w 395"/>
                    <a:gd name="T27" fmla="*/ 120 h 390"/>
                    <a:gd name="T28" fmla="*/ 192 w 395"/>
                    <a:gd name="T29" fmla="*/ 115 h 390"/>
                    <a:gd name="T30" fmla="*/ 170 w 395"/>
                    <a:gd name="T31" fmla="*/ 94 h 390"/>
                    <a:gd name="T32" fmla="*/ 155 w 395"/>
                    <a:gd name="T33" fmla="*/ 99 h 390"/>
                    <a:gd name="T34" fmla="*/ 113 w 395"/>
                    <a:gd name="T35" fmla="*/ 155 h 390"/>
                    <a:gd name="T36" fmla="*/ 100 w 395"/>
                    <a:gd name="T37" fmla="*/ 157 h 390"/>
                    <a:gd name="T38" fmla="*/ 88 w 395"/>
                    <a:gd name="T39" fmla="*/ 162 h 390"/>
                    <a:gd name="T40" fmla="*/ 30 w 395"/>
                    <a:gd name="T41" fmla="*/ 202 h 390"/>
                    <a:gd name="T42" fmla="*/ 20 w 395"/>
                    <a:gd name="T43" fmla="*/ 208 h 390"/>
                    <a:gd name="T44" fmla="*/ 0 w 395"/>
                    <a:gd name="T45" fmla="*/ 227 h 390"/>
                    <a:gd name="T46" fmla="*/ 17 w 395"/>
                    <a:gd name="T47" fmla="*/ 233 h 390"/>
                    <a:gd name="T48" fmla="*/ 35 w 395"/>
                    <a:gd name="T49" fmla="*/ 233 h 390"/>
                    <a:gd name="T50" fmla="*/ 63 w 395"/>
                    <a:gd name="T51" fmla="*/ 249 h 390"/>
                    <a:gd name="T52" fmla="*/ 66 w 395"/>
                    <a:gd name="T53" fmla="*/ 271 h 390"/>
                    <a:gd name="T54" fmla="*/ 60 w 395"/>
                    <a:gd name="T55" fmla="*/ 306 h 390"/>
                    <a:gd name="T56" fmla="*/ 87 w 395"/>
                    <a:gd name="T57" fmla="*/ 316 h 390"/>
                    <a:gd name="T58" fmla="*/ 70 w 395"/>
                    <a:gd name="T59" fmla="*/ 317 h 390"/>
                    <a:gd name="T60" fmla="*/ 55 w 395"/>
                    <a:gd name="T61" fmla="*/ 323 h 390"/>
                    <a:gd name="T62" fmla="*/ 47 w 395"/>
                    <a:gd name="T63" fmla="*/ 344 h 390"/>
                    <a:gd name="T64" fmla="*/ 34 w 395"/>
                    <a:gd name="T65" fmla="*/ 355 h 390"/>
                    <a:gd name="T66" fmla="*/ 55 w 395"/>
                    <a:gd name="T67" fmla="*/ 370 h 390"/>
                    <a:gd name="T68" fmla="*/ 82 w 395"/>
                    <a:gd name="T69" fmla="*/ 374 h 390"/>
                    <a:gd name="T70" fmla="*/ 87 w 395"/>
                    <a:gd name="T71" fmla="*/ 359 h 390"/>
                    <a:gd name="T72" fmla="*/ 114 w 395"/>
                    <a:gd name="T73" fmla="*/ 378 h 390"/>
                    <a:gd name="T74" fmla="*/ 144 w 395"/>
                    <a:gd name="T75" fmla="*/ 375 h 390"/>
                    <a:gd name="T76" fmla="*/ 146 w 395"/>
                    <a:gd name="T77" fmla="*/ 375 h 390"/>
                    <a:gd name="T78" fmla="*/ 160 w 395"/>
                    <a:gd name="T79" fmla="*/ 356 h 390"/>
                    <a:gd name="T80" fmla="*/ 208 w 395"/>
                    <a:gd name="T81" fmla="*/ 341 h 390"/>
                    <a:gd name="T82" fmla="*/ 235 w 395"/>
                    <a:gd name="T83" fmla="*/ 342 h 390"/>
                    <a:gd name="T84" fmla="*/ 256 w 395"/>
                    <a:gd name="T85" fmla="*/ 320 h 390"/>
                    <a:gd name="T86" fmla="*/ 218 w 395"/>
                    <a:gd name="T87" fmla="*/ 283 h 390"/>
                    <a:gd name="T88" fmla="*/ 206 w 395"/>
                    <a:gd name="T89" fmla="*/ 250 h 390"/>
                    <a:gd name="T90" fmla="*/ 260 w 395"/>
                    <a:gd name="T91" fmla="*/ 209 h 390"/>
                    <a:gd name="T92" fmla="*/ 312 w 395"/>
                    <a:gd name="T93" fmla="*/ 169 h 390"/>
                    <a:gd name="T94" fmla="*/ 342 w 395"/>
                    <a:gd name="T95" fmla="*/ 133 h 390"/>
                    <a:gd name="T96" fmla="*/ 360 w 395"/>
                    <a:gd name="T97" fmla="*/ 75 h 390"/>
                    <a:gd name="T98" fmla="*/ 392 w 395"/>
                    <a:gd name="T99" fmla="*/ 49 h 390"/>
                    <a:gd name="T100" fmla="*/ 386 w 395"/>
                    <a:gd name="T101" fmla="*/ 40 h 390"/>
                    <a:gd name="T102" fmla="*/ 69 w 395"/>
                    <a:gd name="T103" fmla="*/ 383 h 390"/>
                    <a:gd name="T104" fmla="*/ 73 w 395"/>
                    <a:gd name="T105" fmla="*/ 388 h 390"/>
                    <a:gd name="T106" fmla="*/ 26 w 395"/>
                    <a:gd name="T107" fmla="*/ 364 h 390"/>
                    <a:gd name="T108" fmla="*/ 33 w 395"/>
                    <a:gd name="T109" fmla="*/ 368 h 3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395" h="390">
                      <a:moveTo>
                        <a:pt x="386" y="40"/>
                      </a:moveTo>
                      <a:cubicBezTo>
                        <a:pt x="384" y="37"/>
                        <a:pt x="383" y="35"/>
                        <a:pt x="382" y="33"/>
                      </a:cubicBezTo>
                      <a:cubicBezTo>
                        <a:pt x="381" y="30"/>
                        <a:pt x="379" y="27"/>
                        <a:pt x="377" y="25"/>
                      </a:cubicBezTo>
                      <a:cubicBezTo>
                        <a:pt x="374" y="21"/>
                        <a:pt x="373" y="18"/>
                        <a:pt x="372" y="14"/>
                      </a:cubicBezTo>
                      <a:cubicBezTo>
                        <a:pt x="372" y="12"/>
                        <a:pt x="371" y="11"/>
                        <a:pt x="371" y="10"/>
                      </a:cubicBezTo>
                      <a:cubicBezTo>
                        <a:pt x="371" y="9"/>
                        <a:pt x="368" y="6"/>
                        <a:pt x="364" y="4"/>
                      </a:cubicBezTo>
                      <a:cubicBezTo>
                        <a:pt x="360" y="2"/>
                        <a:pt x="356" y="0"/>
                        <a:pt x="353" y="0"/>
                      </a:cubicBezTo>
                      <a:cubicBezTo>
                        <a:pt x="351" y="0"/>
                        <a:pt x="351" y="1"/>
                        <a:pt x="351" y="2"/>
                      </a:cubicBezTo>
                      <a:cubicBezTo>
                        <a:pt x="351" y="4"/>
                        <a:pt x="350" y="5"/>
                        <a:pt x="350" y="7"/>
                      </a:cubicBezTo>
                      <a:cubicBezTo>
                        <a:pt x="349" y="8"/>
                        <a:pt x="349" y="11"/>
                        <a:pt x="349" y="15"/>
                      </a:cubicBezTo>
                      <a:cubicBezTo>
                        <a:pt x="348" y="22"/>
                        <a:pt x="348" y="31"/>
                        <a:pt x="341" y="34"/>
                      </a:cubicBezTo>
                      <a:cubicBezTo>
                        <a:pt x="341" y="34"/>
                        <a:pt x="341" y="34"/>
                        <a:pt x="341" y="34"/>
                      </a:cubicBezTo>
                      <a:cubicBezTo>
                        <a:pt x="338" y="35"/>
                        <a:pt x="334" y="36"/>
                        <a:pt x="331" y="37"/>
                      </a:cubicBezTo>
                      <a:cubicBezTo>
                        <a:pt x="326" y="38"/>
                        <a:pt x="322" y="38"/>
                        <a:pt x="320" y="40"/>
                      </a:cubicBezTo>
                      <a:cubicBezTo>
                        <a:pt x="319" y="42"/>
                        <a:pt x="316" y="46"/>
                        <a:pt x="313" y="50"/>
                      </a:cubicBezTo>
                      <a:cubicBezTo>
                        <a:pt x="307" y="58"/>
                        <a:pt x="301" y="67"/>
                        <a:pt x="297" y="67"/>
                      </a:cubicBezTo>
                      <a:cubicBezTo>
                        <a:pt x="296" y="67"/>
                        <a:pt x="289" y="68"/>
                        <a:pt x="281" y="68"/>
                      </a:cubicBezTo>
                      <a:cubicBezTo>
                        <a:pt x="267" y="69"/>
                        <a:pt x="248" y="71"/>
                        <a:pt x="245" y="71"/>
                      </a:cubicBezTo>
                      <a:cubicBezTo>
                        <a:pt x="244" y="71"/>
                        <a:pt x="244" y="71"/>
                        <a:pt x="243" y="72"/>
                      </a:cubicBezTo>
                      <a:cubicBezTo>
                        <a:pt x="243" y="72"/>
                        <a:pt x="243" y="72"/>
                        <a:pt x="243" y="72"/>
                      </a:cubicBezTo>
                      <a:cubicBezTo>
                        <a:pt x="243" y="72"/>
                        <a:pt x="243" y="72"/>
                        <a:pt x="243" y="72"/>
                      </a:cubicBezTo>
                      <a:cubicBezTo>
                        <a:pt x="243" y="72"/>
                        <a:pt x="243" y="73"/>
                        <a:pt x="244" y="74"/>
                      </a:cubicBezTo>
                      <a:cubicBezTo>
                        <a:pt x="245" y="76"/>
                        <a:pt x="246" y="78"/>
                        <a:pt x="248" y="80"/>
                      </a:cubicBezTo>
                      <a:cubicBezTo>
                        <a:pt x="252" y="86"/>
                        <a:pt x="256" y="91"/>
                        <a:pt x="255" y="97"/>
                      </a:cubicBezTo>
                      <a:cubicBezTo>
                        <a:pt x="255" y="99"/>
                        <a:pt x="254" y="99"/>
                        <a:pt x="254" y="100"/>
                      </a:cubicBezTo>
                      <a:cubicBezTo>
                        <a:pt x="253" y="107"/>
                        <a:pt x="253" y="114"/>
                        <a:pt x="247" y="117"/>
                      </a:cubicBezTo>
                      <a:cubicBezTo>
                        <a:pt x="244" y="118"/>
                        <a:pt x="240" y="119"/>
                        <a:pt x="236" y="120"/>
                      </a:cubicBezTo>
                      <a:cubicBezTo>
                        <a:pt x="232" y="120"/>
                        <a:pt x="228" y="120"/>
                        <a:pt x="224" y="120"/>
                      </a:cubicBezTo>
                      <a:cubicBezTo>
                        <a:pt x="219" y="120"/>
                        <a:pt x="210" y="118"/>
                        <a:pt x="203" y="117"/>
                      </a:cubicBezTo>
                      <a:cubicBezTo>
                        <a:pt x="198" y="116"/>
                        <a:pt x="194" y="115"/>
                        <a:pt x="192" y="115"/>
                      </a:cubicBezTo>
                      <a:cubicBezTo>
                        <a:pt x="188" y="115"/>
                        <a:pt x="183" y="109"/>
                        <a:pt x="179" y="103"/>
                      </a:cubicBezTo>
                      <a:cubicBezTo>
                        <a:pt x="175" y="99"/>
                        <a:pt x="172" y="94"/>
                        <a:pt x="170" y="94"/>
                      </a:cubicBezTo>
                      <a:cubicBezTo>
                        <a:pt x="168" y="93"/>
                        <a:pt x="166" y="92"/>
                        <a:pt x="164" y="93"/>
                      </a:cubicBezTo>
                      <a:cubicBezTo>
                        <a:pt x="161" y="93"/>
                        <a:pt x="158" y="95"/>
                        <a:pt x="155" y="99"/>
                      </a:cubicBezTo>
                      <a:cubicBezTo>
                        <a:pt x="151" y="103"/>
                        <a:pt x="143" y="114"/>
                        <a:pt x="136" y="125"/>
                      </a:cubicBezTo>
                      <a:cubicBezTo>
                        <a:pt x="127" y="138"/>
                        <a:pt x="117" y="152"/>
                        <a:pt x="113" y="155"/>
                      </a:cubicBezTo>
                      <a:cubicBezTo>
                        <a:pt x="108" y="158"/>
                        <a:pt x="104" y="157"/>
                        <a:pt x="100" y="157"/>
                      </a:cubicBezTo>
                      <a:cubicBezTo>
                        <a:pt x="100" y="157"/>
                        <a:pt x="100" y="157"/>
                        <a:pt x="100" y="157"/>
                      </a:cubicBezTo>
                      <a:cubicBezTo>
                        <a:pt x="98" y="157"/>
                        <a:pt x="96" y="157"/>
                        <a:pt x="93" y="158"/>
                      </a:cubicBezTo>
                      <a:cubicBezTo>
                        <a:pt x="90" y="159"/>
                        <a:pt x="89" y="160"/>
                        <a:pt x="88" y="162"/>
                      </a:cubicBezTo>
                      <a:cubicBezTo>
                        <a:pt x="86" y="165"/>
                        <a:pt x="83" y="169"/>
                        <a:pt x="76" y="174"/>
                      </a:cubicBezTo>
                      <a:cubicBezTo>
                        <a:pt x="64" y="183"/>
                        <a:pt x="46" y="193"/>
                        <a:pt x="30" y="202"/>
                      </a:cubicBezTo>
                      <a:cubicBezTo>
                        <a:pt x="26" y="204"/>
                        <a:pt x="23" y="206"/>
                        <a:pt x="20" y="208"/>
                      </a:cubicBezTo>
                      <a:cubicBezTo>
                        <a:pt x="20" y="208"/>
                        <a:pt x="20" y="208"/>
                        <a:pt x="20" y="208"/>
                      </a:cubicBezTo>
                      <a:cubicBezTo>
                        <a:pt x="13" y="212"/>
                        <a:pt x="8" y="216"/>
                        <a:pt x="4" y="221"/>
                      </a:cubicBezTo>
                      <a:cubicBezTo>
                        <a:pt x="3" y="223"/>
                        <a:pt x="1" y="225"/>
                        <a:pt x="0" y="227"/>
                      </a:cubicBezTo>
                      <a:cubicBezTo>
                        <a:pt x="1" y="226"/>
                        <a:pt x="2" y="226"/>
                        <a:pt x="4" y="225"/>
                      </a:cubicBezTo>
                      <a:cubicBezTo>
                        <a:pt x="12" y="222"/>
                        <a:pt x="13" y="228"/>
                        <a:pt x="17" y="233"/>
                      </a:cubicBezTo>
                      <a:cubicBezTo>
                        <a:pt x="21" y="238"/>
                        <a:pt x="24" y="242"/>
                        <a:pt x="28" y="243"/>
                      </a:cubicBezTo>
                      <a:cubicBezTo>
                        <a:pt x="32" y="244"/>
                        <a:pt x="31" y="238"/>
                        <a:pt x="35" y="233"/>
                      </a:cubicBezTo>
                      <a:cubicBezTo>
                        <a:pt x="40" y="228"/>
                        <a:pt x="40" y="234"/>
                        <a:pt x="46" y="242"/>
                      </a:cubicBezTo>
                      <a:cubicBezTo>
                        <a:pt x="52" y="250"/>
                        <a:pt x="57" y="250"/>
                        <a:pt x="63" y="249"/>
                      </a:cubicBezTo>
                      <a:cubicBezTo>
                        <a:pt x="70" y="249"/>
                        <a:pt x="73" y="249"/>
                        <a:pt x="72" y="255"/>
                      </a:cubicBezTo>
                      <a:cubicBezTo>
                        <a:pt x="72" y="260"/>
                        <a:pt x="69" y="264"/>
                        <a:pt x="66" y="271"/>
                      </a:cubicBezTo>
                      <a:cubicBezTo>
                        <a:pt x="63" y="279"/>
                        <a:pt x="61" y="283"/>
                        <a:pt x="60" y="292"/>
                      </a:cubicBezTo>
                      <a:cubicBezTo>
                        <a:pt x="59" y="300"/>
                        <a:pt x="58" y="301"/>
                        <a:pt x="60" y="306"/>
                      </a:cubicBezTo>
                      <a:cubicBezTo>
                        <a:pt x="63" y="312"/>
                        <a:pt x="68" y="310"/>
                        <a:pt x="73" y="311"/>
                      </a:cubicBezTo>
                      <a:cubicBezTo>
                        <a:pt x="78" y="311"/>
                        <a:pt x="85" y="314"/>
                        <a:pt x="87" y="316"/>
                      </a:cubicBezTo>
                      <a:cubicBezTo>
                        <a:pt x="88" y="318"/>
                        <a:pt x="86" y="319"/>
                        <a:pt x="84" y="319"/>
                      </a:cubicBezTo>
                      <a:cubicBezTo>
                        <a:pt x="81" y="319"/>
                        <a:pt x="77" y="319"/>
                        <a:pt x="70" y="317"/>
                      </a:cubicBezTo>
                      <a:cubicBezTo>
                        <a:pt x="64" y="316"/>
                        <a:pt x="64" y="318"/>
                        <a:pt x="61" y="318"/>
                      </a:cubicBezTo>
                      <a:cubicBezTo>
                        <a:pt x="58" y="318"/>
                        <a:pt x="58" y="320"/>
                        <a:pt x="55" y="323"/>
                      </a:cubicBezTo>
                      <a:cubicBezTo>
                        <a:pt x="53" y="327"/>
                        <a:pt x="53" y="327"/>
                        <a:pt x="51" y="331"/>
                      </a:cubicBezTo>
                      <a:cubicBezTo>
                        <a:pt x="48" y="334"/>
                        <a:pt x="49" y="337"/>
                        <a:pt x="47" y="344"/>
                      </a:cubicBezTo>
                      <a:cubicBezTo>
                        <a:pt x="45" y="350"/>
                        <a:pt x="44" y="347"/>
                        <a:pt x="41" y="347"/>
                      </a:cubicBezTo>
                      <a:cubicBezTo>
                        <a:pt x="38" y="347"/>
                        <a:pt x="33" y="351"/>
                        <a:pt x="34" y="355"/>
                      </a:cubicBezTo>
                      <a:cubicBezTo>
                        <a:pt x="35" y="359"/>
                        <a:pt x="38" y="357"/>
                        <a:pt x="47" y="361"/>
                      </a:cubicBezTo>
                      <a:cubicBezTo>
                        <a:pt x="57" y="365"/>
                        <a:pt x="50" y="366"/>
                        <a:pt x="55" y="370"/>
                      </a:cubicBezTo>
                      <a:cubicBezTo>
                        <a:pt x="60" y="375"/>
                        <a:pt x="61" y="372"/>
                        <a:pt x="70" y="371"/>
                      </a:cubicBezTo>
                      <a:cubicBezTo>
                        <a:pt x="79" y="371"/>
                        <a:pt x="78" y="374"/>
                        <a:pt x="82" y="374"/>
                      </a:cubicBezTo>
                      <a:cubicBezTo>
                        <a:pt x="87" y="373"/>
                        <a:pt x="87" y="371"/>
                        <a:pt x="86" y="368"/>
                      </a:cubicBezTo>
                      <a:cubicBezTo>
                        <a:pt x="85" y="364"/>
                        <a:pt x="83" y="361"/>
                        <a:pt x="87" y="359"/>
                      </a:cubicBezTo>
                      <a:cubicBezTo>
                        <a:pt x="91" y="356"/>
                        <a:pt x="93" y="363"/>
                        <a:pt x="101" y="368"/>
                      </a:cubicBezTo>
                      <a:cubicBezTo>
                        <a:pt x="109" y="374"/>
                        <a:pt x="109" y="375"/>
                        <a:pt x="114" y="378"/>
                      </a:cubicBezTo>
                      <a:cubicBezTo>
                        <a:pt x="119" y="381"/>
                        <a:pt x="126" y="378"/>
                        <a:pt x="130" y="374"/>
                      </a:cubicBezTo>
                      <a:cubicBezTo>
                        <a:pt x="134" y="371"/>
                        <a:pt x="139" y="373"/>
                        <a:pt x="144" y="375"/>
                      </a:cubicBezTo>
                      <a:cubicBezTo>
                        <a:pt x="145" y="376"/>
                        <a:pt x="145" y="376"/>
                        <a:pt x="146" y="376"/>
                      </a:cubicBezTo>
                      <a:cubicBezTo>
                        <a:pt x="146" y="376"/>
                        <a:pt x="146" y="375"/>
                        <a:pt x="146" y="375"/>
                      </a:cubicBezTo>
                      <a:cubicBezTo>
                        <a:pt x="149" y="370"/>
                        <a:pt x="151" y="366"/>
                        <a:pt x="155" y="362"/>
                      </a:cubicBezTo>
                      <a:cubicBezTo>
                        <a:pt x="157" y="359"/>
                        <a:pt x="159" y="358"/>
                        <a:pt x="160" y="356"/>
                      </a:cubicBezTo>
                      <a:cubicBezTo>
                        <a:pt x="164" y="351"/>
                        <a:pt x="166" y="348"/>
                        <a:pt x="177" y="343"/>
                      </a:cubicBezTo>
                      <a:cubicBezTo>
                        <a:pt x="189" y="338"/>
                        <a:pt x="197" y="339"/>
                        <a:pt x="208" y="341"/>
                      </a:cubicBezTo>
                      <a:cubicBezTo>
                        <a:pt x="211" y="341"/>
                        <a:pt x="215" y="342"/>
                        <a:pt x="219" y="342"/>
                      </a:cubicBezTo>
                      <a:cubicBezTo>
                        <a:pt x="227" y="342"/>
                        <a:pt x="232" y="342"/>
                        <a:pt x="235" y="342"/>
                      </a:cubicBezTo>
                      <a:cubicBezTo>
                        <a:pt x="238" y="341"/>
                        <a:pt x="240" y="341"/>
                        <a:pt x="241" y="339"/>
                      </a:cubicBezTo>
                      <a:cubicBezTo>
                        <a:pt x="243" y="338"/>
                        <a:pt x="251" y="328"/>
                        <a:pt x="256" y="320"/>
                      </a:cubicBezTo>
                      <a:cubicBezTo>
                        <a:pt x="253" y="316"/>
                        <a:pt x="249" y="312"/>
                        <a:pt x="244" y="309"/>
                      </a:cubicBezTo>
                      <a:cubicBezTo>
                        <a:pt x="231" y="298"/>
                        <a:pt x="227" y="288"/>
                        <a:pt x="218" y="283"/>
                      </a:cubicBezTo>
                      <a:cubicBezTo>
                        <a:pt x="210" y="278"/>
                        <a:pt x="206" y="281"/>
                        <a:pt x="202" y="276"/>
                      </a:cubicBezTo>
                      <a:cubicBezTo>
                        <a:pt x="198" y="271"/>
                        <a:pt x="205" y="259"/>
                        <a:pt x="206" y="250"/>
                      </a:cubicBezTo>
                      <a:cubicBezTo>
                        <a:pt x="206" y="241"/>
                        <a:pt x="210" y="231"/>
                        <a:pt x="222" y="224"/>
                      </a:cubicBezTo>
                      <a:cubicBezTo>
                        <a:pt x="233" y="217"/>
                        <a:pt x="245" y="219"/>
                        <a:pt x="260" y="209"/>
                      </a:cubicBezTo>
                      <a:cubicBezTo>
                        <a:pt x="276" y="199"/>
                        <a:pt x="278" y="199"/>
                        <a:pt x="287" y="191"/>
                      </a:cubicBezTo>
                      <a:cubicBezTo>
                        <a:pt x="295" y="183"/>
                        <a:pt x="303" y="177"/>
                        <a:pt x="312" y="169"/>
                      </a:cubicBezTo>
                      <a:cubicBezTo>
                        <a:pt x="321" y="161"/>
                        <a:pt x="333" y="162"/>
                        <a:pt x="338" y="155"/>
                      </a:cubicBezTo>
                      <a:cubicBezTo>
                        <a:pt x="342" y="148"/>
                        <a:pt x="341" y="141"/>
                        <a:pt x="342" y="133"/>
                      </a:cubicBezTo>
                      <a:cubicBezTo>
                        <a:pt x="343" y="124"/>
                        <a:pt x="347" y="105"/>
                        <a:pt x="354" y="90"/>
                      </a:cubicBezTo>
                      <a:cubicBezTo>
                        <a:pt x="362" y="75"/>
                        <a:pt x="357" y="81"/>
                        <a:pt x="360" y="75"/>
                      </a:cubicBezTo>
                      <a:cubicBezTo>
                        <a:pt x="362" y="70"/>
                        <a:pt x="367" y="63"/>
                        <a:pt x="375" y="55"/>
                      </a:cubicBezTo>
                      <a:cubicBezTo>
                        <a:pt x="383" y="48"/>
                        <a:pt x="386" y="49"/>
                        <a:pt x="392" y="49"/>
                      </a:cubicBezTo>
                      <a:cubicBezTo>
                        <a:pt x="393" y="49"/>
                        <a:pt x="394" y="49"/>
                        <a:pt x="395" y="49"/>
                      </a:cubicBezTo>
                      <a:cubicBezTo>
                        <a:pt x="391" y="46"/>
                        <a:pt x="388" y="43"/>
                        <a:pt x="386" y="40"/>
                      </a:cubicBezTo>
                      <a:close/>
                      <a:moveTo>
                        <a:pt x="73" y="388"/>
                      </a:moveTo>
                      <a:cubicBezTo>
                        <a:pt x="75" y="385"/>
                        <a:pt x="73" y="381"/>
                        <a:pt x="69" y="383"/>
                      </a:cubicBezTo>
                      <a:cubicBezTo>
                        <a:pt x="67" y="384"/>
                        <a:pt x="66" y="386"/>
                        <a:pt x="68" y="387"/>
                      </a:cubicBezTo>
                      <a:cubicBezTo>
                        <a:pt x="69" y="389"/>
                        <a:pt x="70" y="390"/>
                        <a:pt x="73" y="388"/>
                      </a:cubicBezTo>
                      <a:close/>
                      <a:moveTo>
                        <a:pt x="33" y="368"/>
                      </a:moveTo>
                      <a:cubicBezTo>
                        <a:pt x="34" y="365"/>
                        <a:pt x="29" y="363"/>
                        <a:pt x="26" y="364"/>
                      </a:cubicBezTo>
                      <a:cubicBezTo>
                        <a:pt x="24" y="366"/>
                        <a:pt x="24" y="368"/>
                        <a:pt x="27" y="369"/>
                      </a:cubicBezTo>
                      <a:cubicBezTo>
                        <a:pt x="30" y="370"/>
                        <a:pt x="31" y="371"/>
                        <a:pt x="33" y="368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43" name="Freeform 69"/>
                <p:cNvSpPr/>
                <p:nvPr>
                  <p:custDataLst>
                    <p:tags r:id="rId141"/>
                  </p:custDataLst>
                </p:nvPr>
              </p:nvSpPr>
              <p:spPr bwMode="auto">
                <a:xfrm>
                  <a:off x="4186" y="1079"/>
                  <a:ext cx="156" cy="133"/>
                </a:xfrm>
                <a:custGeom>
                  <a:avLst/>
                  <a:gdLst>
                    <a:gd name="T0" fmla="*/ 4 w 366"/>
                    <a:gd name="T1" fmla="*/ 254 h 311"/>
                    <a:gd name="T2" fmla="*/ 22 w 366"/>
                    <a:gd name="T3" fmla="*/ 278 h 311"/>
                    <a:gd name="T4" fmla="*/ 24 w 366"/>
                    <a:gd name="T5" fmla="*/ 307 h 311"/>
                    <a:gd name="T6" fmla="*/ 53 w 366"/>
                    <a:gd name="T7" fmla="*/ 282 h 311"/>
                    <a:gd name="T8" fmla="*/ 79 w 366"/>
                    <a:gd name="T9" fmla="*/ 278 h 311"/>
                    <a:gd name="T10" fmla="*/ 57 w 366"/>
                    <a:gd name="T11" fmla="*/ 260 h 311"/>
                    <a:gd name="T12" fmla="*/ 33 w 366"/>
                    <a:gd name="T13" fmla="*/ 253 h 311"/>
                    <a:gd name="T14" fmla="*/ 44 w 366"/>
                    <a:gd name="T15" fmla="*/ 224 h 311"/>
                    <a:gd name="T16" fmla="*/ 66 w 366"/>
                    <a:gd name="T17" fmla="*/ 235 h 311"/>
                    <a:gd name="T18" fmla="*/ 91 w 366"/>
                    <a:gd name="T19" fmla="*/ 229 h 311"/>
                    <a:gd name="T20" fmla="*/ 127 w 366"/>
                    <a:gd name="T21" fmla="*/ 226 h 311"/>
                    <a:gd name="T22" fmla="*/ 173 w 366"/>
                    <a:gd name="T23" fmla="*/ 251 h 311"/>
                    <a:gd name="T24" fmla="*/ 208 w 366"/>
                    <a:gd name="T25" fmla="*/ 270 h 311"/>
                    <a:gd name="T26" fmla="*/ 227 w 366"/>
                    <a:gd name="T27" fmla="*/ 229 h 311"/>
                    <a:gd name="T28" fmla="*/ 258 w 366"/>
                    <a:gd name="T29" fmla="*/ 202 h 311"/>
                    <a:gd name="T30" fmla="*/ 299 w 366"/>
                    <a:gd name="T31" fmla="*/ 199 h 311"/>
                    <a:gd name="T32" fmla="*/ 314 w 366"/>
                    <a:gd name="T33" fmla="*/ 190 h 311"/>
                    <a:gd name="T34" fmla="*/ 343 w 366"/>
                    <a:gd name="T35" fmla="*/ 185 h 311"/>
                    <a:gd name="T36" fmla="*/ 365 w 366"/>
                    <a:gd name="T37" fmla="*/ 167 h 311"/>
                    <a:gd name="T38" fmla="*/ 340 w 366"/>
                    <a:gd name="T39" fmla="*/ 170 h 311"/>
                    <a:gd name="T40" fmla="*/ 335 w 366"/>
                    <a:gd name="T41" fmla="*/ 148 h 311"/>
                    <a:gd name="T42" fmla="*/ 326 w 366"/>
                    <a:gd name="T43" fmla="*/ 123 h 311"/>
                    <a:gd name="T44" fmla="*/ 329 w 366"/>
                    <a:gd name="T45" fmla="*/ 102 h 311"/>
                    <a:gd name="T46" fmla="*/ 298 w 366"/>
                    <a:gd name="T47" fmla="*/ 122 h 311"/>
                    <a:gd name="T48" fmla="*/ 251 w 366"/>
                    <a:gd name="T49" fmla="*/ 109 h 311"/>
                    <a:gd name="T50" fmla="*/ 219 w 366"/>
                    <a:gd name="T51" fmla="*/ 85 h 311"/>
                    <a:gd name="T52" fmla="*/ 174 w 366"/>
                    <a:gd name="T53" fmla="*/ 51 h 311"/>
                    <a:gd name="T54" fmla="*/ 137 w 366"/>
                    <a:gd name="T55" fmla="*/ 5 h 311"/>
                    <a:gd name="T56" fmla="*/ 119 w 366"/>
                    <a:gd name="T57" fmla="*/ 20 h 311"/>
                    <a:gd name="T58" fmla="*/ 126 w 366"/>
                    <a:gd name="T59" fmla="*/ 64 h 311"/>
                    <a:gd name="T60" fmla="*/ 120 w 366"/>
                    <a:gd name="T61" fmla="*/ 108 h 311"/>
                    <a:gd name="T62" fmla="*/ 98 w 366"/>
                    <a:gd name="T63" fmla="*/ 139 h 311"/>
                    <a:gd name="T64" fmla="*/ 101 w 366"/>
                    <a:gd name="T65" fmla="*/ 171 h 311"/>
                    <a:gd name="T66" fmla="*/ 71 w 366"/>
                    <a:gd name="T67" fmla="*/ 176 h 311"/>
                    <a:gd name="T68" fmla="*/ 46 w 366"/>
                    <a:gd name="T69" fmla="*/ 166 h 311"/>
                    <a:gd name="T70" fmla="*/ 42 w 366"/>
                    <a:gd name="T71" fmla="*/ 188 h 311"/>
                    <a:gd name="T72" fmla="*/ 23 w 366"/>
                    <a:gd name="T73" fmla="*/ 211 h 311"/>
                    <a:gd name="T74" fmla="*/ 2 w 366"/>
                    <a:gd name="T75" fmla="*/ 230 h 3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366" h="311">
                      <a:moveTo>
                        <a:pt x="1" y="241"/>
                      </a:moveTo>
                      <a:cubicBezTo>
                        <a:pt x="1" y="247"/>
                        <a:pt x="2" y="249"/>
                        <a:pt x="4" y="254"/>
                      </a:cubicBezTo>
                      <a:cubicBezTo>
                        <a:pt x="5" y="259"/>
                        <a:pt x="14" y="262"/>
                        <a:pt x="20" y="266"/>
                      </a:cubicBezTo>
                      <a:cubicBezTo>
                        <a:pt x="26" y="270"/>
                        <a:pt x="22" y="271"/>
                        <a:pt x="22" y="278"/>
                      </a:cubicBezTo>
                      <a:cubicBezTo>
                        <a:pt x="22" y="286"/>
                        <a:pt x="16" y="290"/>
                        <a:pt x="14" y="295"/>
                      </a:cubicBezTo>
                      <a:cubicBezTo>
                        <a:pt x="12" y="301"/>
                        <a:pt x="18" y="304"/>
                        <a:pt x="24" y="307"/>
                      </a:cubicBezTo>
                      <a:cubicBezTo>
                        <a:pt x="30" y="311"/>
                        <a:pt x="36" y="302"/>
                        <a:pt x="40" y="294"/>
                      </a:cubicBezTo>
                      <a:cubicBezTo>
                        <a:pt x="44" y="287"/>
                        <a:pt x="47" y="285"/>
                        <a:pt x="53" y="282"/>
                      </a:cubicBezTo>
                      <a:cubicBezTo>
                        <a:pt x="59" y="278"/>
                        <a:pt x="63" y="284"/>
                        <a:pt x="69" y="287"/>
                      </a:cubicBezTo>
                      <a:cubicBezTo>
                        <a:pt x="75" y="290"/>
                        <a:pt x="77" y="286"/>
                        <a:pt x="79" y="278"/>
                      </a:cubicBezTo>
                      <a:cubicBezTo>
                        <a:pt x="81" y="270"/>
                        <a:pt x="75" y="275"/>
                        <a:pt x="69" y="268"/>
                      </a:cubicBezTo>
                      <a:cubicBezTo>
                        <a:pt x="64" y="260"/>
                        <a:pt x="62" y="261"/>
                        <a:pt x="57" y="260"/>
                      </a:cubicBezTo>
                      <a:cubicBezTo>
                        <a:pt x="53" y="259"/>
                        <a:pt x="53" y="260"/>
                        <a:pt x="48" y="258"/>
                      </a:cubicBezTo>
                      <a:cubicBezTo>
                        <a:pt x="44" y="256"/>
                        <a:pt x="38" y="255"/>
                        <a:pt x="33" y="253"/>
                      </a:cubicBezTo>
                      <a:cubicBezTo>
                        <a:pt x="29" y="250"/>
                        <a:pt x="31" y="244"/>
                        <a:pt x="32" y="237"/>
                      </a:cubicBezTo>
                      <a:cubicBezTo>
                        <a:pt x="32" y="230"/>
                        <a:pt x="40" y="225"/>
                        <a:pt x="44" y="224"/>
                      </a:cubicBezTo>
                      <a:cubicBezTo>
                        <a:pt x="48" y="222"/>
                        <a:pt x="48" y="226"/>
                        <a:pt x="54" y="227"/>
                      </a:cubicBezTo>
                      <a:cubicBezTo>
                        <a:pt x="61" y="227"/>
                        <a:pt x="63" y="229"/>
                        <a:pt x="66" y="235"/>
                      </a:cubicBezTo>
                      <a:cubicBezTo>
                        <a:pt x="69" y="242"/>
                        <a:pt x="70" y="242"/>
                        <a:pt x="77" y="244"/>
                      </a:cubicBezTo>
                      <a:cubicBezTo>
                        <a:pt x="83" y="245"/>
                        <a:pt x="84" y="237"/>
                        <a:pt x="91" y="229"/>
                      </a:cubicBezTo>
                      <a:cubicBezTo>
                        <a:pt x="98" y="221"/>
                        <a:pt x="103" y="226"/>
                        <a:pt x="108" y="224"/>
                      </a:cubicBezTo>
                      <a:cubicBezTo>
                        <a:pt x="114" y="223"/>
                        <a:pt x="123" y="224"/>
                        <a:pt x="127" y="226"/>
                      </a:cubicBezTo>
                      <a:cubicBezTo>
                        <a:pt x="131" y="227"/>
                        <a:pt x="142" y="232"/>
                        <a:pt x="146" y="235"/>
                      </a:cubicBezTo>
                      <a:cubicBezTo>
                        <a:pt x="149" y="239"/>
                        <a:pt x="165" y="248"/>
                        <a:pt x="173" y="251"/>
                      </a:cubicBezTo>
                      <a:cubicBezTo>
                        <a:pt x="182" y="254"/>
                        <a:pt x="193" y="260"/>
                        <a:pt x="194" y="265"/>
                      </a:cubicBezTo>
                      <a:cubicBezTo>
                        <a:pt x="196" y="269"/>
                        <a:pt x="206" y="270"/>
                        <a:pt x="208" y="270"/>
                      </a:cubicBezTo>
                      <a:cubicBezTo>
                        <a:pt x="210" y="269"/>
                        <a:pt x="218" y="263"/>
                        <a:pt x="219" y="252"/>
                      </a:cubicBezTo>
                      <a:cubicBezTo>
                        <a:pt x="220" y="242"/>
                        <a:pt x="222" y="237"/>
                        <a:pt x="227" y="229"/>
                      </a:cubicBezTo>
                      <a:cubicBezTo>
                        <a:pt x="232" y="220"/>
                        <a:pt x="236" y="223"/>
                        <a:pt x="242" y="219"/>
                      </a:cubicBezTo>
                      <a:cubicBezTo>
                        <a:pt x="248" y="215"/>
                        <a:pt x="250" y="210"/>
                        <a:pt x="258" y="202"/>
                      </a:cubicBezTo>
                      <a:cubicBezTo>
                        <a:pt x="265" y="194"/>
                        <a:pt x="268" y="200"/>
                        <a:pt x="275" y="198"/>
                      </a:cubicBezTo>
                      <a:cubicBezTo>
                        <a:pt x="282" y="197"/>
                        <a:pt x="291" y="199"/>
                        <a:pt x="299" y="199"/>
                      </a:cubicBezTo>
                      <a:cubicBezTo>
                        <a:pt x="307" y="199"/>
                        <a:pt x="311" y="202"/>
                        <a:pt x="314" y="198"/>
                      </a:cubicBezTo>
                      <a:cubicBezTo>
                        <a:pt x="316" y="193"/>
                        <a:pt x="311" y="192"/>
                        <a:pt x="314" y="190"/>
                      </a:cubicBezTo>
                      <a:cubicBezTo>
                        <a:pt x="317" y="189"/>
                        <a:pt x="324" y="195"/>
                        <a:pt x="328" y="191"/>
                      </a:cubicBezTo>
                      <a:cubicBezTo>
                        <a:pt x="332" y="187"/>
                        <a:pt x="337" y="190"/>
                        <a:pt x="343" y="185"/>
                      </a:cubicBezTo>
                      <a:cubicBezTo>
                        <a:pt x="349" y="179"/>
                        <a:pt x="353" y="178"/>
                        <a:pt x="358" y="175"/>
                      </a:cubicBezTo>
                      <a:cubicBezTo>
                        <a:pt x="364" y="173"/>
                        <a:pt x="366" y="170"/>
                        <a:pt x="365" y="167"/>
                      </a:cubicBezTo>
                      <a:cubicBezTo>
                        <a:pt x="363" y="164"/>
                        <a:pt x="360" y="169"/>
                        <a:pt x="355" y="173"/>
                      </a:cubicBezTo>
                      <a:cubicBezTo>
                        <a:pt x="350" y="177"/>
                        <a:pt x="346" y="173"/>
                        <a:pt x="340" y="170"/>
                      </a:cubicBezTo>
                      <a:cubicBezTo>
                        <a:pt x="334" y="167"/>
                        <a:pt x="335" y="163"/>
                        <a:pt x="333" y="156"/>
                      </a:cubicBezTo>
                      <a:cubicBezTo>
                        <a:pt x="330" y="149"/>
                        <a:pt x="334" y="150"/>
                        <a:pt x="335" y="148"/>
                      </a:cubicBezTo>
                      <a:cubicBezTo>
                        <a:pt x="336" y="145"/>
                        <a:pt x="335" y="143"/>
                        <a:pt x="326" y="138"/>
                      </a:cubicBezTo>
                      <a:cubicBezTo>
                        <a:pt x="317" y="134"/>
                        <a:pt x="323" y="132"/>
                        <a:pt x="326" y="123"/>
                      </a:cubicBezTo>
                      <a:cubicBezTo>
                        <a:pt x="328" y="115"/>
                        <a:pt x="332" y="111"/>
                        <a:pt x="338" y="105"/>
                      </a:cubicBezTo>
                      <a:cubicBezTo>
                        <a:pt x="343" y="99"/>
                        <a:pt x="337" y="99"/>
                        <a:pt x="329" y="102"/>
                      </a:cubicBezTo>
                      <a:cubicBezTo>
                        <a:pt x="320" y="105"/>
                        <a:pt x="321" y="109"/>
                        <a:pt x="315" y="116"/>
                      </a:cubicBezTo>
                      <a:cubicBezTo>
                        <a:pt x="309" y="122"/>
                        <a:pt x="306" y="122"/>
                        <a:pt x="298" y="122"/>
                      </a:cubicBezTo>
                      <a:cubicBezTo>
                        <a:pt x="291" y="121"/>
                        <a:pt x="286" y="121"/>
                        <a:pt x="278" y="116"/>
                      </a:cubicBezTo>
                      <a:cubicBezTo>
                        <a:pt x="271" y="110"/>
                        <a:pt x="264" y="109"/>
                        <a:pt x="251" y="109"/>
                      </a:cubicBezTo>
                      <a:cubicBezTo>
                        <a:pt x="238" y="109"/>
                        <a:pt x="243" y="108"/>
                        <a:pt x="236" y="103"/>
                      </a:cubicBezTo>
                      <a:cubicBezTo>
                        <a:pt x="228" y="98"/>
                        <a:pt x="227" y="94"/>
                        <a:pt x="219" y="85"/>
                      </a:cubicBezTo>
                      <a:cubicBezTo>
                        <a:pt x="212" y="76"/>
                        <a:pt x="205" y="80"/>
                        <a:pt x="191" y="73"/>
                      </a:cubicBezTo>
                      <a:cubicBezTo>
                        <a:pt x="177" y="66"/>
                        <a:pt x="179" y="60"/>
                        <a:pt x="174" y="51"/>
                      </a:cubicBezTo>
                      <a:cubicBezTo>
                        <a:pt x="168" y="41"/>
                        <a:pt x="170" y="40"/>
                        <a:pt x="161" y="31"/>
                      </a:cubicBezTo>
                      <a:cubicBezTo>
                        <a:pt x="149" y="25"/>
                        <a:pt x="140" y="10"/>
                        <a:pt x="137" y="5"/>
                      </a:cubicBezTo>
                      <a:cubicBezTo>
                        <a:pt x="134" y="0"/>
                        <a:pt x="131" y="7"/>
                        <a:pt x="126" y="8"/>
                      </a:cubicBezTo>
                      <a:cubicBezTo>
                        <a:pt x="122" y="10"/>
                        <a:pt x="120" y="12"/>
                        <a:pt x="119" y="20"/>
                      </a:cubicBezTo>
                      <a:cubicBezTo>
                        <a:pt x="117" y="29"/>
                        <a:pt x="116" y="32"/>
                        <a:pt x="117" y="40"/>
                      </a:cubicBezTo>
                      <a:cubicBezTo>
                        <a:pt x="118" y="47"/>
                        <a:pt x="124" y="55"/>
                        <a:pt x="126" y="64"/>
                      </a:cubicBezTo>
                      <a:cubicBezTo>
                        <a:pt x="128" y="72"/>
                        <a:pt x="130" y="79"/>
                        <a:pt x="122" y="86"/>
                      </a:cubicBezTo>
                      <a:cubicBezTo>
                        <a:pt x="114" y="94"/>
                        <a:pt x="122" y="99"/>
                        <a:pt x="120" y="108"/>
                      </a:cubicBezTo>
                      <a:cubicBezTo>
                        <a:pt x="118" y="117"/>
                        <a:pt x="113" y="127"/>
                        <a:pt x="108" y="130"/>
                      </a:cubicBezTo>
                      <a:cubicBezTo>
                        <a:pt x="103" y="133"/>
                        <a:pt x="102" y="135"/>
                        <a:pt x="98" y="139"/>
                      </a:cubicBezTo>
                      <a:cubicBezTo>
                        <a:pt x="93" y="143"/>
                        <a:pt x="98" y="148"/>
                        <a:pt x="101" y="156"/>
                      </a:cubicBezTo>
                      <a:cubicBezTo>
                        <a:pt x="104" y="164"/>
                        <a:pt x="102" y="166"/>
                        <a:pt x="101" y="171"/>
                      </a:cubicBezTo>
                      <a:cubicBezTo>
                        <a:pt x="99" y="176"/>
                        <a:pt x="93" y="176"/>
                        <a:pt x="89" y="180"/>
                      </a:cubicBezTo>
                      <a:cubicBezTo>
                        <a:pt x="85" y="185"/>
                        <a:pt x="80" y="178"/>
                        <a:pt x="71" y="176"/>
                      </a:cubicBezTo>
                      <a:cubicBezTo>
                        <a:pt x="62" y="174"/>
                        <a:pt x="65" y="179"/>
                        <a:pt x="60" y="179"/>
                      </a:cubicBezTo>
                      <a:cubicBezTo>
                        <a:pt x="56" y="178"/>
                        <a:pt x="53" y="171"/>
                        <a:pt x="46" y="166"/>
                      </a:cubicBezTo>
                      <a:cubicBezTo>
                        <a:pt x="39" y="161"/>
                        <a:pt x="39" y="169"/>
                        <a:pt x="38" y="175"/>
                      </a:cubicBezTo>
                      <a:cubicBezTo>
                        <a:pt x="36" y="181"/>
                        <a:pt x="40" y="181"/>
                        <a:pt x="42" y="188"/>
                      </a:cubicBezTo>
                      <a:cubicBezTo>
                        <a:pt x="44" y="194"/>
                        <a:pt x="42" y="194"/>
                        <a:pt x="39" y="201"/>
                      </a:cubicBezTo>
                      <a:cubicBezTo>
                        <a:pt x="36" y="209"/>
                        <a:pt x="31" y="208"/>
                        <a:pt x="23" y="211"/>
                      </a:cubicBezTo>
                      <a:cubicBezTo>
                        <a:pt x="16" y="214"/>
                        <a:pt x="11" y="216"/>
                        <a:pt x="5" y="219"/>
                      </a:cubicBezTo>
                      <a:cubicBezTo>
                        <a:pt x="0" y="223"/>
                        <a:pt x="3" y="225"/>
                        <a:pt x="2" y="230"/>
                      </a:cubicBezTo>
                      <a:cubicBezTo>
                        <a:pt x="2" y="235"/>
                        <a:pt x="1" y="236"/>
                        <a:pt x="1" y="241"/>
                      </a:cubicBezTo>
                      <a:close/>
                    </a:path>
                  </a:pathLst>
                </a:custGeom>
                <a:solidFill>
                  <a:srgbClr val="F2F2F2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44" name="Freeform 70"/>
                <p:cNvSpPr>
                  <a:spLocks noEditPoints="1"/>
                </p:cNvSpPr>
                <p:nvPr>
                  <p:custDataLst>
                    <p:tags r:id="rId142"/>
                  </p:custDataLst>
                </p:nvPr>
              </p:nvSpPr>
              <p:spPr bwMode="auto">
                <a:xfrm>
                  <a:off x="4216" y="2408"/>
                  <a:ext cx="354" cy="276"/>
                </a:xfrm>
                <a:custGeom>
                  <a:avLst/>
                  <a:gdLst>
                    <a:gd name="T0" fmla="*/ 304 w 828"/>
                    <a:gd name="T1" fmla="*/ 260 h 646"/>
                    <a:gd name="T2" fmla="*/ 227 w 828"/>
                    <a:gd name="T3" fmla="*/ 166 h 646"/>
                    <a:gd name="T4" fmla="*/ 17 w 828"/>
                    <a:gd name="T5" fmla="*/ 83 h 646"/>
                    <a:gd name="T6" fmla="*/ 5 w 828"/>
                    <a:gd name="T7" fmla="*/ 347 h 646"/>
                    <a:gd name="T8" fmla="*/ 61 w 828"/>
                    <a:gd name="T9" fmla="*/ 492 h 646"/>
                    <a:gd name="T10" fmla="*/ 152 w 828"/>
                    <a:gd name="T11" fmla="*/ 470 h 646"/>
                    <a:gd name="T12" fmla="*/ 92 w 828"/>
                    <a:gd name="T13" fmla="*/ 442 h 646"/>
                    <a:gd name="T14" fmla="*/ 100 w 828"/>
                    <a:gd name="T15" fmla="*/ 433 h 646"/>
                    <a:gd name="T16" fmla="*/ 161 w 828"/>
                    <a:gd name="T17" fmla="*/ 423 h 646"/>
                    <a:gd name="T18" fmla="*/ 182 w 828"/>
                    <a:gd name="T19" fmla="*/ 415 h 646"/>
                    <a:gd name="T20" fmla="*/ 182 w 828"/>
                    <a:gd name="T21" fmla="*/ 387 h 646"/>
                    <a:gd name="T22" fmla="*/ 221 w 828"/>
                    <a:gd name="T23" fmla="*/ 385 h 646"/>
                    <a:gd name="T24" fmla="*/ 286 w 828"/>
                    <a:gd name="T25" fmla="*/ 409 h 646"/>
                    <a:gd name="T26" fmla="*/ 362 w 828"/>
                    <a:gd name="T27" fmla="*/ 481 h 646"/>
                    <a:gd name="T28" fmla="*/ 412 w 828"/>
                    <a:gd name="T29" fmla="*/ 530 h 646"/>
                    <a:gd name="T30" fmla="*/ 493 w 828"/>
                    <a:gd name="T31" fmla="*/ 553 h 646"/>
                    <a:gd name="T32" fmla="*/ 570 w 828"/>
                    <a:gd name="T33" fmla="*/ 577 h 646"/>
                    <a:gd name="T34" fmla="*/ 578 w 828"/>
                    <a:gd name="T35" fmla="*/ 558 h 646"/>
                    <a:gd name="T36" fmla="*/ 563 w 828"/>
                    <a:gd name="T37" fmla="*/ 522 h 646"/>
                    <a:gd name="T38" fmla="*/ 514 w 828"/>
                    <a:gd name="T39" fmla="*/ 489 h 646"/>
                    <a:gd name="T40" fmla="*/ 456 w 828"/>
                    <a:gd name="T41" fmla="*/ 449 h 646"/>
                    <a:gd name="T42" fmla="*/ 377 w 828"/>
                    <a:gd name="T43" fmla="*/ 356 h 646"/>
                    <a:gd name="T44" fmla="*/ 421 w 828"/>
                    <a:gd name="T45" fmla="*/ 307 h 646"/>
                    <a:gd name="T46" fmla="*/ 767 w 828"/>
                    <a:gd name="T47" fmla="*/ 625 h 646"/>
                    <a:gd name="T48" fmla="*/ 815 w 828"/>
                    <a:gd name="T49" fmla="*/ 624 h 646"/>
                    <a:gd name="T50" fmla="*/ 596 w 828"/>
                    <a:gd name="T51" fmla="*/ 552 h 646"/>
                    <a:gd name="T52" fmla="*/ 638 w 828"/>
                    <a:gd name="T53" fmla="*/ 551 h 646"/>
                    <a:gd name="T54" fmla="*/ 573 w 828"/>
                    <a:gd name="T55" fmla="*/ 506 h 646"/>
                    <a:gd name="T56" fmla="*/ 620 w 828"/>
                    <a:gd name="T57" fmla="*/ 545 h 646"/>
                    <a:gd name="T58" fmla="*/ 599 w 828"/>
                    <a:gd name="T59" fmla="*/ 502 h 646"/>
                    <a:gd name="T60" fmla="*/ 747 w 828"/>
                    <a:gd name="T61" fmla="*/ 486 h 646"/>
                    <a:gd name="T62" fmla="*/ 729 w 828"/>
                    <a:gd name="T63" fmla="*/ 580 h 646"/>
                    <a:gd name="T64" fmla="*/ 636 w 828"/>
                    <a:gd name="T65" fmla="*/ 461 h 646"/>
                    <a:gd name="T66" fmla="*/ 792 w 828"/>
                    <a:gd name="T67" fmla="*/ 176 h 646"/>
                    <a:gd name="T68" fmla="*/ 682 w 828"/>
                    <a:gd name="T69" fmla="*/ 93 h 646"/>
                    <a:gd name="T70" fmla="*/ 618 w 828"/>
                    <a:gd name="T71" fmla="*/ 85 h 646"/>
                    <a:gd name="T72" fmla="*/ 705 w 828"/>
                    <a:gd name="T73" fmla="*/ 148 h 646"/>
                    <a:gd name="T74" fmla="*/ 748 w 828"/>
                    <a:gd name="T75" fmla="*/ 193 h 646"/>
                    <a:gd name="T76" fmla="*/ 657 w 828"/>
                    <a:gd name="T77" fmla="*/ 109 h 646"/>
                    <a:gd name="T78" fmla="*/ 585 w 828"/>
                    <a:gd name="T79" fmla="*/ 75 h 646"/>
                    <a:gd name="T80" fmla="*/ 566 w 828"/>
                    <a:gd name="T81" fmla="*/ 227 h 646"/>
                    <a:gd name="T82" fmla="*/ 530 w 828"/>
                    <a:gd name="T83" fmla="*/ 216 h 646"/>
                    <a:gd name="T84" fmla="*/ 550 w 828"/>
                    <a:gd name="T85" fmla="*/ 13 h 646"/>
                    <a:gd name="T86" fmla="*/ 432 w 828"/>
                    <a:gd name="T87" fmla="*/ 66 h 646"/>
                    <a:gd name="T88" fmla="*/ 499 w 828"/>
                    <a:gd name="T89" fmla="*/ 298 h 646"/>
                    <a:gd name="T90" fmla="*/ 592 w 828"/>
                    <a:gd name="T91" fmla="*/ 300 h 646"/>
                    <a:gd name="T92" fmla="*/ 694 w 828"/>
                    <a:gd name="T93" fmla="*/ 252 h 646"/>
                    <a:gd name="T94" fmla="*/ 708 w 828"/>
                    <a:gd name="T95" fmla="*/ 201 h 646"/>
                    <a:gd name="T96" fmla="*/ 657 w 828"/>
                    <a:gd name="T97" fmla="*/ 187 h 646"/>
                    <a:gd name="T98" fmla="*/ 616 w 828"/>
                    <a:gd name="T99" fmla="*/ 260 h 646"/>
                    <a:gd name="T100" fmla="*/ 547 w 828"/>
                    <a:gd name="T101" fmla="*/ 265 h 646"/>
                    <a:gd name="T102" fmla="*/ 473 w 828"/>
                    <a:gd name="T103" fmla="*/ 259 h 646"/>
                    <a:gd name="T104" fmla="*/ 440 w 828"/>
                    <a:gd name="T105" fmla="*/ 271 h 646"/>
                    <a:gd name="T106" fmla="*/ 383 w 828"/>
                    <a:gd name="T107" fmla="*/ 45 h 646"/>
                    <a:gd name="T108" fmla="*/ 381 w 828"/>
                    <a:gd name="T109" fmla="*/ 248 h 646"/>
                    <a:gd name="T110" fmla="*/ 320 w 828"/>
                    <a:gd name="T111" fmla="*/ 208 h 6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825" h="646">
                      <a:moveTo>
                        <a:pt x="386" y="285"/>
                      </a:moveTo>
                      <a:cubicBezTo>
                        <a:pt x="377" y="280"/>
                        <a:pt x="372" y="282"/>
                        <a:pt x="364" y="282"/>
                      </a:cubicBezTo>
                      <a:cubicBezTo>
                        <a:pt x="356" y="282"/>
                        <a:pt x="354" y="279"/>
                        <a:pt x="348" y="272"/>
                      </a:cubicBezTo>
                      <a:cubicBezTo>
                        <a:pt x="342" y="265"/>
                        <a:pt x="333" y="266"/>
                        <a:pt x="323" y="265"/>
                      </a:cubicBezTo>
                      <a:cubicBezTo>
                        <a:pt x="313" y="263"/>
                        <a:pt x="310" y="264"/>
                        <a:pt x="304" y="260"/>
                      </a:cubicBezTo>
                      <a:cubicBezTo>
                        <a:pt x="298" y="256"/>
                        <a:pt x="301" y="250"/>
                        <a:pt x="300" y="242"/>
                      </a:cubicBezTo>
                      <a:cubicBezTo>
                        <a:pt x="300" y="233"/>
                        <a:pt x="294" y="237"/>
                        <a:pt x="292" y="223"/>
                      </a:cubicBezTo>
                      <a:cubicBezTo>
                        <a:pt x="289" y="210"/>
                        <a:pt x="289" y="205"/>
                        <a:pt x="283" y="195"/>
                      </a:cubicBezTo>
                      <a:cubicBezTo>
                        <a:pt x="277" y="185"/>
                        <a:pt x="267" y="186"/>
                        <a:pt x="255" y="179"/>
                      </a:cubicBezTo>
                      <a:cubicBezTo>
                        <a:pt x="243" y="172"/>
                        <a:pt x="236" y="174"/>
                        <a:pt x="227" y="166"/>
                      </a:cubicBezTo>
                      <a:cubicBezTo>
                        <a:pt x="218" y="159"/>
                        <a:pt x="224" y="161"/>
                        <a:pt x="220" y="156"/>
                      </a:cubicBezTo>
                      <a:cubicBezTo>
                        <a:pt x="217" y="152"/>
                        <a:pt x="209" y="151"/>
                        <a:pt x="193" y="144"/>
                      </a:cubicBezTo>
                      <a:cubicBezTo>
                        <a:pt x="177" y="138"/>
                        <a:pt x="156" y="136"/>
                        <a:pt x="136" y="133"/>
                      </a:cubicBezTo>
                      <a:cubicBezTo>
                        <a:pt x="117" y="129"/>
                        <a:pt x="105" y="124"/>
                        <a:pt x="95" y="115"/>
                      </a:cubicBezTo>
                      <a:cubicBezTo>
                        <a:pt x="86" y="106"/>
                        <a:pt x="33" y="91"/>
                        <a:pt x="17" y="83"/>
                      </a:cubicBezTo>
                      <a:cubicBezTo>
                        <a:pt x="15" y="82"/>
                        <a:pt x="12" y="81"/>
                        <a:pt x="11" y="81"/>
                      </a:cubicBezTo>
                      <a:cubicBezTo>
                        <a:pt x="10" y="132"/>
                        <a:pt x="10" y="257"/>
                        <a:pt x="10" y="272"/>
                      </a:cubicBezTo>
                      <a:cubicBezTo>
                        <a:pt x="9" y="281"/>
                        <a:pt x="7" y="293"/>
                        <a:pt x="5" y="303"/>
                      </a:cubicBezTo>
                      <a:cubicBezTo>
                        <a:pt x="2" y="315"/>
                        <a:pt x="0" y="325"/>
                        <a:pt x="1" y="332"/>
                      </a:cubicBezTo>
                      <a:cubicBezTo>
                        <a:pt x="1" y="340"/>
                        <a:pt x="3" y="344"/>
                        <a:pt x="5" y="347"/>
                      </a:cubicBezTo>
                      <a:cubicBezTo>
                        <a:pt x="7" y="350"/>
                        <a:pt x="9" y="353"/>
                        <a:pt x="9" y="357"/>
                      </a:cubicBezTo>
                      <a:cubicBezTo>
                        <a:pt x="10" y="363"/>
                        <a:pt x="9" y="447"/>
                        <a:pt x="8" y="488"/>
                      </a:cubicBezTo>
                      <a:cubicBezTo>
                        <a:pt x="9" y="489"/>
                        <a:pt x="10" y="489"/>
                        <a:pt x="12" y="490"/>
                      </a:cubicBezTo>
                      <a:cubicBezTo>
                        <a:pt x="22" y="494"/>
                        <a:pt x="21" y="492"/>
                        <a:pt x="29" y="494"/>
                      </a:cubicBezTo>
                      <a:cubicBezTo>
                        <a:pt x="38" y="495"/>
                        <a:pt x="48" y="495"/>
                        <a:pt x="61" y="492"/>
                      </a:cubicBezTo>
                      <a:cubicBezTo>
                        <a:pt x="73" y="489"/>
                        <a:pt x="73" y="490"/>
                        <a:pt x="82" y="490"/>
                      </a:cubicBezTo>
                      <a:cubicBezTo>
                        <a:pt x="92" y="490"/>
                        <a:pt x="91" y="493"/>
                        <a:pt x="99" y="495"/>
                      </a:cubicBezTo>
                      <a:cubicBezTo>
                        <a:pt x="107" y="497"/>
                        <a:pt x="107" y="497"/>
                        <a:pt x="113" y="492"/>
                      </a:cubicBezTo>
                      <a:cubicBezTo>
                        <a:pt x="118" y="486"/>
                        <a:pt x="127" y="484"/>
                        <a:pt x="144" y="482"/>
                      </a:cubicBezTo>
                      <a:cubicBezTo>
                        <a:pt x="160" y="480"/>
                        <a:pt x="152" y="475"/>
                        <a:pt x="152" y="470"/>
                      </a:cubicBezTo>
                      <a:cubicBezTo>
                        <a:pt x="152" y="465"/>
                        <a:pt x="150" y="461"/>
                        <a:pt x="145" y="456"/>
                      </a:cubicBezTo>
                      <a:cubicBezTo>
                        <a:pt x="140" y="451"/>
                        <a:pt x="140" y="454"/>
                        <a:pt x="134" y="451"/>
                      </a:cubicBezTo>
                      <a:cubicBezTo>
                        <a:pt x="128" y="448"/>
                        <a:pt x="128" y="446"/>
                        <a:pt x="121" y="443"/>
                      </a:cubicBezTo>
                      <a:cubicBezTo>
                        <a:pt x="114" y="439"/>
                        <a:pt x="111" y="442"/>
                        <a:pt x="104" y="442"/>
                      </a:cubicBezTo>
                      <a:cubicBezTo>
                        <a:pt x="97" y="442"/>
                        <a:pt x="97" y="443"/>
                        <a:pt x="92" y="442"/>
                      </a:cubicBezTo>
                      <a:cubicBezTo>
                        <a:pt x="87" y="440"/>
                        <a:pt x="90" y="439"/>
                        <a:pt x="86" y="434"/>
                      </a:cubicBezTo>
                      <a:cubicBezTo>
                        <a:pt x="82" y="430"/>
                        <a:pt x="80" y="433"/>
                        <a:pt x="76" y="434"/>
                      </a:cubicBezTo>
                      <a:cubicBezTo>
                        <a:pt x="72" y="435"/>
                        <a:pt x="73" y="433"/>
                        <a:pt x="75" y="428"/>
                      </a:cubicBezTo>
                      <a:cubicBezTo>
                        <a:pt x="76" y="424"/>
                        <a:pt x="81" y="426"/>
                        <a:pt x="85" y="425"/>
                      </a:cubicBezTo>
                      <a:cubicBezTo>
                        <a:pt x="89" y="425"/>
                        <a:pt x="95" y="434"/>
                        <a:pt x="100" y="433"/>
                      </a:cubicBezTo>
                      <a:cubicBezTo>
                        <a:pt x="106" y="431"/>
                        <a:pt x="112" y="430"/>
                        <a:pt x="117" y="430"/>
                      </a:cubicBezTo>
                      <a:cubicBezTo>
                        <a:pt x="122" y="430"/>
                        <a:pt x="125" y="434"/>
                        <a:pt x="129" y="435"/>
                      </a:cubicBezTo>
                      <a:cubicBezTo>
                        <a:pt x="132" y="436"/>
                        <a:pt x="138" y="436"/>
                        <a:pt x="148" y="430"/>
                      </a:cubicBezTo>
                      <a:cubicBezTo>
                        <a:pt x="157" y="425"/>
                        <a:pt x="155" y="431"/>
                        <a:pt x="160" y="430"/>
                      </a:cubicBezTo>
                      <a:cubicBezTo>
                        <a:pt x="165" y="430"/>
                        <a:pt x="164" y="427"/>
                        <a:pt x="161" y="423"/>
                      </a:cubicBezTo>
                      <a:cubicBezTo>
                        <a:pt x="158" y="419"/>
                        <a:pt x="156" y="421"/>
                        <a:pt x="151" y="418"/>
                      </a:cubicBezTo>
                      <a:cubicBezTo>
                        <a:pt x="146" y="414"/>
                        <a:pt x="150" y="412"/>
                        <a:pt x="150" y="409"/>
                      </a:cubicBezTo>
                      <a:cubicBezTo>
                        <a:pt x="150" y="405"/>
                        <a:pt x="155" y="407"/>
                        <a:pt x="159" y="410"/>
                      </a:cubicBezTo>
                      <a:cubicBezTo>
                        <a:pt x="162" y="413"/>
                        <a:pt x="164" y="414"/>
                        <a:pt x="168" y="414"/>
                      </a:cubicBezTo>
                      <a:cubicBezTo>
                        <a:pt x="172" y="415"/>
                        <a:pt x="177" y="415"/>
                        <a:pt x="182" y="415"/>
                      </a:cubicBezTo>
                      <a:cubicBezTo>
                        <a:pt x="187" y="414"/>
                        <a:pt x="185" y="412"/>
                        <a:pt x="181" y="407"/>
                      </a:cubicBezTo>
                      <a:cubicBezTo>
                        <a:pt x="178" y="403"/>
                        <a:pt x="180" y="404"/>
                        <a:pt x="178" y="397"/>
                      </a:cubicBezTo>
                      <a:cubicBezTo>
                        <a:pt x="176" y="391"/>
                        <a:pt x="174" y="394"/>
                        <a:pt x="170" y="389"/>
                      </a:cubicBezTo>
                      <a:cubicBezTo>
                        <a:pt x="166" y="385"/>
                        <a:pt x="168" y="383"/>
                        <a:pt x="173" y="382"/>
                      </a:cubicBezTo>
                      <a:cubicBezTo>
                        <a:pt x="179" y="381"/>
                        <a:pt x="176" y="384"/>
                        <a:pt x="182" y="387"/>
                      </a:cubicBezTo>
                      <a:cubicBezTo>
                        <a:pt x="188" y="391"/>
                        <a:pt x="185" y="392"/>
                        <a:pt x="189" y="395"/>
                      </a:cubicBezTo>
                      <a:cubicBezTo>
                        <a:pt x="194" y="398"/>
                        <a:pt x="199" y="399"/>
                        <a:pt x="203" y="397"/>
                      </a:cubicBezTo>
                      <a:cubicBezTo>
                        <a:pt x="206" y="395"/>
                        <a:pt x="206" y="394"/>
                        <a:pt x="212" y="394"/>
                      </a:cubicBezTo>
                      <a:cubicBezTo>
                        <a:pt x="218" y="394"/>
                        <a:pt x="216" y="393"/>
                        <a:pt x="217" y="390"/>
                      </a:cubicBezTo>
                      <a:cubicBezTo>
                        <a:pt x="218" y="387"/>
                        <a:pt x="218" y="385"/>
                        <a:pt x="221" y="385"/>
                      </a:cubicBezTo>
                      <a:cubicBezTo>
                        <a:pt x="224" y="384"/>
                        <a:pt x="224" y="388"/>
                        <a:pt x="228" y="390"/>
                      </a:cubicBezTo>
                      <a:cubicBezTo>
                        <a:pt x="233" y="391"/>
                        <a:pt x="229" y="387"/>
                        <a:pt x="237" y="388"/>
                      </a:cubicBezTo>
                      <a:cubicBezTo>
                        <a:pt x="245" y="388"/>
                        <a:pt x="243" y="390"/>
                        <a:pt x="245" y="395"/>
                      </a:cubicBezTo>
                      <a:cubicBezTo>
                        <a:pt x="247" y="400"/>
                        <a:pt x="249" y="403"/>
                        <a:pt x="259" y="404"/>
                      </a:cubicBezTo>
                      <a:cubicBezTo>
                        <a:pt x="270" y="405"/>
                        <a:pt x="271" y="405"/>
                        <a:pt x="286" y="409"/>
                      </a:cubicBezTo>
                      <a:cubicBezTo>
                        <a:pt x="301" y="413"/>
                        <a:pt x="302" y="413"/>
                        <a:pt x="311" y="418"/>
                      </a:cubicBezTo>
                      <a:cubicBezTo>
                        <a:pt x="321" y="423"/>
                        <a:pt x="322" y="426"/>
                        <a:pt x="328" y="433"/>
                      </a:cubicBezTo>
                      <a:cubicBezTo>
                        <a:pt x="334" y="440"/>
                        <a:pt x="337" y="444"/>
                        <a:pt x="341" y="451"/>
                      </a:cubicBezTo>
                      <a:cubicBezTo>
                        <a:pt x="345" y="459"/>
                        <a:pt x="344" y="463"/>
                        <a:pt x="346" y="471"/>
                      </a:cubicBezTo>
                      <a:cubicBezTo>
                        <a:pt x="349" y="479"/>
                        <a:pt x="356" y="479"/>
                        <a:pt x="362" y="481"/>
                      </a:cubicBezTo>
                      <a:cubicBezTo>
                        <a:pt x="369" y="482"/>
                        <a:pt x="368" y="481"/>
                        <a:pt x="373" y="481"/>
                      </a:cubicBezTo>
                      <a:cubicBezTo>
                        <a:pt x="378" y="481"/>
                        <a:pt x="377" y="487"/>
                        <a:pt x="380" y="492"/>
                      </a:cubicBezTo>
                      <a:cubicBezTo>
                        <a:pt x="382" y="497"/>
                        <a:pt x="380" y="496"/>
                        <a:pt x="383" y="505"/>
                      </a:cubicBezTo>
                      <a:cubicBezTo>
                        <a:pt x="385" y="513"/>
                        <a:pt x="386" y="508"/>
                        <a:pt x="393" y="511"/>
                      </a:cubicBezTo>
                      <a:cubicBezTo>
                        <a:pt x="400" y="513"/>
                        <a:pt x="406" y="523"/>
                        <a:pt x="412" y="530"/>
                      </a:cubicBezTo>
                      <a:cubicBezTo>
                        <a:pt x="419" y="538"/>
                        <a:pt x="418" y="542"/>
                        <a:pt x="421" y="544"/>
                      </a:cubicBezTo>
                      <a:cubicBezTo>
                        <a:pt x="423" y="546"/>
                        <a:pt x="427" y="548"/>
                        <a:pt x="433" y="548"/>
                      </a:cubicBezTo>
                      <a:cubicBezTo>
                        <a:pt x="439" y="548"/>
                        <a:pt x="448" y="548"/>
                        <a:pt x="454" y="549"/>
                      </a:cubicBezTo>
                      <a:cubicBezTo>
                        <a:pt x="460" y="549"/>
                        <a:pt x="469" y="551"/>
                        <a:pt x="474" y="551"/>
                      </a:cubicBezTo>
                      <a:cubicBezTo>
                        <a:pt x="479" y="551"/>
                        <a:pt x="488" y="552"/>
                        <a:pt x="493" y="553"/>
                      </a:cubicBezTo>
                      <a:cubicBezTo>
                        <a:pt x="499" y="553"/>
                        <a:pt x="503" y="557"/>
                        <a:pt x="510" y="557"/>
                      </a:cubicBezTo>
                      <a:cubicBezTo>
                        <a:pt x="517" y="558"/>
                        <a:pt x="523" y="558"/>
                        <a:pt x="530" y="558"/>
                      </a:cubicBezTo>
                      <a:cubicBezTo>
                        <a:pt x="537" y="558"/>
                        <a:pt x="537" y="560"/>
                        <a:pt x="543" y="564"/>
                      </a:cubicBezTo>
                      <a:cubicBezTo>
                        <a:pt x="549" y="567"/>
                        <a:pt x="557" y="565"/>
                        <a:pt x="563" y="567"/>
                      </a:cubicBezTo>
                      <a:cubicBezTo>
                        <a:pt x="568" y="569"/>
                        <a:pt x="569" y="572"/>
                        <a:pt x="570" y="577"/>
                      </a:cubicBezTo>
                      <a:cubicBezTo>
                        <a:pt x="571" y="582"/>
                        <a:pt x="578" y="585"/>
                        <a:pt x="581" y="582"/>
                      </a:cubicBezTo>
                      <a:cubicBezTo>
                        <a:pt x="585" y="580"/>
                        <a:pt x="588" y="582"/>
                        <a:pt x="593" y="581"/>
                      </a:cubicBezTo>
                      <a:cubicBezTo>
                        <a:pt x="598" y="580"/>
                        <a:pt x="598" y="576"/>
                        <a:pt x="596" y="572"/>
                      </a:cubicBezTo>
                      <a:cubicBezTo>
                        <a:pt x="593" y="568"/>
                        <a:pt x="592" y="571"/>
                        <a:pt x="585" y="566"/>
                      </a:cubicBezTo>
                      <a:cubicBezTo>
                        <a:pt x="579" y="561"/>
                        <a:pt x="579" y="562"/>
                        <a:pt x="578" y="558"/>
                      </a:cubicBezTo>
                      <a:cubicBezTo>
                        <a:pt x="577" y="555"/>
                        <a:pt x="577" y="553"/>
                        <a:pt x="575" y="549"/>
                      </a:cubicBezTo>
                      <a:cubicBezTo>
                        <a:pt x="572" y="545"/>
                        <a:pt x="572" y="545"/>
                        <a:pt x="563" y="542"/>
                      </a:cubicBezTo>
                      <a:cubicBezTo>
                        <a:pt x="553" y="538"/>
                        <a:pt x="554" y="539"/>
                        <a:pt x="550" y="534"/>
                      </a:cubicBezTo>
                      <a:cubicBezTo>
                        <a:pt x="545" y="530"/>
                        <a:pt x="546" y="529"/>
                        <a:pt x="548" y="525"/>
                      </a:cubicBezTo>
                      <a:cubicBezTo>
                        <a:pt x="550" y="521"/>
                        <a:pt x="559" y="523"/>
                        <a:pt x="563" y="522"/>
                      </a:cubicBezTo>
                      <a:cubicBezTo>
                        <a:pt x="567" y="521"/>
                        <a:pt x="562" y="517"/>
                        <a:pt x="555" y="514"/>
                      </a:cubicBezTo>
                      <a:cubicBezTo>
                        <a:pt x="548" y="511"/>
                        <a:pt x="545" y="514"/>
                        <a:pt x="536" y="515"/>
                      </a:cubicBezTo>
                      <a:cubicBezTo>
                        <a:pt x="526" y="516"/>
                        <a:pt x="528" y="516"/>
                        <a:pt x="519" y="510"/>
                      </a:cubicBezTo>
                      <a:cubicBezTo>
                        <a:pt x="510" y="503"/>
                        <a:pt x="513" y="508"/>
                        <a:pt x="510" y="501"/>
                      </a:cubicBezTo>
                      <a:cubicBezTo>
                        <a:pt x="506" y="494"/>
                        <a:pt x="511" y="494"/>
                        <a:pt x="514" y="489"/>
                      </a:cubicBezTo>
                      <a:cubicBezTo>
                        <a:pt x="517" y="485"/>
                        <a:pt x="518" y="484"/>
                        <a:pt x="512" y="479"/>
                      </a:cubicBezTo>
                      <a:cubicBezTo>
                        <a:pt x="506" y="475"/>
                        <a:pt x="502" y="481"/>
                        <a:pt x="493" y="482"/>
                      </a:cubicBezTo>
                      <a:cubicBezTo>
                        <a:pt x="484" y="482"/>
                        <a:pt x="484" y="482"/>
                        <a:pt x="476" y="481"/>
                      </a:cubicBezTo>
                      <a:cubicBezTo>
                        <a:pt x="468" y="480"/>
                        <a:pt x="468" y="479"/>
                        <a:pt x="465" y="471"/>
                      </a:cubicBezTo>
                      <a:cubicBezTo>
                        <a:pt x="462" y="463"/>
                        <a:pt x="459" y="457"/>
                        <a:pt x="456" y="449"/>
                      </a:cubicBezTo>
                      <a:cubicBezTo>
                        <a:pt x="453" y="442"/>
                        <a:pt x="445" y="431"/>
                        <a:pt x="439" y="419"/>
                      </a:cubicBezTo>
                      <a:cubicBezTo>
                        <a:pt x="433" y="406"/>
                        <a:pt x="432" y="411"/>
                        <a:pt x="421" y="401"/>
                      </a:cubicBezTo>
                      <a:cubicBezTo>
                        <a:pt x="411" y="391"/>
                        <a:pt x="411" y="395"/>
                        <a:pt x="397" y="389"/>
                      </a:cubicBezTo>
                      <a:cubicBezTo>
                        <a:pt x="384" y="384"/>
                        <a:pt x="390" y="386"/>
                        <a:pt x="386" y="380"/>
                      </a:cubicBezTo>
                      <a:cubicBezTo>
                        <a:pt x="381" y="375"/>
                        <a:pt x="384" y="370"/>
                        <a:pt x="377" y="356"/>
                      </a:cubicBezTo>
                      <a:cubicBezTo>
                        <a:pt x="369" y="342"/>
                        <a:pt x="373" y="346"/>
                        <a:pt x="375" y="339"/>
                      </a:cubicBezTo>
                      <a:cubicBezTo>
                        <a:pt x="376" y="332"/>
                        <a:pt x="387" y="337"/>
                        <a:pt x="398" y="337"/>
                      </a:cubicBezTo>
                      <a:cubicBezTo>
                        <a:pt x="409" y="337"/>
                        <a:pt x="412" y="337"/>
                        <a:pt x="418" y="336"/>
                      </a:cubicBezTo>
                      <a:cubicBezTo>
                        <a:pt x="423" y="335"/>
                        <a:pt x="426" y="332"/>
                        <a:pt x="427" y="323"/>
                      </a:cubicBezTo>
                      <a:cubicBezTo>
                        <a:pt x="427" y="315"/>
                        <a:pt x="424" y="313"/>
                        <a:pt x="421" y="307"/>
                      </a:cubicBezTo>
                      <a:cubicBezTo>
                        <a:pt x="418" y="300"/>
                        <a:pt x="416" y="299"/>
                        <a:pt x="402" y="291"/>
                      </a:cubicBezTo>
                      <a:cubicBezTo>
                        <a:pt x="388" y="284"/>
                        <a:pt x="395" y="290"/>
                        <a:pt x="386" y="285"/>
                      </a:cubicBezTo>
                      <a:close/>
                      <a:moveTo>
                        <a:pt x="788" y="636"/>
                      </a:moveTo>
                      <a:cubicBezTo>
                        <a:pt x="786" y="635"/>
                        <a:pt x="780" y="634"/>
                        <a:pt x="775" y="629"/>
                      </a:cubicBezTo>
                      <a:cubicBezTo>
                        <a:pt x="770" y="625"/>
                        <a:pt x="772" y="626"/>
                        <a:pt x="767" y="625"/>
                      </a:cubicBezTo>
                      <a:cubicBezTo>
                        <a:pt x="760" y="625"/>
                        <a:pt x="766" y="632"/>
                        <a:pt x="771" y="634"/>
                      </a:cubicBezTo>
                      <a:cubicBezTo>
                        <a:pt x="775" y="636"/>
                        <a:pt x="779" y="638"/>
                        <a:pt x="781" y="642"/>
                      </a:cubicBezTo>
                      <a:cubicBezTo>
                        <a:pt x="784" y="646"/>
                        <a:pt x="791" y="643"/>
                        <a:pt x="792" y="641"/>
                      </a:cubicBezTo>
                      <a:cubicBezTo>
                        <a:pt x="793" y="639"/>
                        <a:pt x="790" y="637"/>
                        <a:pt x="788" y="636"/>
                      </a:cubicBezTo>
                      <a:close/>
                      <a:moveTo>
                        <a:pt x="815" y="624"/>
                      </a:moveTo>
                      <a:cubicBezTo>
                        <a:pt x="815" y="627"/>
                        <a:pt x="816" y="628"/>
                        <a:pt x="817" y="630"/>
                      </a:cubicBezTo>
                      <a:cubicBezTo>
                        <a:pt x="819" y="632"/>
                        <a:pt x="821" y="632"/>
                        <a:pt x="825" y="631"/>
                      </a:cubicBezTo>
                      <a:cubicBezTo>
                        <a:pt x="828" y="629"/>
                        <a:pt x="828" y="629"/>
                        <a:pt x="826" y="625"/>
                      </a:cubicBezTo>
                      <a:cubicBezTo>
                        <a:pt x="824" y="622"/>
                        <a:pt x="814" y="620"/>
                        <a:pt x="815" y="624"/>
                      </a:cubicBezTo>
                      <a:close/>
                      <a:moveTo>
                        <a:pt x="596" y="552"/>
                      </a:moveTo>
                      <a:cubicBezTo>
                        <a:pt x="591" y="554"/>
                        <a:pt x="596" y="562"/>
                        <a:pt x="600" y="562"/>
                      </a:cubicBezTo>
                      <a:cubicBezTo>
                        <a:pt x="603" y="563"/>
                        <a:pt x="607" y="560"/>
                        <a:pt x="611" y="559"/>
                      </a:cubicBezTo>
                      <a:cubicBezTo>
                        <a:pt x="615" y="558"/>
                        <a:pt x="613" y="553"/>
                        <a:pt x="609" y="554"/>
                      </a:cubicBezTo>
                      <a:cubicBezTo>
                        <a:pt x="606" y="554"/>
                        <a:pt x="603" y="554"/>
                        <a:pt x="596" y="552"/>
                      </a:cubicBezTo>
                      <a:close/>
                      <a:moveTo>
                        <a:pt x="638" y="551"/>
                      </a:moveTo>
                      <a:cubicBezTo>
                        <a:pt x="641" y="550"/>
                        <a:pt x="642" y="543"/>
                        <a:pt x="636" y="543"/>
                      </a:cubicBezTo>
                      <a:cubicBezTo>
                        <a:pt x="632" y="545"/>
                        <a:pt x="631" y="546"/>
                        <a:pt x="632" y="548"/>
                      </a:cubicBezTo>
                      <a:cubicBezTo>
                        <a:pt x="634" y="550"/>
                        <a:pt x="636" y="552"/>
                        <a:pt x="638" y="551"/>
                      </a:cubicBezTo>
                      <a:close/>
                      <a:moveTo>
                        <a:pt x="569" y="492"/>
                      </a:moveTo>
                      <a:cubicBezTo>
                        <a:pt x="567" y="497"/>
                        <a:pt x="569" y="502"/>
                        <a:pt x="573" y="506"/>
                      </a:cubicBezTo>
                      <a:cubicBezTo>
                        <a:pt x="576" y="509"/>
                        <a:pt x="576" y="516"/>
                        <a:pt x="577" y="512"/>
                      </a:cubicBezTo>
                      <a:cubicBezTo>
                        <a:pt x="580" y="508"/>
                        <a:pt x="583" y="499"/>
                        <a:pt x="581" y="496"/>
                      </a:cubicBezTo>
                      <a:cubicBezTo>
                        <a:pt x="580" y="494"/>
                        <a:pt x="575" y="489"/>
                        <a:pt x="569" y="492"/>
                      </a:cubicBezTo>
                      <a:close/>
                      <a:moveTo>
                        <a:pt x="620" y="537"/>
                      </a:moveTo>
                      <a:cubicBezTo>
                        <a:pt x="619" y="541"/>
                        <a:pt x="617" y="544"/>
                        <a:pt x="620" y="545"/>
                      </a:cubicBezTo>
                      <a:cubicBezTo>
                        <a:pt x="623" y="546"/>
                        <a:pt x="625" y="547"/>
                        <a:pt x="626" y="543"/>
                      </a:cubicBezTo>
                      <a:cubicBezTo>
                        <a:pt x="628" y="539"/>
                        <a:pt x="622" y="534"/>
                        <a:pt x="620" y="537"/>
                      </a:cubicBezTo>
                      <a:close/>
                      <a:moveTo>
                        <a:pt x="611" y="514"/>
                      </a:moveTo>
                      <a:cubicBezTo>
                        <a:pt x="610" y="512"/>
                        <a:pt x="610" y="509"/>
                        <a:pt x="609" y="507"/>
                      </a:cubicBezTo>
                      <a:cubicBezTo>
                        <a:pt x="608" y="506"/>
                        <a:pt x="604" y="502"/>
                        <a:pt x="599" y="502"/>
                      </a:cubicBezTo>
                      <a:cubicBezTo>
                        <a:pt x="595" y="503"/>
                        <a:pt x="592" y="504"/>
                        <a:pt x="594" y="509"/>
                      </a:cubicBezTo>
                      <a:cubicBezTo>
                        <a:pt x="596" y="513"/>
                        <a:pt x="594" y="517"/>
                        <a:pt x="599" y="519"/>
                      </a:cubicBezTo>
                      <a:cubicBezTo>
                        <a:pt x="604" y="521"/>
                        <a:pt x="609" y="523"/>
                        <a:pt x="613" y="521"/>
                      </a:cubicBezTo>
                      <a:cubicBezTo>
                        <a:pt x="615" y="519"/>
                        <a:pt x="613" y="517"/>
                        <a:pt x="611" y="514"/>
                      </a:cubicBezTo>
                      <a:close/>
                      <a:moveTo>
                        <a:pt x="747" y="486"/>
                      </a:moveTo>
                      <a:cubicBezTo>
                        <a:pt x="746" y="482"/>
                        <a:pt x="739" y="481"/>
                        <a:pt x="722" y="480"/>
                      </a:cubicBezTo>
                      <a:cubicBezTo>
                        <a:pt x="715" y="481"/>
                        <a:pt x="720" y="487"/>
                        <a:pt x="723" y="488"/>
                      </a:cubicBezTo>
                      <a:cubicBezTo>
                        <a:pt x="726" y="489"/>
                        <a:pt x="739" y="493"/>
                        <a:pt x="742" y="495"/>
                      </a:cubicBezTo>
                      <a:cubicBezTo>
                        <a:pt x="745" y="496"/>
                        <a:pt x="749" y="491"/>
                        <a:pt x="747" y="486"/>
                      </a:cubicBezTo>
                      <a:close/>
                      <a:moveTo>
                        <a:pt x="729" y="580"/>
                      </a:moveTo>
                      <a:cubicBezTo>
                        <a:pt x="726" y="579"/>
                        <a:pt x="720" y="578"/>
                        <a:pt x="722" y="582"/>
                      </a:cubicBezTo>
                      <a:cubicBezTo>
                        <a:pt x="723" y="585"/>
                        <a:pt x="729" y="586"/>
                        <a:pt x="733" y="587"/>
                      </a:cubicBezTo>
                      <a:cubicBezTo>
                        <a:pt x="737" y="588"/>
                        <a:pt x="737" y="587"/>
                        <a:pt x="737" y="584"/>
                      </a:cubicBezTo>
                      <a:cubicBezTo>
                        <a:pt x="737" y="581"/>
                        <a:pt x="733" y="581"/>
                        <a:pt x="729" y="580"/>
                      </a:cubicBezTo>
                      <a:close/>
                      <a:moveTo>
                        <a:pt x="636" y="461"/>
                      </a:moveTo>
                      <a:cubicBezTo>
                        <a:pt x="636" y="457"/>
                        <a:pt x="636" y="451"/>
                        <a:pt x="635" y="447"/>
                      </a:cubicBezTo>
                      <a:cubicBezTo>
                        <a:pt x="633" y="444"/>
                        <a:pt x="630" y="438"/>
                        <a:pt x="624" y="446"/>
                      </a:cubicBezTo>
                      <a:cubicBezTo>
                        <a:pt x="622" y="452"/>
                        <a:pt x="624" y="454"/>
                        <a:pt x="627" y="460"/>
                      </a:cubicBezTo>
                      <a:cubicBezTo>
                        <a:pt x="630" y="466"/>
                        <a:pt x="636" y="464"/>
                        <a:pt x="636" y="461"/>
                      </a:cubicBezTo>
                      <a:close/>
                      <a:moveTo>
                        <a:pt x="792" y="176"/>
                      </a:moveTo>
                      <a:cubicBezTo>
                        <a:pt x="793" y="173"/>
                        <a:pt x="788" y="162"/>
                        <a:pt x="787" y="167"/>
                      </a:cubicBezTo>
                      <a:cubicBezTo>
                        <a:pt x="786" y="170"/>
                        <a:pt x="783" y="172"/>
                        <a:pt x="785" y="174"/>
                      </a:cubicBezTo>
                      <a:cubicBezTo>
                        <a:pt x="787" y="177"/>
                        <a:pt x="790" y="180"/>
                        <a:pt x="792" y="176"/>
                      </a:cubicBezTo>
                      <a:close/>
                      <a:moveTo>
                        <a:pt x="682" y="86"/>
                      </a:moveTo>
                      <a:cubicBezTo>
                        <a:pt x="680" y="89"/>
                        <a:pt x="680" y="91"/>
                        <a:pt x="682" y="93"/>
                      </a:cubicBezTo>
                      <a:cubicBezTo>
                        <a:pt x="684" y="96"/>
                        <a:pt x="687" y="98"/>
                        <a:pt x="687" y="93"/>
                      </a:cubicBezTo>
                      <a:cubicBezTo>
                        <a:pt x="688" y="88"/>
                        <a:pt x="686" y="84"/>
                        <a:pt x="682" y="86"/>
                      </a:cubicBezTo>
                      <a:close/>
                      <a:moveTo>
                        <a:pt x="657" y="109"/>
                      </a:moveTo>
                      <a:cubicBezTo>
                        <a:pt x="654" y="104"/>
                        <a:pt x="657" y="106"/>
                        <a:pt x="643" y="96"/>
                      </a:cubicBezTo>
                      <a:cubicBezTo>
                        <a:pt x="630" y="86"/>
                        <a:pt x="619" y="80"/>
                        <a:pt x="618" y="85"/>
                      </a:cubicBezTo>
                      <a:cubicBezTo>
                        <a:pt x="618" y="90"/>
                        <a:pt x="614" y="90"/>
                        <a:pt x="624" y="96"/>
                      </a:cubicBezTo>
                      <a:cubicBezTo>
                        <a:pt x="634" y="102"/>
                        <a:pt x="639" y="101"/>
                        <a:pt x="645" y="107"/>
                      </a:cubicBezTo>
                      <a:cubicBezTo>
                        <a:pt x="652" y="113"/>
                        <a:pt x="647" y="112"/>
                        <a:pt x="661" y="119"/>
                      </a:cubicBezTo>
                      <a:cubicBezTo>
                        <a:pt x="676" y="125"/>
                        <a:pt x="677" y="120"/>
                        <a:pt x="684" y="129"/>
                      </a:cubicBezTo>
                      <a:cubicBezTo>
                        <a:pt x="691" y="138"/>
                        <a:pt x="697" y="137"/>
                        <a:pt x="705" y="148"/>
                      </a:cubicBezTo>
                      <a:cubicBezTo>
                        <a:pt x="714" y="159"/>
                        <a:pt x="716" y="157"/>
                        <a:pt x="721" y="168"/>
                      </a:cubicBezTo>
                      <a:cubicBezTo>
                        <a:pt x="726" y="178"/>
                        <a:pt x="727" y="179"/>
                        <a:pt x="727" y="189"/>
                      </a:cubicBezTo>
                      <a:cubicBezTo>
                        <a:pt x="727" y="199"/>
                        <a:pt x="727" y="200"/>
                        <a:pt x="733" y="208"/>
                      </a:cubicBezTo>
                      <a:cubicBezTo>
                        <a:pt x="738" y="215"/>
                        <a:pt x="740" y="221"/>
                        <a:pt x="743" y="213"/>
                      </a:cubicBezTo>
                      <a:cubicBezTo>
                        <a:pt x="746" y="205"/>
                        <a:pt x="743" y="201"/>
                        <a:pt x="748" y="193"/>
                      </a:cubicBezTo>
                      <a:cubicBezTo>
                        <a:pt x="753" y="186"/>
                        <a:pt x="754" y="183"/>
                        <a:pt x="749" y="175"/>
                      </a:cubicBezTo>
                      <a:cubicBezTo>
                        <a:pt x="744" y="167"/>
                        <a:pt x="734" y="162"/>
                        <a:pt x="728" y="157"/>
                      </a:cubicBezTo>
                      <a:cubicBezTo>
                        <a:pt x="723" y="151"/>
                        <a:pt x="714" y="147"/>
                        <a:pt x="706" y="138"/>
                      </a:cubicBezTo>
                      <a:cubicBezTo>
                        <a:pt x="699" y="129"/>
                        <a:pt x="691" y="127"/>
                        <a:pt x="684" y="122"/>
                      </a:cubicBezTo>
                      <a:cubicBezTo>
                        <a:pt x="677" y="116"/>
                        <a:pt x="661" y="113"/>
                        <a:pt x="657" y="109"/>
                      </a:cubicBezTo>
                      <a:close/>
                      <a:moveTo>
                        <a:pt x="720" y="116"/>
                      </a:moveTo>
                      <a:cubicBezTo>
                        <a:pt x="724" y="120"/>
                        <a:pt x="727" y="126"/>
                        <a:pt x="727" y="119"/>
                      </a:cubicBezTo>
                      <a:cubicBezTo>
                        <a:pt x="727" y="112"/>
                        <a:pt x="726" y="104"/>
                        <a:pt x="722" y="107"/>
                      </a:cubicBezTo>
                      <a:cubicBezTo>
                        <a:pt x="718" y="110"/>
                        <a:pt x="717" y="112"/>
                        <a:pt x="720" y="116"/>
                      </a:cubicBezTo>
                      <a:close/>
                      <a:moveTo>
                        <a:pt x="585" y="75"/>
                      </a:moveTo>
                      <a:cubicBezTo>
                        <a:pt x="584" y="71"/>
                        <a:pt x="577" y="63"/>
                        <a:pt x="569" y="67"/>
                      </a:cubicBezTo>
                      <a:cubicBezTo>
                        <a:pt x="565" y="70"/>
                        <a:pt x="562" y="74"/>
                        <a:pt x="565" y="76"/>
                      </a:cubicBezTo>
                      <a:cubicBezTo>
                        <a:pt x="568" y="78"/>
                        <a:pt x="573" y="78"/>
                        <a:pt x="577" y="81"/>
                      </a:cubicBezTo>
                      <a:cubicBezTo>
                        <a:pt x="581" y="84"/>
                        <a:pt x="586" y="80"/>
                        <a:pt x="585" y="75"/>
                      </a:cubicBezTo>
                      <a:close/>
                      <a:moveTo>
                        <a:pt x="566" y="227"/>
                      </a:moveTo>
                      <a:cubicBezTo>
                        <a:pt x="564" y="233"/>
                        <a:pt x="563" y="239"/>
                        <a:pt x="566" y="240"/>
                      </a:cubicBezTo>
                      <a:cubicBezTo>
                        <a:pt x="570" y="240"/>
                        <a:pt x="575" y="241"/>
                        <a:pt x="575" y="235"/>
                      </a:cubicBezTo>
                      <a:cubicBezTo>
                        <a:pt x="576" y="229"/>
                        <a:pt x="570" y="223"/>
                        <a:pt x="566" y="227"/>
                      </a:cubicBezTo>
                      <a:close/>
                      <a:moveTo>
                        <a:pt x="526" y="207"/>
                      </a:moveTo>
                      <a:cubicBezTo>
                        <a:pt x="525" y="212"/>
                        <a:pt x="527" y="214"/>
                        <a:pt x="530" y="216"/>
                      </a:cubicBezTo>
                      <a:cubicBezTo>
                        <a:pt x="533" y="219"/>
                        <a:pt x="539" y="216"/>
                        <a:pt x="539" y="212"/>
                      </a:cubicBezTo>
                      <a:cubicBezTo>
                        <a:pt x="539" y="208"/>
                        <a:pt x="528" y="199"/>
                        <a:pt x="526" y="207"/>
                      </a:cubicBezTo>
                      <a:close/>
                      <a:moveTo>
                        <a:pt x="537" y="4"/>
                      </a:moveTo>
                      <a:cubicBezTo>
                        <a:pt x="532" y="9"/>
                        <a:pt x="539" y="12"/>
                        <a:pt x="541" y="17"/>
                      </a:cubicBezTo>
                      <a:cubicBezTo>
                        <a:pt x="544" y="21"/>
                        <a:pt x="551" y="17"/>
                        <a:pt x="550" y="13"/>
                      </a:cubicBezTo>
                      <a:cubicBezTo>
                        <a:pt x="549" y="8"/>
                        <a:pt x="539" y="0"/>
                        <a:pt x="537" y="4"/>
                      </a:cubicBezTo>
                      <a:close/>
                      <a:moveTo>
                        <a:pt x="432" y="66"/>
                      </a:moveTo>
                      <a:cubicBezTo>
                        <a:pt x="437" y="63"/>
                        <a:pt x="433" y="59"/>
                        <a:pt x="429" y="60"/>
                      </a:cubicBezTo>
                      <a:cubicBezTo>
                        <a:pt x="425" y="62"/>
                        <a:pt x="422" y="66"/>
                        <a:pt x="425" y="68"/>
                      </a:cubicBezTo>
                      <a:cubicBezTo>
                        <a:pt x="427" y="70"/>
                        <a:pt x="427" y="69"/>
                        <a:pt x="432" y="66"/>
                      </a:cubicBezTo>
                      <a:close/>
                      <a:moveTo>
                        <a:pt x="460" y="262"/>
                      </a:moveTo>
                      <a:cubicBezTo>
                        <a:pt x="460" y="266"/>
                        <a:pt x="461" y="271"/>
                        <a:pt x="462" y="273"/>
                      </a:cubicBezTo>
                      <a:cubicBezTo>
                        <a:pt x="464" y="276"/>
                        <a:pt x="470" y="284"/>
                        <a:pt x="474" y="284"/>
                      </a:cubicBezTo>
                      <a:cubicBezTo>
                        <a:pt x="479" y="285"/>
                        <a:pt x="485" y="285"/>
                        <a:pt x="495" y="289"/>
                      </a:cubicBezTo>
                      <a:cubicBezTo>
                        <a:pt x="504" y="293"/>
                        <a:pt x="497" y="294"/>
                        <a:pt x="499" y="298"/>
                      </a:cubicBezTo>
                      <a:cubicBezTo>
                        <a:pt x="502" y="302"/>
                        <a:pt x="509" y="301"/>
                        <a:pt x="518" y="299"/>
                      </a:cubicBezTo>
                      <a:cubicBezTo>
                        <a:pt x="527" y="296"/>
                        <a:pt x="528" y="299"/>
                        <a:pt x="531" y="303"/>
                      </a:cubicBezTo>
                      <a:cubicBezTo>
                        <a:pt x="534" y="307"/>
                        <a:pt x="543" y="311"/>
                        <a:pt x="546" y="311"/>
                      </a:cubicBezTo>
                      <a:cubicBezTo>
                        <a:pt x="550" y="311"/>
                        <a:pt x="563" y="311"/>
                        <a:pt x="568" y="306"/>
                      </a:cubicBezTo>
                      <a:cubicBezTo>
                        <a:pt x="573" y="302"/>
                        <a:pt x="581" y="302"/>
                        <a:pt x="592" y="300"/>
                      </a:cubicBezTo>
                      <a:cubicBezTo>
                        <a:pt x="603" y="299"/>
                        <a:pt x="611" y="300"/>
                        <a:pt x="620" y="296"/>
                      </a:cubicBezTo>
                      <a:cubicBezTo>
                        <a:pt x="629" y="293"/>
                        <a:pt x="631" y="293"/>
                        <a:pt x="642" y="283"/>
                      </a:cubicBezTo>
                      <a:cubicBezTo>
                        <a:pt x="653" y="273"/>
                        <a:pt x="654" y="278"/>
                        <a:pt x="659" y="267"/>
                      </a:cubicBezTo>
                      <a:cubicBezTo>
                        <a:pt x="664" y="255"/>
                        <a:pt x="675" y="261"/>
                        <a:pt x="681" y="261"/>
                      </a:cubicBezTo>
                      <a:cubicBezTo>
                        <a:pt x="687" y="261"/>
                        <a:pt x="691" y="257"/>
                        <a:pt x="694" y="252"/>
                      </a:cubicBezTo>
                      <a:cubicBezTo>
                        <a:pt x="697" y="248"/>
                        <a:pt x="694" y="246"/>
                        <a:pt x="689" y="241"/>
                      </a:cubicBezTo>
                      <a:cubicBezTo>
                        <a:pt x="685" y="237"/>
                        <a:pt x="684" y="234"/>
                        <a:pt x="685" y="227"/>
                      </a:cubicBezTo>
                      <a:cubicBezTo>
                        <a:pt x="686" y="219"/>
                        <a:pt x="690" y="226"/>
                        <a:pt x="697" y="227"/>
                      </a:cubicBezTo>
                      <a:cubicBezTo>
                        <a:pt x="704" y="227"/>
                        <a:pt x="706" y="227"/>
                        <a:pt x="706" y="222"/>
                      </a:cubicBezTo>
                      <a:cubicBezTo>
                        <a:pt x="705" y="218"/>
                        <a:pt x="704" y="206"/>
                        <a:pt x="708" y="201"/>
                      </a:cubicBezTo>
                      <a:cubicBezTo>
                        <a:pt x="712" y="196"/>
                        <a:pt x="710" y="193"/>
                        <a:pt x="706" y="189"/>
                      </a:cubicBezTo>
                      <a:cubicBezTo>
                        <a:pt x="702" y="185"/>
                        <a:pt x="697" y="187"/>
                        <a:pt x="695" y="182"/>
                      </a:cubicBezTo>
                      <a:cubicBezTo>
                        <a:pt x="693" y="177"/>
                        <a:pt x="689" y="179"/>
                        <a:pt x="682" y="182"/>
                      </a:cubicBezTo>
                      <a:cubicBezTo>
                        <a:pt x="674" y="186"/>
                        <a:pt x="671" y="184"/>
                        <a:pt x="667" y="182"/>
                      </a:cubicBezTo>
                      <a:cubicBezTo>
                        <a:pt x="663" y="179"/>
                        <a:pt x="657" y="180"/>
                        <a:pt x="657" y="187"/>
                      </a:cubicBezTo>
                      <a:cubicBezTo>
                        <a:pt x="656" y="194"/>
                        <a:pt x="660" y="205"/>
                        <a:pt x="663" y="212"/>
                      </a:cubicBezTo>
                      <a:cubicBezTo>
                        <a:pt x="666" y="220"/>
                        <a:pt x="665" y="221"/>
                        <a:pt x="660" y="227"/>
                      </a:cubicBezTo>
                      <a:cubicBezTo>
                        <a:pt x="656" y="232"/>
                        <a:pt x="651" y="227"/>
                        <a:pt x="642" y="231"/>
                      </a:cubicBezTo>
                      <a:cubicBezTo>
                        <a:pt x="633" y="234"/>
                        <a:pt x="638" y="238"/>
                        <a:pt x="632" y="245"/>
                      </a:cubicBezTo>
                      <a:cubicBezTo>
                        <a:pt x="626" y="252"/>
                        <a:pt x="623" y="250"/>
                        <a:pt x="616" y="260"/>
                      </a:cubicBezTo>
                      <a:cubicBezTo>
                        <a:pt x="612" y="264"/>
                        <a:pt x="604" y="265"/>
                        <a:pt x="600" y="264"/>
                      </a:cubicBezTo>
                      <a:cubicBezTo>
                        <a:pt x="597" y="264"/>
                        <a:pt x="594" y="261"/>
                        <a:pt x="590" y="259"/>
                      </a:cubicBezTo>
                      <a:cubicBezTo>
                        <a:pt x="585" y="257"/>
                        <a:pt x="580" y="266"/>
                        <a:pt x="575" y="264"/>
                      </a:cubicBezTo>
                      <a:cubicBezTo>
                        <a:pt x="569" y="262"/>
                        <a:pt x="573" y="260"/>
                        <a:pt x="564" y="260"/>
                      </a:cubicBezTo>
                      <a:cubicBezTo>
                        <a:pt x="556" y="259"/>
                        <a:pt x="552" y="265"/>
                        <a:pt x="547" y="265"/>
                      </a:cubicBezTo>
                      <a:cubicBezTo>
                        <a:pt x="542" y="265"/>
                        <a:pt x="539" y="261"/>
                        <a:pt x="534" y="262"/>
                      </a:cubicBezTo>
                      <a:cubicBezTo>
                        <a:pt x="530" y="263"/>
                        <a:pt x="526" y="267"/>
                        <a:pt x="516" y="267"/>
                      </a:cubicBezTo>
                      <a:cubicBezTo>
                        <a:pt x="506" y="267"/>
                        <a:pt x="506" y="263"/>
                        <a:pt x="501" y="262"/>
                      </a:cubicBezTo>
                      <a:cubicBezTo>
                        <a:pt x="497" y="260"/>
                        <a:pt x="497" y="263"/>
                        <a:pt x="485" y="267"/>
                      </a:cubicBezTo>
                      <a:cubicBezTo>
                        <a:pt x="474" y="270"/>
                        <a:pt x="476" y="266"/>
                        <a:pt x="473" y="259"/>
                      </a:cubicBezTo>
                      <a:cubicBezTo>
                        <a:pt x="469" y="253"/>
                        <a:pt x="460" y="259"/>
                        <a:pt x="460" y="262"/>
                      </a:cubicBezTo>
                      <a:close/>
                      <a:moveTo>
                        <a:pt x="421" y="258"/>
                      </a:moveTo>
                      <a:cubicBezTo>
                        <a:pt x="420" y="264"/>
                        <a:pt x="423" y="266"/>
                        <a:pt x="426" y="268"/>
                      </a:cubicBezTo>
                      <a:cubicBezTo>
                        <a:pt x="430" y="270"/>
                        <a:pt x="427" y="275"/>
                        <a:pt x="432" y="278"/>
                      </a:cubicBezTo>
                      <a:cubicBezTo>
                        <a:pt x="436" y="282"/>
                        <a:pt x="439" y="280"/>
                        <a:pt x="440" y="271"/>
                      </a:cubicBezTo>
                      <a:cubicBezTo>
                        <a:pt x="440" y="262"/>
                        <a:pt x="426" y="251"/>
                        <a:pt x="421" y="258"/>
                      </a:cubicBezTo>
                      <a:close/>
                      <a:moveTo>
                        <a:pt x="349" y="58"/>
                      </a:moveTo>
                      <a:cubicBezTo>
                        <a:pt x="357" y="62"/>
                        <a:pt x="395" y="59"/>
                        <a:pt x="398" y="55"/>
                      </a:cubicBezTo>
                      <a:cubicBezTo>
                        <a:pt x="402" y="49"/>
                        <a:pt x="406" y="44"/>
                        <a:pt x="402" y="44"/>
                      </a:cubicBezTo>
                      <a:cubicBezTo>
                        <a:pt x="397" y="44"/>
                        <a:pt x="393" y="45"/>
                        <a:pt x="383" y="45"/>
                      </a:cubicBezTo>
                      <a:cubicBezTo>
                        <a:pt x="373" y="44"/>
                        <a:pt x="373" y="43"/>
                        <a:pt x="361" y="43"/>
                      </a:cubicBezTo>
                      <a:cubicBezTo>
                        <a:pt x="352" y="43"/>
                        <a:pt x="340" y="54"/>
                        <a:pt x="349" y="58"/>
                      </a:cubicBezTo>
                      <a:close/>
                      <a:moveTo>
                        <a:pt x="384" y="261"/>
                      </a:moveTo>
                      <a:cubicBezTo>
                        <a:pt x="388" y="260"/>
                        <a:pt x="388" y="256"/>
                        <a:pt x="389" y="250"/>
                      </a:cubicBezTo>
                      <a:cubicBezTo>
                        <a:pt x="390" y="245"/>
                        <a:pt x="381" y="240"/>
                        <a:pt x="381" y="248"/>
                      </a:cubicBezTo>
                      <a:cubicBezTo>
                        <a:pt x="378" y="257"/>
                        <a:pt x="380" y="261"/>
                        <a:pt x="384" y="261"/>
                      </a:cubicBezTo>
                      <a:close/>
                      <a:moveTo>
                        <a:pt x="320" y="208"/>
                      </a:moveTo>
                      <a:cubicBezTo>
                        <a:pt x="322" y="203"/>
                        <a:pt x="318" y="188"/>
                        <a:pt x="311" y="196"/>
                      </a:cubicBezTo>
                      <a:cubicBezTo>
                        <a:pt x="311" y="202"/>
                        <a:pt x="305" y="208"/>
                        <a:pt x="309" y="210"/>
                      </a:cubicBezTo>
                      <a:cubicBezTo>
                        <a:pt x="313" y="212"/>
                        <a:pt x="317" y="213"/>
                        <a:pt x="320" y="208"/>
                      </a:cubicBezTo>
                      <a:close/>
                    </a:path>
                  </a:pathLst>
                </a:custGeom>
                <a:solidFill>
                  <a:srgbClr val="F2F2F2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45" name="Freeform 71"/>
                <p:cNvSpPr>
                  <a:spLocks noEditPoints="1"/>
                </p:cNvSpPr>
                <p:nvPr>
                  <p:custDataLst>
                    <p:tags r:id="rId143"/>
                  </p:custDataLst>
                </p:nvPr>
              </p:nvSpPr>
              <p:spPr bwMode="auto">
                <a:xfrm>
                  <a:off x="3760" y="1207"/>
                  <a:ext cx="488" cy="515"/>
                </a:xfrm>
                <a:custGeom>
                  <a:avLst/>
                  <a:gdLst>
                    <a:gd name="T0" fmla="*/ 493 w 1143"/>
                    <a:gd name="T1" fmla="*/ 495 h 1205"/>
                    <a:gd name="T2" fmla="*/ 453 w 1143"/>
                    <a:gd name="T3" fmla="*/ 543 h 1205"/>
                    <a:gd name="T4" fmla="*/ 521 w 1143"/>
                    <a:gd name="T5" fmla="*/ 555 h 1205"/>
                    <a:gd name="T6" fmla="*/ 567 w 1143"/>
                    <a:gd name="T7" fmla="*/ 528 h 1205"/>
                    <a:gd name="T8" fmla="*/ 640 w 1143"/>
                    <a:gd name="T9" fmla="*/ 502 h 1205"/>
                    <a:gd name="T10" fmla="*/ 724 w 1143"/>
                    <a:gd name="T11" fmla="*/ 496 h 1205"/>
                    <a:gd name="T12" fmla="*/ 708 w 1143"/>
                    <a:gd name="T13" fmla="*/ 546 h 1205"/>
                    <a:gd name="T14" fmla="*/ 753 w 1143"/>
                    <a:gd name="T15" fmla="*/ 576 h 1205"/>
                    <a:gd name="T16" fmla="*/ 813 w 1143"/>
                    <a:gd name="T17" fmla="*/ 521 h 1205"/>
                    <a:gd name="T18" fmla="*/ 812 w 1143"/>
                    <a:gd name="T19" fmla="*/ 467 h 1205"/>
                    <a:gd name="T20" fmla="*/ 830 w 1143"/>
                    <a:gd name="T21" fmla="*/ 502 h 1205"/>
                    <a:gd name="T22" fmla="*/ 907 w 1143"/>
                    <a:gd name="T23" fmla="*/ 489 h 1205"/>
                    <a:gd name="T24" fmla="*/ 935 w 1143"/>
                    <a:gd name="T25" fmla="*/ 492 h 1205"/>
                    <a:gd name="T26" fmla="*/ 974 w 1143"/>
                    <a:gd name="T27" fmla="*/ 459 h 1205"/>
                    <a:gd name="T28" fmla="*/ 1007 w 1143"/>
                    <a:gd name="T29" fmla="*/ 447 h 1205"/>
                    <a:gd name="T30" fmla="*/ 1023 w 1143"/>
                    <a:gd name="T31" fmla="*/ 468 h 1205"/>
                    <a:gd name="T32" fmla="*/ 1061 w 1143"/>
                    <a:gd name="T33" fmla="*/ 411 h 1205"/>
                    <a:gd name="T34" fmla="*/ 1066 w 1143"/>
                    <a:gd name="T35" fmla="*/ 333 h 1205"/>
                    <a:gd name="T36" fmla="*/ 1071 w 1143"/>
                    <a:gd name="T37" fmla="*/ 252 h 1205"/>
                    <a:gd name="T38" fmla="*/ 1104 w 1143"/>
                    <a:gd name="T39" fmla="*/ 224 h 1205"/>
                    <a:gd name="T40" fmla="*/ 1134 w 1143"/>
                    <a:gd name="T41" fmla="*/ 158 h 1205"/>
                    <a:gd name="T42" fmla="*/ 1112 w 1143"/>
                    <a:gd name="T43" fmla="*/ 76 h 1205"/>
                    <a:gd name="T44" fmla="*/ 1096 w 1143"/>
                    <a:gd name="T45" fmla="*/ 12 h 1205"/>
                    <a:gd name="T46" fmla="*/ 1067 w 1143"/>
                    <a:gd name="T47" fmla="*/ 27 h 1205"/>
                    <a:gd name="T48" fmla="*/ 1069 w 1143"/>
                    <a:gd name="T49" fmla="*/ 54 h 1205"/>
                    <a:gd name="T50" fmla="*/ 1028 w 1143"/>
                    <a:gd name="T51" fmla="*/ 26 h 1205"/>
                    <a:gd name="T52" fmla="*/ 1004 w 1143"/>
                    <a:gd name="T53" fmla="*/ 91 h 1205"/>
                    <a:gd name="T54" fmla="*/ 1008 w 1143"/>
                    <a:gd name="T55" fmla="*/ 144 h 1205"/>
                    <a:gd name="T56" fmla="*/ 976 w 1143"/>
                    <a:gd name="T57" fmla="*/ 240 h 1205"/>
                    <a:gd name="T58" fmla="*/ 895 w 1143"/>
                    <a:gd name="T59" fmla="*/ 320 h 1205"/>
                    <a:gd name="T60" fmla="*/ 823 w 1143"/>
                    <a:gd name="T61" fmla="*/ 330 h 1205"/>
                    <a:gd name="T62" fmla="*/ 769 w 1143"/>
                    <a:gd name="T63" fmla="*/ 391 h 1205"/>
                    <a:gd name="T64" fmla="*/ 731 w 1143"/>
                    <a:gd name="T65" fmla="*/ 433 h 1205"/>
                    <a:gd name="T66" fmla="*/ 696 w 1143"/>
                    <a:gd name="T67" fmla="*/ 425 h 1205"/>
                    <a:gd name="T68" fmla="*/ 560 w 1143"/>
                    <a:gd name="T69" fmla="*/ 442 h 1205"/>
                    <a:gd name="T70" fmla="*/ 263 w 1143"/>
                    <a:gd name="T71" fmla="*/ 1041 h 1205"/>
                    <a:gd name="T72" fmla="*/ 250 w 1143"/>
                    <a:gd name="T73" fmla="*/ 1073 h 1205"/>
                    <a:gd name="T74" fmla="*/ 280 w 1143"/>
                    <a:gd name="T75" fmla="*/ 1041 h 1205"/>
                    <a:gd name="T76" fmla="*/ 97 w 1143"/>
                    <a:gd name="T77" fmla="*/ 1161 h 1205"/>
                    <a:gd name="T78" fmla="*/ 7 w 1143"/>
                    <a:gd name="T79" fmla="*/ 1190 h 1205"/>
                    <a:gd name="T80" fmla="*/ 352 w 1143"/>
                    <a:gd name="T81" fmla="*/ 931 h 1205"/>
                    <a:gd name="T82" fmla="*/ 365 w 1143"/>
                    <a:gd name="T83" fmla="*/ 927 h 1205"/>
                    <a:gd name="T84" fmla="*/ 310 w 1143"/>
                    <a:gd name="T85" fmla="*/ 987 h 1205"/>
                    <a:gd name="T86" fmla="*/ 312 w 1143"/>
                    <a:gd name="T87" fmla="*/ 630 h 1205"/>
                    <a:gd name="T88" fmla="*/ 325 w 1143"/>
                    <a:gd name="T89" fmla="*/ 971 h 1205"/>
                    <a:gd name="T90" fmla="*/ 325 w 1143"/>
                    <a:gd name="T91" fmla="*/ 971 h 1205"/>
                    <a:gd name="T92" fmla="*/ 407 w 1143"/>
                    <a:gd name="T93" fmla="*/ 638 h 1205"/>
                    <a:gd name="T94" fmla="*/ 333 w 1143"/>
                    <a:gd name="T95" fmla="*/ 611 h 1205"/>
                    <a:gd name="T96" fmla="*/ 454 w 1143"/>
                    <a:gd name="T97" fmla="*/ 782 h 1205"/>
                    <a:gd name="T98" fmla="*/ 452 w 1143"/>
                    <a:gd name="T99" fmla="*/ 770 h 1205"/>
                    <a:gd name="T100" fmla="*/ 402 w 1143"/>
                    <a:gd name="T101" fmla="*/ 657 h 1205"/>
                    <a:gd name="T102" fmla="*/ 425 w 1143"/>
                    <a:gd name="T103" fmla="*/ 801 h 1205"/>
                    <a:gd name="T104" fmla="*/ 425 w 1143"/>
                    <a:gd name="T105" fmla="*/ 801 h 1205"/>
                    <a:gd name="T106" fmla="*/ 473 w 1143"/>
                    <a:gd name="T107" fmla="*/ 1102 h 1205"/>
                    <a:gd name="T108" fmla="*/ 30 w 1143"/>
                    <a:gd name="T109" fmla="*/ 1191 h 12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1143" h="1205">
                      <a:moveTo>
                        <a:pt x="560" y="442"/>
                      </a:moveTo>
                      <a:cubicBezTo>
                        <a:pt x="557" y="448"/>
                        <a:pt x="554" y="455"/>
                        <a:pt x="548" y="459"/>
                      </a:cubicBezTo>
                      <a:cubicBezTo>
                        <a:pt x="542" y="463"/>
                        <a:pt x="541" y="465"/>
                        <a:pt x="525" y="475"/>
                      </a:cubicBezTo>
                      <a:cubicBezTo>
                        <a:pt x="509" y="484"/>
                        <a:pt x="499" y="486"/>
                        <a:pt x="493" y="495"/>
                      </a:cubicBezTo>
                      <a:cubicBezTo>
                        <a:pt x="488" y="504"/>
                        <a:pt x="482" y="511"/>
                        <a:pt x="480" y="512"/>
                      </a:cubicBezTo>
                      <a:cubicBezTo>
                        <a:pt x="478" y="514"/>
                        <a:pt x="463" y="511"/>
                        <a:pt x="456" y="512"/>
                      </a:cubicBezTo>
                      <a:cubicBezTo>
                        <a:pt x="449" y="513"/>
                        <a:pt x="446" y="527"/>
                        <a:pt x="448" y="534"/>
                      </a:cubicBezTo>
                      <a:cubicBezTo>
                        <a:pt x="449" y="540"/>
                        <a:pt x="446" y="543"/>
                        <a:pt x="453" y="543"/>
                      </a:cubicBezTo>
                      <a:cubicBezTo>
                        <a:pt x="459" y="543"/>
                        <a:pt x="464" y="546"/>
                        <a:pt x="473" y="543"/>
                      </a:cubicBezTo>
                      <a:cubicBezTo>
                        <a:pt x="482" y="541"/>
                        <a:pt x="484" y="535"/>
                        <a:pt x="493" y="540"/>
                      </a:cubicBezTo>
                      <a:cubicBezTo>
                        <a:pt x="502" y="544"/>
                        <a:pt x="510" y="541"/>
                        <a:pt x="514" y="549"/>
                      </a:cubicBezTo>
                      <a:cubicBezTo>
                        <a:pt x="518" y="556"/>
                        <a:pt x="519" y="561"/>
                        <a:pt x="521" y="555"/>
                      </a:cubicBezTo>
                      <a:cubicBezTo>
                        <a:pt x="523" y="549"/>
                        <a:pt x="521" y="549"/>
                        <a:pt x="524" y="540"/>
                      </a:cubicBezTo>
                      <a:cubicBezTo>
                        <a:pt x="526" y="531"/>
                        <a:pt x="527" y="525"/>
                        <a:pt x="532" y="522"/>
                      </a:cubicBezTo>
                      <a:cubicBezTo>
                        <a:pt x="536" y="519"/>
                        <a:pt x="541" y="517"/>
                        <a:pt x="548" y="523"/>
                      </a:cubicBezTo>
                      <a:cubicBezTo>
                        <a:pt x="556" y="529"/>
                        <a:pt x="559" y="531"/>
                        <a:pt x="567" y="528"/>
                      </a:cubicBezTo>
                      <a:cubicBezTo>
                        <a:pt x="574" y="525"/>
                        <a:pt x="573" y="520"/>
                        <a:pt x="582" y="519"/>
                      </a:cubicBezTo>
                      <a:cubicBezTo>
                        <a:pt x="591" y="518"/>
                        <a:pt x="594" y="519"/>
                        <a:pt x="599" y="513"/>
                      </a:cubicBezTo>
                      <a:cubicBezTo>
                        <a:pt x="604" y="507"/>
                        <a:pt x="613" y="503"/>
                        <a:pt x="621" y="507"/>
                      </a:cubicBezTo>
                      <a:cubicBezTo>
                        <a:pt x="629" y="510"/>
                        <a:pt x="634" y="507"/>
                        <a:pt x="640" y="502"/>
                      </a:cubicBezTo>
                      <a:cubicBezTo>
                        <a:pt x="647" y="498"/>
                        <a:pt x="648" y="495"/>
                        <a:pt x="656" y="495"/>
                      </a:cubicBezTo>
                      <a:cubicBezTo>
                        <a:pt x="664" y="494"/>
                        <a:pt x="670" y="492"/>
                        <a:pt x="679" y="494"/>
                      </a:cubicBezTo>
                      <a:cubicBezTo>
                        <a:pt x="688" y="496"/>
                        <a:pt x="694" y="494"/>
                        <a:pt x="702" y="494"/>
                      </a:cubicBezTo>
                      <a:cubicBezTo>
                        <a:pt x="709" y="494"/>
                        <a:pt x="720" y="491"/>
                        <a:pt x="724" y="496"/>
                      </a:cubicBezTo>
                      <a:cubicBezTo>
                        <a:pt x="728" y="502"/>
                        <a:pt x="730" y="502"/>
                        <a:pt x="723" y="507"/>
                      </a:cubicBezTo>
                      <a:cubicBezTo>
                        <a:pt x="716" y="513"/>
                        <a:pt x="711" y="510"/>
                        <a:pt x="711" y="517"/>
                      </a:cubicBezTo>
                      <a:cubicBezTo>
                        <a:pt x="710" y="525"/>
                        <a:pt x="711" y="522"/>
                        <a:pt x="712" y="531"/>
                      </a:cubicBezTo>
                      <a:cubicBezTo>
                        <a:pt x="713" y="540"/>
                        <a:pt x="707" y="538"/>
                        <a:pt x="708" y="546"/>
                      </a:cubicBezTo>
                      <a:cubicBezTo>
                        <a:pt x="709" y="553"/>
                        <a:pt x="712" y="550"/>
                        <a:pt x="719" y="556"/>
                      </a:cubicBezTo>
                      <a:cubicBezTo>
                        <a:pt x="727" y="563"/>
                        <a:pt x="727" y="562"/>
                        <a:pt x="728" y="568"/>
                      </a:cubicBezTo>
                      <a:cubicBezTo>
                        <a:pt x="730" y="574"/>
                        <a:pt x="734" y="574"/>
                        <a:pt x="740" y="577"/>
                      </a:cubicBezTo>
                      <a:cubicBezTo>
                        <a:pt x="746" y="580"/>
                        <a:pt x="749" y="588"/>
                        <a:pt x="753" y="576"/>
                      </a:cubicBezTo>
                      <a:cubicBezTo>
                        <a:pt x="757" y="565"/>
                        <a:pt x="754" y="560"/>
                        <a:pt x="765" y="553"/>
                      </a:cubicBezTo>
                      <a:cubicBezTo>
                        <a:pt x="777" y="547"/>
                        <a:pt x="780" y="546"/>
                        <a:pt x="787" y="536"/>
                      </a:cubicBezTo>
                      <a:cubicBezTo>
                        <a:pt x="793" y="526"/>
                        <a:pt x="790" y="526"/>
                        <a:pt x="797" y="523"/>
                      </a:cubicBezTo>
                      <a:cubicBezTo>
                        <a:pt x="805" y="520"/>
                        <a:pt x="811" y="528"/>
                        <a:pt x="813" y="521"/>
                      </a:cubicBezTo>
                      <a:cubicBezTo>
                        <a:pt x="815" y="514"/>
                        <a:pt x="806" y="510"/>
                        <a:pt x="800" y="505"/>
                      </a:cubicBezTo>
                      <a:cubicBezTo>
                        <a:pt x="795" y="499"/>
                        <a:pt x="790" y="494"/>
                        <a:pt x="796" y="490"/>
                      </a:cubicBezTo>
                      <a:cubicBezTo>
                        <a:pt x="803" y="486"/>
                        <a:pt x="803" y="488"/>
                        <a:pt x="805" y="480"/>
                      </a:cubicBezTo>
                      <a:cubicBezTo>
                        <a:pt x="807" y="472"/>
                        <a:pt x="808" y="466"/>
                        <a:pt x="812" y="467"/>
                      </a:cubicBezTo>
                      <a:cubicBezTo>
                        <a:pt x="817" y="468"/>
                        <a:pt x="818" y="471"/>
                        <a:pt x="818" y="479"/>
                      </a:cubicBezTo>
                      <a:cubicBezTo>
                        <a:pt x="817" y="487"/>
                        <a:pt x="815" y="487"/>
                        <a:pt x="823" y="488"/>
                      </a:cubicBezTo>
                      <a:cubicBezTo>
                        <a:pt x="830" y="489"/>
                        <a:pt x="834" y="489"/>
                        <a:pt x="834" y="493"/>
                      </a:cubicBezTo>
                      <a:cubicBezTo>
                        <a:pt x="835" y="497"/>
                        <a:pt x="827" y="497"/>
                        <a:pt x="830" y="502"/>
                      </a:cubicBezTo>
                      <a:cubicBezTo>
                        <a:pt x="833" y="506"/>
                        <a:pt x="838" y="504"/>
                        <a:pt x="844" y="502"/>
                      </a:cubicBezTo>
                      <a:cubicBezTo>
                        <a:pt x="850" y="500"/>
                        <a:pt x="857" y="499"/>
                        <a:pt x="866" y="499"/>
                      </a:cubicBezTo>
                      <a:cubicBezTo>
                        <a:pt x="874" y="499"/>
                        <a:pt x="878" y="499"/>
                        <a:pt x="888" y="496"/>
                      </a:cubicBezTo>
                      <a:cubicBezTo>
                        <a:pt x="899" y="492"/>
                        <a:pt x="902" y="496"/>
                        <a:pt x="907" y="489"/>
                      </a:cubicBezTo>
                      <a:cubicBezTo>
                        <a:pt x="912" y="482"/>
                        <a:pt x="911" y="477"/>
                        <a:pt x="917" y="470"/>
                      </a:cubicBezTo>
                      <a:cubicBezTo>
                        <a:pt x="922" y="464"/>
                        <a:pt x="926" y="460"/>
                        <a:pt x="932" y="462"/>
                      </a:cubicBezTo>
                      <a:cubicBezTo>
                        <a:pt x="937" y="463"/>
                        <a:pt x="939" y="465"/>
                        <a:pt x="937" y="474"/>
                      </a:cubicBezTo>
                      <a:cubicBezTo>
                        <a:pt x="935" y="483"/>
                        <a:pt x="932" y="484"/>
                        <a:pt x="935" y="492"/>
                      </a:cubicBezTo>
                      <a:cubicBezTo>
                        <a:pt x="938" y="499"/>
                        <a:pt x="942" y="505"/>
                        <a:pt x="944" y="500"/>
                      </a:cubicBezTo>
                      <a:cubicBezTo>
                        <a:pt x="947" y="494"/>
                        <a:pt x="950" y="491"/>
                        <a:pt x="956" y="485"/>
                      </a:cubicBezTo>
                      <a:cubicBezTo>
                        <a:pt x="963" y="479"/>
                        <a:pt x="961" y="471"/>
                        <a:pt x="963" y="467"/>
                      </a:cubicBezTo>
                      <a:cubicBezTo>
                        <a:pt x="965" y="463"/>
                        <a:pt x="966" y="462"/>
                        <a:pt x="974" y="459"/>
                      </a:cubicBezTo>
                      <a:cubicBezTo>
                        <a:pt x="983" y="457"/>
                        <a:pt x="987" y="456"/>
                        <a:pt x="989" y="451"/>
                      </a:cubicBezTo>
                      <a:cubicBezTo>
                        <a:pt x="992" y="445"/>
                        <a:pt x="987" y="443"/>
                        <a:pt x="992" y="438"/>
                      </a:cubicBezTo>
                      <a:cubicBezTo>
                        <a:pt x="997" y="432"/>
                        <a:pt x="1000" y="435"/>
                        <a:pt x="1010" y="436"/>
                      </a:cubicBezTo>
                      <a:cubicBezTo>
                        <a:pt x="1019" y="438"/>
                        <a:pt x="1012" y="441"/>
                        <a:pt x="1007" y="447"/>
                      </a:cubicBezTo>
                      <a:cubicBezTo>
                        <a:pt x="1002" y="453"/>
                        <a:pt x="998" y="453"/>
                        <a:pt x="1001" y="460"/>
                      </a:cubicBezTo>
                      <a:cubicBezTo>
                        <a:pt x="1005" y="468"/>
                        <a:pt x="1001" y="468"/>
                        <a:pt x="1001" y="474"/>
                      </a:cubicBezTo>
                      <a:cubicBezTo>
                        <a:pt x="1002" y="480"/>
                        <a:pt x="1001" y="483"/>
                        <a:pt x="1008" y="481"/>
                      </a:cubicBezTo>
                      <a:cubicBezTo>
                        <a:pt x="1014" y="479"/>
                        <a:pt x="1012" y="472"/>
                        <a:pt x="1023" y="468"/>
                      </a:cubicBezTo>
                      <a:cubicBezTo>
                        <a:pt x="1035" y="465"/>
                        <a:pt x="1039" y="459"/>
                        <a:pt x="1040" y="451"/>
                      </a:cubicBezTo>
                      <a:cubicBezTo>
                        <a:pt x="1040" y="444"/>
                        <a:pt x="1038" y="438"/>
                        <a:pt x="1046" y="434"/>
                      </a:cubicBezTo>
                      <a:cubicBezTo>
                        <a:pt x="1055" y="430"/>
                        <a:pt x="1063" y="427"/>
                        <a:pt x="1064" y="425"/>
                      </a:cubicBezTo>
                      <a:cubicBezTo>
                        <a:pt x="1066" y="422"/>
                        <a:pt x="1069" y="418"/>
                        <a:pt x="1061" y="411"/>
                      </a:cubicBezTo>
                      <a:cubicBezTo>
                        <a:pt x="1053" y="404"/>
                        <a:pt x="1047" y="401"/>
                        <a:pt x="1048" y="391"/>
                      </a:cubicBezTo>
                      <a:cubicBezTo>
                        <a:pt x="1048" y="382"/>
                        <a:pt x="1051" y="376"/>
                        <a:pt x="1055" y="370"/>
                      </a:cubicBezTo>
                      <a:cubicBezTo>
                        <a:pt x="1059" y="364"/>
                        <a:pt x="1059" y="358"/>
                        <a:pt x="1059" y="352"/>
                      </a:cubicBezTo>
                      <a:cubicBezTo>
                        <a:pt x="1060" y="345"/>
                        <a:pt x="1059" y="341"/>
                        <a:pt x="1066" y="333"/>
                      </a:cubicBezTo>
                      <a:cubicBezTo>
                        <a:pt x="1073" y="325"/>
                        <a:pt x="1076" y="321"/>
                        <a:pt x="1076" y="311"/>
                      </a:cubicBezTo>
                      <a:cubicBezTo>
                        <a:pt x="1076" y="301"/>
                        <a:pt x="1072" y="306"/>
                        <a:pt x="1072" y="296"/>
                      </a:cubicBezTo>
                      <a:cubicBezTo>
                        <a:pt x="1072" y="285"/>
                        <a:pt x="1071" y="285"/>
                        <a:pt x="1071" y="273"/>
                      </a:cubicBezTo>
                      <a:cubicBezTo>
                        <a:pt x="1071" y="262"/>
                        <a:pt x="1067" y="263"/>
                        <a:pt x="1071" y="252"/>
                      </a:cubicBezTo>
                      <a:cubicBezTo>
                        <a:pt x="1075" y="242"/>
                        <a:pt x="1069" y="239"/>
                        <a:pt x="1078" y="237"/>
                      </a:cubicBezTo>
                      <a:cubicBezTo>
                        <a:pt x="1087" y="234"/>
                        <a:pt x="1090" y="230"/>
                        <a:pt x="1097" y="237"/>
                      </a:cubicBezTo>
                      <a:cubicBezTo>
                        <a:pt x="1105" y="245"/>
                        <a:pt x="1108" y="242"/>
                        <a:pt x="1108" y="237"/>
                      </a:cubicBezTo>
                      <a:cubicBezTo>
                        <a:pt x="1107" y="233"/>
                        <a:pt x="1104" y="233"/>
                        <a:pt x="1104" y="224"/>
                      </a:cubicBezTo>
                      <a:cubicBezTo>
                        <a:pt x="1104" y="214"/>
                        <a:pt x="1101" y="210"/>
                        <a:pt x="1108" y="203"/>
                      </a:cubicBezTo>
                      <a:cubicBezTo>
                        <a:pt x="1114" y="195"/>
                        <a:pt x="1113" y="191"/>
                        <a:pt x="1121" y="188"/>
                      </a:cubicBezTo>
                      <a:cubicBezTo>
                        <a:pt x="1128" y="184"/>
                        <a:pt x="1131" y="186"/>
                        <a:pt x="1131" y="177"/>
                      </a:cubicBezTo>
                      <a:cubicBezTo>
                        <a:pt x="1131" y="168"/>
                        <a:pt x="1128" y="167"/>
                        <a:pt x="1134" y="158"/>
                      </a:cubicBezTo>
                      <a:cubicBezTo>
                        <a:pt x="1140" y="149"/>
                        <a:pt x="1143" y="145"/>
                        <a:pt x="1138" y="140"/>
                      </a:cubicBezTo>
                      <a:cubicBezTo>
                        <a:pt x="1134" y="135"/>
                        <a:pt x="1126" y="127"/>
                        <a:pt x="1126" y="119"/>
                      </a:cubicBezTo>
                      <a:cubicBezTo>
                        <a:pt x="1126" y="111"/>
                        <a:pt x="1122" y="95"/>
                        <a:pt x="1120" y="90"/>
                      </a:cubicBezTo>
                      <a:cubicBezTo>
                        <a:pt x="1119" y="86"/>
                        <a:pt x="1119" y="82"/>
                        <a:pt x="1112" y="76"/>
                      </a:cubicBezTo>
                      <a:cubicBezTo>
                        <a:pt x="1104" y="70"/>
                        <a:pt x="1103" y="73"/>
                        <a:pt x="1102" y="64"/>
                      </a:cubicBezTo>
                      <a:cubicBezTo>
                        <a:pt x="1101" y="55"/>
                        <a:pt x="1100" y="53"/>
                        <a:pt x="1101" y="40"/>
                      </a:cubicBezTo>
                      <a:cubicBezTo>
                        <a:pt x="1103" y="27"/>
                        <a:pt x="1105" y="21"/>
                        <a:pt x="1103" y="17"/>
                      </a:cubicBezTo>
                      <a:cubicBezTo>
                        <a:pt x="1101" y="12"/>
                        <a:pt x="1105" y="12"/>
                        <a:pt x="1096" y="12"/>
                      </a:cubicBezTo>
                      <a:cubicBezTo>
                        <a:pt x="1087" y="11"/>
                        <a:pt x="1091" y="13"/>
                        <a:pt x="1081" y="9"/>
                      </a:cubicBezTo>
                      <a:cubicBezTo>
                        <a:pt x="1072" y="5"/>
                        <a:pt x="1072" y="0"/>
                        <a:pt x="1067" y="4"/>
                      </a:cubicBezTo>
                      <a:cubicBezTo>
                        <a:pt x="1063" y="9"/>
                        <a:pt x="1060" y="13"/>
                        <a:pt x="1061" y="20"/>
                      </a:cubicBezTo>
                      <a:cubicBezTo>
                        <a:pt x="1062" y="27"/>
                        <a:pt x="1059" y="29"/>
                        <a:pt x="1067" y="27"/>
                      </a:cubicBezTo>
                      <a:cubicBezTo>
                        <a:pt x="1075" y="25"/>
                        <a:pt x="1080" y="22"/>
                        <a:pt x="1084" y="24"/>
                      </a:cubicBezTo>
                      <a:cubicBezTo>
                        <a:pt x="1087" y="25"/>
                        <a:pt x="1091" y="23"/>
                        <a:pt x="1087" y="31"/>
                      </a:cubicBezTo>
                      <a:cubicBezTo>
                        <a:pt x="1083" y="39"/>
                        <a:pt x="1082" y="37"/>
                        <a:pt x="1080" y="45"/>
                      </a:cubicBezTo>
                      <a:cubicBezTo>
                        <a:pt x="1078" y="52"/>
                        <a:pt x="1075" y="54"/>
                        <a:pt x="1069" y="54"/>
                      </a:cubicBezTo>
                      <a:cubicBezTo>
                        <a:pt x="1063" y="54"/>
                        <a:pt x="1055" y="53"/>
                        <a:pt x="1055" y="47"/>
                      </a:cubicBezTo>
                      <a:cubicBezTo>
                        <a:pt x="1055" y="41"/>
                        <a:pt x="1060" y="34"/>
                        <a:pt x="1054" y="33"/>
                      </a:cubicBezTo>
                      <a:cubicBezTo>
                        <a:pt x="1048" y="31"/>
                        <a:pt x="1043" y="32"/>
                        <a:pt x="1039" y="29"/>
                      </a:cubicBezTo>
                      <a:cubicBezTo>
                        <a:pt x="1034" y="27"/>
                        <a:pt x="1030" y="21"/>
                        <a:pt x="1028" y="26"/>
                      </a:cubicBezTo>
                      <a:cubicBezTo>
                        <a:pt x="1027" y="31"/>
                        <a:pt x="1031" y="31"/>
                        <a:pt x="1031" y="37"/>
                      </a:cubicBezTo>
                      <a:cubicBezTo>
                        <a:pt x="1030" y="44"/>
                        <a:pt x="1024" y="43"/>
                        <a:pt x="1024" y="51"/>
                      </a:cubicBezTo>
                      <a:cubicBezTo>
                        <a:pt x="1018" y="63"/>
                        <a:pt x="1014" y="62"/>
                        <a:pt x="1008" y="67"/>
                      </a:cubicBezTo>
                      <a:cubicBezTo>
                        <a:pt x="1001" y="73"/>
                        <a:pt x="1003" y="84"/>
                        <a:pt x="1004" y="91"/>
                      </a:cubicBezTo>
                      <a:cubicBezTo>
                        <a:pt x="1005" y="98"/>
                        <a:pt x="1004" y="102"/>
                        <a:pt x="1000" y="108"/>
                      </a:cubicBezTo>
                      <a:cubicBezTo>
                        <a:pt x="997" y="114"/>
                        <a:pt x="994" y="110"/>
                        <a:pt x="996" y="118"/>
                      </a:cubicBezTo>
                      <a:cubicBezTo>
                        <a:pt x="997" y="125"/>
                        <a:pt x="1001" y="127"/>
                        <a:pt x="1005" y="131"/>
                      </a:cubicBezTo>
                      <a:cubicBezTo>
                        <a:pt x="1008" y="134"/>
                        <a:pt x="1010" y="130"/>
                        <a:pt x="1008" y="144"/>
                      </a:cubicBezTo>
                      <a:cubicBezTo>
                        <a:pt x="1007" y="159"/>
                        <a:pt x="1003" y="158"/>
                        <a:pt x="1002" y="169"/>
                      </a:cubicBezTo>
                      <a:cubicBezTo>
                        <a:pt x="1002" y="180"/>
                        <a:pt x="1008" y="177"/>
                        <a:pt x="998" y="189"/>
                      </a:cubicBezTo>
                      <a:cubicBezTo>
                        <a:pt x="987" y="201"/>
                        <a:pt x="982" y="200"/>
                        <a:pt x="980" y="214"/>
                      </a:cubicBezTo>
                      <a:cubicBezTo>
                        <a:pt x="978" y="228"/>
                        <a:pt x="977" y="229"/>
                        <a:pt x="976" y="240"/>
                      </a:cubicBezTo>
                      <a:cubicBezTo>
                        <a:pt x="976" y="252"/>
                        <a:pt x="970" y="257"/>
                        <a:pt x="958" y="265"/>
                      </a:cubicBezTo>
                      <a:cubicBezTo>
                        <a:pt x="947" y="273"/>
                        <a:pt x="941" y="275"/>
                        <a:pt x="936" y="286"/>
                      </a:cubicBezTo>
                      <a:cubicBezTo>
                        <a:pt x="930" y="298"/>
                        <a:pt x="927" y="299"/>
                        <a:pt x="917" y="304"/>
                      </a:cubicBezTo>
                      <a:cubicBezTo>
                        <a:pt x="907" y="310"/>
                        <a:pt x="903" y="314"/>
                        <a:pt x="895" y="320"/>
                      </a:cubicBezTo>
                      <a:cubicBezTo>
                        <a:pt x="886" y="326"/>
                        <a:pt x="866" y="323"/>
                        <a:pt x="860" y="330"/>
                      </a:cubicBezTo>
                      <a:cubicBezTo>
                        <a:pt x="854" y="338"/>
                        <a:pt x="853" y="341"/>
                        <a:pt x="846" y="344"/>
                      </a:cubicBezTo>
                      <a:cubicBezTo>
                        <a:pt x="839" y="347"/>
                        <a:pt x="828" y="347"/>
                        <a:pt x="828" y="342"/>
                      </a:cubicBezTo>
                      <a:cubicBezTo>
                        <a:pt x="827" y="337"/>
                        <a:pt x="830" y="330"/>
                        <a:pt x="823" y="330"/>
                      </a:cubicBezTo>
                      <a:cubicBezTo>
                        <a:pt x="817" y="330"/>
                        <a:pt x="812" y="326"/>
                        <a:pt x="810" y="334"/>
                      </a:cubicBezTo>
                      <a:cubicBezTo>
                        <a:pt x="809" y="342"/>
                        <a:pt x="807" y="344"/>
                        <a:pt x="802" y="349"/>
                      </a:cubicBezTo>
                      <a:cubicBezTo>
                        <a:pt x="796" y="355"/>
                        <a:pt x="802" y="358"/>
                        <a:pt x="789" y="369"/>
                      </a:cubicBezTo>
                      <a:cubicBezTo>
                        <a:pt x="776" y="379"/>
                        <a:pt x="769" y="384"/>
                        <a:pt x="769" y="391"/>
                      </a:cubicBezTo>
                      <a:cubicBezTo>
                        <a:pt x="769" y="399"/>
                        <a:pt x="765" y="394"/>
                        <a:pt x="763" y="407"/>
                      </a:cubicBezTo>
                      <a:cubicBezTo>
                        <a:pt x="761" y="419"/>
                        <a:pt x="766" y="421"/>
                        <a:pt x="760" y="428"/>
                      </a:cubicBezTo>
                      <a:cubicBezTo>
                        <a:pt x="754" y="435"/>
                        <a:pt x="749" y="439"/>
                        <a:pt x="744" y="437"/>
                      </a:cubicBezTo>
                      <a:cubicBezTo>
                        <a:pt x="739" y="435"/>
                        <a:pt x="736" y="430"/>
                        <a:pt x="731" y="433"/>
                      </a:cubicBezTo>
                      <a:cubicBezTo>
                        <a:pt x="726" y="436"/>
                        <a:pt x="724" y="442"/>
                        <a:pt x="721" y="441"/>
                      </a:cubicBezTo>
                      <a:cubicBezTo>
                        <a:pt x="718" y="440"/>
                        <a:pt x="716" y="442"/>
                        <a:pt x="716" y="435"/>
                      </a:cubicBezTo>
                      <a:cubicBezTo>
                        <a:pt x="717" y="428"/>
                        <a:pt x="719" y="423"/>
                        <a:pt x="715" y="423"/>
                      </a:cubicBezTo>
                      <a:cubicBezTo>
                        <a:pt x="710" y="423"/>
                        <a:pt x="703" y="420"/>
                        <a:pt x="696" y="425"/>
                      </a:cubicBezTo>
                      <a:cubicBezTo>
                        <a:pt x="690" y="431"/>
                        <a:pt x="669" y="431"/>
                        <a:pt x="656" y="431"/>
                      </a:cubicBezTo>
                      <a:cubicBezTo>
                        <a:pt x="644" y="431"/>
                        <a:pt x="627" y="428"/>
                        <a:pt x="616" y="433"/>
                      </a:cubicBezTo>
                      <a:cubicBezTo>
                        <a:pt x="606" y="438"/>
                        <a:pt x="593" y="439"/>
                        <a:pt x="585" y="439"/>
                      </a:cubicBezTo>
                      <a:cubicBezTo>
                        <a:pt x="576" y="439"/>
                        <a:pt x="563" y="436"/>
                        <a:pt x="560" y="442"/>
                      </a:cubicBezTo>
                      <a:close/>
                      <a:moveTo>
                        <a:pt x="280" y="1041"/>
                      </a:moveTo>
                      <a:cubicBezTo>
                        <a:pt x="282" y="1038"/>
                        <a:pt x="281" y="1033"/>
                        <a:pt x="277" y="1036"/>
                      </a:cubicBezTo>
                      <a:cubicBezTo>
                        <a:pt x="275" y="1040"/>
                        <a:pt x="274" y="1041"/>
                        <a:pt x="271" y="1041"/>
                      </a:cubicBezTo>
                      <a:cubicBezTo>
                        <a:pt x="267" y="1041"/>
                        <a:pt x="264" y="1037"/>
                        <a:pt x="263" y="1041"/>
                      </a:cubicBezTo>
                      <a:cubicBezTo>
                        <a:pt x="262" y="1045"/>
                        <a:pt x="262" y="1047"/>
                        <a:pt x="262" y="1049"/>
                      </a:cubicBezTo>
                      <a:cubicBezTo>
                        <a:pt x="262" y="1051"/>
                        <a:pt x="259" y="1050"/>
                        <a:pt x="255" y="1052"/>
                      </a:cubicBezTo>
                      <a:cubicBezTo>
                        <a:pt x="251" y="1054"/>
                        <a:pt x="248" y="1064"/>
                        <a:pt x="248" y="1068"/>
                      </a:cubicBezTo>
                      <a:cubicBezTo>
                        <a:pt x="249" y="1073"/>
                        <a:pt x="247" y="1074"/>
                        <a:pt x="250" y="1073"/>
                      </a:cubicBezTo>
                      <a:cubicBezTo>
                        <a:pt x="253" y="1072"/>
                        <a:pt x="255" y="1067"/>
                        <a:pt x="257" y="1064"/>
                      </a:cubicBezTo>
                      <a:cubicBezTo>
                        <a:pt x="258" y="1061"/>
                        <a:pt x="259" y="1058"/>
                        <a:pt x="263" y="1057"/>
                      </a:cubicBezTo>
                      <a:cubicBezTo>
                        <a:pt x="268" y="1055"/>
                        <a:pt x="267" y="1052"/>
                        <a:pt x="271" y="1049"/>
                      </a:cubicBezTo>
                      <a:cubicBezTo>
                        <a:pt x="275" y="1045"/>
                        <a:pt x="279" y="1043"/>
                        <a:pt x="280" y="1041"/>
                      </a:cubicBezTo>
                      <a:close/>
                      <a:moveTo>
                        <a:pt x="98" y="1168"/>
                      </a:moveTo>
                      <a:cubicBezTo>
                        <a:pt x="100" y="1170"/>
                        <a:pt x="106" y="1173"/>
                        <a:pt x="110" y="1171"/>
                      </a:cubicBezTo>
                      <a:cubicBezTo>
                        <a:pt x="111" y="1169"/>
                        <a:pt x="109" y="1161"/>
                        <a:pt x="107" y="1160"/>
                      </a:cubicBezTo>
                      <a:cubicBezTo>
                        <a:pt x="105" y="1160"/>
                        <a:pt x="98" y="1159"/>
                        <a:pt x="97" y="1161"/>
                      </a:cubicBezTo>
                      <a:cubicBezTo>
                        <a:pt x="97" y="1163"/>
                        <a:pt x="96" y="1165"/>
                        <a:pt x="98" y="1168"/>
                      </a:cubicBezTo>
                      <a:close/>
                      <a:moveTo>
                        <a:pt x="11" y="1202"/>
                      </a:moveTo>
                      <a:cubicBezTo>
                        <a:pt x="14" y="1199"/>
                        <a:pt x="15" y="1198"/>
                        <a:pt x="14" y="1195"/>
                      </a:cubicBezTo>
                      <a:cubicBezTo>
                        <a:pt x="14" y="1193"/>
                        <a:pt x="11" y="1190"/>
                        <a:pt x="7" y="1190"/>
                      </a:cubicBezTo>
                      <a:cubicBezTo>
                        <a:pt x="1" y="1191"/>
                        <a:pt x="0" y="1193"/>
                        <a:pt x="2" y="1196"/>
                      </a:cubicBezTo>
                      <a:cubicBezTo>
                        <a:pt x="4" y="1199"/>
                        <a:pt x="8" y="1205"/>
                        <a:pt x="11" y="1202"/>
                      </a:cubicBezTo>
                      <a:close/>
                      <a:moveTo>
                        <a:pt x="361" y="926"/>
                      </a:moveTo>
                      <a:cubicBezTo>
                        <a:pt x="357" y="929"/>
                        <a:pt x="359" y="931"/>
                        <a:pt x="352" y="931"/>
                      </a:cubicBezTo>
                      <a:cubicBezTo>
                        <a:pt x="345" y="931"/>
                        <a:pt x="340" y="932"/>
                        <a:pt x="341" y="935"/>
                      </a:cubicBezTo>
                      <a:cubicBezTo>
                        <a:pt x="341" y="938"/>
                        <a:pt x="342" y="939"/>
                        <a:pt x="346" y="942"/>
                      </a:cubicBezTo>
                      <a:cubicBezTo>
                        <a:pt x="351" y="944"/>
                        <a:pt x="355" y="948"/>
                        <a:pt x="355" y="944"/>
                      </a:cubicBezTo>
                      <a:cubicBezTo>
                        <a:pt x="358" y="940"/>
                        <a:pt x="365" y="930"/>
                        <a:pt x="365" y="927"/>
                      </a:cubicBezTo>
                      <a:cubicBezTo>
                        <a:pt x="365" y="924"/>
                        <a:pt x="363" y="923"/>
                        <a:pt x="361" y="926"/>
                      </a:cubicBezTo>
                      <a:close/>
                      <a:moveTo>
                        <a:pt x="303" y="993"/>
                      </a:moveTo>
                      <a:cubicBezTo>
                        <a:pt x="306" y="994"/>
                        <a:pt x="306" y="995"/>
                        <a:pt x="309" y="993"/>
                      </a:cubicBezTo>
                      <a:cubicBezTo>
                        <a:pt x="312" y="991"/>
                        <a:pt x="313" y="987"/>
                        <a:pt x="310" y="987"/>
                      </a:cubicBezTo>
                      <a:cubicBezTo>
                        <a:pt x="306" y="988"/>
                        <a:pt x="304" y="986"/>
                        <a:pt x="303" y="987"/>
                      </a:cubicBezTo>
                      <a:cubicBezTo>
                        <a:pt x="302" y="989"/>
                        <a:pt x="301" y="993"/>
                        <a:pt x="303" y="993"/>
                      </a:cubicBezTo>
                      <a:close/>
                      <a:moveTo>
                        <a:pt x="322" y="637"/>
                      </a:moveTo>
                      <a:cubicBezTo>
                        <a:pt x="322" y="634"/>
                        <a:pt x="321" y="627"/>
                        <a:pt x="312" y="630"/>
                      </a:cubicBezTo>
                      <a:cubicBezTo>
                        <a:pt x="310" y="632"/>
                        <a:pt x="308" y="633"/>
                        <a:pt x="309" y="636"/>
                      </a:cubicBezTo>
                      <a:cubicBezTo>
                        <a:pt x="310" y="640"/>
                        <a:pt x="310" y="642"/>
                        <a:pt x="313" y="642"/>
                      </a:cubicBezTo>
                      <a:cubicBezTo>
                        <a:pt x="317" y="642"/>
                        <a:pt x="321" y="641"/>
                        <a:pt x="322" y="637"/>
                      </a:cubicBezTo>
                      <a:close/>
                      <a:moveTo>
                        <a:pt x="325" y="971"/>
                      </a:moveTo>
                      <a:cubicBezTo>
                        <a:pt x="327" y="973"/>
                        <a:pt x="329" y="973"/>
                        <a:pt x="329" y="969"/>
                      </a:cubicBezTo>
                      <a:cubicBezTo>
                        <a:pt x="329" y="966"/>
                        <a:pt x="329" y="959"/>
                        <a:pt x="326" y="960"/>
                      </a:cubicBezTo>
                      <a:cubicBezTo>
                        <a:pt x="325" y="962"/>
                        <a:pt x="323" y="961"/>
                        <a:pt x="325" y="964"/>
                      </a:cubicBezTo>
                      <a:cubicBezTo>
                        <a:pt x="326" y="967"/>
                        <a:pt x="323" y="969"/>
                        <a:pt x="325" y="971"/>
                      </a:cubicBezTo>
                      <a:close/>
                      <a:moveTo>
                        <a:pt x="407" y="638"/>
                      </a:moveTo>
                      <a:cubicBezTo>
                        <a:pt x="411" y="637"/>
                        <a:pt x="413" y="637"/>
                        <a:pt x="413" y="634"/>
                      </a:cubicBezTo>
                      <a:cubicBezTo>
                        <a:pt x="413" y="631"/>
                        <a:pt x="407" y="629"/>
                        <a:pt x="406" y="633"/>
                      </a:cubicBezTo>
                      <a:cubicBezTo>
                        <a:pt x="406" y="636"/>
                        <a:pt x="404" y="638"/>
                        <a:pt x="407" y="638"/>
                      </a:cubicBezTo>
                      <a:close/>
                      <a:moveTo>
                        <a:pt x="333" y="611"/>
                      </a:moveTo>
                      <a:cubicBezTo>
                        <a:pt x="330" y="612"/>
                        <a:pt x="329" y="614"/>
                        <a:pt x="331" y="619"/>
                      </a:cubicBezTo>
                      <a:cubicBezTo>
                        <a:pt x="333" y="622"/>
                        <a:pt x="338" y="618"/>
                        <a:pt x="339" y="616"/>
                      </a:cubicBezTo>
                      <a:cubicBezTo>
                        <a:pt x="339" y="615"/>
                        <a:pt x="339" y="608"/>
                        <a:pt x="333" y="611"/>
                      </a:cubicBezTo>
                      <a:close/>
                      <a:moveTo>
                        <a:pt x="445" y="787"/>
                      </a:moveTo>
                      <a:cubicBezTo>
                        <a:pt x="444" y="791"/>
                        <a:pt x="443" y="794"/>
                        <a:pt x="445" y="794"/>
                      </a:cubicBezTo>
                      <a:cubicBezTo>
                        <a:pt x="448" y="794"/>
                        <a:pt x="450" y="789"/>
                        <a:pt x="450" y="786"/>
                      </a:cubicBezTo>
                      <a:cubicBezTo>
                        <a:pt x="450" y="784"/>
                        <a:pt x="452" y="784"/>
                        <a:pt x="454" y="782"/>
                      </a:cubicBezTo>
                      <a:cubicBezTo>
                        <a:pt x="456" y="780"/>
                        <a:pt x="457" y="777"/>
                        <a:pt x="457" y="774"/>
                      </a:cubicBezTo>
                      <a:cubicBezTo>
                        <a:pt x="457" y="771"/>
                        <a:pt x="458" y="768"/>
                        <a:pt x="459" y="767"/>
                      </a:cubicBezTo>
                      <a:cubicBezTo>
                        <a:pt x="461" y="765"/>
                        <a:pt x="458" y="760"/>
                        <a:pt x="455" y="761"/>
                      </a:cubicBezTo>
                      <a:cubicBezTo>
                        <a:pt x="451" y="765"/>
                        <a:pt x="452" y="766"/>
                        <a:pt x="452" y="770"/>
                      </a:cubicBezTo>
                      <a:cubicBezTo>
                        <a:pt x="452" y="774"/>
                        <a:pt x="453" y="774"/>
                        <a:pt x="451" y="777"/>
                      </a:cubicBezTo>
                      <a:cubicBezTo>
                        <a:pt x="449" y="780"/>
                        <a:pt x="445" y="783"/>
                        <a:pt x="445" y="787"/>
                      </a:cubicBezTo>
                      <a:close/>
                      <a:moveTo>
                        <a:pt x="394" y="662"/>
                      </a:moveTo>
                      <a:cubicBezTo>
                        <a:pt x="397" y="662"/>
                        <a:pt x="400" y="662"/>
                        <a:pt x="402" y="657"/>
                      </a:cubicBezTo>
                      <a:cubicBezTo>
                        <a:pt x="403" y="651"/>
                        <a:pt x="397" y="641"/>
                        <a:pt x="394" y="649"/>
                      </a:cubicBezTo>
                      <a:cubicBezTo>
                        <a:pt x="394" y="653"/>
                        <a:pt x="395" y="653"/>
                        <a:pt x="394" y="656"/>
                      </a:cubicBezTo>
                      <a:cubicBezTo>
                        <a:pt x="394" y="659"/>
                        <a:pt x="390" y="662"/>
                        <a:pt x="394" y="662"/>
                      </a:cubicBezTo>
                      <a:close/>
                      <a:moveTo>
                        <a:pt x="425" y="801"/>
                      </a:moveTo>
                      <a:cubicBezTo>
                        <a:pt x="429" y="800"/>
                        <a:pt x="431" y="800"/>
                        <a:pt x="430" y="796"/>
                      </a:cubicBezTo>
                      <a:cubicBezTo>
                        <a:pt x="430" y="792"/>
                        <a:pt x="425" y="788"/>
                        <a:pt x="419" y="790"/>
                      </a:cubicBezTo>
                      <a:cubicBezTo>
                        <a:pt x="416" y="792"/>
                        <a:pt x="416" y="793"/>
                        <a:pt x="418" y="795"/>
                      </a:cubicBezTo>
                      <a:cubicBezTo>
                        <a:pt x="421" y="797"/>
                        <a:pt x="422" y="801"/>
                        <a:pt x="425" y="801"/>
                      </a:cubicBezTo>
                      <a:close/>
                      <a:moveTo>
                        <a:pt x="480" y="1090"/>
                      </a:moveTo>
                      <a:cubicBezTo>
                        <a:pt x="480" y="1085"/>
                        <a:pt x="467" y="1078"/>
                        <a:pt x="466" y="1085"/>
                      </a:cubicBezTo>
                      <a:cubicBezTo>
                        <a:pt x="463" y="1089"/>
                        <a:pt x="460" y="1095"/>
                        <a:pt x="463" y="1098"/>
                      </a:cubicBezTo>
                      <a:cubicBezTo>
                        <a:pt x="467" y="1102"/>
                        <a:pt x="468" y="1106"/>
                        <a:pt x="473" y="1102"/>
                      </a:cubicBezTo>
                      <a:cubicBezTo>
                        <a:pt x="479" y="1098"/>
                        <a:pt x="479" y="1095"/>
                        <a:pt x="480" y="1090"/>
                      </a:cubicBezTo>
                      <a:close/>
                      <a:moveTo>
                        <a:pt x="38" y="1179"/>
                      </a:moveTo>
                      <a:cubicBezTo>
                        <a:pt x="35" y="1181"/>
                        <a:pt x="31" y="1180"/>
                        <a:pt x="30" y="1183"/>
                      </a:cubicBezTo>
                      <a:cubicBezTo>
                        <a:pt x="29" y="1186"/>
                        <a:pt x="27" y="1187"/>
                        <a:pt x="30" y="1191"/>
                      </a:cubicBezTo>
                      <a:cubicBezTo>
                        <a:pt x="32" y="1195"/>
                        <a:pt x="37" y="1193"/>
                        <a:pt x="38" y="1189"/>
                      </a:cubicBezTo>
                      <a:cubicBezTo>
                        <a:pt x="39" y="1186"/>
                        <a:pt x="43" y="1178"/>
                        <a:pt x="38" y="1179"/>
                      </a:cubicBezTo>
                      <a:close/>
                    </a:path>
                  </a:pathLst>
                </a:custGeom>
                <a:solidFill>
                  <a:srgbClr val="F2F2F2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46" name="Freeform 72"/>
                <p:cNvSpPr/>
                <p:nvPr>
                  <p:custDataLst>
                    <p:tags r:id="rId144"/>
                  </p:custDataLst>
                </p:nvPr>
              </p:nvSpPr>
              <p:spPr bwMode="auto">
                <a:xfrm>
                  <a:off x="2814" y="857"/>
                  <a:ext cx="846" cy="348"/>
                </a:xfrm>
                <a:custGeom>
                  <a:avLst/>
                  <a:gdLst>
                    <a:gd name="T0" fmla="*/ 13 w 1980"/>
                    <a:gd name="T1" fmla="*/ 274 h 814"/>
                    <a:gd name="T2" fmla="*/ 52 w 1980"/>
                    <a:gd name="T3" fmla="*/ 305 h 814"/>
                    <a:gd name="T4" fmla="*/ 104 w 1980"/>
                    <a:gd name="T5" fmla="*/ 323 h 814"/>
                    <a:gd name="T6" fmla="*/ 165 w 1980"/>
                    <a:gd name="T7" fmla="*/ 372 h 814"/>
                    <a:gd name="T8" fmla="*/ 197 w 1980"/>
                    <a:gd name="T9" fmla="*/ 456 h 814"/>
                    <a:gd name="T10" fmla="*/ 182 w 1980"/>
                    <a:gd name="T11" fmla="*/ 511 h 814"/>
                    <a:gd name="T12" fmla="*/ 246 w 1980"/>
                    <a:gd name="T13" fmla="*/ 550 h 814"/>
                    <a:gd name="T14" fmla="*/ 420 w 1980"/>
                    <a:gd name="T15" fmla="*/ 602 h 814"/>
                    <a:gd name="T16" fmla="*/ 471 w 1980"/>
                    <a:gd name="T17" fmla="*/ 636 h 814"/>
                    <a:gd name="T18" fmla="*/ 505 w 1980"/>
                    <a:gd name="T19" fmla="*/ 699 h 814"/>
                    <a:gd name="T20" fmla="*/ 581 w 1980"/>
                    <a:gd name="T21" fmla="*/ 723 h 814"/>
                    <a:gd name="T22" fmla="*/ 736 w 1980"/>
                    <a:gd name="T23" fmla="*/ 738 h 814"/>
                    <a:gd name="T24" fmla="*/ 879 w 1980"/>
                    <a:gd name="T25" fmla="*/ 764 h 814"/>
                    <a:gd name="T26" fmla="*/ 998 w 1980"/>
                    <a:gd name="T27" fmla="*/ 799 h 814"/>
                    <a:gd name="T28" fmla="*/ 1036 w 1980"/>
                    <a:gd name="T29" fmla="*/ 809 h 814"/>
                    <a:gd name="T30" fmla="*/ 1228 w 1980"/>
                    <a:gd name="T31" fmla="*/ 753 h 814"/>
                    <a:gd name="T32" fmla="*/ 1399 w 1980"/>
                    <a:gd name="T33" fmla="*/ 714 h 814"/>
                    <a:gd name="T34" fmla="*/ 1482 w 1980"/>
                    <a:gd name="T35" fmla="*/ 650 h 814"/>
                    <a:gd name="T36" fmla="*/ 1505 w 1980"/>
                    <a:gd name="T37" fmla="*/ 549 h 814"/>
                    <a:gd name="T38" fmla="*/ 1597 w 1980"/>
                    <a:gd name="T39" fmla="*/ 568 h 814"/>
                    <a:gd name="T40" fmla="*/ 1722 w 1980"/>
                    <a:gd name="T41" fmla="*/ 518 h 814"/>
                    <a:gd name="T42" fmla="*/ 1753 w 1980"/>
                    <a:gd name="T43" fmla="*/ 481 h 814"/>
                    <a:gd name="T44" fmla="*/ 1850 w 1980"/>
                    <a:gd name="T45" fmla="*/ 441 h 814"/>
                    <a:gd name="T46" fmla="*/ 1971 w 1980"/>
                    <a:gd name="T47" fmla="*/ 405 h 814"/>
                    <a:gd name="T48" fmla="*/ 1833 w 1980"/>
                    <a:gd name="T49" fmla="*/ 352 h 814"/>
                    <a:gd name="T50" fmla="*/ 1761 w 1980"/>
                    <a:gd name="T51" fmla="*/ 348 h 814"/>
                    <a:gd name="T52" fmla="*/ 1714 w 1980"/>
                    <a:gd name="T53" fmla="*/ 315 h 814"/>
                    <a:gd name="T54" fmla="*/ 1724 w 1980"/>
                    <a:gd name="T55" fmla="*/ 297 h 814"/>
                    <a:gd name="T56" fmla="*/ 1779 w 1980"/>
                    <a:gd name="T57" fmla="*/ 182 h 814"/>
                    <a:gd name="T58" fmla="*/ 1689 w 1980"/>
                    <a:gd name="T59" fmla="*/ 170 h 814"/>
                    <a:gd name="T60" fmla="*/ 1605 w 1980"/>
                    <a:gd name="T61" fmla="*/ 164 h 814"/>
                    <a:gd name="T62" fmla="*/ 1513 w 1980"/>
                    <a:gd name="T63" fmla="*/ 217 h 814"/>
                    <a:gd name="T64" fmla="*/ 1374 w 1980"/>
                    <a:gd name="T65" fmla="*/ 236 h 814"/>
                    <a:gd name="T66" fmla="*/ 1248 w 1980"/>
                    <a:gd name="T67" fmla="*/ 206 h 814"/>
                    <a:gd name="T68" fmla="*/ 1197 w 1980"/>
                    <a:gd name="T69" fmla="*/ 165 h 814"/>
                    <a:gd name="T70" fmla="*/ 1118 w 1980"/>
                    <a:gd name="T71" fmla="*/ 140 h 814"/>
                    <a:gd name="T72" fmla="*/ 998 w 1980"/>
                    <a:gd name="T73" fmla="*/ 158 h 814"/>
                    <a:gd name="T74" fmla="*/ 883 w 1980"/>
                    <a:gd name="T75" fmla="*/ 84 h 814"/>
                    <a:gd name="T76" fmla="*/ 839 w 1980"/>
                    <a:gd name="T77" fmla="*/ 50 h 814"/>
                    <a:gd name="T78" fmla="*/ 686 w 1980"/>
                    <a:gd name="T79" fmla="*/ 0 h 814"/>
                    <a:gd name="T80" fmla="*/ 635 w 1980"/>
                    <a:gd name="T81" fmla="*/ 52 h 814"/>
                    <a:gd name="T82" fmla="*/ 632 w 1980"/>
                    <a:gd name="T83" fmla="*/ 110 h 814"/>
                    <a:gd name="T84" fmla="*/ 616 w 1980"/>
                    <a:gd name="T85" fmla="*/ 174 h 814"/>
                    <a:gd name="T86" fmla="*/ 550 w 1980"/>
                    <a:gd name="T87" fmla="*/ 183 h 814"/>
                    <a:gd name="T88" fmla="*/ 456 w 1980"/>
                    <a:gd name="T89" fmla="*/ 178 h 814"/>
                    <a:gd name="T90" fmla="*/ 387 w 1980"/>
                    <a:gd name="T91" fmla="*/ 124 h 814"/>
                    <a:gd name="T92" fmla="*/ 315 w 1980"/>
                    <a:gd name="T93" fmla="*/ 108 h 814"/>
                    <a:gd name="T94" fmla="*/ 240 w 1980"/>
                    <a:gd name="T95" fmla="*/ 121 h 814"/>
                    <a:gd name="T96" fmla="*/ 129 w 1980"/>
                    <a:gd name="T97" fmla="*/ 171 h 814"/>
                    <a:gd name="T98" fmla="*/ 96 w 1980"/>
                    <a:gd name="T99" fmla="*/ 201 h 814"/>
                    <a:gd name="T100" fmla="*/ 14 w 1980"/>
                    <a:gd name="T101" fmla="*/ 231 h 8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1980" h="814">
                      <a:moveTo>
                        <a:pt x="1" y="259"/>
                      </a:moveTo>
                      <a:cubicBezTo>
                        <a:pt x="3" y="262"/>
                        <a:pt x="4" y="263"/>
                        <a:pt x="5" y="263"/>
                      </a:cubicBezTo>
                      <a:cubicBezTo>
                        <a:pt x="7" y="264"/>
                        <a:pt x="9" y="265"/>
                        <a:pt x="10" y="267"/>
                      </a:cubicBezTo>
                      <a:cubicBezTo>
                        <a:pt x="13" y="270"/>
                        <a:pt x="13" y="272"/>
                        <a:pt x="13" y="274"/>
                      </a:cubicBezTo>
                      <a:cubicBezTo>
                        <a:pt x="13" y="274"/>
                        <a:pt x="13" y="274"/>
                        <a:pt x="13" y="274"/>
                      </a:cubicBezTo>
                      <a:cubicBezTo>
                        <a:pt x="13" y="275"/>
                        <a:pt x="13" y="276"/>
                        <a:pt x="15" y="277"/>
                      </a:cubicBezTo>
                      <a:cubicBezTo>
                        <a:pt x="17" y="280"/>
                        <a:pt x="19" y="282"/>
                        <a:pt x="23" y="284"/>
                      </a:cubicBezTo>
                      <a:cubicBezTo>
                        <a:pt x="27" y="286"/>
                        <a:pt x="32" y="289"/>
                        <a:pt x="39" y="293"/>
                      </a:cubicBezTo>
                      <a:cubicBezTo>
                        <a:pt x="39" y="293"/>
                        <a:pt x="39" y="293"/>
                        <a:pt x="39" y="293"/>
                      </a:cubicBezTo>
                      <a:cubicBezTo>
                        <a:pt x="51" y="299"/>
                        <a:pt x="51" y="301"/>
                        <a:pt x="52" y="305"/>
                      </a:cubicBezTo>
                      <a:cubicBezTo>
                        <a:pt x="52" y="307"/>
                        <a:pt x="52" y="309"/>
                        <a:pt x="54" y="312"/>
                      </a:cubicBezTo>
                      <a:cubicBezTo>
                        <a:pt x="56" y="317"/>
                        <a:pt x="60" y="318"/>
                        <a:pt x="63" y="320"/>
                      </a:cubicBezTo>
                      <a:cubicBezTo>
                        <a:pt x="66" y="321"/>
                        <a:pt x="69" y="322"/>
                        <a:pt x="71" y="324"/>
                      </a:cubicBezTo>
                      <a:cubicBezTo>
                        <a:pt x="74" y="325"/>
                        <a:pt x="80" y="324"/>
                        <a:pt x="86" y="323"/>
                      </a:cubicBezTo>
                      <a:cubicBezTo>
                        <a:pt x="93" y="321"/>
                        <a:pt x="99" y="320"/>
                        <a:pt x="104" y="323"/>
                      </a:cubicBezTo>
                      <a:cubicBezTo>
                        <a:pt x="107" y="325"/>
                        <a:pt x="110" y="327"/>
                        <a:pt x="115" y="329"/>
                      </a:cubicBezTo>
                      <a:cubicBezTo>
                        <a:pt x="119" y="331"/>
                        <a:pt x="124" y="334"/>
                        <a:pt x="131" y="336"/>
                      </a:cubicBezTo>
                      <a:cubicBezTo>
                        <a:pt x="139" y="338"/>
                        <a:pt x="144" y="340"/>
                        <a:pt x="148" y="343"/>
                      </a:cubicBezTo>
                      <a:cubicBezTo>
                        <a:pt x="152" y="345"/>
                        <a:pt x="155" y="349"/>
                        <a:pt x="159" y="355"/>
                      </a:cubicBezTo>
                      <a:cubicBezTo>
                        <a:pt x="162" y="362"/>
                        <a:pt x="163" y="366"/>
                        <a:pt x="165" y="372"/>
                      </a:cubicBezTo>
                      <a:cubicBezTo>
                        <a:pt x="166" y="376"/>
                        <a:pt x="167" y="381"/>
                        <a:pt x="170" y="387"/>
                      </a:cubicBezTo>
                      <a:cubicBezTo>
                        <a:pt x="174" y="399"/>
                        <a:pt x="183" y="408"/>
                        <a:pt x="189" y="414"/>
                      </a:cubicBezTo>
                      <a:cubicBezTo>
                        <a:pt x="191" y="416"/>
                        <a:pt x="193" y="418"/>
                        <a:pt x="194" y="419"/>
                      </a:cubicBezTo>
                      <a:cubicBezTo>
                        <a:pt x="197" y="423"/>
                        <a:pt x="199" y="429"/>
                        <a:pt x="199" y="436"/>
                      </a:cubicBezTo>
                      <a:cubicBezTo>
                        <a:pt x="200" y="443"/>
                        <a:pt x="199" y="451"/>
                        <a:pt x="197" y="456"/>
                      </a:cubicBezTo>
                      <a:cubicBezTo>
                        <a:pt x="195" y="462"/>
                        <a:pt x="196" y="465"/>
                        <a:pt x="197" y="469"/>
                      </a:cubicBezTo>
                      <a:cubicBezTo>
                        <a:pt x="198" y="471"/>
                        <a:pt x="198" y="473"/>
                        <a:pt x="198" y="476"/>
                      </a:cubicBezTo>
                      <a:cubicBezTo>
                        <a:pt x="199" y="480"/>
                        <a:pt x="198" y="484"/>
                        <a:pt x="196" y="488"/>
                      </a:cubicBezTo>
                      <a:cubicBezTo>
                        <a:pt x="195" y="492"/>
                        <a:pt x="192" y="496"/>
                        <a:pt x="188" y="501"/>
                      </a:cubicBezTo>
                      <a:cubicBezTo>
                        <a:pt x="185" y="505"/>
                        <a:pt x="183" y="508"/>
                        <a:pt x="182" y="511"/>
                      </a:cubicBezTo>
                      <a:cubicBezTo>
                        <a:pt x="181" y="515"/>
                        <a:pt x="180" y="518"/>
                        <a:pt x="180" y="523"/>
                      </a:cubicBezTo>
                      <a:cubicBezTo>
                        <a:pt x="180" y="530"/>
                        <a:pt x="186" y="534"/>
                        <a:pt x="192" y="539"/>
                      </a:cubicBezTo>
                      <a:cubicBezTo>
                        <a:pt x="193" y="540"/>
                        <a:pt x="194" y="541"/>
                        <a:pt x="195" y="542"/>
                      </a:cubicBezTo>
                      <a:cubicBezTo>
                        <a:pt x="198" y="544"/>
                        <a:pt x="204" y="546"/>
                        <a:pt x="212" y="547"/>
                      </a:cubicBezTo>
                      <a:cubicBezTo>
                        <a:pt x="221" y="549"/>
                        <a:pt x="233" y="550"/>
                        <a:pt x="246" y="550"/>
                      </a:cubicBezTo>
                      <a:cubicBezTo>
                        <a:pt x="260" y="550"/>
                        <a:pt x="274" y="551"/>
                        <a:pt x="290" y="552"/>
                      </a:cubicBezTo>
                      <a:cubicBezTo>
                        <a:pt x="306" y="553"/>
                        <a:pt x="323" y="554"/>
                        <a:pt x="342" y="557"/>
                      </a:cubicBezTo>
                      <a:cubicBezTo>
                        <a:pt x="369" y="560"/>
                        <a:pt x="375" y="567"/>
                        <a:pt x="383" y="575"/>
                      </a:cubicBezTo>
                      <a:cubicBezTo>
                        <a:pt x="387" y="579"/>
                        <a:pt x="391" y="583"/>
                        <a:pt x="398" y="587"/>
                      </a:cubicBezTo>
                      <a:cubicBezTo>
                        <a:pt x="409" y="593"/>
                        <a:pt x="415" y="598"/>
                        <a:pt x="420" y="602"/>
                      </a:cubicBezTo>
                      <a:cubicBezTo>
                        <a:pt x="425" y="606"/>
                        <a:pt x="429" y="609"/>
                        <a:pt x="436" y="612"/>
                      </a:cubicBezTo>
                      <a:cubicBezTo>
                        <a:pt x="442" y="614"/>
                        <a:pt x="448" y="614"/>
                        <a:pt x="452" y="613"/>
                      </a:cubicBezTo>
                      <a:cubicBezTo>
                        <a:pt x="457" y="613"/>
                        <a:pt x="462" y="612"/>
                        <a:pt x="466" y="617"/>
                      </a:cubicBezTo>
                      <a:cubicBezTo>
                        <a:pt x="469" y="622"/>
                        <a:pt x="469" y="625"/>
                        <a:pt x="469" y="629"/>
                      </a:cubicBezTo>
                      <a:cubicBezTo>
                        <a:pt x="469" y="631"/>
                        <a:pt x="469" y="634"/>
                        <a:pt x="471" y="636"/>
                      </a:cubicBezTo>
                      <a:cubicBezTo>
                        <a:pt x="473" y="638"/>
                        <a:pt x="475" y="639"/>
                        <a:pt x="476" y="641"/>
                      </a:cubicBezTo>
                      <a:cubicBezTo>
                        <a:pt x="480" y="644"/>
                        <a:pt x="483" y="646"/>
                        <a:pt x="486" y="655"/>
                      </a:cubicBezTo>
                      <a:cubicBezTo>
                        <a:pt x="488" y="660"/>
                        <a:pt x="490" y="666"/>
                        <a:pt x="492" y="672"/>
                      </a:cubicBezTo>
                      <a:cubicBezTo>
                        <a:pt x="493" y="678"/>
                        <a:pt x="495" y="683"/>
                        <a:pt x="497" y="688"/>
                      </a:cubicBezTo>
                      <a:cubicBezTo>
                        <a:pt x="499" y="693"/>
                        <a:pt x="502" y="696"/>
                        <a:pt x="505" y="699"/>
                      </a:cubicBezTo>
                      <a:cubicBezTo>
                        <a:pt x="508" y="701"/>
                        <a:pt x="511" y="704"/>
                        <a:pt x="514" y="708"/>
                      </a:cubicBezTo>
                      <a:cubicBezTo>
                        <a:pt x="517" y="712"/>
                        <a:pt x="519" y="715"/>
                        <a:pt x="520" y="718"/>
                      </a:cubicBezTo>
                      <a:cubicBezTo>
                        <a:pt x="523" y="722"/>
                        <a:pt x="525" y="726"/>
                        <a:pt x="533" y="728"/>
                      </a:cubicBezTo>
                      <a:cubicBezTo>
                        <a:pt x="539" y="730"/>
                        <a:pt x="544" y="729"/>
                        <a:pt x="550" y="727"/>
                      </a:cubicBezTo>
                      <a:cubicBezTo>
                        <a:pt x="558" y="725"/>
                        <a:pt x="567" y="723"/>
                        <a:pt x="581" y="723"/>
                      </a:cubicBezTo>
                      <a:cubicBezTo>
                        <a:pt x="598" y="724"/>
                        <a:pt x="608" y="726"/>
                        <a:pt x="620" y="729"/>
                      </a:cubicBezTo>
                      <a:cubicBezTo>
                        <a:pt x="627" y="730"/>
                        <a:pt x="634" y="732"/>
                        <a:pt x="643" y="733"/>
                      </a:cubicBezTo>
                      <a:cubicBezTo>
                        <a:pt x="656" y="735"/>
                        <a:pt x="672" y="737"/>
                        <a:pt x="687" y="739"/>
                      </a:cubicBezTo>
                      <a:cubicBezTo>
                        <a:pt x="702" y="740"/>
                        <a:pt x="715" y="741"/>
                        <a:pt x="721" y="741"/>
                      </a:cubicBezTo>
                      <a:cubicBezTo>
                        <a:pt x="726" y="741"/>
                        <a:pt x="731" y="740"/>
                        <a:pt x="736" y="738"/>
                      </a:cubicBezTo>
                      <a:cubicBezTo>
                        <a:pt x="739" y="736"/>
                        <a:pt x="743" y="735"/>
                        <a:pt x="748" y="733"/>
                      </a:cubicBezTo>
                      <a:cubicBezTo>
                        <a:pt x="757" y="732"/>
                        <a:pt x="797" y="739"/>
                        <a:pt x="828" y="745"/>
                      </a:cubicBezTo>
                      <a:cubicBezTo>
                        <a:pt x="845" y="748"/>
                        <a:pt x="858" y="751"/>
                        <a:pt x="863" y="751"/>
                      </a:cubicBezTo>
                      <a:cubicBezTo>
                        <a:pt x="871" y="752"/>
                        <a:pt x="875" y="758"/>
                        <a:pt x="879" y="764"/>
                      </a:cubicBezTo>
                      <a:cubicBezTo>
                        <a:pt x="879" y="764"/>
                        <a:pt x="879" y="764"/>
                        <a:pt x="879" y="764"/>
                      </a:cubicBezTo>
                      <a:cubicBezTo>
                        <a:pt x="882" y="768"/>
                        <a:pt x="885" y="773"/>
                        <a:pt x="890" y="773"/>
                      </a:cubicBezTo>
                      <a:cubicBezTo>
                        <a:pt x="897" y="774"/>
                        <a:pt x="923" y="782"/>
                        <a:pt x="946" y="789"/>
                      </a:cubicBezTo>
                      <a:cubicBezTo>
                        <a:pt x="962" y="794"/>
                        <a:pt x="976" y="798"/>
                        <a:pt x="982" y="800"/>
                      </a:cubicBezTo>
                      <a:cubicBezTo>
                        <a:pt x="990" y="801"/>
                        <a:pt x="994" y="800"/>
                        <a:pt x="998" y="799"/>
                      </a:cubicBezTo>
                      <a:cubicBezTo>
                        <a:pt x="998" y="799"/>
                        <a:pt x="998" y="799"/>
                        <a:pt x="998" y="799"/>
                      </a:cubicBezTo>
                      <a:cubicBezTo>
                        <a:pt x="1002" y="798"/>
                        <a:pt x="1006" y="796"/>
                        <a:pt x="1013" y="796"/>
                      </a:cubicBezTo>
                      <a:cubicBezTo>
                        <a:pt x="1023" y="796"/>
                        <a:pt x="1026" y="800"/>
                        <a:pt x="1030" y="804"/>
                      </a:cubicBezTo>
                      <a:cubicBezTo>
                        <a:pt x="1031" y="806"/>
                        <a:pt x="1033" y="807"/>
                        <a:pt x="1035" y="808"/>
                      </a:cubicBezTo>
                      <a:cubicBezTo>
                        <a:pt x="1035" y="808"/>
                        <a:pt x="1035" y="808"/>
                        <a:pt x="1035" y="808"/>
                      </a:cubicBezTo>
                      <a:cubicBezTo>
                        <a:pt x="1036" y="809"/>
                        <a:pt x="1036" y="809"/>
                        <a:pt x="1036" y="809"/>
                      </a:cubicBezTo>
                      <a:cubicBezTo>
                        <a:pt x="1044" y="811"/>
                        <a:pt x="1055" y="814"/>
                        <a:pt x="1066" y="808"/>
                      </a:cubicBezTo>
                      <a:cubicBezTo>
                        <a:pt x="1072" y="805"/>
                        <a:pt x="1082" y="800"/>
                        <a:pt x="1094" y="794"/>
                      </a:cubicBezTo>
                      <a:cubicBezTo>
                        <a:pt x="1109" y="787"/>
                        <a:pt x="1127" y="779"/>
                        <a:pt x="1143" y="771"/>
                      </a:cubicBezTo>
                      <a:cubicBezTo>
                        <a:pt x="1165" y="759"/>
                        <a:pt x="1193" y="756"/>
                        <a:pt x="1213" y="755"/>
                      </a:cubicBezTo>
                      <a:cubicBezTo>
                        <a:pt x="1219" y="754"/>
                        <a:pt x="1224" y="754"/>
                        <a:pt x="1228" y="753"/>
                      </a:cubicBezTo>
                      <a:cubicBezTo>
                        <a:pt x="1240" y="751"/>
                        <a:pt x="1272" y="750"/>
                        <a:pt x="1298" y="749"/>
                      </a:cubicBezTo>
                      <a:cubicBezTo>
                        <a:pt x="1313" y="749"/>
                        <a:pt x="1326" y="748"/>
                        <a:pt x="1331" y="748"/>
                      </a:cubicBezTo>
                      <a:cubicBezTo>
                        <a:pt x="1338" y="747"/>
                        <a:pt x="1351" y="743"/>
                        <a:pt x="1363" y="738"/>
                      </a:cubicBezTo>
                      <a:cubicBezTo>
                        <a:pt x="1375" y="733"/>
                        <a:pt x="1387" y="727"/>
                        <a:pt x="1391" y="723"/>
                      </a:cubicBezTo>
                      <a:cubicBezTo>
                        <a:pt x="1394" y="720"/>
                        <a:pt x="1396" y="717"/>
                        <a:pt x="1399" y="714"/>
                      </a:cubicBezTo>
                      <a:cubicBezTo>
                        <a:pt x="1402" y="710"/>
                        <a:pt x="1405" y="706"/>
                        <a:pt x="1412" y="699"/>
                      </a:cubicBezTo>
                      <a:cubicBezTo>
                        <a:pt x="1423" y="689"/>
                        <a:pt x="1449" y="674"/>
                        <a:pt x="1462" y="666"/>
                      </a:cubicBezTo>
                      <a:cubicBezTo>
                        <a:pt x="1464" y="665"/>
                        <a:pt x="1466" y="664"/>
                        <a:pt x="1468" y="663"/>
                      </a:cubicBezTo>
                      <a:cubicBezTo>
                        <a:pt x="1472" y="660"/>
                        <a:pt x="1476" y="658"/>
                        <a:pt x="1478" y="655"/>
                      </a:cubicBezTo>
                      <a:cubicBezTo>
                        <a:pt x="1480" y="653"/>
                        <a:pt x="1482" y="651"/>
                        <a:pt x="1482" y="650"/>
                      </a:cubicBezTo>
                      <a:cubicBezTo>
                        <a:pt x="1482" y="648"/>
                        <a:pt x="1476" y="640"/>
                        <a:pt x="1470" y="632"/>
                      </a:cubicBezTo>
                      <a:cubicBezTo>
                        <a:pt x="1461" y="621"/>
                        <a:pt x="1453" y="609"/>
                        <a:pt x="1453" y="603"/>
                      </a:cubicBezTo>
                      <a:cubicBezTo>
                        <a:pt x="1453" y="599"/>
                        <a:pt x="1458" y="589"/>
                        <a:pt x="1464" y="579"/>
                      </a:cubicBezTo>
                      <a:cubicBezTo>
                        <a:pt x="1472" y="569"/>
                        <a:pt x="1480" y="558"/>
                        <a:pt x="1485" y="555"/>
                      </a:cubicBezTo>
                      <a:cubicBezTo>
                        <a:pt x="1490" y="551"/>
                        <a:pt x="1497" y="549"/>
                        <a:pt x="1505" y="549"/>
                      </a:cubicBezTo>
                      <a:cubicBezTo>
                        <a:pt x="1512" y="550"/>
                        <a:pt x="1520" y="552"/>
                        <a:pt x="1528" y="556"/>
                      </a:cubicBezTo>
                      <a:cubicBezTo>
                        <a:pt x="1535" y="559"/>
                        <a:pt x="1543" y="563"/>
                        <a:pt x="1551" y="566"/>
                      </a:cubicBezTo>
                      <a:cubicBezTo>
                        <a:pt x="1561" y="570"/>
                        <a:pt x="1569" y="574"/>
                        <a:pt x="1573" y="575"/>
                      </a:cubicBezTo>
                      <a:cubicBezTo>
                        <a:pt x="1576" y="576"/>
                        <a:pt x="1580" y="576"/>
                        <a:pt x="1585" y="574"/>
                      </a:cubicBezTo>
                      <a:cubicBezTo>
                        <a:pt x="1589" y="573"/>
                        <a:pt x="1594" y="571"/>
                        <a:pt x="1597" y="568"/>
                      </a:cubicBezTo>
                      <a:cubicBezTo>
                        <a:pt x="1597" y="568"/>
                        <a:pt x="1597" y="568"/>
                        <a:pt x="1597" y="568"/>
                      </a:cubicBezTo>
                      <a:cubicBezTo>
                        <a:pt x="1600" y="566"/>
                        <a:pt x="1600" y="566"/>
                        <a:pt x="1600" y="566"/>
                      </a:cubicBezTo>
                      <a:cubicBezTo>
                        <a:pt x="1612" y="556"/>
                        <a:pt x="1650" y="525"/>
                        <a:pt x="1661" y="523"/>
                      </a:cubicBezTo>
                      <a:cubicBezTo>
                        <a:pt x="1665" y="522"/>
                        <a:pt x="1673" y="522"/>
                        <a:pt x="1683" y="522"/>
                      </a:cubicBezTo>
                      <a:cubicBezTo>
                        <a:pt x="1698" y="521"/>
                        <a:pt x="1717" y="521"/>
                        <a:pt x="1722" y="518"/>
                      </a:cubicBezTo>
                      <a:cubicBezTo>
                        <a:pt x="1726" y="516"/>
                        <a:pt x="1730" y="514"/>
                        <a:pt x="1734" y="511"/>
                      </a:cubicBezTo>
                      <a:cubicBezTo>
                        <a:pt x="1734" y="511"/>
                        <a:pt x="1734" y="511"/>
                        <a:pt x="1734" y="511"/>
                      </a:cubicBezTo>
                      <a:cubicBezTo>
                        <a:pt x="1740" y="507"/>
                        <a:pt x="1745" y="503"/>
                        <a:pt x="1749" y="500"/>
                      </a:cubicBezTo>
                      <a:cubicBezTo>
                        <a:pt x="1751" y="499"/>
                        <a:pt x="1751" y="497"/>
                        <a:pt x="1751" y="494"/>
                      </a:cubicBezTo>
                      <a:cubicBezTo>
                        <a:pt x="1751" y="491"/>
                        <a:pt x="1750" y="486"/>
                        <a:pt x="1753" y="481"/>
                      </a:cubicBezTo>
                      <a:cubicBezTo>
                        <a:pt x="1755" y="476"/>
                        <a:pt x="1762" y="468"/>
                        <a:pt x="1769" y="461"/>
                      </a:cubicBezTo>
                      <a:cubicBezTo>
                        <a:pt x="1775" y="456"/>
                        <a:pt x="1782" y="451"/>
                        <a:pt x="1787" y="451"/>
                      </a:cubicBezTo>
                      <a:cubicBezTo>
                        <a:pt x="1788" y="451"/>
                        <a:pt x="1788" y="451"/>
                        <a:pt x="1788" y="451"/>
                      </a:cubicBezTo>
                      <a:cubicBezTo>
                        <a:pt x="1797" y="451"/>
                        <a:pt x="1821" y="450"/>
                        <a:pt x="1829" y="449"/>
                      </a:cubicBezTo>
                      <a:cubicBezTo>
                        <a:pt x="1832" y="449"/>
                        <a:pt x="1840" y="445"/>
                        <a:pt x="1850" y="441"/>
                      </a:cubicBezTo>
                      <a:cubicBezTo>
                        <a:pt x="1865" y="435"/>
                        <a:pt x="1883" y="428"/>
                        <a:pt x="1892" y="427"/>
                      </a:cubicBezTo>
                      <a:cubicBezTo>
                        <a:pt x="1899" y="426"/>
                        <a:pt x="1911" y="426"/>
                        <a:pt x="1925" y="427"/>
                      </a:cubicBezTo>
                      <a:cubicBezTo>
                        <a:pt x="1947" y="427"/>
                        <a:pt x="1971" y="428"/>
                        <a:pt x="1976" y="426"/>
                      </a:cubicBezTo>
                      <a:cubicBezTo>
                        <a:pt x="1979" y="424"/>
                        <a:pt x="1980" y="423"/>
                        <a:pt x="1980" y="420"/>
                      </a:cubicBezTo>
                      <a:cubicBezTo>
                        <a:pt x="1979" y="416"/>
                        <a:pt x="1975" y="411"/>
                        <a:pt x="1971" y="405"/>
                      </a:cubicBezTo>
                      <a:cubicBezTo>
                        <a:pt x="1966" y="398"/>
                        <a:pt x="1946" y="376"/>
                        <a:pt x="1928" y="359"/>
                      </a:cubicBezTo>
                      <a:cubicBezTo>
                        <a:pt x="1915" y="348"/>
                        <a:pt x="1903" y="338"/>
                        <a:pt x="1898" y="337"/>
                      </a:cubicBezTo>
                      <a:cubicBezTo>
                        <a:pt x="1891" y="335"/>
                        <a:pt x="1881" y="334"/>
                        <a:pt x="1872" y="335"/>
                      </a:cubicBezTo>
                      <a:cubicBezTo>
                        <a:pt x="1862" y="335"/>
                        <a:pt x="1853" y="337"/>
                        <a:pt x="1846" y="340"/>
                      </a:cubicBezTo>
                      <a:cubicBezTo>
                        <a:pt x="1840" y="343"/>
                        <a:pt x="1836" y="348"/>
                        <a:pt x="1833" y="352"/>
                      </a:cubicBezTo>
                      <a:cubicBezTo>
                        <a:pt x="1830" y="356"/>
                        <a:pt x="1828" y="359"/>
                        <a:pt x="1823" y="360"/>
                      </a:cubicBezTo>
                      <a:cubicBezTo>
                        <a:pt x="1818" y="360"/>
                        <a:pt x="1811" y="356"/>
                        <a:pt x="1804" y="352"/>
                      </a:cubicBezTo>
                      <a:cubicBezTo>
                        <a:pt x="1799" y="349"/>
                        <a:pt x="1793" y="345"/>
                        <a:pt x="1789" y="345"/>
                      </a:cubicBezTo>
                      <a:cubicBezTo>
                        <a:pt x="1785" y="345"/>
                        <a:pt x="1779" y="346"/>
                        <a:pt x="1774" y="346"/>
                      </a:cubicBezTo>
                      <a:cubicBezTo>
                        <a:pt x="1769" y="347"/>
                        <a:pt x="1764" y="348"/>
                        <a:pt x="1761" y="348"/>
                      </a:cubicBezTo>
                      <a:cubicBezTo>
                        <a:pt x="1758" y="348"/>
                        <a:pt x="1754" y="350"/>
                        <a:pt x="1750" y="351"/>
                      </a:cubicBezTo>
                      <a:cubicBezTo>
                        <a:pt x="1744" y="354"/>
                        <a:pt x="1736" y="357"/>
                        <a:pt x="1730" y="355"/>
                      </a:cubicBezTo>
                      <a:cubicBezTo>
                        <a:pt x="1721" y="352"/>
                        <a:pt x="1717" y="344"/>
                        <a:pt x="1713" y="335"/>
                      </a:cubicBezTo>
                      <a:cubicBezTo>
                        <a:pt x="1712" y="334"/>
                        <a:pt x="1712" y="333"/>
                        <a:pt x="1711" y="332"/>
                      </a:cubicBezTo>
                      <a:cubicBezTo>
                        <a:pt x="1706" y="323"/>
                        <a:pt x="1709" y="321"/>
                        <a:pt x="1714" y="315"/>
                      </a:cubicBezTo>
                      <a:cubicBezTo>
                        <a:pt x="1714" y="315"/>
                        <a:pt x="1714" y="315"/>
                        <a:pt x="1714" y="315"/>
                      </a:cubicBezTo>
                      <a:cubicBezTo>
                        <a:pt x="1715" y="314"/>
                        <a:pt x="1717" y="312"/>
                        <a:pt x="1718" y="310"/>
                      </a:cubicBezTo>
                      <a:cubicBezTo>
                        <a:pt x="1720" y="308"/>
                        <a:pt x="1720" y="308"/>
                        <a:pt x="1720" y="307"/>
                      </a:cubicBezTo>
                      <a:cubicBezTo>
                        <a:pt x="1722" y="305"/>
                        <a:pt x="1723" y="303"/>
                        <a:pt x="1723" y="302"/>
                      </a:cubicBezTo>
                      <a:cubicBezTo>
                        <a:pt x="1724" y="301"/>
                        <a:pt x="1724" y="300"/>
                        <a:pt x="1724" y="297"/>
                      </a:cubicBezTo>
                      <a:cubicBezTo>
                        <a:pt x="1724" y="296"/>
                        <a:pt x="1723" y="295"/>
                        <a:pt x="1723" y="294"/>
                      </a:cubicBezTo>
                      <a:cubicBezTo>
                        <a:pt x="1723" y="285"/>
                        <a:pt x="1725" y="282"/>
                        <a:pt x="1727" y="279"/>
                      </a:cubicBezTo>
                      <a:cubicBezTo>
                        <a:pt x="1727" y="277"/>
                        <a:pt x="1728" y="275"/>
                        <a:pt x="1729" y="273"/>
                      </a:cubicBezTo>
                      <a:cubicBezTo>
                        <a:pt x="1731" y="268"/>
                        <a:pt x="1741" y="250"/>
                        <a:pt x="1751" y="231"/>
                      </a:cubicBezTo>
                      <a:cubicBezTo>
                        <a:pt x="1762" y="211"/>
                        <a:pt x="1774" y="190"/>
                        <a:pt x="1779" y="182"/>
                      </a:cubicBezTo>
                      <a:cubicBezTo>
                        <a:pt x="1777" y="181"/>
                        <a:pt x="1777" y="181"/>
                        <a:pt x="1777" y="181"/>
                      </a:cubicBezTo>
                      <a:cubicBezTo>
                        <a:pt x="1767" y="177"/>
                        <a:pt x="1758" y="172"/>
                        <a:pt x="1749" y="173"/>
                      </a:cubicBezTo>
                      <a:cubicBezTo>
                        <a:pt x="1741" y="174"/>
                        <a:pt x="1734" y="176"/>
                        <a:pt x="1728" y="178"/>
                      </a:cubicBezTo>
                      <a:cubicBezTo>
                        <a:pt x="1721" y="180"/>
                        <a:pt x="1715" y="181"/>
                        <a:pt x="1710" y="182"/>
                      </a:cubicBezTo>
                      <a:cubicBezTo>
                        <a:pt x="1704" y="182"/>
                        <a:pt x="1697" y="176"/>
                        <a:pt x="1689" y="170"/>
                      </a:cubicBezTo>
                      <a:cubicBezTo>
                        <a:pt x="1681" y="163"/>
                        <a:pt x="1673" y="156"/>
                        <a:pt x="1666" y="156"/>
                      </a:cubicBezTo>
                      <a:cubicBezTo>
                        <a:pt x="1658" y="155"/>
                        <a:pt x="1648" y="155"/>
                        <a:pt x="1639" y="155"/>
                      </a:cubicBezTo>
                      <a:cubicBezTo>
                        <a:pt x="1631" y="155"/>
                        <a:pt x="1625" y="155"/>
                        <a:pt x="1623" y="156"/>
                      </a:cubicBezTo>
                      <a:cubicBezTo>
                        <a:pt x="1623" y="156"/>
                        <a:pt x="1623" y="156"/>
                        <a:pt x="1623" y="156"/>
                      </a:cubicBezTo>
                      <a:cubicBezTo>
                        <a:pt x="1620" y="156"/>
                        <a:pt x="1613" y="159"/>
                        <a:pt x="1605" y="164"/>
                      </a:cubicBezTo>
                      <a:cubicBezTo>
                        <a:pt x="1598" y="168"/>
                        <a:pt x="1590" y="173"/>
                        <a:pt x="1583" y="178"/>
                      </a:cubicBezTo>
                      <a:cubicBezTo>
                        <a:pt x="1576" y="183"/>
                        <a:pt x="1569" y="190"/>
                        <a:pt x="1564" y="197"/>
                      </a:cubicBezTo>
                      <a:cubicBezTo>
                        <a:pt x="1558" y="203"/>
                        <a:pt x="1553" y="209"/>
                        <a:pt x="1548" y="211"/>
                      </a:cubicBezTo>
                      <a:cubicBezTo>
                        <a:pt x="1548" y="211"/>
                        <a:pt x="1548" y="211"/>
                        <a:pt x="1548" y="211"/>
                      </a:cubicBezTo>
                      <a:cubicBezTo>
                        <a:pt x="1543" y="213"/>
                        <a:pt x="1528" y="215"/>
                        <a:pt x="1513" y="217"/>
                      </a:cubicBezTo>
                      <a:cubicBezTo>
                        <a:pt x="1503" y="218"/>
                        <a:pt x="1492" y="220"/>
                        <a:pt x="1485" y="221"/>
                      </a:cubicBezTo>
                      <a:cubicBezTo>
                        <a:pt x="1479" y="222"/>
                        <a:pt x="1469" y="225"/>
                        <a:pt x="1460" y="228"/>
                      </a:cubicBezTo>
                      <a:cubicBezTo>
                        <a:pt x="1443" y="233"/>
                        <a:pt x="1425" y="239"/>
                        <a:pt x="1421" y="241"/>
                      </a:cubicBezTo>
                      <a:cubicBezTo>
                        <a:pt x="1416" y="243"/>
                        <a:pt x="1408" y="241"/>
                        <a:pt x="1396" y="239"/>
                      </a:cubicBezTo>
                      <a:cubicBezTo>
                        <a:pt x="1390" y="238"/>
                        <a:pt x="1382" y="237"/>
                        <a:pt x="1374" y="236"/>
                      </a:cubicBezTo>
                      <a:cubicBezTo>
                        <a:pt x="1361" y="234"/>
                        <a:pt x="1351" y="232"/>
                        <a:pt x="1342" y="230"/>
                      </a:cubicBezTo>
                      <a:cubicBezTo>
                        <a:pt x="1333" y="228"/>
                        <a:pt x="1326" y="227"/>
                        <a:pt x="1317" y="226"/>
                      </a:cubicBezTo>
                      <a:cubicBezTo>
                        <a:pt x="1310" y="225"/>
                        <a:pt x="1305" y="225"/>
                        <a:pt x="1301" y="225"/>
                      </a:cubicBezTo>
                      <a:cubicBezTo>
                        <a:pt x="1295" y="226"/>
                        <a:pt x="1289" y="226"/>
                        <a:pt x="1275" y="224"/>
                      </a:cubicBezTo>
                      <a:cubicBezTo>
                        <a:pt x="1255" y="220"/>
                        <a:pt x="1252" y="214"/>
                        <a:pt x="1248" y="206"/>
                      </a:cubicBezTo>
                      <a:cubicBezTo>
                        <a:pt x="1247" y="204"/>
                        <a:pt x="1246" y="202"/>
                        <a:pt x="1244" y="200"/>
                      </a:cubicBezTo>
                      <a:cubicBezTo>
                        <a:pt x="1240" y="194"/>
                        <a:pt x="1240" y="188"/>
                        <a:pt x="1239" y="183"/>
                      </a:cubicBezTo>
                      <a:cubicBezTo>
                        <a:pt x="1239" y="179"/>
                        <a:pt x="1238" y="175"/>
                        <a:pt x="1234" y="174"/>
                      </a:cubicBezTo>
                      <a:cubicBezTo>
                        <a:pt x="1230" y="173"/>
                        <a:pt x="1226" y="172"/>
                        <a:pt x="1222" y="172"/>
                      </a:cubicBezTo>
                      <a:cubicBezTo>
                        <a:pt x="1213" y="172"/>
                        <a:pt x="1204" y="171"/>
                        <a:pt x="1197" y="165"/>
                      </a:cubicBezTo>
                      <a:cubicBezTo>
                        <a:pt x="1193" y="161"/>
                        <a:pt x="1188" y="157"/>
                        <a:pt x="1182" y="154"/>
                      </a:cubicBezTo>
                      <a:cubicBezTo>
                        <a:pt x="1176" y="151"/>
                        <a:pt x="1170" y="149"/>
                        <a:pt x="1165" y="149"/>
                      </a:cubicBezTo>
                      <a:cubicBezTo>
                        <a:pt x="1160" y="148"/>
                        <a:pt x="1156" y="148"/>
                        <a:pt x="1152" y="147"/>
                      </a:cubicBezTo>
                      <a:cubicBezTo>
                        <a:pt x="1146" y="147"/>
                        <a:pt x="1141" y="147"/>
                        <a:pt x="1135" y="145"/>
                      </a:cubicBezTo>
                      <a:cubicBezTo>
                        <a:pt x="1131" y="143"/>
                        <a:pt x="1125" y="141"/>
                        <a:pt x="1118" y="140"/>
                      </a:cubicBezTo>
                      <a:cubicBezTo>
                        <a:pt x="1111" y="138"/>
                        <a:pt x="1102" y="136"/>
                        <a:pt x="1092" y="136"/>
                      </a:cubicBezTo>
                      <a:cubicBezTo>
                        <a:pt x="1082" y="135"/>
                        <a:pt x="1074" y="135"/>
                        <a:pt x="1066" y="137"/>
                      </a:cubicBezTo>
                      <a:cubicBezTo>
                        <a:pt x="1058" y="138"/>
                        <a:pt x="1050" y="141"/>
                        <a:pt x="1041" y="145"/>
                      </a:cubicBezTo>
                      <a:cubicBezTo>
                        <a:pt x="1032" y="150"/>
                        <a:pt x="1024" y="153"/>
                        <a:pt x="1017" y="155"/>
                      </a:cubicBezTo>
                      <a:cubicBezTo>
                        <a:pt x="1010" y="157"/>
                        <a:pt x="1004" y="158"/>
                        <a:pt x="998" y="158"/>
                      </a:cubicBezTo>
                      <a:cubicBezTo>
                        <a:pt x="991" y="159"/>
                        <a:pt x="981" y="156"/>
                        <a:pt x="970" y="154"/>
                      </a:cubicBezTo>
                      <a:cubicBezTo>
                        <a:pt x="963" y="152"/>
                        <a:pt x="956" y="150"/>
                        <a:pt x="949" y="149"/>
                      </a:cubicBezTo>
                      <a:cubicBezTo>
                        <a:pt x="938" y="147"/>
                        <a:pt x="926" y="144"/>
                        <a:pt x="916" y="139"/>
                      </a:cubicBezTo>
                      <a:cubicBezTo>
                        <a:pt x="908" y="135"/>
                        <a:pt x="900" y="130"/>
                        <a:pt x="895" y="123"/>
                      </a:cubicBezTo>
                      <a:cubicBezTo>
                        <a:pt x="884" y="110"/>
                        <a:pt x="884" y="102"/>
                        <a:pt x="883" y="84"/>
                      </a:cubicBezTo>
                      <a:cubicBezTo>
                        <a:pt x="883" y="82"/>
                        <a:pt x="883" y="82"/>
                        <a:pt x="883" y="82"/>
                      </a:cubicBezTo>
                      <a:cubicBezTo>
                        <a:pt x="883" y="66"/>
                        <a:pt x="881" y="65"/>
                        <a:pt x="876" y="62"/>
                      </a:cubicBezTo>
                      <a:cubicBezTo>
                        <a:pt x="875" y="62"/>
                        <a:pt x="875" y="62"/>
                        <a:pt x="875" y="62"/>
                      </a:cubicBezTo>
                      <a:cubicBezTo>
                        <a:pt x="875" y="62"/>
                        <a:pt x="875" y="62"/>
                        <a:pt x="875" y="62"/>
                      </a:cubicBezTo>
                      <a:cubicBezTo>
                        <a:pt x="872" y="60"/>
                        <a:pt x="857" y="55"/>
                        <a:pt x="839" y="50"/>
                      </a:cubicBezTo>
                      <a:cubicBezTo>
                        <a:pt x="818" y="43"/>
                        <a:pt x="795" y="37"/>
                        <a:pt x="784" y="34"/>
                      </a:cubicBezTo>
                      <a:cubicBezTo>
                        <a:pt x="773" y="31"/>
                        <a:pt x="768" y="31"/>
                        <a:pt x="764" y="31"/>
                      </a:cubicBezTo>
                      <a:cubicBezTo>
                        <a:pt x="759" y="31"/>
                        <a:pt x="755" y="31"/>
                        <a:pt x="744" y="28"/>
                      </a:cubicBezTo>
                      <a:cubicBezTo>
                        <a:pt x="734" y="26"/>
                        <a:pt x="720" y="18"/>
                        <a:pt x="708" y="11"/>
                      </a:cubicBezTo>
                      <a:cubicBezTo>
                        <a:pt x="698" y="5"/>
                        <a:pt x="689" y="0"/>
                        <a:pt x="686" y="0"/>
                      </a:cubicBezTo>
                      <a:cubicBezTo>
                        <a:pt x="683" y="1"/>
                        <a:pt x="677" y="5"/>
                        <a:pt x="671" y="9"/>
                      </a:cubicBezTo>
                      <a:cubicBezTo>
                        <a:pt x="663" y="15"/>
                        <a:pt x="654" y="23"/>
                        <a:pt x="651" y="27"/>
                      </a:cubicBezTo>
                      <a:cubicBezTo>
                        <a:pt x="647" y="31"/>
                        <a:pt x="646" y="34"/>
                        <a:pt x="646" y="37"/>
                      </a:cubicBezTo>
                      <a:cubicBezTo>
                        <a:pt x="645" y="39"/>
                        <a:pt x="645" y="41"/>
                        <a:pt x="643" y="44"/>
                      </a:cubicBezTo>
                      <a:cubicBezTo>
                        <a:pt x="641" y="48"/>
                        <a:pt x="638" y="50"/>
                        <a:pt x="635" y="52"/>
                      </a:cubicBezTo>
                      <a:cubicBezTo>
                        <a:pt x="633" y="54"/>
                        <a:pt x="631" y="55"/>
                        <a:pt x="630" y="56"/>
                      </a:cubicBezTo>
                      <a:cubicBezTo>
                        <a:pt x="628" y="58"/>
                        <a:pt x="627" y="60"/>
                        <a:pt x="626" y="64"/>
                      </a:cubicBezTo>
                      <a:cubicBezTo>
                        <a:pt x="624" y="68"/>
                        <a:pt x="623" y="72"/>
                        <a:pt x="623" y="78"/>
                      </a:cubicBezTo>
                      <a:cubicBezTo>
                        <a:pt x="622" y="86"/>
                        <a:pt x="625" y="92"/>
                        <a:pt x="628" y="98"/>
                      </a:cubicBezTo>
                      <a:cubicBezTo>
                        <a:pt x="629" y="102"/>
                        <a:pt x="631" y="106"/>
                        <a:pt x="632" y="110"/>
                      </a:cubicBezTo>
                      <a:cubicBezTo>
                        <a:pt x="633" y="113"/>
                        <a:pt x="636" y="116"/>
                        <a:pt x="639" y="118"/>
                      </a:cubicBezTo>
                      <a:cubicBezTo>
                        <a:pt x="643" y="121"/>
                        <a:pt x="646" y="124"/>
                        <a:pt x="646" y="131"/>
                      </a:cubicBezTo>
                      <a:cubicBezTo>
                        <a:pt x="646" y="136"/>
                        <a:pt x="644" y="145"/>
                        <a:pt x="641" y="153"/>
                      </a:cubicBezTo>
                      <a:cubicBezTo>
                        <a:pt x="638" y="160"/>
                        <a:pt x="634" y="167"/>
                        <a:pt x="630" y="170"/>
                      </a:cubicBezTo>
                      <a:cubicBezTo>
                        <a:pt x="626" y="174"/>
                        <a:pt x="621" y="174"/>
                        <a:pt x="616" y="174"/>
                      </a:cubicBezTo>
                      <a:cubicBezTo>
                        <a:pt x="613" y="175"/>
                        <a:pt x="610" y="175"/>
                        <a:pt x="607" y="176"/>
                      </a:cubicBezTo>
                      <a:cubicBezTo>
                        <a:pt x="604" y="177"/>
                        <a:pt x="602" y="179"/>
                        <a:pt x="600" y="181"/>
                      </a:cubicBezTo>
                      <a:cubicBezTo>
                        <a:pt x="596" y="184"/>
                        <a:pt x="593" y="187"/>
                        <a:pt x="587" y="188"/>
                      </a:cubicBezTo>
                      <a:cubicBezTo>
                        <a:pt x="582" y="189"/>
                        <a:pt x="577" y="189"/>
                        <a:pt x="571" y="188"/>
                      </a:cubicBezTo>
                      <a:cubicBezTo>
                        <a:pt x="565" y="187"/>
                        <a:pt x="558" y="185"/>
                        <a:pt x="550" y="183"/>
                      </a:cubicBezTo>
                      <a:cubicBezTo>
                        <a:pt x="547" y="182"/>
                        <a:pt x="542" y="181"/>
                        <a:pt x="538" y="179"/>
                      </a:cubicBezTo>
                      <a:cubicBezTo>
                        <a:pt x="526" y="175"/>
                        <a:pt x="513" y="171"/>
                        <a:pt x="498" y="170"/>
                      </a:cubicBezTo>
                      <a:cubicBezTo>
                        <a:pt x="487" y="169"/>
                        <a:pt x="486" y="170"/>
                        <a:pt x="484" y="172"/>
                      </a:cubicBezTo>
                      <a:cubicBezTo>
                        <a:pt x="482" y="175"/>
                        <a:pt x="480" y="177"/>
                        <a:pt x="475" y="178"/>
                      </a:cubicBezTo>
                      <a:cubicBezTo>
                        <a:pt x="468" y="181"/>
                        <a:pt x="464" y="180"/>
                        <a:pt x="456" y="178"/>
                      </a:cubicBezTo>
                      <a:cubicBezTo>
                        <a:pt x="451" y="176"/>
                        <a:pt x="443" y="174"/>
                        <a:pt x="429" y="172"/>
                      </a:cubicBezTo>
                      <a:cubicBezTo>
                        <a:pt x="403" y="169"/>
                        <a:pt x="402" y="162"/>
                        <a:pt x="401" y="152"/>
                      </a:cubicBezTo>
                      <a:cubicBezTo>
                        <a:pt x="400" y="149"/>
                        <a:pt x="400" y="146"/>
                        <a:pt x="398" y="142"/>
                      </a:cubicBezTo>
                      <a:cubicBezTo>
                        <a:pt x="396" y="139"/>
                        <a:pt x="395" y="136"/>
                        <a:pt x="394" y="134"/>
                      </a:cubicBezTo>
                      <a:cubicBezTo>
                        <a:pt x="391" y="127"/>
                        <a:pt x="390" y="125"/>
                        <a:pt x="387" y="124"/>
                      </a:cubicBezTo>
                      <a:cubicBezTo>
                        <a:pt x="383" y="124"/>
                        <a:pt x="379" y="124"/>
                        <a:pt x="372" y="124"/>
                      </a:cubicBezTo>
                      <a:cubicBezTo>
                        <a:pt x="367" y="124"/>
                        <a:pt x="361" y="124"/>
                        <a:pt x="355" y="124"/>
                      </a:cubicBezTo>
                      <a:cubicBezTo>
                        <a:pt x="335" y="124"/>
                        <a:pt x="323" y="114"/>
                        <a:pt x="317" y="110"/>
                      </a:cubicBezTo>
                      <a:cubicBezTo>
                        <a:pt x="316" y="109"/>
                        <a:pt x="316" y="109"/>
                        <a:pt x="315" y="108"/>
                      </a:cubicBezTo>
                      <a:cubicBezTo>
                        <a:pt x="315" y="108"/>
                        <a:pt x="315" y="108"/>
                        <a:pt x="315" y="108"/>
                      </a:cubicBezTo>
                      <a:cubicBezTo>
                        <a:pt x="313" y="107"/>
                        <a:pt x="307" y="104"/>
                        <a:pt x="301" y="103"/>
                      </a:cubicBezTo>
                      <a:cubicBezTo>
                        <a:pt x="297" y="101"/>
                        <a:pt x="292" y="101"/>
                        <a:pt x="288" y="101"/>
                      </a:cubicBezTo>
                      <a:cubicBezTo>
                        <a:pt x="284" y="102"/>
                        <a:pt x="281" y="104"/>
                        <a:pt x="278" y="107"/>
                      </a:cubicBezTo>
                      <a:cubicBezTo>
                        <a:pt x="274" y="111"/>
                        <a:pt x="270" y="115"/>
                        <a:pt x="262" y="119"/>
                      </a:cubicBezTo>
                      <a:cubicBezTo>
                        <a:pt x="252" y="123"/>
                        <a:pt x="246" y="122"/>
                        <a:pt x="240" y="121"/>
                      </a:cubicBezTo>
                      <a:cubicBezTo>
                        <a:pt x="237" y="121"/>
                        <a:pt x="234" y="120"/>
                        <a:pt x="232" y="121"/>
                      </a:cubicBezTo>
                      <a:cubicBezTo>
                        <a:pt x="225" y="124"/>
                        <a:pt x="216" y="129"/>
                        <a:pt x="204" y="135"/>
                      </a:cubicBezTo>
                      <a:cubicBezTo>
                        <a:pt x="202" y="136"/>
                        <a:pt x="200" y="137"/>
                        <a:pt x="195" y="139"/>
                      </a:cubicBezTo>
                      <a:cubicBezTo>
                        <a:pt x="186" y="144"/>
                        <a:pt x="172" y="151"/>
                        <a:pt x="158" y="158"/>
                      </a:cubicBezTo>
                      <a:cubicBezTo>
                        <a:pt x="146" y="163"/>
                        <a:pt x="134" y="169"/>
                        <a:pt x="129" y="171"/>
                      </a:cubicBezTo>
                      <a:cubicBezTo>
                        <a:pt x="127" y="173"/>
                        <a:pt x="126" y="173"/>
                        <a:pt x="125" y="174"/>
                      </a:cubicBezTo>
                      <a:cubicBezTo>
                        <a:pt x="117" y="178"/>
                        <a:pt x="113" y="180"/>
                        <a:pt x="113" y="184"/>
                      </a:cubicBezTo>
                      <a:cubicBezTo>
                        <a:pt x="112" y="193"/>
                        <a:pt x="111" y="193"/>
                        <a:pt x="103" y="197"/>
                      </a:cubicBezTo>
                      <a:cubicBezTo>
                        <a:pt x="101" y="198"/>
                        <a:pt x="99" y="199"/>
                        <a:pt x="97" y="200"/>
                      </a:cubicBezTo>
                      <a:cubicBezTo>
                        <a:pt x="96" y="201"/>
                        <a:pt x="96" y="201"/>
                        <a:pt x="96" y="201"/>
                      </a:cubicBezTo>
                      <a:cubicBezTo>
                        <a:pt x="84" y="206"/>
                        <a:pt x="77" y="210"/>
                        <a:pt x="66" y="212"/>
                      </a:cubicBezTo>
                      <a:cubicBezTo>
                        <a:pt x="62" y="213"/>
                        <a:pt x="55" y="213"/>
                        <a:pt x="47" y="214"/>
                      </a:cubicBezTo>
                      <a:cubicBezTo>
                        <a:pt x="35" y="214"/>
                        <a:pt x="22" y="215"/>
                        <a:pt x="22" y="216"/>
                      </a:cubicBezTo>
                      <a:cubicBezTo>
                        <a:pt x="21" y="217"/>
                        <a:pt x="21" y="218"/>
                        <a:pt x="20" y="219"/>
                      </a:cubicBezTo>
                      <a:cubicBezTo>
                        <a:pt x="19" y="222"/>
                        <a:pt x="18" y="225"/>
                        <a:pt x="14" y="231"/>
                      </a:cubicBezTo>
                      <a:cubicBezTo>
                        <a:pt x="9" y="239"/>
                        <a:pt x="6" y="240"/>
                        <a:pt x="2" y="241"/>
                      </a:cubicBezTo>
                      <a:cubicBezTo>
                        <a:pt x="2" y="242"/>
                        <a:pt x="2" y="243"/>
                        <a:pt x="2" y="245"/>
                      </a:cubicBezTo>
                      <a:cubicBezTo>
                        <a:pt x="2" y="246"/>
                        <a:pt x="2" y="248"/>
                        <a:pt x="1" y="249"/>
                      </a:cubicBezTo>
                      <a:cubicBezTo>
                        <a:pt x="1" y="251"/>
                        <a:pt x="0" y="254"/>
                        <a:pt x="1" y="259"/>
                      </a:cubicBezTo>
                      <a:close/>
                    </a:path>
                  </a:pathLst>
                </a:custGeom>
                <a:solidFill>
                  <a:srgbClr val="F2F2F2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47" name="Freeform 73"/>
                <p:cNvSpPr/>
                <p:nvPr>
                  <p:custDataLst>
                    <p:tags r:id="rId145"/>
                  </p:custDataLst>
                </p:nvPr>
              </p:nvSpPr>
              <p:spPr bwMode="auto">
                <a:xfrm>
                  <a:off x="2439" y="806"/>
                  <a:ext cx="1613" cy="1026"/>
                </a:xfrm>
                <a:custGeom>
                  <a:avLst/>
                  <a:gdLst>
                    <a:gd name="T0" fmla="*/ 722 w 3774"/>
                    <a:gd name="T1" fmla="*/ 526 h 2401"/>
                    <a:gd name="T2" fmla="*/ 538 w 3774"/>
                    <a:gd name="T3" fmla="*/ 668 h 2401"/>
                    <a:gd name="T4" fmla="*/ 416 w 3774"/>
                    <a:gd name="T5" fmla="*/ 726 h 2401"/>
                    <a:gd name="T6" fmla="*/ 389 w 3774"/>
                    <a:gd name="T7" fmla="*/ 914 h 2401"/>
                    <a:gd name="T8" fmla="*/ 109 w 3774"/>
                    <a:gd name="T9" fmla="*/ 1015 h 2401"/>
                    <a:gd name="T10" fmla="*/ 7 w 3774"/>
                    <a:gd name="T11" fmla="*/ 1093 h 2401"/>
                    <a:gd name="T12" fmla="*/ 85 w 3774"/>
                    <a:gd name="T13" fmla="*/ 1250 h 2401"/>
                    <a:gd name="T14" fmla="*/ 177 w 3774"/>
                    <a:gd name="T15" fmla="*/ 1347 h 2401"/>
                    <a:gd name="T16" fmla="*/ 413 w 3774"/>
                    <a:gd name="T17" fmla="*/ 1374 h 2401"/>
                    <a:gd name="T18" fmla="*/ 327 w 3774"/>
                    <a:gd name="T19" fmla="*/ 1517 h 2401"/>
                    <a:gd name="T20" fmla="*/ 315 w 3774"/>
                    <a:gd name="T21" fmla="*/ 1637 h 2401"/>
                    <a:gd name="T22" fmla="*/ 462 w 3774"/>
                    <a:gd name="T23" fmla="*/ 1742 h 2401"/>
                    <a:gd name="T24" fmla="*/ 617 w 3774"/>
                    <a:gd name="T25" fmla="*/ 1803 h 2401"/>
                    <a:gd name="T26" fmla="*/ 761 w 3774"/>
                    <a:gd name="T27" fmla="*/ 1886 h 2401"/>
                    <a:gd name="T28" fmla="*/ 940 w 3774"/>
                    <a:gd name="T29" fmla="*/ 1921 h 2401"/>
                    <a:gd name="T30" fmla="*/ 1114 w 3774"/>
                    <a:gd name="T31" fmla="*/ 1888 h 2401"/>
                    <a:gd name="T32" fmla="*/ 1333 w 3774"/>
                    <a:gd name="T33" fmla="*/ 1809 h 2401"/>
                    <a:gd name="T34" fmla="*/ 1407 w 3774"/>
                    <a:gd name="T35" fmla="*/ 1857 h 2401"/>
                    <a:gd name="T36" fmla="*/ 1551 w 3774"/>
                    <a:gd name="T37" fmla="*/ 1936 h 2401"/>
                    <a:gd name="T38" fmla="*/ 1497 w 3774"/>
                    <a:gd name="T39" fmla="*/ 2076 h 2401"/>
                    <a:gd name="T40" fmla="*/ 1536 w 3774"/>
                    <a:gd name="T41" fmla="*/ 2144 h 2401"/>
                    <a:gd name="T42" fmla="*/ 1604 w 3774"/>
                    <a:gd name="T43" fmla="*/ 2272 h 2401"/>
                    <a:gd name="T44" fmla="*/ 1733 w 3774"/>
                    <a:gd name="T45" fmla="*/ 2327 h 2401"/>
                    <a:gd name="T46" fmla="*/ 1834 w 3774"/>
                    <a:gd name="T47" fmla="*/ 2233 h 2401"/>
                    <a:gd name="T48" fmla="*/ 2010 w 3774"/>
                    <a:gd name="T49" fmla="*/ 2221 h 2401"/>
                    <a:gd name="T50" fmla="*/ 2147 w 3774"/>
                    <a:gd name="T51" fmla="*/ 2292 h 2401"/>
                    <a:gd name="T52" fmla="*/ 2244 w 3774"/>
                    <a:gd name="T53" fmla="*/ 2398 h 2401"/>
                    <a:gd name="T54" fmla="*/ 2369 w 3774"/>
                    <a:gd name="T55" fmla="*/ 2292 h 2401"/>
                    <a:gd name="T56" fmla="*/ 2484 w 3774"/>
                    <a:gd name="T57" fmla="*/ 2244 h 2401"/>
                    <a:gd name="T58" fmla="*/ 2614 w 3774"/>
                    <a:gd name="T59" fmla="*/ 2225 h 2401"/>
                    <a:gd name="T60" fmla="*/ 2740 w 3774"/>
                    <a:gd name="T61" fmla="*/ 2119 h 2401"/>
                    <a:gd name="T62" fmla="*/ 2829 w 3774"/>
                    <a:gd name="T63" fmla="*/ 2017 h 2401"/>
                    <a:gd name="T64" fmla="*/ 2907 w 3774"/>
                    <a:gd name="T65" fmla="*/ 1895 h 2401"/>
                    <a:gd name="T66" fmla="*/ 2953 w 3774"/>
                    <a:gd name="T67" fmla="*/ 1812 h 2401"/>
                    <a:gd name="T68" fmla="*/ 2887 w 3774"/>
                    <a:gd name="T69" fmla="*/ 1737 h 2401"/>
                    <a:gd name="T70" fmla="*/ 2855 w 3774"/>
                    <a:gd name="T71" fmla="*/ 1601 h 2401"/>
                    <a:gd name="T72" fmla="*/ 2849 w 3774"/>
                    <a:gd name="T73" fmla="*/ 1448 h 2401"/>
                    <a:gd name="T74" fmla="*/ 2913 w 3774"/>
                    <a:gd name="T75" fmla="*/ 1298 h 2401"/>
                    <a:gd name="T76" fmla="*/ 2876 w 3774"/>
                    <a:gd name="T77" fmla="*/ 1233 h 2401"/>
                    <a:gd name="T78" fmla="*/ 2782 w 3774"/>
                    <a:gd name="T79" fmla="*/ 1117 h 2401"/>
                    <a:gd name="T80" fmla="*/ 2953 w 3774"/>
                    <a:gd name="T81" fmla="*/ 1079 h 2401"/>
                    <a:gd name="T82" fmla="*/ 3141 w 3774"/>
                    <a:gd name="T83" fmla="*/ 1036 h 2401"/>
                    <a:gd name="T84" fmla="*/ 3372 w 3774"/>
                    <a:gd name="T85" fmla="*/ 931 h 2401"/>
                    <a:gd name="T86" fmla="*/ 3504 w 3774"/>
                    <a:gd name="T87" fmla="*/ 843 h 2401"/>
                    <a:gd name="T88" fmla="*/ 3584 w 3774"/>
                    <a:gd name="T89" fmla="*/ 664 h 2401"/>
                    <a:gd name="T90" fmla="*/ 3716 w 3774"/>
                    <a:gd name="T91" fmla="*/ 589 h 2401"/>
                    <a:gd name="T92" fmla="*/ 3758 w 3774"/>
                    <a:gd name="T93" fmla="*/ 422 h 2401"/>
                    <a:gd name="T94" fmla="*/ 3537 w 3774"/>
                    <a:gd name="T95" fmla="*/ 466 h 2401"/>
                    <a:gd name="T96" fmla="*/ 3411 w 3774"/>
                    <a:gd name="T97" fmla="*/ 333 h 2401"/>
                    <a:gd name="T98" fmla="*/ 3291 w 3774"/>
                    <a:gd name="T99" fmla="*/ 186 h 2401"/>
                    <a:gd name="T100" fmla="*/ 3161 w 3774"/>
                    <a:gd name="T101" fmla="*/ 28 h 2401"/>
                    <a:gd name="T102" fmla="*/ 2893 w 3774"/>
                    <a:gd name="T103" fmla="*/ 71 h 2401"/>
                    <a:gd name="T104" fmla="*/ 2802 w 3774"/>
                    <a:gd name="T105" fmla="*/ 293 h 2401"/>
                    <a:gd name="T106" fmla="*/ 2598 w 3774"/>
                    <a:gd name="T107" fmla="*/ 450 h 2401"/>
                    <a:gd name="T108" fmla="*/ 2708 w 3774"/>
                    <a:gd name="T109" fmla="*/ 576 h 2401"/>
                    <a:gd name="T110" fmla="*/ 2383 w 3774"/>
                    <a:gd name="T111" fmla="*/ 676 h 2401"/>
                    <a:gd name="T112" fmla="*/ 1948 w 3774"/>
                    <a:gd name="T113" fmla="*/ 934 h 2401"/>
                    <a:gd name="T114" fmla="*/ 1520 w 3774"/>
                    <a:gd name="T115" fmla="*/ 860 h 2401"/>
                    <a:gd name="T116" fmla="*/ 1255 w 3774"/>
                    <a:gd name="T117" fmla="*/ 699 h 2401"/>
                    <a:gd name="T118" fmla="*/ 1030 w 3774"/>
                    <a:gd name="T119" fmla="*/ 478 h 2401"/>
                    <a:gd name="T120" fmla="*/ 872 w 3774"/>
                    <a:gd name="T121" fmla="*/ 366 h 24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3774" h="2401">
                      <a:moveTo>
                        <a:pt x="872" y="363"/>
                      </a:moveTo>
                      <a:cubicBezTo>
                        <a:pt x="872" y="363"/>
                        <a:pt x="872" y="362"/>
                        <a:pt x="872" y="362"/>
                      </a:cubicBezTo>
                      <a:cubicBezTo>
                        <a:pt x="865" y="363"/>
                        <a:pt x="857" y="363"/>
                        <a:pt x="847" y="363"/>
                      </a:cubicBezTo>
                      <a:cubicBezTo>
                        <a:pt x="843" y="363"/>
                        <a:pt x="840" y="363"/>
                        <a:pt x="836" y="363"/>
                      </a:cubicBezTo>
                      <a:cubicBezTo>
                        <a:pt x="832" y="364"/>
                        <a:pt x="832" y="364"/>
                        <a:pt x="832" y="364"/>
                      </a:cubicBezTo>
                      <a:cubicBezTo>
                        <a:pt x="821" y="364"/>
                        <a:pt x="818" y="364"/>
                        <a:pt x="818" y="365"/>
                      </a:cubicBezTo>
                      <a:cubicBezTo>
                        <a:pt x="818" y="368"/>
                        <a:pt x="816" y="374"/>
                        <a:pt x="814" y="380"/>
                      </a:cubicBezTo>
                      <a:cubicBezTo>
                        <a:pt x="812" y="387"/>
                        <a:pt x="809" y="394"/>
                        <a:pt x="807" y="397"/>
                      </a:cubicBezTo>
                      <a:cubicBezTo>
                        <a:pt x="806" y="400"/>
                        <a:pt x="802" y="403"/>
                        <a:pt x="798" y="405"/>
                      </a:cubicBezTo>
                      <a:cubicBezTo>
                        <a:pt x="793" y="408"/>
                        <a:pt x="787" y="410"/>
                        <a:pt x="780" y="412"/>
                      </a:cubicBezTo>
                      <a:cubicBezTo>
                        <a:pt x="774" y="413"/>
                        <a:pt x="769" y="414"/>
                        <a:pt x="766" y="414"/>
                      </a:cubicBezTo>
                      <a:cubicBezTo>
                        <a:pt x="761" y="415"/>
                        <a:pt x="758" y="415"/>
                        <a:pt x="755" y="418"/>
                      </a:cubicBezTo>
                      <a:cubicBezTo>
                        <a:pt x="752" y="420"/>
                        <a:pt x="749" y="424"/>
                        <a:pt x="746" y="430"/>
                      </a:cubicBezTo>
                      <a:cubicBezTo>
                        <a:pt x="742" y="436"/>
                        <a:pt x="740" y="444"/>
                        <a:pt x="739" y="447"/>
                      </a:cubicBezTo>
                      <a:cubicBezTo>
                        <a:pt x="738" y="452"/>
                        <a:pt x="742" y="469"/>
                        <a:pt x="744" y="479"/>
                      </a:cubicBezTo>
                      <a:cubicBezTo>
                        <a:pt x="745" y="481"/>
                        <a:pt x="745" y="482"/>
                        <a:pt x="745" y="482"/>
                      </a:cubicBezTo>
                      <a:cubicBezTo>
                        <a:pt x="746" y="487"/>
                        <a:pt x="747" y="492"/>
                        <a:pt x="746" y="497"/>
                      </a:cubicBezTo>
                      <a:cubicBezTo>
                        <a:pt x="745" y="502"/>
                        <a:pt x="744" y="506"/>
                        <a:pt x="741" y="510"/>
                      </a:cubicBezTo>
                      <a:cubicBezTo>
                        <a:pt x="739" y="514"/>
                        <a:pt x="731" y="520"/>
                        <a:pt x="722" y="526"/>
                      </a:cubicBezTo>
                      <a:cubicBezTo>
                        <a:pt x="712" y="531"/>
                        <a:pt x="701" y="536"/>
                        <a:pt x="697" y="536"/>
                      </a:cubicBezTo>
                      <a:cubicBezTo>
                        <a:pt x="693" y="536"/>
                        <a:pt x="691" y="535"/>
                        <a:pt x="688" y="534"/>
                      </a:cubicBezTo>
                      <a:cubicBezTo>
                        <a:pt x="686" y="533"/>
                        <a:pt x="684" y="532"/>
                        <a:pt x="680" y="531"/>
                      </a:cubicBezTo>
                      <a:cubicBezTo>
                        <a:pt x="676" y="530"/>
                        <a:pt x="664" y="531"/>
                        <a:pt x="652" y="531"/>
                      </a:cubicBezTo>
                      <a:cubicBezTo>
                        <a:pt x="641" y="531"/>
                        <a:pt x="629" y="532"/>
                        <a:pt x="622" y="531"/>
                      </a:cubicBezTo>
                      <a:cubicBezTo>
                        <a:pt x="614" y="530"/>
                        <a:pt x="607" y="526"/>
                        <a:pt x="600" y="522"/>
                      </a:cubicBezTo>
                      <a:cubicBezTo>
                        <a:pt x="595" y="519"/>
                        <a:pt x="591" y="517"/>
                        <a:pt x="587" y="516"/>
                      </a:cubicBezTo>
                      <a:cubicBezTo>
                        <a:pt x="584" y="514"/>
                        <a:pt x="582" y="515"/>
                        <a:pt x="580" y="517"/>
                      </a:cubicBezTo>
                      <a:cubicBezTo>
                        <a:pt x="578" y="519"/>
                        <a:pt x="577" y="522"/>
                        <a:pt x="576" y="526"/>
                      </a:cubicBezTo>
                      <a:cubicBezTo>
                        <a:pt x="575" y="528"/>
                        <a:pt x="573" y="534"/>
                        <a:pt x="570" y="542"/>
                      </a:cubicBezTo>
                      <a:cubicBezTo>
                        <a:pt x="559" y="571"/>
                        <a:pt x="538" y="632"/>
                        <a:pt x="539" y="636"/>
                      </a:cubicBezTo>
                      <a:cubicBezTo>
                        <a:pt x="539" y="638"/>
                        <a:pt x="541" y="638"/>
                        <a:pt x="544" y="639"/>
                      </a:cubicBezTo>
                      <a:cubicBezTo>
                        <a:pt x="544" y="639"/>
                        <a:pt x="544" y="639"/>
                        <a:pt x="544" y="639"/>
                      </a:cubicBezTo>
                      <a:cubicBezTo>
                        <a:pt x="547" y="640"/>
                        <a:pt x="551" y="642"/>
                        <a:pt x="554" y="645"/>
                      </a:cubicBezTo>
                      <a:cubicBezTo>
                        <a:pt x="556" y="647"/>
                        <a:pt x="557" y="649"/>
                        <a:pt x="558" y="651"/>
                      </a:cubicBezTo>
                      <a:cubicBezTo>
                        <a:pt x="559" y="654"/>
                        <a:pt x="559" y="656"/>
                        <a:pt x="558" y="659"/>
                      </a:cubicBezTo>
                      <a:cubicBezTo>
                        <a:pt x="558" y="661"/>
                        <a:pt x="556" y="663"/>
                        <a:pt x="555" y="665"/>
                      </a:cubicBezTo>
                      <a:cubicBezTo>
                        <a:pt x="554" y="665"/>
                        <a:pt x="553" y="666"/>
                        <a:pt x="552" y="666"/>
                      </a:cubicBezTo>
                      <a:cubicBezTo>
                        <a:pt x="550" y="667"/>
                        <a:pt x="544" y="668"/>
                        <a:pt x="538" y="668"/>
                      </a:cubicBezTo>
                      <a:cubicBezTo>
                        <a:pt x="529" y="669"/>
                        <a:pt x="519" y="669"/>
                        <a:pt x="515" y="669"/>
                      </a:cubicBezTo>
                      <a:cubicBezTo>
                        <a:pt x="511" y="669"/>
                        <a:pt x="507" y="668"/>
                        <a:pt x="505" y="667"/>
                      </a:cubicBezTo>
                      <a:cubicBezTo>
                        <a:pt x="502" y="666"/>
                        <a:pt x="500" y="664"/>
                        <a:pt x="499" y="663"/>
                      </a:cubicBezTo>
                      <a:cubicBezTo>
                        <a:pt x="498" y="663"/>
                        <a:pt x="498" y="662"/>
                        <a:pt x="497" y="661"/>
                      </a:cubicBezTo>
                      <a:cubicBezTo>
                        <a:pt x="496" y="660"/>
                        <a:pt x="495" y="658"/>
                        <a:pt x="489" y="659"/>
                      </a:cubicBezTo>
                      <a:cubicBezTo>
                        <a:pt x="482" y="659"/>
                        <a:pt x="471" y="661"/>
                        <a:pt x="461" y="664"/>
                      </a:cubicBezTo>
                      <a:cubicBezTo>
                        <a:pt x="456" y="665"/>
                        <a:pt x="451" y="666"/>
                        <a:pt x="446" y="667"/>
                      </a:cubicBezTo>
                      <a:cubicBezTo>
                        <a:pt x="438" y="668"/>
                        <a:pt x="430" y="670"/>
                        <a:pt x="422" y="672"/>
                      </a:cubicBezTo>
                      <a:cubicBezTo>
                        <a:pt x="415" y="674"/>
                        <a:pt x="407" y="676"/>
                        <a:pt x="401" y="677"/>
                      </a:cubicBezTo>
                      <a:cubicBezTo>
                        <a:pt x="396" y="679"/>
                        <a:pt x="392" y="680"/>
                        <a:pt x="390" y="682"/>
                      </a:cubicBezTo>
                      <a:cubicBezTo>
                        <a:pt x="388" y="684"/>
                        <a:pt x="388" y="686"/>
                        <a:pt x="388" y="688"/>
                      </a:cubicBezTo>
                      <a:cubicBezTo>
                        <a:pt x="389" y="690"/>
                        <a:pt x="389" y="690"/>
                        <a:pt x="389" y="691"/>
                      </a:cubicBezTo>
                      <a:cubicBezTo>
                        <a:pt x="389" y="691"/>
                        <a:pt x="389" y="691"/>
                        <a:pt x="389" y="691"/>
                      </a:cubicBezTo>
                      <a:cubicBezTo>
                        <a:pt x="391" y="691"/>
                        <a:pt x="394" y="690"/>
                        <a:pt x="399" y="689"/>
                      </a:cubicBezTo>
                      <a:cubicBezTo>
                        <a:pt x="405" y="688"/>
                        <a:pt x="409" y="688"/>
                        <a:pt x="412" y="689"/>
                      </a:cubicBezTo>
                      <a:cubicBezTo>
                        <a:pt x="416" y="691"/>
                        <a:pt x="418" y="693"/>
                        <a:pt x="420" y="696"/>
                      </a:cubicBezTo>
                      <a:cubicBezTo>
                        <a:pt x="422" y="701"/>
                        <a:pt x="422" y="703"/>
                        <a:pt x="420" y="706"/>
                      </a:cubicBezTo>
                      <a:cubicBezTo>
                        <a:pt x="419" y="708"/>
                        <a:pt x="418" y="710"/>
                        <a:pt x="417" y="714"/>
                      </a:cubicBezTo>
                      <a:cubicBezTo>
                        <a:pt x="415" y="719"/>
                        <a:pt x="416" y="721"/>
                        <a:pt x="416" y="726"/>
                      </a:cubicBezTo>
                      <a:cubicBezTo>
                        <a:pt x="417" y="729"/>
                        <a:pt x="418" y="734"/>
                        <a:pt x="418" y="742"/>
                      </a:cubicBezTo>
                      <a:cubicBezTo>
                        <a:pt x="419" y="754"/>
                        <a:pt x="422" y="760"/>
                        <a:pt x="426" y="767"/>
                      </a:cubicBezTo>
                      <a:cubicBezTo>
                        <a:pt x="428" y="771"/>
                        <a:pt x="430" y="775"/>
                        <a:pt x="431" y="779"/>
                      </a:cubicBezTo>
                      <a:cubicBezTo>
                        <a:pt x="431" y="779"/>
                        <a:pt x="431" y="779"/>
                        <a:pt x="431" y="779"/>
                      </a:cubicBezTo>
                      <a:cubicBezTo>
                        <a:pt x="432" y="782"/>
                        <a:pt x="432" y="782"/>
                        <a:pt x="432" y="782"/>
                      </a:cubicBezTo>
                      <a:cubicBezTo>
                        <a:pt x="438" y="796"/>
                        <a:pt x="443" y="810"/>
                        <a:pt x="437" y="819"/>
                      </a:cubicBezTo>
                      <a:cubicBezTo>
                        <a:pt x="437" y="819"/>
                        <a:pt x="437" y="819"/>
                        <a:pt x="437" y="819"/>
                      </a:cubicBezTo>
                      <a:cubicBezTo>
                        <a:pt x="433" y="824"/>
                        <a:pt x="430" y="826"/>
                        <a:pt x="426" y="827"/>
                      </a:cubicBezTo>
                      <a:cubicBezTo>
                        <a:pt x="424" y="828"/>
                        <a:pt x="423" y="828"/>
                        <a:pt x="421" y="830"/>
                      </a:cubicBezTo>
                      <a:cubicBezTo>
                        <a:pt x="420" y="830"/>
                        <a:pt x="421" y="831"/>
                        <a:pt x="421" y="832"/>
                      </a:cubicBezTo>
                      <a:cubicBezTo>
                        <a:pt x="422" y="835"/>
                        <a:pt x="423" y="838"/>
                        <a:pt x="420" y="842"/>
                      </a:cubicBezTo>
                      <a:cubicBezTo>
                        <a:pt x="419" y="845"/>
                        <a:pt x="416" y="846"/>
                        <a:pt x="414" y="848"/>
                      </a:cubicBezTo>
                      <a:cubicBezTo>
                        <a:pt x="412" y="849"/>
                        <a:pt x="409" y="851"/>
                        <a:pt x="406" y="856"/>
                      </a:cubicBezTo>
                      <a:cubicBezTo>
                        <a:pt x="404" y="861"/>
                        <a:pt x="405" y="867"/>
                        <a:pt x="407" y="872"/>
                      </a:cubicBezTo>
                      <a:cubicBezTo>
                        <a:pt x="408" y="876"/>
                        <a:pt x="409" y="881"/>
                        <a:pt x="408" y="885"/>
                      </a:cubicBezTo>
                      <a:cubicBezTo>
                        <a:pt x="406" y="889"/>
                        <a:pt x="407" y="891"/>
                        <a:pt x="407" y="893"/>
                      </a:cubicBezTo>
                      <a:cubicBezTo>
                        <a:pt x="407" y="895"/>
                        <a:pt x="407" y="897"/>
                        <a:pt x="407" y="901"/>
                      </a:cubicBezTo>
                      <a:cubicBezTo>
                        <a:pt x="406" y="910"/>
                        <a:pt x="405" y="910"/>
                        <a:pt x="397" y="912"/>
                      </a:cubicBezTo>
                      <a:cubicBezTo>
                        <a:pt x="395" y="913"/>
                        <a:pt x="392" y="913"/>
                        <a:pt x="389" y="914"/>
                      </a:cubicBezTo>
                      <a:cubicBezTo>
                        <a:pt x="385" y="916"/>
                        <a:pt x="382" y="917"/>
                        <a:pt x="378" y="918"/>
                      </a:cubicBezTo>
                      <a:cubicBezTo>
                        <a:pt x="371" y="921"/>
                        <a:pt x="363" y="924"/>
                        <a:pt x="350" y="928"/>
                      </a:cubicBezTo>
                      <a:cubicBezTo>
                        <a:pt x="340" y="930"/>
                        <a:pt x="333" y="932"/>
                        <a:pt x="327" y="934"/>
                      </a:cubicBezTo>
                      <a:cubicBezTo>
                        <a:pt x="321" y="937"/>
                        <a:pt x="315" y="940"/>
                        <a:pt x="308" y="945"/>
                      </a:cubicBezTo>
                      <a:cubicBezTo>
                        <a:pt x="298" y="952"/>
                        <a:pt x="296" y="956"/>
                        <a:pt x="294" y="960"/>
                      </a:cubicBezTo>
                      <a:cubicBezTo>
                        <a:pt x="293" y="962"/>
                        <a:pt x="292" y="963"/>
                        <a:pt x="290" y="966"/>
                      </a:cubicBezTo>
                      <a:cubicBezTo>
                        <a:pt x="287" y="970"/>
                        <a:pt x="280" y="973"/>
                        <a:pt x="272" y="974"/>
                      </a:cubicBezTo>
                      <a:cubicBezTo>
                        <a:pt x="265" y="975"/>
                        <a:pt x="256" y="976"/>
                        <a:pt x="248" y="976"/>
                      </a:cubicBezTo>
                      <a:cubicBezTo>
                        <a:pt x="240" y="976"/>
                        <a:pt x="231" y="976"/>
                        <a:pt x="223" y="977"/>
                      </a:cubicBezTo>
                      <a:cubicBezTo>
                        <a:pt x="216" y="978"/>
                        <a:pt x="209" y="980"/>
                        <a:pt x="204" y="984"/>
                      </a:cubicBezTo>
                      <a:cubicBezTo>
                        <a:pt x="199" y="987"/>
                        <a:pt x="191" y="996"/>
                        <a:pt x="184" y="1005"/>
                      </a:cubicBezTo>
                      <a:cubicBezTo>
                        <a:pt x="175" y="1016"/>
                        <a:pt x="166" y="1027"/>
                        <a:pt x="161" y="1028"/>
                      </a:cubicBezTo>
                      <a:cubicBezTo>
                        <a:pt x="159" y="1028"/>
                        <a:pt x="157" y="1028"/>
                        <a:pt x="154" y="1029"/>
                      </a:cubicBezTo>
                      <a:cubicBezTo>
                        <a:pt x="146" y="1030"/>
                        <a:pt x="133" y="1033"/>
                        <a:pt x="125" y="1030"/>
                      </a:cubicBezTo>
                      <a:cubicBezTo>
                        <a:pt x="115" y="1027"/>
                        <a:pt x="116" y="1021"/>
                        <a:pt x="117" y="1016"/>
                      </a:cubicBezTo>
                      <a:cubicBezTo>
                        <a:pt x="117" y="1015"/>
                        <a:pt x="117" y="1014"/>
                        <a:pt x="117" y="1014"/>
                      </a:cubicBezTo>
                      <a:cubicBezTo>
                        <a:pt x="117" y="1012"/>
                        <a:pt x="116" y="1011"/>
                        <a:pt x="115" y="1010"/>
                      </a:cubicBezTo>
                      <a:cubicBezTo>
                        <a:pt x="114" y="1009"/>
                        <a:pt x="114" y="1009"/>
                        <a:pt x="113" y="1010"/>
                      </a:cubicBezTo>
                      <a:cubicBezTo>
                        <a:pt x="112" y="1010"/>
                        <a:pt x="111" y="1012"/>
                        <a:pt x="109" y="1015"/>
                      </a:cubicBezTo>
                      <a:cubicBezTo>
                        <a:pt x="107" y="1019"/>
                        <a:pt x="104" y="1023"/>
                        <a:pt x="99" y="1025"/>
                      </a:cubicBezTo>
                      <a:cubicBezTo>
                        <a:pt x="92" y="1028"/>
                        <a:pt x="86" y="1024"/>
                        <a:pt x="82" y="1022"/>
                      </a:cubicBezTo>
                      <a:cubicBezTo>
                        <a:pt x="82" y="1022"/>
                        <a:pt x="81" y="1021"/>
                        <a:pt x="81" y="1021"/>
                      </a:cubicBezTo>
                      <a:cubicBezTo>
                        <a:pt x="81" y="1021"/>
                        <a:pt x="81" y="1021"/>
                        <a:pt x="81" y="1021"/>
                      </a:cubicBezTo>
                      <a:cubicBezTo>
                        <a:pt x="81" y="1021"/>
                        <a:pt x="81" y="1021"/>
                        <a:pt x="81" y="1021"/>
                      </a:cubicBezTo>
                      <a:cubicBezTo>
                        <a:pt x="80" y="1021"/>
                        <a:pt x="78" y="1020"/>
                        <a:pt x="77" y="1021"/>
                      </a:cubicBezTo>
                      <a:cubicBezTo>
                        <a:pt x="76" y="1021"/>
                        <a:pt x="75" y="1021"/>
                        <a:pt x="75" y="1022"/>
                      </a:cubicBezTo>
                      <a:cubicBezTo>
                        <a:pt x="75" y="1022"/>
                        <a:pt x="75" y="1022"/>
                        <a:pt x="75" y="1022"/>
                      </a:cubicBezTo>
                      <a:cubicBezTo>
                        <a:pt x="75" y="1022"/>
                        <a:pt x="75" y="1022"/>
                        <a:pt x="75" y="1022"/>
                      </a:cubicBezTo>
                      <a:cubicBezTo>
                        <a:pt x="75" y="1022"/>
                        <a:pt x="75" y="1022"/>
                        <a:pt x="75" y="1022"/>
                      </a:cubicBezTo>
                      <a:cubicBezTo>
                        <a:pt x="74" y="1023"/>
                        <a:pt x="74" y="1024"/>
                        <a:pt x="74" y="1025"/>
                      </a:cubicBezTo>
                      <a:cubicBezTo>
                        <a:pt x="74" y="1028"/>
                        <a:pt x="74" y="1030"/>
                        <a:pt x="70" y="1033"/>
                      </a:cubicBezTo>
                      <a:cubicBezTo>
                        <a:pt x="66" y="1036"/>
                        <a:pt x="48" y="1041"/>
                        <a:pt x="38" y="1045"/>
                      </a:cubicBezTo>
                      <a:cubicBezTo>
                        <a:pt x="35" y="1045"/>
                        <a:pt x="33" y="1046"/>
                        <a:pt x="32" y="1047"/>
                      </a:cubicBezTo>
                      <a:cubicBezTo>
                        <a:pt x="29" y="1047"/>
                        <a:pt x="28" y="1049"/>
                        <a:pt x="27" y="1051"/>
                      </a:cubicBezTo>
                      <a:cubicBezTo>
                        <a:pt x="26" y="1053"/>
                        <a:pt x="25" y="1056"/>
                        <a:pt x="25" y="1058"/>
                      </a:cubicBezTo>
                      <a:cubicBezTo>
                        <a:pt x="24" y="1059"/>
                        <a:pt x="24" y="1060"/>
                        <a:pt x="24" y="1062"/>
                      </a:cubicBezTo>
                      <a:cubicBezTo>
                        <a:pt x="23" y="1068"/>
                        <a:pt x="22" y="1078"/>
                        <a:pt x="18" y="1083"/>
                      </a:cubicBezTo>
                      <a:cubicBezTo>
                        <a:pt x="16" y="1087"/>
                        <a:pt x="11" y="1090"/>
                        <a:pt x="7" y="1093"/>
                      </a:cubicBezTo>
                      <a:cubicBezTo>
                        <a:pt x="3" y="1096"/>
                        <a:pt x="0" y="1098"/>
                        <a:pt x="0" y="1098"/>
                      </a:cubicBezTo>
                      <a:cubicBezTo>
                        <a:pt x="0" y="1100"/>
                        <a:pt x="0" y="1102"/>
                        <a:pt x="1" y="1104"/>
                      </a:cubicBezTo>
                      <a:cubicBezTo>
                        <a:pt x="1" y="1106"/>
                        <a:pt x="2" y="1109"/>
                        <a:pt x="4" y="1111"/>
                      </a:cubicBezTo>
                      <a:cubicBezTo>
                        <a:pt x="4" y="1112"/>
                        <a:pt x="5" y="1113"/>
                        <a:pt x="6" y="1115"/>
                      </a:cubicBezTo>
                      <a:cubicBezTo>
                        <a:pt x="11" y="1120"/>
                        <a:pt x="15" y="1126"/>
                        <a:pt x="10" y="1133"/>
                      </a:cubicBezTo>
                      <a:cubicBezTo>
                        <a:pt x="8" y="1135"/>
                        <a:pt x="6" y="1137"/>
                        <a:pt x="5" y="1139"/>
                      </a:cubicBezTo>
                      <a:cubicBezTo>
                        <a:pt x="4" y="1141"/>
                        <a:pt x="4" y="1142"/>
                        <a:pt x="4" y="1144"/>
                      </a:cubicBezTo>
                      <a:cubicBezTo>
                        <a:pt x="4" y="1146"/>
                        <a:pt x="5" y="1147"/>
                        <a:pt x="7" y="1147"/>
                      </a:cubicBezTo>
                      <a:cubicBezTo>
                        <a:pt x="10" y="1148"/>
                        <a:pt x="13" y="1149"/>
                        <a:pt x="18" y="1149"/>
                      </a:cubicBezTo>
                      <a:cubicBezTo>
                        <a:pt x="22" y="1148"/>
                        <a:pt x="25" y="1148"/>
                        <a:pt x="27" y="1147"/>
                      </a:cubicBezTo>
                      <a:cubicBezTo>
                        <a:pt x="27" y="1147"/>
                        <a:pt x="27" y="1147"/>
                        <a:pt x="27" y="1147"/>
                      </a:cubicBezTo>
                      <a:cubicBezTo>
                        <a:pt x="33" y="1146"/>
                        <a:pt x="38" y="1145"/>
                        <a:pt x="45" y="1148"/>
                      </a:cubicBezTo>
                      <a:cubicBezTo>
                        <a:pt x="51" y="1151"/>
                        <a:pt x="59" y="1155"/>
                        <a:pt x="65" y="1160"/>
                      </a:cubicBezTo>
                      <a:cubicBezTo>
                        <a:pt x="70" y="1164"/>
                        <a:pt x="74" y="1169"/>
                        <a:pt x="75" y="1174"/>
                      </a:cubicBezTo>
                      <a:cubicBezTo>
                        <a:pt x="77" y="1178"/>
                        <a:pt x="78" y="1186"/>
                        <a:pt x="79" y="1195"/>
                      </a:cubicBezTo>
                      <a:cubicBezTo>
                        <a:pt x="80" y="1204"/>
                        <a:pt x="81" y="1214"/>
                        <a:pt x="81" y="1218"/>
                      </a:cubicBezTo>
                      <a:cubicBezTo>
                        <a:pt x="81" y="1222"/>
                        <a:pt x="84" y="1225"/>
                        <a:pt x="86" y="1229"/>
                      </a:cubicBezTo>
                      <a:cubicBezTo>
                        <a:pt x="88" y="1231"/>
                        <a:pt x="90" y="1233"/>
                        <a:pt x="91" y="1236"/>
                      </a:cubicBezTo>
                      <a:cubicBezTo>
                        <a:pt x="95" y="1245"/>
                        <a:pt x="92" y="1246"/>
                        <a:pt x="85" y="1250"/>
                      </a:cubicBezTo>
                      <a:cubicBezTo>
                        <a:pt x="85" y="1250"/>
                        <a:pt x="85" y="1250"/>
                        <a:pt x="85" y="1250"/>
                      </a:cubicBezTo>
                      <a:cubicBezTo>
                        <a:pt x="84" y="1250"/>
                        <a:pt x="83" y="1251"/>
                        <a:pt x="82" y="1251"/>
                      </a:cubicBezTo>
                      <a:cubicBezTo>
                        <a:pt x="78" y="1253"/>
                        <a:pt x="74" y="1253"/>
                        <a:pt x="70" y="1254"/>
                      </a:cubicBezTo>
                      <a:cubicBezTo>
                        <a:pt x="68" y="1254"/>
                        <a:pt x="66" y="1254"/>
                        <a:pt x="64" y="1255"/>
                      </a:cubicBezTo>
                      <a:cubicBezTo>
                        <a:pt x="64" y="1255"/>
                        <a:pt x="62" y="1255"/>
                        <a:pt x="61" y="1256"/>
                      </a:cubicBezTo>
                      <a:cubicBezTo>
                        <a:pt x="57" y="1258"/>
                        <a:pt x="52" y="1259"/>
                        <a:pt x="52" y="1260"/>
                      </a:cubicBezTo>
                      <a:cubicBezTo>
                        <a:pt x="52" y="1260"/>
                        <a:pt x="52" y="1262"/>
                        <a:pt x="53" y="1263"/>
                      </a:cubicBezTo>
                      <a:cubicBezTo>
                        <a:pt x="54" y="1265"/>
                        <a:pt x="55" y="1267"/>
                        <a:pt x="56" y="1268"/>
                      </a:cubicBezTo>
                      <a:cubicBezTo>
                        <a:pt x="61" y="1268"/>
                        <a:pt x="68" y="1268"/>
                        <a:pt x="74" y="1268"/>
                      </a:cubicBezTo>
                      <a:cubicBezTo>
                        <a:pt x="81" y="1268"/>
                        <a:pt x="88" y="1268"/>
                        <a:pt x="92" y="1269"/>
                      </a:cubicBezTo>
                      <a:cubicBezTo>
                        <a:pt x="96" y="1270"/>
                        <a:pt x="102" y="1273"/>
                        <a:pt x="109" y="1277"/>
                      </a:cubicBezTo>
                      <a:cubicBezTo>
                        <a:pt x="119" y="1283"/>
                        <a:pt x="129" y="1290"/>
                        <a:pt x="135" y="1294"/>
                      </a:cubicBezTo>
                      <a:cubicBezTo>
                        <a:pt x="145" y="1302"/>
                        <a:pt x="145" y="1307"/>
                        <a:pt x="144" y="1319"/>
                      </a:cubicBezTo>
                      <a:cubicBezTo>
                        <a:pt x="144" y="1320"/>
                        <a:pt x="144" y="1321"/>
                        <a:pt x="144" y="1324"/>
                      </a:cubicBezTo>
                      <a:cubicBezTo>
                        <a:pt x="144" y="1325"/>
                        <a:pt x="144" y="1325"/>
                        <a:pt x="144" y="1325"/>
                      </a:cubicBezTo>
                      <a:cubicBezTo>
                        <a:pt x="144" y="1325"/>
                        <a:pt x="144" y="1325"/>
                        <a:pt x="144" y="1325"/>
                      </a:cubicBezTo>
                      <a:cubicBezTo>
                        <a:pt x="144" y="1337"/>
                        <a:pt x="144" y="1339"/>
                        <a:pt x="153" y="1345"/>
                      </a:cubicBezTo>
                      <a:cubicBezTo>
                        <a:pt x="157" y="1348"/>
                        <a:pt x="160" y="1347"/>
                        <a:pt x="163" y="1346"/>
                      </a:cubicBezTo>
                      <a:cubicBezTo>
                        <a:pt x="168" y="1345"/>
                        <a:pt x="172" y="1344"/>
                        <a:pt x="177" y="1347"/>
                      </a:cubicBezTo>
                      <a:cubicBezTo>
                        <a:pt x="182" y="1350"/>
                        <a:pt x="183" y="1353"/>
                        <a:pt x="184" y="1355"/>
                      </a:cubicBezTo>
                      <a:cubicBezTo>
                        <a:pt x="184" y="1355"/>
                        <a:pt x="184" y="1355"/>
                        <a:pt x="184" y="1355"/>
                      </a:cubicBezTo>
                      <a:cubicBezTo>
                        <a:pt x="185" y="1357"/>
                        <a:pt x="186" y="1359"/>
                        <a:pt x="193" y="1362"/>
                      </a:cubicBezTo>
                      <a:cubicBezTo>
                        <a:pt x="206" y="1367"/>
                        <a:pt x="220" y="1369"/>
                        <a:pt x="228" y="1369"/>
                      </a:cubicBezTo>
                      <a:cubicBezTo>
                        <a:pt x="228" y="1369"/>
                        <a:pt x="228" y="1369"/>
                        <a:pt x="228" y="1369"/>
                      </a:cubicBezTo>
                      <a:cubicBezTo>
                        <a:pt x="229" y="1369"/>
                        <a:pt x="230" y="1370"/>
                        <a:pt x="232" y="1370"/>
                      </a:cubicBezTo>
                      <a:cubicBezTo>
                        <a:pt x="235" y="1370"/>
                        <a:pt x="242" y="1370"/>
                        <a:pt x="248" y="1370"/>
                      </a:cubicBezTo>
                      <a:cubicBezTo>
                        <a:pt x="255" y="1369"/>
                        <a:pt x="261" y="1369"/>
                        <a:pt x="263" y="1368"/>
                      </a:cubicBezTo>
                      <a:cubicBezTo>
                        <a:pt x="264" y="1367"/>
                        <a:pt x="268" y="1365"/>
                        <a:pt x="272" y="1362"/>
                      </a:cubicBezTo>
                      <a:cubicBezTo>
                        <a:pt x="277" y="1358"/>
                        <a:pt x="284" y="1353"/>
                        <a:pt x="291" y="1349"/>
                      </a:cubicBezTo>
                      <a:cubicBezTo>
                        <a:pt x="297" y="1346"/>
                        <a:pt x="303" y="1344"/>
                        <a:pt x="310" y="1342"/>
                      </a:cubicBezTo>
                      <a:cubicBezTo>
                        <a:pt x="316" y="1341"/>
                        <a:pt x="323" y="1340"/>
                        <a:pt x="328" y="1339"/>
                      </a:cubicBezTo>
                      <a:cubicBezTo>
                        <a:pt x="330" y="1339"/>
                        <a:pt x="332" y="1339"/>
                        <a:pt x="334" y="1339"/>
                      </a:cubicBezTo>
                      <a:cubicBezTo>
                        <a:pt x="342" y="1338"/>
                        <a:pt x="348" y="1338"/>
                        <a:pt x="356" y="1343"/>
                      </a:cubicBezTo>
                      <a:cubicBezTo>
                        <a:pt x="360" y="1346"/>
                        <a:pt x="365" y="1350"/>
                        <a:pt x="371" y="1355"/>
                      </a:cubicBezTo>
                      <a:cubicBezTo>
                        <a:pt x="378" y="1361"/>
                        <a:pt x="385" y="1367"/>
                        <a:pt x="390" y="1370"/>
                      </a:cubicBezTo>
                      <a:cubicBezTo>
                        <a:pt x="393" y="1371"/>
                        <a:pt x="396" y="1371"/>
                        <a:pt x="399" y="1371"/>
                      </a:cubicBezTo>
                      <a:cubicBezTo>
                        <a:pt x="405" y="1370"/>
                        <a:pt x="409" y="1370"/>
                        <a:pt x="413" y="1374"/>
                      </a:cubicBezTo>
                      <a:cubicBezTo>
                        <a:pt x="413" y="1374"/>
                        <a:pt x="413" y="1374"/>
                        <a:pt x="413" y="1374"/>
                      </a:cubicBezTo>
                      <a:cubicBezTo>
                        <a:pt x="413" y="1374"/>
                        <a:pt x="413" y="1374"/>
                        <a:pt x="413" y="1374"/>
                      </a:cubicBezTo>
                      <a:cubicBezTo>
                        <a:pt x="413" y="1374"/>
                        <a:pt x="413" y="1374"/>
                        <a:pt x="413" y="1374"/>
                      </a:cubicBezTo>
                      <a:cubicBezTo>
                        <a:pt x="417" y="1378"/>
                        <a:pt x="419" y="1384"/>
                        <a:pt x="418" y="1391"/>
                      </a:cubicBezTo>
                      <a:cubicBezTo>
                        <a:pt x="417" y="1398"/>
                        <a:pt x="414" y="1404"/>
                        <a:pt x="407" y="1410"/>
                      </a:cubicBezTo>
                      <a:cubicBezTo>
                        <a:pt x="407" y="1410"/>
                        <a:pt x="407" y="1410"/>
                        <a:pt x="407" y="1410"/>
                      </a:cubicBezTo>
                      <a:cubicBezTo>
                        <a:pt x="407" y="1411"/>
                        <a:pt x="407" y="1411"/>
                        <a:pt x="407" y="1411"/>
                      </a:cubicBezTo>
                      <a:cubicBezTo>
                        <a:pt x="399" y="1418"/>
                        <a:pt x="392" y="1429"/>
                        <a:pt x="388" y="1437"/>
                      </a:cubicBezTo>
                      <a:cubicBezTo>
                        <a:pt x="386" y="1441"/>
                        <a:pt x="384" y="1444"/>
                        <a:pt x="383" y="1446"/>
                      </a:cubicBezTo>
                      <a:cubicBezTo>
                        <a:pt x="379" y="1451"/>
                        <a:pt x="375" y="1451"/>
                        <a:pt x="372" y="1452"/>
                      </a:cubicBezTo>
                      <a:cubicBezTo>
                        <a:pt x="371" y="1452"/>
                        <a:pt x="369" y="1452"/>
                        <a:pt x="368" y="1455"/>
                      </a:cubicBezTo>
                      <a:cubicBezTo>
                        <a:pt x="367" y="1458"/>
                        <a:pt x="367" y="1460"/>
                        <a:pt x="367" y="1462"/>
                      </a:cubicBezTo>
                      <a:cubicBezTo>
                        <a:pt x="367" y="1468"/>
                        <a:pt x="367" y="1473"/>
                        <a:pt x="356" y="1477"/>
                      </a:cubicBezTo>
                      <a:cubicBezTo>
                        <a:pt x="349" y="1480"/>
                        <a:pt x="343" y="1480"/>
                        <a:pt x="338" y="1481"/>
                      </a:cubicBezTo>
                      <a:cubicBezTo>
                        <a:pt x="335" y="1481"/>
                        <a:pt x="332" y="1481"/>
                        <a:pt x="332" y="1482"/>
                      </a:cubicBezTo>
                      <a:cubicBezTo>
                        <a:pt x="331" y="1484"/>
                        <a:pt x="332" y="1487"/>
                        <a:pt x="333" y="1490"/>
                      </a:cubicBezTo>
                      <a:cubicBezTo>
                        <a:pt x="334" y="1494"/>
                        <a:pt x="335" y="1497"/>
                        <a:pt x="335" y="1500"/>
                      </a:cubicBezTo>
                      <a:cubicBezTo>
                        <a:pt x="334" y="1504"/>
                        <a:pt x="332" y="1508"/>
                        <a:pt x="330" y="1511"/>
                      </a:cubicBezTo>
                      <a:cubicBezTo>
                        <a:pt x="329" y="1514"/>
                        <a:pt x="327" y="1516"/>
                        <a:pt x="327" y="1517"/>
                      </a:cubicBezTo>
                      <a:cubicBezTo>
                        <a:pt x="327" y="1517"/>
                        <a:pt x="327" y="1517"/>
                        <a:pt x="327" y="1517"/>
                      </a:cubicBezTo>
                      <a:cubicBezTo>
                        <a:pt x="328" y="1519"/>
                        <a:pt x="329" y="1521"/>
                        <a:pt x="330" y="1522"/>
                      </a:cubicBezTo>
                      <a:cubicBezTo>
                        <a:pt x="332" y="1524"/>
                        <a:pt x="335" y="1526"/>
                        <a:pt x="339" y="1528"/>
                      </a:cubicBezTo>
                      <a:cubicBezTo>
                        <a:pt x="342" y="1530"/>
                        <a:pt x="344" y="1530"/>
                        <a:pt x="346" y="1531"/>
                      </a:cubicBezTo>
                      <a:cubicBezTo>
                        <a:pt x="350" y="1532"/>
                        <a:pt x="352" y="1532"/>
                        <a:pt x="356" y="1537"/>
                      </a:cubicBezTo>
                      <a:cubicBezTo>
                        <a:pt x="358" y="1542"/>
                        <a:pt x="360" y="1548"/>
                        <a:pt x="361" y="1553"/>
                      </a:cubicBezTo>
                      <a:cubicBezTo>
                        <a:pt x="361" y="1555"/>
                        <a:pt x="362" y="1557"/>
                        <a:pt x="362" y="1559"/>
                      </a:cubicBezTo>
                      <a:cubicBezTo>
                        <a:pt x="363" y="1564"/>
                        <a:pt x="362" y="1568"/>
                        <a:pt x="360" y="1572"/>
                      </a:cubicBezTo>
                      <a:cubicBezTo>
                        <a:pt x="358" y="1576"/>
                        <a:pt x="354" y="1580"/>
                        <a:pt x="349" y="1583"/>
                      </a:cubicBezTo>
                      <a:cubicBezTo>
                        <a:pt x="347" y="1585"/>
                        <a:pt x="344" y="1587"/>
                        <a:pt x="343" y="1588"/>
                      </a:cubicBezTo>
                      <a:cubicBezTo>
                        <a:pt x="339" y="1592"/>
                        <a:pt x="336" y="1594"/>
                        <a:pt x="332" y="1595"/>
                      </a:cubicBezTo>
                      <a:cubicBezTo>
                        <a:pt x="326" y="1597"/>
                        <a:pt x="321" y="1590"/>
                        <a:pt x="316" y="1585"/>
                      </a:cubicBezTo>
                      <a:cubicBezTo>
                        <a:pt x="315" y="1583"/>
                        <a:pt x="314" y="1581"/>
                        <a:pt x="313" y="1581"/>
                      </a:cubicBezTo>
                      <a:cubicBezTo>
                        <a:pt x="312" y="1580"/>
                        <a:pt x="309" y="1580"/>
                        <a:pt x="306" y="1580"/>
                      </a:cubicBezTo>
                      <a:cubicBezTo>
                        <a:pt x="304" y="1580"/>
                        <a:pt x="302" y="1581"/>
                        <a:pt x="302" y="1581"/>
                      </a:cubicBezTo>
                      <a:cubicBezTo>
                        <a:pt x="300" y="1583"/>
                        <a:pt x="299" y="1585"/>
                        <a:pt x="299" y="1588"/>
                      </a:cubicBezTo>
                      <a:cubicBezTo>
                        <a:pt x="298" y="1591"/>
                        <a:pt x="298" y="1594"/>
                        <a:pt x="299" y="1598"/>
                      </a:cubicBezTo>
                      <a:cubicBezTo>
                        <a:pt x="300" y="1601"/>
                        <a:pt x="304" y="1606"/>
                        <a:pt x="307" y="1609"/>
                      </a:cubicBezTo>
                      <a:cubicBezTo>
                        <a:pt x="310" y="1613"/>
                        <a:pt x="314" y="1617"/>
                        <a:pt x="315" y="1621"/>
                      </a:cubicBezTo>
                      <a:cubicBezTo>
                        <a:pt x="315" y="1625"/>
                        <a:pt x="315" y="1631"/>
                        <a:pt x="315" y="1637"/>
                      </a:cubicBezTo>
                      <a:cubicBezTo>
                        <a:pt x="315" y="1642"/>
                        <a:pt x="315" y="1647"/>
                        <a:pt x="315" y="1650"/>
                      </a:cubicBezTo>
                      <a:cubicBezTo>
                        <a:pt x="315" y="1650"/>
                        <a:pt x="315" y="1650"/>
                        <a:pt x="315" y="1650"/>
                      </a:cubicBezTo>
                      <a:cubicBezTo>
                        <a:pt x="315" y="1651"/>
                        <a:pt x="315" y="1651"/>
                        <a:pt x="315" y="1651"/>
                      </a:cubicBezTo>
                      <a:cubicBezTo>
                        <a:pt x="316" y="1656"/>
                        <a:pt x="316" y="1661"/>
                        <a:pt x="319" y="1661"/>
                      </a:cubicBezTo>
                      <a:cubicBezTo>
                        <a:pt x="319" y="1661"/>
                        <a:pt x="319" y="1661"/>
                        <a:pt x="319" y="1661"/>
                      </a:cubicBezTo>
                      <a:cubicBezTo>
                        <a:pt x="321" y="1661"/>
                        <a:pt x="322" y="1660"/>
                        <a:pt x="324" y="1659"/>
                      </a:cubicBezTo>
                      <a:cubicBezTo>
                        <a:pt x="326" y="1657"/>
                        <a:pt x="328" y="1656"/>
                        <a:pt x="332" y="1657"/>
                      </a:cubicBezTo>
                      <a:cubicBezTo>
                        <a:pt x="336" y="1657"/>
                        <a:pt x="339" y="1661"/>
                        <a:pt x="342" y="1665"/>
                      </a:cubicBezTo>
                      <a:cubicBezTo>
                        <a:pt x="345" y="1669"/>
                        <a:pt x="348" y="1673"/>
                        <a:pt x="353" y="1676"/>
                      </a:cubicBezTo>
                      <a:cubicBezTo>
                        <a:pt x="358" y="1679"/>
                        <a:pt x="362" y="1681"/>
                        <a:pt x="366" y="1682"/>
                      </a:cubicBezTo>
                      <a:cubicBezTo>
                        <a:pt x="370" y="1684"/>
                        <a:pt x="374" y="1685"/>
                        <a:pt x="378" y="1686"/>
                      </a:cubicBezTo>
                      <a:cubicBezTo>
                        <a:pt x="382" y="1687"/>
                        <a:pt x="388" y="1689"/>
                        <a:pt x="393" y="1691"/>
                      </a:cubicBezTo>
                      <a:cubicBezTo>
                        <a:pt x="399" y="1693"/>
                        <a:pt x="405" y="1696"/>
                        <a:pt x="407" y="1701"/>
                      </a:cubicBezTo>
                      <a:cubicBezTo>
                        <a:pt x="409" y="1704"/>
                        <a:pt x="409" y="1707"/>
                        <a:pt x="408" y="1710"/>
                      </a:cubicBezTo>
                      <a:cubicBezTo>
                        <a:pt x="408" y="1712"/>
                        <a:pt x="408" y="1713"/>
                        <a:pt x="409" y="1715"/>
                      </a:cubicBezTo>
                      <a:cubicBezTo>
                        <a:pt x="412" y="1717"/>
                        <a:pt x="420" y="1721"/>
                        <a:pt x="429" y="1726"/>
                      </a:cubicBezTo>
                      <a:cubicBezTo>
                        <a:pt x="442" y="1733"/>
                        <a:pt x="456" y="1740"/>
                        <a:pt x="459" y="1741"/>
                      </a:cubicBezTo>
                      <a:cubicBezTo>
                        <a:pt x="459" y="1741"/>
                        <a:pt x="459" y="1741"/>
                        <a:pt x="459" y="1741"/>
                      </a:cubicBezTo>
                      <a:cubicBezTo>
                        <a:pt x="460" y="1741"/>
                        <a:pt x="461" y="1741"/>
                        <a:pt x="462" y="1742"/>
                      </a:cubicBezTo>
                      <a:cubicBezTo>
                        <a:pt x="462" y="1742"/>
                        <a:pt x="463" y="1742"/>
                        <a:pt x="464" y="1742"/>
                      </a:cubicBezTo>
                      <a:cubicBezTo>
                        <a:pt x="464" y="1742"/>
                        <a:pt x="464" y="1742"/>
                        <a:pt x="464" y="1742"/>
                      </a:cubicBezTo>
                      <a:cubicBezTo>
                        <a:pt x="465" y="1743"/>
                        <a:pt x="466" y="1743"/>
                        <a:pt x="467" y="1742"/>
                      </a:cubicBezTo>
                      <a:cubicBezTo>
                        <a:pt x="468" y="1738"/>
                        <a:pt x="470" y="1734"/>
                        <a:pt x="472" y="1732"/>
                      </a:cubicBezTo>
                      <a:cubicBezTo>
                        <a:pt x="472" y="1732"/>
                        <a:pt x="472" y="1732"/>
                        <a:pt x="472" y="1732"/>
                      </a:cubicBezTo>
                      <a:cubicBezTo>
                        <a:pt x="475" y="1728"/>
                        <a:pt x="478" y="1726"/>
                        <a:pt x="480" y="1725"/>
                      </a:cubicBezTo>
                      <a:cubicBezTo>
                        <a:pt x="482" y="1724"/>
                        <a:pt x="488" y="1724"/>
                        <a:pt x="496" y="1725"/>
                      </a:cubicBezTo>
                      <a:cubicBezTo>
                        <a:pt x="501" y="1726"/>
                        <a:pt x="507" y="1726"/>
                        <a:pt x="512" y="1728"/>
                      </a:cubicBezTo>
                      <a:cubicBezTo>
                        <a:pt x="520" y="1730"/>
                        <a:pt x="521" y="1733"/>
                        <a:pt x="523" y="1737"/>
                      </a:cubicBezTo>
                      <a:cubicBezTo>
                        <a:pt x="524" y="1739"/>
                        <a:pt x="525" y="1741"/>
                        <a:pt x="529" y="1744"/>
                      </a:cubicBezTo>
                      <a:cubicBezTo>
                        <a:pt x="529" y="1744"/>
                        <a:pt x="529" y="1744"/>
                        <a:pt x="529" y="1744"/>
                      </a:cubicBezTo>
                      <a:cubicBezTo>
                        <a:pt x="536" y="1749"/>
                        <a:pt x="545" y="1755"/>
                        <a:pt x="554" y="1760"/>
                      </a:cubicBezTo>
                      <a:cubicBezTo>
                        <a:pt x="559" y="1764"/>
                        <a:pt x="564" y="1767"/>
                        <a:pt x="566" y="1769"/>
                      </a:cubicBezTo>
                      <a:cubicBezTo>
                        <a:pt x="569" y="1771"/>
                        <a:pt x="572" y="1772"/>
                        <a:pt x="574" y="1773"/>
                      </a:cubicBezTo>
                      <a:cubicBezTo>
                        <a:pt x="576" y="1774"/>
                        <a:pt x="579" y="1775"/>
                        <a:pt x="581" y="1775"/>
                      </a:cubicBezTo>
                      <a:cubicBezTo>
                        <a:pt x="584" y="1776"/>
                        <a:pt x="587" y="1776"/>
                        <a:pt x="590" y="1778"/>
                      </a:cubicBezTo>
                      <a:cubicBezTo>
                        <a:pt x="593" y="1779"/>
                        <a:pt x="596" y="1782"/>
                        <a:pt x="601" y="1785"/>
                      </a:cubicBezTo>
                      <a:cubicBezTo>
                        <a:pt x="604" y="1789"/>
                        <a:pt x="607" y="1792"/>
                        <a:pt x="609" y="1795"/>
                      </a:cubicBezTo>
                      <a:cubicBezTo>
                        <a:pt x="612" y="1799"/>
                        <a:pt x="614" y="1802"/>
                        <a:pt x="617" y="1803"/>
                      </a:cubicBezTo>
                      <a:cubicBezTo>
                        <a:pt x="621" y="1805"/>
                        <a:pt x="624" y="1804"/>
                        <a:pt x="628" y="1803"/>
                      </a:cubicBezTo>
                      <a:cubicBezTo>
                        <a:pt x="630" y="1803"/>
                        <a:pt x="633" y="1802"/>
                        <a:pt x="637" y="1802"/>
                      </a:cubicBezTo>
                      <a:cubicBezTo>
                        <a:pt x="641" y="1802"/>
                        <a:pt x="645" y="1803"/>
                        <a:pt x="647" y="1806"/>
                      </a:cubicBezTo>
                      <a:cubicBezTo>
                        <a:pt x="650" y="1808"/>
                        <a:pt x="652" y="1811"/>
                        <a:pt x="654" y="1816"/>
                      </a:cubicBezTo>
                      <a:cubicBezTo>
                        <a:pt x="654" y="1816"/>
                        <a:pt x="654" y="1816"/>
                        <a:pt x="654" y="1816"/>
                      </a:cubicBezTo>
                      <a:cubicBezTo>
                        <a:pt x="655" y="1818"/>
                        <a:pt x="655" y="1818"/>
                        <a:pt x="655" y="1818"/>
                      </a:cubicBezTo>
                      <a:cubicBezTo>
                        <a:pt x="655" y="1818"/>
                        <a:pt x="655" y="1818"/>
                        <a:pt x="655" y="1818"/>
                      </a:cubicBezTo>
                      <a:cubicBezTo>
                        <a:pt x="657" y="1825"/>
                        <a:pt x="659" y="1829"/>
                        <a:pt x="666" y="1832"/>
                      </a:cubicBezTo>
                      <a:cubicBezTo>
                        <a:pt x="669" y="1834"/>
                        <a:pt x="672" y="1836"/>
                        <a:pt x="675" y="1837"/>
                      </a:cubicBezTo>
                      <a:cubicBezTo>
                        <a:pt x="678" y="1840"/>
                        <a:pt x="682" y="1842"/>
                        <a:pt x="687" y="1843"/>
                      </a:cubicBezTo>
                      <a:cubicBezTo>
                        <a:pt x="691" y="1845"/>
                        <a:pt x="694" y="1845"/>
                        <a:pt x="697" y="1845"/>
                      </a:cubicBezTo>
                      <a:cubicBezTo>
                        <a:pt x="699" y="1845"/>
                        <a:pt x="702" y="1845"/>
                        <a:pt x="704" y="1846"/>
                      </a:cubicBezTo>
                      <a:cubicBezTo>
                        <a:pt x="710" y="1848"/>
                        <a:pt x="711" y="1851"/>
                        <a:pt x="712" y="1856"/>
                      </a:cubicBezTo>
                      <a:cubicBezTo>
                        <a:pt x="712" y="1858"/>
                        <a:pt x="712" y="1859"/>
                        <a:pt x="713" y="1861"/>
                      </a:cubicBezTo>
                      <a:cubicBezTo>
                        <a:pt x="713" y="1861"/>
                        <a:pt x="713" y="1861"/>
                        <a:pt x="713" y="1861"/>
                      </a:cubicBezTo>
                      <a:cubicBezTo>
                        <a:pt x="713" y="1863"/>
                        <a:pt x="723" y="1863"/>
                        <a:pt x="730" y="1863"/>
                      </a:cubicBezTo>
                      <a:cubicBezTo>
                        <a:pt x="735" y="1863"/>
                        <a:pt x="738" y="1864"/>
                        <a:pt x="741" y="1864"/>
                      </a:cubicBezTo>
                      <a:cubicBezTo>
                        <a:pt x="747" y="1865"/>
                        <a:pt x="751" y="1872"/>
                        <a:pt x="756" y="1878"/>
                      </a:cubicBezTo>
                      <a:cubicBezTo>
                        <a:pt x="758" y="1882"/>
                        <a:pt x="760" y="1886"/>
                        <a:pt x="761" y="1886"/>
                      </a:cubicBezTo>
                      <a:cubicBezTo>
                        <a:pt x="762" y="1886"/>
                        <a:pt x="762" y="1886"/>
                        <a:pt x="763" y="1885"/>
                      </a:cubicBezTo>
                      <a:cubicBezTo>
                        <a:pt x="764" y="1884"/>
                        <a:pt x="766" y="1882"/>
                        <a:pt x="770" y="1881"/>
                      </a:cubicBezTo>
                      <a:cubicBezTo>
                        <a:pt x="776" y="1879"/>
                        <a:pt x="780" y="1881"/>
                        <a:pt x="784" y="1884"/>
                      </a:cubicBezTo>
                      <a:cubicBezTo>
                        <a:pt x="784" y="1884"/>
                        <a:pt x="784" y="1884"/>
                        <a:pt x="784" y="1884"/>
                      </a:cubicBezTo>
                      <a:cubicBezTo>
                        <a:pt x="786" y="1885"/>
                        <a:pt x="788" y="1886"/>
                        <a:pt x="790" y="1886"/>
                      </a:cubicBezTo>
                      <a:cubicBezTo>
                        <a:pt x="792" y="1886"/>
                        <a:pt x="794" y="1885"/>
                        <a:pt x="795" y="1884"/>
                      </a:cubicBezTo>
                      <a:cubicBezTo>
                        <a:pt x="798" y="1882"/>
                        <a:pt x="802" y="1880"/>
                        <a:pt x="808" y="1881"/>
                      </a:cubicBezTo>
                      <a:cubicBezTo>
                        <a:pt x="813" y="1882"/>
                        <a:pt x="816" y="1883"/>
                        <a:pt x="820" y="1885"/>
                      </a:cubicBezTo>
                      <a:cubicBezTo>
                        <a:pt x="824" y="1888"/>
                        <a:pt x="829" y="1890"/>
                        <a:pt x="836" y="1891"/>
                      </a:cubicBezTo>
                      <a:cubicBezTo>
                        <a:pt x="843" y="1893"/>
                        <a:pt x="852" y="1894"/>
                        <a:pt x="860" y="1895"/>
                      </a:cubicBezTo>
                      <a:cubicBezTo>
                        <a:pt x="870" y="1895"/>
                        <a:pt x="878" y="1896"/>
                        <a:pt x="883" y="1895"/>
                      </a:cubicBezTo>
                      <a:cubicBezTo>
                        <a:pt x="890" y="1895"/>
                        <a:pt x="896" y="1890"/>
                        <a:pt x="900" y="1887"/>
                      </a:cubicBezTo>
                      <a:cubicBezTo>
                        <a:pt x="902" y="1885"/>
                        <a:pt x="904" y="1883"/>
                        <a:pt x="906" y="1882"/>
                      </a:cubicBezTo>
                      <a:cubicBezTo>
                        <a:pt x="909" y="1881"/>
                        <a:pt x="912" y="1879"/>
                        <a:pt x="916" y="1878"/>
                      </a:cubicBezTo>
                      <a:cubicBezTo>
                        <a:pt x="919" y="1877"/>
                        <a:pt x="923" y="1877"/>
                        <a:pt x="928" y="1879"/>
                      </a:cubicBezTo>
                      <a:cubicBezTo>
                        <a:pt x="932" y="1880"/>
                        <a:pt x="936" y="1883"/>
                        <a:pt x="938" y="1887"/>
                      </a:cubicBezTo>
                      <a:cubicBezTo>
                        <a:pt x="941" y="1891"/>
                        <a:pt x="941" y="1896"/>
                        <a:pt x="940" y="1900"/>
                      </a:cubicBezTo>
                      <a:cubicBezTo>
                        <a:pt x="939" y="1904"/>
                        <a:pt x="939" y="1908"/>
                        <a:pt x="939" y="1911"/>
                      </a:cubicBezTo>
                      <a:cubicBezTo>
                        <a:pt x="939" y="1915"/>
                        <a:pt x="939" y="1918"/>
                        <a:pt x="940" y="1921"/>
                      </a:cubicBezTo>
                      <a:cubicBezTo>
                        <a:pt x="940" y="1922"/>
                        <a:pt x="941" y="1924"/>
                        <a:pt x="941" y="1925"/>
                      </a:cubicBezTo>
                      <a:cubicBezTo>
                        <a:pt x="942" y="1924"/>
                        <a:pt x="942" y="1923"/>
                        <a:pt x="943" y="1922"/>
                      </a:cubicBezTo>
                      <a:cubicBezTo>
                        <a:pt x="943" y="1922"/>
                        <a:pt x="943" y="1922"/>
                        <a:pt x="943" y="1922"/>
                      </a:cubicBezTo>
                      <a:cubicBezTo>
                        <a:pt x="945" y="1919"/>
                        <a:pt x="947" y="1915"/>
                        <a:pt x="950" y="1912"/>
                      </a:cubicBezTo>
                      <a:cubicBezTo>
                        <a:pt x="952" y="1909"/>
                        <a:pt x="954" y="1907"/>
                        <a:pt x="955" y="1904"/>
                      </a:cubicBezTo>
                      <a:cubicBezTo>
                        <a:pt x="955" y="1904"/>
                        <a:pt x="955" y="1904"/>
                        <a:pt x="955" y="1904"/>
                      </a:cubicBezTo>
                      <a:cubicBezTo>
                        <a:pt x="959" y="1898"/>
                        <a:pt x="962" y="1893"/>
                        <a:pt x="972" y="1888"/>
                      </a:cubicBezTo>
                      <a:cubicBezTo>
                        <a:pt x="977" y="1885"/>
                        <a:pt x="981" y="1882"/>
                        <a:pt x="985" y="1878"/>
                      </a:cubicBezTo>
                      <a:cubicBezTo>
                        <a:pt x="990" y="1873"/>
                        <a:pt x="994" y="1869"/>
                        <a:pt x="1002" y="1869"/>
                      </a:cubicBezTo>
                      <a:cubicBezTo>
                        <a:pt x="1006" y="1868"/>
                        <a:pt x="1009" y="1868"/>
                        <a:pt x="1011" y="1867"/>
                      </a:cubicBezTo>
                      <a:cubicBezTo>
                        <a:pt x="1017" y="1865"/>
                        <a:pt x="1021" y="1864"/>
                        <a:pt x="1027" y="1869"/>
                      </a:cubicBezTo>
                      <a:cubicBezTo>
                        <a:pt x="1030" y="1872"/>
                        <a:pt x="1031" y="1873"/>
                        <a:pt x="1033" y="1875"/>
                      </a:cubicBezTo>
                      <a:cubicBezTo>
                        <a:pt x="1035" y="1877"/>
                        <a:pt x="1036" y="1879"/>
                        <a:pt x="1043" y="1880"/>
                      </a:cubicBezTo>
                      <a:cubicBezTo>
                        <a:pt x="1047" y="1881"/>
                        <a:pt x="1050" y="1881"/>
                        <a:pt x="1052" y="1881"/>
                      </a:cubicBezTo>
                      <a:cubicBezTo>
                        <a:pt x="1058" y="1882"/>
                        <a:pt x="1060" y="1882"/>
                        <a:pt x="1065" y="1885"/>
                      </a:cubicBezTo>
                      <a:cubicBezTo>
                        <a:pt x="1067" y="1886"/>
                        <a:pt x="1070" y="1885"/>
                        <a:pt x="1074" y="1883"/>
                      </a:cubicBezTo>
                      <a:cubicBezTo>
                        <a:pt x="1078" y="1882"/>
                        <a:pt x="1084" y="1880"/>
                        <a:pt x="1090" y="1881"/>
                      </a:cubicBezTo>
                      <a:cubicBezTo>
                        <a:pt x="1096" y="1881"/>
                        <a:pt x="1101" y="1882"/>
                        <a:pt x="1104" y="1883"/>
                      </a:cubicBezTo>
                      <a:cubicBezTo>
                        <a:pt x="1109" y="1884"/>
                        <a:pt x="1111" y="1886"/>
                        <a:pt x="1114" y="1888"/>
                      </a:cubicBezTo>
                      <a:cubicBezTo>
                        <a:pt x="1117" y="1891"/>
                        <a:pt x="1118" y="1896"/>
                        <a:pt x="1119" y="1899"/>
                      </a:cubicBezTo>
                      <a:cubicBezTo>
                        <a:pt x="1121" y="1899"/>
                        <a:pt x="1124" y="1899"/>
                        <a:pt x="1127" y="1899"/>
                      </a:cubicBezTo>
                      <a:cubicBezTo>
                        <a:pt x="1131" y="1899"/>
                        <a:pt x="1136" y="1899"/>
                        <a:pt x="1142" y="1898"/>
                      </a:cubicBezTo>
                      <a:cubicBezTo>
                        <a:pt x="1146" y="1898"/>
                        <a:pt x="1149" y="1898"/>
                        <a:pt x="1151" y="1898"/>
                      </a:cubicBezTo>
                      <a:cubicBezTo>
                        <a:pt x="1157" y="1898"/>
                        <a:pt x="1161" y="1898"/>
                        <a:pt x="1167" y="1892"/>
                      </a:cubicBezTo>
                      <a:cubicBezTo>
                        <a:pt x="1172" y="1887"/>
                        <a:pt x="1172" y="1885"/>
                        <a:pt x="1173" y="1883"/>
                      </a:cubicBezTo>
                      <a:cubicBezTo>
                        <a:pt x="1174" y="1880"/>
                        <a:pt x="1175" y="1878"/>
                        <a:pt x="1179" y="1874"/>
                      </a:cubicBezTo>
                      <a:cubicBezTo>
                        <a:pt x="1182" y="1871"/>
                        <a:pt x="1184" y="1869"/>
                        <a:pt x="1186" y="1868"/>
                      </a:cubicBezTo>
                      <a:cubicBezTo>
                        <a:pt x="1189" y="1866"/>
                        <a:pt x="1192" y="1864"/>
                        <a:pt x="1196" y="1859"/>
                      </a:cubicBezTo>
                      <a:cubicBezTo>
                        <a:pt x="1199" y="1857"/>
                        <a:pt x="1200" y="1854"/>
                        <a:pt x="1202" y="1851"/>
                      </a:cubicBezTo>
                      <a:cubicBezTo>
                        <a:pt x="1205" y="1845"/>
                        <a:pt x="1207" y="1840"/>
                        <a:pt x="1219" y="1838"/>
                      </a:cubicBezTo>
                      <a:cubicBezTo>
                        <a:pt x="1225" y="1836"/>
                        <a:pt x="1229" y="1836"/>
                        <a:pt x="1233" y="1836"/>
                      </a:cubicBezTo>
                      <a:cubicBezTo>
                        <a:pt x="1238" y="1836"/>
                        <a:pt x="1242" y="1836"/>
                        <a:pt x="1248" y="1832"/>
                      </a:cubicBezTo>
                      <a:cubicBezTo>
                        <a:pt x="1254" y="1828"/>
                        <a:pt x="1257" y="1824"/>
                        <a:pt x="1261" y="1820"/>
                      </a:cubicBezTo>
                      <a:cubicBezTo>
                        <a:pt x="1266" y="1816"/>
                        <a:pt x="1270" y="1811"/>
                        <a:pt x="1276" y="1807"/>
                      </a:cubicBezTo>
                      <a:cubicBezTo>
                        <a:pt x="1279" y="1805"/>
                        <a:pt x="1281" y="1803"/>
                        <a:pt x="1282" y="1802"/>
                      </a:cubicBezTo>
                      <a:cubicBezTo>
                        <a:pt x="1288" y="1796"/>
                        <a:pt x="1289" y="1794"/>
                        <a:pt x="1301" y="1801"/>
                      </a:cubicBezTo>
                      <a:cubicBezTo>
                        <a:pt x="1307" y="1804"/>
                        <a:pt x="1313" y="1806"/>
                        <a:pt x="1318" y="1807"/>
                      </a:cubicBezTo>
                      <a:cubicBezTo>
                        <a:pt x="1324" y="1808"/>
                        <a:pt x="1329" y="1809"/>
                        <a:pt x="1333" y="1809"/>
                      </a:cubicBezTo>
                      <a:cubicBezTo>
                        <a:pt x="1337" y="1810"/>
                        <a:pt x="1340" y="1811"/>
                        <a:pt x="1342" y="1813"/>
                      </a:cubicBezTo>
                      <a:cubicBezTo>
                        <a:pt x="1344" y="1814"/>
                        <a:pt x="1346" y="1815"/>
                        <a:pt x="1352" y="1811"/>
                      </a:cubicBezTo>
                      <a:cubicBezTo>
                        <a:pt x="1357" y="1807"/>
                        <a:pt x="1362" y="1803"/>
                        <a:pt x="1366" y="1800"/>
                      </a:cubicBezTo>
                      <a:cubicBezTo>
                        <a:pt x="1371" y="1794"/>
                        <a:pt x="1376" y="1790"/>
                        <a:pt x="1381" y="1789"/>
                      </a:cubicBezTo>
                      <a:cubicBezTo>
                        <a:pt x="1385" y="1788"/>
                        <a:pt x="1389" y="1788"/>
                        <a:pt x="1393" y="1790"/>
                      </a:cubicBezTo>
                      <a:cubicBezTo>
                        <a:pt x="1397" y="1791"/>
                        <a:pt x="1400" y="1794"/>
                        <a:pt x="1402" y="1798"/>
                      </a:cubicBezTo>
                      <a:cubicBezTo>
                        <a:pt x="1406" y="1804"/>
                        <a:pt x="1401" y="1808"/>
                        <a:pt x="1396" y="1812"/>
                      </a:cubicBezTo>
                      <a:cubicBezTo>
                        <a:pt x="1393" y="1814"/>
                        <a:pt x="1391" y="1816"/>
                        <a:pt x="1391" y="1817"/>
                      </a:cubicBezTo>
                      <a:cubicBezTo>
                        <a:pt x="1391" y="1817"/>
                        <a:pt x="1391" y="1818"/>
                        <a:pt x="1391" y="1819"/>
                      </a:cubicBezTo>
                      <a:cubicBezTo>
                        <a:pt x="1391" y="1822"/>
                        <a:pt x="1392" y="1824"/>
                        <a:pt x="1392" y="1825"/>
                      </a:cubicBezTo>
                      <a:cubicBezTo>
                        <a:pt x="1393" y="1825"/>
                        <a:pt x="1394" y="1824"/>
                        <a:pt x="1396" y="1823"/>
                      </a:cubicBezTo>
                      <a:cubicBezTo>
                        <a:pt x="1400" y="1821"/>
                        <a:pt x="1404" y="1819"/>
                        <a:pt x="1409" y="1819"/>
                      </a:cubicBezTo>
                      <a:cubicBezTo>
                        <a:pt x="1412" y="1820"/>
                        <a:pt x="1415" y="1821"/>
                        <a:pt x="1417" y="1823"/>
                      </a:cubicBezTo>
                      <a:cubicBezTo>
                        <a:pt x="1419" y="1825"/>
                        <a:pt x="1420" y="1827"/>
                        <a:pt x="1421" y="1829"/>
                      </a:cubicBezTo>
                      <a:cubicBezTo>
                        <a:pt x="1423" y="1832"/>
                        <a:pt x="1423" y="1834"/>
                        <a:pt x="1423" y="1836"/>
                      </a:cubicBezTo>
                      <a:cubicBezTo>
                        <a:pt x="1423" y="1838"/>
                        <a:pt x="1422" y="1839"/>
                        <a:pt x="1421" y="1841"/>
                      </a:cubicBezTo>
                      <a:cubicBezTo>
                        <a:pt x="1420" y="1842"/>
                        <a:pt x="1418" y="1843"/>
                        <a:pt x="1417" y="1844"/>
                      </a:cubicBezTo>
                      <a:cubicBezTo>
                        <a:pt x="1413" y="1847"/>
                        <a:pt x="1408" y="1851"/>
                        <a:pt x="1407" y="1854"/>
                      </a:cubicBezTo>
                      <a:cubicBezTo>
                        <a:pt x="1407" y="1855"/>
                        <a:pt x="1407" y="1856"/>
                        <a:pt x="1407" y="1857"/>
                      </a:cubicBezTo>
                      <a:cubicBezTo>
                        <a:pt x="1406" y="1858"/>
                        <a:pt x="1406" y="1859"/>
                        <a:pt x="1406" y="1859"/>
                      </a:cubicBezTo>
                      <a:cubicBezTo>
                        <a:pt x="1406" y="1859"/>
                        <a:pt x="1406" y="1859"/>
                        <a:pt x="1407" y="1859"/>
                      </a:cubicBezTo>
                      <a:cubicBezTo>
                        <a:pt x="1411" y="1859"/>
                        <a:pt x="1414" y="1860"/>
                        <a:pt x="1418" y="1860"/>
                      </a:cubicBezTo>
                      <a:cubicBezTo>
                        <a:pt x="1422" y="1860"/>
                        <a:pt x="1425" y="1860"/>
                        <a:pt x="1428" y="1860"/>
                      </a:cubicBezTo>
                      <a:cubicBezTo>
                        <a:pt x="1431" y="1860"/>
                        <a:pt x="1433" y="1859"/>
                        <a:pt x="1435" y="1859"/>
                      </a:cubicBezTo>
                      <a:cubicBezTo>
                        <a:pt x="1439" y="1858"/>
                        <a:pt x="1442" y="1857"/>
                        <a:pt x="1447" y="1859"/>
                      </a:cubicBezTo>
                      <a:cubicBezTo>
                        <a:pt x="1451" y="1861"/>
                        <a:pt x="1456" y="1865"/>
                        <a:pt x="1461" y="1868"/>
                      </a:cubicBezTo>
                      <a:cubicBezTo>
                        <a:pt x="1461" y="1867"/>
                        <a:pt x="1462" y="1865"/>
                        <a:pt x="1463" y="1864"/>
                      </a:cubicBezTo>
                      <a:cubicBezTo>
                        <a:pt x="1466" y="1860"/>
                        <a:pt x="1470" y="1856"/>
                        <a:pt x="1472" y="1854"/>
                      </a:cubicBezTo>
                      <a:cubicBezTo>
                        <a:pt x="1475" y="1852"/>
                        <a:pt x="1478" y="1852"/>
                        <a:pt x="1482" y="1853"/>
                      </a:cubicBezTo>
                      <a:cubicBezTo>
                        <a:pt x="1485" y="1854"/>
                        <a:pt x="1488" y="1857"/>
                        <a:pt x="1493" y="1861"/>
                      </a:cubicBezTo>
                      <a:cubicBezTo>
                        <a:pt x="1497" y="1864"/>
                        <a:pt x="1500" y="1866"/>
                        <a:pt x="1503" y="1868"/>
                      </a:cubicBezTo>
                      <a:cubicBezTo>
                        <a:pt x="1507" y="1871"/>
                        <a:pt x="1510" y="1873"/>
                        <a:pt x="1514" y="1878"/>
                      </a:cubicBezTo>
                      <a:cubicBezTo>
                        <a:pt x="1517" y="1882"/>
                        <a:pt x="1517" y="1887"/>
                        <a:pt x="1516" y="1892"/>
                      </a:cubicBezTo>
                      <a:cubicBezTo>
                        <a:pt x="1516" y="1897"/>
                        <a:pt x="1516" y="1901"/>
                        <a:pt x="1519" y="1904"/>
                      </a:cubicBezTo>
                      <a:cubicBezTo>
                        <a:pt x="1519" y="1904"/>
                        <a:pt x="1519" y="1904"/>
                        <a:pt x="1519" y="1904"/>
                      </a:cubicBezTo>
                      <a:cubicBezTo>
                        <a:pt x="1521" y="1906"/>
                        <a:pt x="1526" y="1907"/>
                        <a:pt x="1530" y="1907"/>
                      </a:cubicBezTo>
                      <a:cubicBezTo>
                        <a:pt x="1535" y="1907"/>
                        <a:pt x="1540" y="1907"/>
                        <a:pt x="1544" y="1910"/>
                      </a:cubicBezTo>
                      <a:cubicBezTo>
                        <a:pt x="1552" y="1916"/>
                        <a:pt x="1551" y="1922"/>
                        <a:pt x="1551" y="1936"/>
                      </a:cubicBezTo>
                      <a:cubicBezTo>
                        <a:pt x="1551" y="1939"/>
                        <a:pt x="1551" y="1939"/>
                        <a:pt x="1551" y="1939"/>
                      </a:cubicBezTo>
                      <a:cubicBezTo>
                        <a:pt x="1550" y="1948"/>
                        <a:pt x="1551" y="1951"/>
                        <a:pt x="1552" y="1955"/>
                      </a:cubicBezTo>
                      <a:cubicBezTo>
                        <a:pt x="1552" y="1959"/>
                        <a:pt x="1553" y="1962"/>
                        <a:pt x="1554" y="1969"/>
                      </a:cubicBezTo>
                      <a:cubicBezTo>
                        <a:pt x="1555" y="1985"/>
                        <a:pt x="1553" y="1989"/>
                        <a:pt x="1549" y="1996"/>
                      </a:cubicBezTo>
                      <a:cubicBezTo>
                        <a:pt x="1549" y="1997"/>
                        <a:pt x="1548" y="1998"/>
                        <a:pt x="1548" y="1999"/>
                      </a:cubicBezTo>
                      <a:cubicBezTo>
                        <a:pt x="1546" y="2001"/>
                        <a:pt x="1545" y="2003"/>
                        <a:pt x="1544" y="2005"/>
                      </a:cubicBezTo>
                      <a:cubicBezTo>
                        <a:pt x="1543" y="2007"/>
                        <a:pt x="1542" y="2008"/>
                        <a:pt x="1543" y="2013"/>
                      </a:cubicBezTo>
                      <a:cubicBezTo>
                        <a:pt x="1544" y="2015"/>
                        <a:pt x="1545" y="2017"/>
                        <a:pt x="1546" y="2019"/>
                      </a:cubicBezTo>
                      <a:cubicBezTo>
                        <a:pt x="1549" y="2025"/>
                        <a:pt x="1550" y="2028"/>
                        <a:pt x="1548" y="2034"/>
                      </a:cubicBezTo>
                      <a:cubicBezTo>
                        <a:pt x="1546" y="2036"/>
                        <a:pt x="1544" y="2039"/>
                        <a:pt x="1541" y="2042"/>
                      </a:cubicBezTo>
                      <a:cubicBezTo>
                        <a:pt x="1536" y="2046"/>
                        <a:pt x="1530" y="2051"/>
                        <a:pt x="1528" y="2052"/>
                      </a:cubicBezTo>
                      <a:cubicBezTo>
                        <a:pt x="1525" y="2055"/>
                        <a:pt x="1522" y="2054"/>
                        <a:pt x="1519" y="2054"/>
                      </a:cubicBezTo>
                      <a:cubicBezTo>
                        <a:pt x="1519" y="2054"/>
                        <a:pt x="1519" y="2054"/>
                        <a:pt x="1519" y="2054"/>
                      </a:cubicBezTo>
                      <a:cubicBezTo>
                        <a:pt x="1518" y="2054"/>
                        <a:pt x="1516" y="2054"/>
                        <a:pt x="1515" y="2055"/>
                      </a:cubicBezTo>
                      <a:cubicBezTo>
                        <a:pt x="1514" y="2055"/>
                        <a:pt x="1514" y="2057"/>
                        <a:pt x="1514" y="2058"/>
                      </a:cubicBezTo>
                      <a:cubicBezTo>
                        <a:pt x="1513" y="2061"/>
                        <a:pt x="1513" y="2064"/>
                        <a:pt x="1510" y="2066"/>
                      </a:cubicBezTo>
                      <a:cubicBezTo>
                        <a:pt x="1508" y="2069"/>
                        <a:pt x="1505" y="2071"/>
                        <a:pt x="1502" y="2072"/>
                      </a:cubicBezTo>
                      <a:cubicBezTo>
                        <a:pt x="1502" y="2072"/>
                        <a:pt x="1502" y="2072"/>
                        <a:pt x="1502" y="2072"/>
                      </a:cubicBezTo>
                      <a:cubicBezTo>
                        <a:pt x="1500" y="2074"/>
                        <a:pt x="1498" y="2075"/>
                        <a:pt x="1497" y="2076"/>
                      </a:cubicBezTo>
                      <a:cubicBezTo>
                        <a:pt x="1497" y="2076"/>
                        <a:pt x="1497" y="2076"/>
                        <a:pt x="1497" y="2076"/>
                      </a:cubicBezTo>
                      <a:cubicBezTo>
                        <a:pt x="1497" y="2076"/>
                        <a:pt x="1496" y="2080"/>
                        <a:pt x="1496" y="2084"/>
                      </a:cubicBezTo>
                      <a:cubicBezTo>
                        <a:pt x="1496" y="2088"/>
                        <a:pt x="1495" y="2091"/>
                        <a:pt x="1495" y="2094"/>
                      </a:cubicBezTo>
                      <a:cubicBezTo>
                        <a:pt x="1493" y="2099"/>
                        <a:pt x="1490" y="2101"/>
                        <a:pt x="1487" y="2103"/>
                      </a:cubicBezTo>
                      <a:cubicBezTo>
                        <a:pt x="1485" y="2104"/>
                        <a:pt x="1484" y="2105"/>
                        <a:pt x="1483" y="2107"/>
                      </a:cubicBezTo>
                      <a:cubicBezTo>
                        <a:pt x="1482" y="2108"/>
                        <a:pt x="1482" y="2109"/>
                        <a:pt x="1482" y="2110"/>
                      </a:cubicBezTo>
                      <a:cubicBezTo>
                        <a:pt x="1480" y="2113"/>
                        <a:pt x="1479" y="2116"/>
                        <a:pt x="1480" y="2120"/>
                      </a:cubicBezTo>
                      <a:cubicBezTo>
                        <a:pt x="1480" y="2122"/>
                        <a:pt x="1482" y="2123"/>
                        <a:pt x="1483" y="2124"/>
                      </a:cubicBezTo>
                      <a:cubicBezTo>
                        <a:pt x="1485" y="2126"/>
                        <a:pt x="1487" y="2128"/>
                        <a:pt x="1489" y="2132"/>
                      </a:cubicBezTo>
                      <a:cubicBezTo>
                        <a:pt x="1491" y="2139"/>
                        <a:pt x="1488" y="2143"/>
                        <a:pt x="1484" y="2146"/>
                      </a:cubicBezTo>
                      <a:cubicBezTo>
                        <a:pt x="1483" y="2147"/>
                        <a:pt x="1482" y="2148"/>
                        <a:pt x="1482" y="2150"/>
                      </a:cubicBezTo>
                      <a:cubicBezTo>
                        <a:pt x="1481" y="2151"/>
                        <a:pt x="1480" y="2153"/>
                        <a:pt x="1481" y="2154"/>
                      </a:cubicBezTo>
                      <a:cubicBezTo>
                        <a:pt x="1481" y="2155"/>
                        <a:pt x="1482" y="2156"/>
                        <a:pt x="1484" y="2157"/>
                      </a:cubicBezTo>
                      <a:cubicBezTo>
                        <a:pt x="1487" y="2158"/>
                        <a:pt x="1493" y="2155"/>
                        <a:pt x="1497" y="2152"/>
                      </a:cubicBezTo>
                      <a:cubicBezTo>
                        <a:pt x="1498" y="2152"/>
                        <a:pt x="1499" y="2151"/>
                        <a:pt x="1500" y="2150"/>
                      </a:cubicBezTo>
                      <a:cubicBezTo>
                        <a:pt x="1502" y="2150"/>
                        <a:pt x="1503" y="2149"/>
                        <a:pt x="1504" y="2148"/>
                      </a:cubicBezTo>
                      <a:cubicBezTo>
                        <a:pt x="1507" y="2145"/>
                        <a:pt x="1509" y="2143"/>
                        <a:pt x="1517" y="2143"/>
                      </a:cubicBezTo>
                      <a:cubicBezTo>
                        <a:pt x="1521" y="2142"/>
                        <a:pt x="1524" y="2143"/>
                        <a:pt x="1527" y="2144"/>
                      </a:cubicBezTo>
                      <a:cubicBezTo>
                        <a:pt x="1530" y="2145"/>
                        <a:pt x="1533" y="2146"/>
                        <a:pt x="1536" y="2144"/>
                      </a:cubicBezTo>
                      <a:cubicBezTo>
                        <a:pt x="1538" y="2143"/>
                        <a:pt x="1540" y="2142"/>
                        <a:pt x="1542" y="2142"/>
                      </a:cubicBezTo>
                      <a:cubicBezTo>
                        <a:pt x="1548" y="2138"/>
                        <a:pt x="1553" y="2136"/>
                        <a:pt x="1558" y="2141"/>
                      </a:cubicBezTo>
                      <a:cubicBezTo>
                        <a:pt x="1563" y="2145"/>
                        <a:pt x="1560" y="2151"/>
                        <a:pt x="1557" y="2157"/>
                      </a:cubicBezTo>
                      <a:cubicBezTo>
                        <a:pt x="1555" y="2160"/>
                        <a:pt x="1554" y="2162"/>
                        <a:pt x="1554" y="2164"/>
                      </a:cubicBezTo>
                      <a:cubicBezTo>
                        <a:pt x="1554" y="2167"/>
                        <a:pt x="1554" y="2170"/>
                        <a:pt x="1555" y="2173"/>
                      </a:cubicBezTo>
                      <a:cubicBezTo>
                        <a:pt x="1556" y="2176"/>
                        <a:pt x="1557" y="2180"/>
                        <a:pt x="1559" y="2184"/>
                      </a:cubicBezTo>
                      <a:cubicBezTo>
                        <a:pt x="1560" y="2187"/>
                        <a:pt x="1561" y="2189"/>
                        <a:pt x="1562" y="2192"/>
                      </a:cubicBezTo>
                      <a:cubicBezTo>
                        <a:pt x="1564" y="2197"/>
                        <a:pt x="1566" y="2201"/>
                        <a:pt x="1571" y="2203"/>
                      </a:cubicBezTo>
                      <a:cubicBezTo>
                        <a:pt x="1575" y="2205"/>
                        <a:pt x="1579" y="2206"/>
                        <a:pt x="1582" y="2207"/>
                      </a:cubicBezTo>
                      <a:cubicBezTo>
                        <a:pt x="1586" y="2208"/>
                        <a:pt x="1590" y="2209"/>
                        <a:pt x="1593" y="2211"/>
                      </a:cubicBezTo>
                      <a:cubicBezTo>
                        <a:pt x="1595" y="2214"/>
                        <a:pt x="1597" y="2216"/>
                        <a:pt x="1598" y="2218"/>
                      </a:cubicBezTo>
                      <a:cubicBezTo>
                        <a:pt x="1600" y="2221"/>
                        <a:pt x="1599" y="2224"/>
                        <a:pt x="1598" y="2228"/>
                      </a:cubicBezTo>
                      <a:cubicBezTo>
                        <a:pt x="1597" y="2230"/>
                        <a:pt x="1596" y="2232"/>
                        <a:pt x="1594" y="2234"/>
                      </a:cubicBezTo>
                      <a:cubicBezTo>
                        <a:pt x="1591" y="2238"/>
                        <a:pt x="1588" y="2243"/>
                        <a:pt x="1587" y="2247"/>
                      </a:cubicBezTo>
                      <a:cubicBezTo>
                        <a:pt x="1587" y="2248"/>
                        <a:pt x="1586" y="2250"/>
                        <a:pt x="1586" y="2251"/>
                      </a:cubicBezTo>
                      <a:cubicBezTo>
                        <a:pt x="1584" y="2258"/>
                        <a:pt x="1582" y="2265"/>
                        <a:pt x="1583" y="2269"/>
                      </a:cubicBezTo>
                      <a:cubicBezTo>
                        <a:pt x="1583" y="2270"/>
                        <a:pt x="1583" y="2270"/>
                        <a:pt x="1585" y="2271"/>
                      </a:cubicBezTo>
                      <a:cubicBezTo>
                        <a:pt x="1587" y="2271"/>
                        <a:pt x="1591" y="2272"/>
                        <a:pt x="1596" y="2272"/>
                      </a:cubicBezTo>
                      <a:cubicBezTo>
                        <a:pt x="1599" y="2272"/>
                        <a:pt x="1602" y="2272"/>
                        <a:pt x="1604" y="2272"/>
                      </a:cubicBezTo>
                      <a:cubicBezTo>
                        <a:pt x="1609" y="2272"/>
                        <a:pt x="1613" y="2272"/>
                        <a:pt x="1620" y="2275"/>
                      </a:cubicBezTo>
                      <a:cubicBezTo>
                        <a:pt x="1630" y="2278"/>
                        <a:pt x="1630" y="2285"/>
                        <a:pt x="1630" y="2292"/>
                      </a:cubicBezTo>
                      <a:cubicBezTo>
                        <a:pt x="1630" y="2294"/>
                        <a:pt x="1630" y="2297"/>
                        <a:pt x="1630" y="2298"/>
                      </a:cubicBezTo>
                      <a:cubicBezTo>
                        <a:pt x="1631" y="2302"/>
                        <a:pt x="1634" y="2308"/>
                        <a:pt x="1637" y="2312"/>
                      </a:cubicBezTo>
                      <a:cubicBezTo>
                        <a:pt x="1637" y="2312"/>
                        <a:pt x="1637" y="2312"/>
                        <a:pt x="1637" y="2312"/>
                      </a:cubicBezTo>
                      <a:cubicBezTo>
                        <a:pt x="1638" y="2314"/>
                        <a:pt x="1640" y="2316"/>
                        <a:pt x="1641" y="2316"/>
                      </a:cubicBezTo>
                      <a:cubicBezTo>
                        <a:pt x="1643" y="2316"/>
                        <a:pt x="1645" y="2315"/>
                        <a:pt x="1647" y="2313"/>
                      </a:cubicBezTo>
                      <a:cubicBezTo>
                        <a:pt x="1649" y="2312"/>
                        <a:pt x="1652" y="2310"/>
                        <a:pt x="1657" y="2308"/>
                      </a:cubicBezTo>
                      <a:cubicBezTo>
                        <a:pt x="1661" y="2305"/>
                        <a:pt x="1666" y="2303"/>
                        <a:pt x="1670" y="2302"/>
                      </a:cubicBezTo>
                      <a:cubicBezTo>
                        <a:pt x="1675" y="2300"/>
                        <a:pt x="1679" y="2299"/>
                        <a:pt x="1682" y="2298"/>
                      </a:cubicBezTo>
                      <a:cubicBezTo>
                        <a:pt x="1686" y="2298"/>
                        <a:pt x="1690" y="2298"/>
                        <a:pt x="1694" y="2299"/>
                      </a:cubicBezTo>
                      <a:cubicBezTo>
                        <a:pt x="1697" y="2301"/>
                        <a:pt x="1700" y="2304"/>
                        <a:pt x="1702" y="2309"/>
                      </a:cubicBezTo>
                      <a:cubicBezTo>
                        <a:pt x="1704" y="2313"/>
                        <a:pt x="1705" y="2316"/>
                        <a:pt x="1706" y="2319"/>
                      </a:cubicBezTo>
                      <a:cubicBezTo>
                        <a:pt x="1707" y="2322"/>
                        <a:pt x="1708" y="2326"/>
                        <a:pt x="1710" y="2328"/>
                      </a:cubicBezTo>
                      <a:cubicBezTo>
                        <a:pt x="1712" y="2331"/>
                        <a:pt x="1714" y="2333"/>
                        <a:pt x="1717" y="2334"/>
                      </a:cubicBezTo>
                      <a:cubicBezTo>
                        <a:pt x="1720" y="2335"/>
                        <a:pt x="1723" y="2336"/>
                        <a:pt x="1727" y="2336"/>
                      </a:cubicBezTo>
                      <a:cubicBezTo>
                        <a:pt x="1731" y="2336"/>
                        <a:pt x="1734" y="2336"/>
                        <a:pt x="1735" y="2336"/>
                      </a:cubicBezTo>
                      <a:cubicBezTo>
                        <a:pt x="1735" y="2336"/>
                        <a:pt x="1734" y="2335"/>
                        <a:pt x="1734" y="2333"/>
                      </a:cubicBezTo>
                      <a:cubicBezTo>
                        <a:pt x="1734" y="2331"/>
                        <a:pt x="1733" y="2329"/>
                        <a:pt x="1733" y="2327"/>
                      </a:cubicBezTo>
                      <a:cubicBezTo>
                        <a:pt x="1732" y="2323"/>
                        <a:pt x="1731" y="2318"/>
                        <a:pt x="1731" y="2310"/>
                      </a:cubicBezTo>
                      <a:cubicBezTo>
                        <a:pt x="1731" y="2306"/>
                        <a:pt x="1731" y="2303"/>
                        <a:pt x="1732" y="2300"/>
                      </a:cubicBezTo>
                      <a:cubicBezTo>
                        <a:pt x="1732" y="2297"/>
                        <a:pt x="1732" y="2296"/>
                        <a:pt x="1731" y="2293"/>
                      </a:cubicBezTo>
                      <a:cubicBezTo>
                        <a:pt x="1730" y="2291"/>
                        <a:pt x="1728" y="2290"/>
                        <a:pt x="1727" y="2288"/>
                      </a:cubicBezTo>
                      <a:cubicBezTo>
                        <a:pt x="1727" y="2288"/>
                        <a:pt x="1727" y="2288"/>
                        <a:pt x="1727" y="2288"/>
                      </a:cubicBezTo>
                      <a:cubicBezTo>
                        <a:pt x="1723" y="2283"/>
                        <a:pt x="1720" y="2279"/>
                        <a:pt x="1719" y="2273"/>
                      </a:cubicBezTo>
                      <a:cubicBezTo>
                        <a:pt x="1719" y="2269"/>
                        <a:pt x="1721" y="2264"/>
                        <a:pt x="1724" y="2260"/>
                      </a:cubicBezTo>
                      <a:cubicBezTo>
                        <a:pt x="1727" y="2256"/>
                        <a:pt x="1732" y="2252"/>
                        <a:pt x="1736" y="2251"/>
                      </a:cubicBezTo>
                      <a:cubicBezTo>
                        <a:pt x="1741" y="2250"/>
                        <a:pt x="1744" y="2251"/>
                        <a:pt x="1750" y="2252"/>
                      </a:cubicBezTo>
                      <a:cubicBezTo>
                        <a:pt x="1751" y="2252"/>
                        <a:pt x="1753" y="2252"/>
                        <a:pt x="1755" y="2253"/>
                      </a:cubicBezTo>
                      <a:cubicBezTo>
                        <a:pt x="1759" y="2253"/>
                        <a:pt x="1763" y="2248"/>
                        <a:pt x="1766" y="2244"/>
                      </a:cubicBezTo>
                      <a:cubicBezTo>
                        <a:pt x="1768" y="2242"/>
                        <a:pt x="1770" y="2240"/>
                        <a:pt x="1772" y="2239"/>
                      </a:cubicBezTo>
                      <a:cubicBezTo>
                        <a:pt x="1775" y="2235"/>
                        <a:pt x="1778" y="2234"/>
                        <a:pt x="1782" y="2234"/>
                      </a:cubicBezTo>
                      <a:cubicBezTo>
                        <a:pt x="1785" y="2234"/>
                        <a:pt x="1788" y="2235"/>
                        <a:pt x="1792" y="2238"/>
                      </a:cubicBezTo>
                      <a:cubicBezTo>
                        <a:pt x="1794" y="2239"/>
                        <a:pt x="1797" y="2240"/>
                        <a:pt x="1799" y="2242"/>
                      </a:cubicBezTo>
                      <a:cubicBezTo>
                        <a:pt x="1799" y="2242"/>
                        <a:pt x="1799" y="2242"/>
                        <a:pt x="1799" y="2242"/>
                      </a:cubicBezTo>
                      <a:cubicBezTo>
                        <a:pt x="1803" y="2245"/>
                        <a:pt x="1808" y="2248"/>
                        <a:pt x="1812" y="2249"/>
                      </a:cubicBezTo>
                      <a:cubicBezTo>
                        <a:pt x="1815" y="2249"/>
                        <a:pt x="1818" y="2245"/>
                        <a:pt x="1822" y="2241"/>
                      </a:cubicBezTo>
                      <a:cubicBezTo>
                        <a:pt x="1826" y="2236"/>
                        <a:pt x="1829" y="2232"/>
                        <a:pt x="1834" y="2233"/>
                      </a:cubicBezTo>
                      <a:cubicBezTo>
                        <a:pt x="1834" y="2233"/>
                        <a:pt x="1834" y="2233"/>
                        <a:pt x="1834" y="2233"/>
                      </a:cubicBezTo>
                      <a:cubicBezTo>
                        <a:pt x="1838" y="2233"/>
                        <a:pt x="1840" y="2235"/>
                        <a:pt x="1842" y="2237"/>
                      </a:cubicBezTo>
                      <a:cubicBezTo>
                        <a:pt x="1843" y="2238"/>
                        <a:pt x="1844" y="2239"/>
                        <a:pt x="1844" y="2239"/>
                      </a:cubicBezTo>
                      <a:cubicBezTo>
                        <a:pt x="1844" y="2239"/>
                        <a:pt x="1844" y="2239"/>
                        <a:pt x="1844" y="2239"/>
                      </a:cubicBezTo>
                      <a:cubicBezTo>
                        <a:pt x="1844" y="2239"/>
                        <a:pt x="1844" y="2238"/>
                        <a:pt x="1845" y="2238"/>
                      </a:cubicBezTo>
                      <a:cubicBezTo>
                        <a:pt x="1846" y="2237"/>
                        <a:pt x="1848" y="2235"/>
                        <a:pt x="1853" y="2236"/>
                      </a:cubicBezTo>
                      <a:cubicBezTo>
                        <a:pt x="1853" y="2236"/>
                        <a:pt x="1854" y="2236"/>
                        <a:pt x="1855" y="2236"/>
                      </a:cubicBezTo>
                      <a:cubicBezTo>
                        <a:pt x="1860" y="2237"/>
                        <a:pt x="1865" y="2238"/>
                        <a:pt x="1871" y="2243"/>
                      </a:cubicBezTo>
                      <a:cubicBezTo>
                        <a:pt x="1872" y="2244"/>
                        <a:pt x="1873" y="2242"/>
                        <a:pt x="1876" y="2240"/>
                      </a:cubicBezTo>
                      <a:cubicBezTo>
                        <a:pt x="1879" y="2237"/>
                        <a:pt x="1882" y="2234"/>
                        <a:pt x="1886" y="2232"/>
                      </a:cubicBezTo>
                      <a:cubicBezTo>
                        <a:pt x="1893" y="2230"/>
                        <a:pt x="1895" y="2231"/>
                        <a:pt x="1899" y="2231"/>
                      </a:cubicBezTo>
                      <a:cubicBezTo>
                        <a:pt x="1900" y="2231"/>
                        <a:pt x="1901" y="2231"/>
                        <a:pt x="1903" y="2231"/>
                      </a:cubicBezTo>
                      <a:cubicBezTo>
                        <a:pt x="1907" y="2231"/>
                        <a:pt x="1916" y="2222"/>
                        <a:pt x="1924" y="2215"/>
                      </a:cubicBezTo>
                      <a:cubicBezTo>
                        <a:pt x="1927" y="2212"/>
                        <a:pt x="1930" y="2209"/>
                        <a:pt x="1932" y="2207"/>
                      </a:cubicBezTo>
                      <a:cubicBezTo>
                        <a:pt x="1934" y="2206"/>
                        <a:pt x="1935" y="2205"/>
                        <a:pt x="1936" y="2204"/>
                      </a:cubicBezTo>
                      <a:cubicBezTo>
                        <a:pt x="1942" y="2199"/>
                        <a:pt x="1945" y="2196"/>
                        <a:pt x="1953" y="2196"/>
                      </a:cubicBezTo>
                      <a:cubicBezTo>
                        <a:pt x="1960" y="2196"/>
                        <a:pt x="1962" y="2199"/>
                        <a:pt x="1967" y="2203"/>
                      </a:cubicBezTo>
                      <a:cubicBezTo>
                        <a:pt x="1970" y="2206"/>
                        <a:pt x="1973" y="2209"/>
                        <a:pt x="1979" y="2213"/>
                      </a:cubicBezTo>
                      <a:cubicBezTo>
                        <a:pt x="1990" y="2221"/>
                        <a:pt x="1999" y="2221"/>
                        <a:pt x="2010" y="2221"/>
                      </a:cubicBezTo>
                      <a:cubicBezTo>
                        <a:pt x="2012" y="2221"/>
                        <a:pt x="2015" y="2221"/>
                        <a:pt x="2016" y="2221"/>
                      </a:cubicBezTo>
                      <a:cubicBezTo>
                        <a:pt x="2020" y="2221"/>
                        <a:pt x="2022" y="2221"/>
                        <a:pt x="2023" y="2221"/>
                      </a:cubicBezTo>
                      <a:cubicBezTo>
                        <a:pt x="2035" y="2221"/>
                        <a:pt x="2040" y="2221"/>
                        <a:pt x="2044" y="2226"/>
                      </a:cubicBezTo>
                      <a:cubicBezTo>
                        <a:pt x="2047" y="2229"/>
                        <a:pt x="2046" y="2233"/>
                        <a:pt x="2045" y="2237"/>
                      </a:cubicBezTo>
                      <a:cubicBezTo>
                        <a:pt x="2043" y="2241"/>
                        <a:pt x="2041" y="2244"/>
                        <a:pt x="2039" y="2248"/>
                      </a:cubicBezTo>
                      <a:cubicBezTo>
                        <a:pt x="2038" y="2250"/>
                        <a:pt x="2037" y="2252"/>
                        <a:pt x="2037" y="2254"/>
                      </a:cubicBezTo>
                      <a:cubicBezTo>
                        <a:pt x="2037" y="2256"/>
                        <a:pt x="2039" y="2260"/>
                        <a:pt x="2041" y="2266"/>
                      </a:cubicBezTo>
                      <a:cubicBezTo>
                        <a:pt x="2044" y="2272"/>
                        <a:pt x="2044" y="2276"/>
                        <a:pt x="2043" y="2279"/>
                      </a:cubicBezTo>
                      <a:cubicBezTo>
                        <a:pt x="2043" y="2280"/>
                        <a:pt x="2043" y="2280"/>
                        <a:pt x="2046" y="2281"/>
                      </a:cubicBezTo>
                      <a:cubicBezTo>
                        <a:pt x="2051" y="2283"/>
                        <a:pt x="2054" y="2284"/>
                        <a:pt x="2058" y="2284"/>
                      </a:cubicBezTo>
                      <a:cubicBezTo>
                        <a:pt x="2062" y="2285"/>
                        <a:pt x="2065" y="2285"/>
                        <a:pt x="2068" y="2288"/>
                      </a:cubicBezTo>
                      <a:cubicBezTo>
                        <a:pt x="2070" y="2290"/>
                        <a:pt x="2070" y="2292"/>
                        <a:pt x="2071" y="2293"/>
                      </a:cubicBezTo>
                      <a:cubicBezTo>
                        <a:pt x="2072" y="2296"/>
                        <a:pt x="2073" y="2298"/>
                        <a:pt x="2080" y="2301"/>
                      </a:cubicBezTo>
                      <a:cubicBezTo>
                        <a:pt x="2086" y="2303"/>
                        <a:pt x="2089" y="2303"/>
                        <a:pt x="2092" y="2304"/>
                      </a:cubicBezTo>
                      <a:cubicBezTo>
                        <a:pt x="2095" y="2304"/>
                        <a:pt x="2099" y="2304"/>
                        <a:pt x="2107" y="2306"/>
                      </a:cubicBezTo>
                      <a:cubicBezTo>
                        <a:pt x="2112" y="2307"/>
                        <a:pt x="2116" y="2309"/>
                        <a:pt x="2119" y="2311"/>
                      </a:cubicBezTo>
                      <a:cubicBezTo>
                        <a:pt x="2124" y="2309"/>
                        <a:pt x="2129" y="2308"/>
                        <a:pt x="2131" y="2307"/>
                      </a:cubicBezTo>
                      <a:cubicBezTo>
                        <a:pt x="2136" y="2306"/>
                        <a:pt x="2140" y="2305"/>
                        <a:pt x="2143" y="2303"/>
                      </a:cubicBezTo>
                      <a:cubicBezTo>
                        <a:pt x="2147" y="2302"/>
                        <a:pt x="2146" y="2296"/>
                        <a:pt x="2147" y="2292"/>
                      </a:cubicBezTo>
                      <a:cubicBezTo>
                        <a:pt x="2148" y="2288"/>
                        <a:pt x="2153" y="2287"/>
                        <a:pt x="2157" y="2289"/>
                      </a:cubicBezTo>
                      <a:cubicBezTo>
                        <a:pt x="2162" y="2290"/>
                        <a:pt x="2160" y="2295"/>
                        <a:pt x="2163" y="2298"/>
                      </a:cubicBezTo>
                      <a:cubicBezTo>
                        <a:pt x="2166" y="2301"/>
                        <a:pt x="2169" y="2301"/>
                        <a:pt x="2175" y="2300"/>
                      </a:cubicBezTo>
                      <a:cubicBezTo>
                        <a:pt x="2181" y="2299"/>
                        <a:pt x="2179" y="2300"/>
                        <a:pt x="2181" y="2303"/>
                      </a:cubicBezTo>
                      <a:cubicBezTo>
                        <a:pt x="2183" y="2307"/>
                        <a:pt x="2184" y="2305"/>
                        <a:pt x="2189" y="2310"/>
                      </a:cubicBezTo>
                      <a:cubicBezTo>
                        <a:pt x="2194" y="2315"/>
                        <a:pt x="2193" y="2320"/>
                        <a:pt x="2198" y="2320"/>
                      </a:cubicBezTo>
                      <a:cubicBezTo>
                        <a:pt x="2203" y="2320"/>
                        <a:pt x="2203" y="2317"/>
                        <a:pt x="2208" y="2316"/>
                      </a:cubicBezTo>
                      <a:cubicBezTo>
                        <a:pt x="2212" y="2316"/>
                        <a:pt x="2214" y="2315"/>
                        <a:pt x="2215" y="2313"/>
                      </a:cubicBezTo>
                      <a:cubicBezTo>
                        <a:pt x="2216" y="2311"/>
                        <a:pt x="2212" y="2309"/>
                        <a:pt x="2212" y="2306"/>
                      </a:cubicBezTo>
                      <a:cubicBezTo>
                        <a:pt x="2211" y="2303"/>
                        <a:pt x="2213" y="2301"/>
                        <a:pt x="2215" y="2299"/>
                      </a:cubicBezTo>
                      <a:cubicBezTo>
                        <a:pt x="2217" y="2297"/>
                        <a:pt x="2222" y="2299"/>
                        <a:pt x="2224" y="2303"/>
                      </a:cubicBezTo>
                      <a:cubicBezTo>
                        <a:pt x="2226" y="2307"/>
                        <a:pt x="2227" y="2309"/>
                        <a:pt x="2232" y="2311"/>
                      </a:cubicBezTo>
                      <a:cubicBezTo>
                        <a:pt x="2237" y="2313"/>
                        <a:pt x="2243" y="2314"/>
                        <a:pt x="2242" y="2318"/>
                      </a:cubicBezTo>
                      <a:cubicBezTo>
                        <a:pt x="2241" y="2323"/>
                        <a:pt x="2237" y="2323"/>
                        <a:pt x="2235" y="2327"/>
                      </a:cubicBezTo>
                      <a:cubicBezTo>
                        <a:pt x="2233" y="2331"/>
                        <a:pt x="2233" y="2334"/>
                        <a:pt x="2230" y="2337"/>
                      </a:cubicBezTo>
                      <a:cubicBezTo>
                        <a:pt x="2227" y="2341"/>
                        <a:pt x="2227" y="2344"/>
                        <a:pt x="2225" y="2347"/>
                      </a:cubicBezTo>
                      <a:cubicBezTo>
                        <a:pt x="2224" y="2351"/>
                        <a:pt x="2224" y="2364"/>
                        <a:pt x="2226" y="2368"/>
                      </a:cubicBezTo>
                      <a:cubicBezTo>
                        <a:pt x="2227" y="2372"/>
                        <a:pt x="2235" y="2378"/>
                        <a:pt x="2237" y="2383"/>
                      </a:cubicBezTo>
                      <a:cubicBezTo>
                        <a:pt x="2238" y="2388"/>
                        <a:pt x="2242" y="2395"/>
                        <a:pt x="2244" y="2398"/>
                      </a:cubicBezTo>
                      <a:cubicBezTo>
                        <a:pt x="2246" y="2401"/>
                        <a:pt x="2251" y="2400"/>
                        <a:pt x="2254" y="2399"/>
                      </a:cubicBezTo>
                      <a:cubicBezTo>
                        <a:pt x="2258" y="2399"/>
                        <a:pt x="2258" y="2395"/>
                        <a:pt x="2263" y="2393"/>
                      </a:cubicBezTo>
                      <a:cubicBezTo>
                        <a:pt x="2267" y="2391"/>
                        <a:pt x="2272" y="2389"/>
                        <a:pt x="2273" y="2387"/>
                      </a:cubicBezTo>
                      <a:cubicBezTo>
                        <a:pt x="2274" y="2384"/>
                        <a:pt x="2272" y="2382"/>
                        <a:pt x="2270" y="2379"/>
                      </a:cubicBezTo>
                      <a:cubicBezTo>
                        <a:pt x="2268" y="2377"/>
                        <a:pt x="2265" y="2375"/>
                        <a:pt x="2264" y="2372"/>
                      </a:cubicBezTo>
                      <a:cubicBezTo>
                        <a:pt x="2263" y="2368"/>
                        <a:pt x="2263" y="2366"/>
                        <a:pt x="2260" y="2361"/>
                      </a:cubicBezTo>
                      <a:cubicBezTo>
                        <a:pt x="2258" y="2356"/>
                        <a:pt x="2255" y="2358"/>
                        <a:pt x="2254" y="2354"/>
                      </a:cubicBezTo>
                      <a:cubicBezTo>
                        <a:pt x="2253" y="2351"/>
                        <a:pt x="2252" y="2347"/>
                        <a:pt x="2254" y="2344"/>
                      </a:cubicBezTo>
                      <a:cubicBezTo>
                        <a:pt x="2257" y="2341"/>
                        <a:pt x="2261" y="2340"/>
                        <a:pt x="2263" y="2337"/>
                      </a:cubicBezTo>
                      <a:cubicBezTo>
                        <a:pt x="2265" y="2334"/>
                        <a:pt x="2265" y="2332"/>
                        <a:pt x="2264" y="2330"/>
                      </a:cubicBezTo>
                      <a:cubicBezTo>
                        <a:pt x="2262" y="2327"/>
                        <a:pt x="2262" y="2321"/>
                        <a:pt x="2268" y="2319"/>
                      </a:cubicBezTo>
                      <a:cubicBezTo>
                        <a:pt x="2273" y="2317"/>
                        <a:pt x="2275" y="2325"/>
                        <a:pt x="2278" y="2329"/>
                      </a:cubicBezTo>
                      <a:cubicBezTo>
                        <a:pt x="2280" y="2332"/>
                        <a:pt x="2282" y="2331"/>
                        <a:pt x="2291" y="2328"/>
                      </a:cubicBezTo>
                      <a:cubicBezTo>
                        <a:pt x="2299" y="2325"/>
                        <a:pt x="2293" y="2324"/>
                        <a:pt x="2299" y="2322"/>
                      </a:cubicBezTo>
                      <a:cubicBezTo>
                        <a:pt x="2305" y="2319"/>
                        <a:pt x="2313" y="2317"/>
                        <a:pt x="2321" y="2313"/>
                      </a:cubicBezTo>
                      <a:cubicBezTo>
                        <a:pt x="2329" y="2309"/>
                        <a:pt x="2335" y="2308"/>
                        <a:pt x="2340" y="2308"/>
                      </a:cubicBezTo>
                      <a:cubicBezTo>
                        <a:pt x="2344" y="2308"/>
                        <a:pt x="2352" y="2305"/>
                        <a:pt x="2354" y="2303"/>
                      </a:cubicBezTo>
                      <a:cubicBezTo>
                        <a:pt x="2356" y="2302"/>
                        <a:pt x="2360" y="2302"/>
                        <a:pt x="2362" y="2299"/>
                      </a:cubicBezTo>
                      <a:cubicBezTo>
                        <a:pt x="2364" y="2296"/>
                        <a:pt x="2364" y="2292"/>
                        <a:pt x="2369" y="2292"/>
                      </a:cubicBezTo>
                      <a:cubicBezTo>
                        <a:pt x="2374" y="2292"/>
                        <a:pt x="2376" y="2294"/>
                        <a:pt x="2378" y="2297"/>
                      </a:cubicBezTo>
                      <a:cubicBezTo>
                        <a:pt x="2381" y="2299"/>
                        <a:pt x="2386" y="2296"/>
                        <a:pt x="2386" y="2293"/>
                      </a:cubicBezTo>
                      <a:cubicBezTo>
                        <a:pt x="2386" y="2289"/>
                        <a:pt x="2390" y="2281"/>
                        <a:pt x="2393" y="2281"/>
                      </a:cubicBezTo>
                      <a:cubicBezTo>
                        <a:pt x="2396" y="2280"/>
                        <a:pt x="2397" y="2286"/>
                        <a:pt x="2400" y="2287"/>
                      </a:cubicBezTo>
                      <a:cubicBezTo>
                        <a:pt x="2403" y="2288"/>
                        <a:pt x="2407" y="2288"/>
                        <a:pt x="2411" y="2286"/>
                      </a:cubicBezTo>
                      <a:cubicBezTo>
                        <a:pt x="2415" y="2283"/>
                        <a:pt x="2420" y="2285"/>
                        <a:pt x="2425" y="2285"/>
                      </a:cubicBezTo>
                      <a:cubicBezTo>
                        <a:pt x="2430" y="2285"/>
                        <a:pt x="2432" y="2283"/>
                        <a:pt x="2436" y="2280"/>
                      </a:cubicBezTo>
                      <a:cubicBezTo>
                        <a:pt x="2440" y="2277"/>
                        <a:pt x="2446" y="2279"/>
                        <a:pt x="2454" y="2279"/>
                      </a:cubicBezTo>
                      <a:cubicBezTo>
                        <a:pt x="2462" y="2279"/>
                        <a:pt x="2464" y="2271"/>
                        <a:pt x="2466" y="2268"/>
                      </a:cubicBezTo>
                      <a:cubicBezTo>
                        <a:pt x="2468" y="2265"/>
                        <a:pt x="2464" y="2256"/>
                        <a:pt x="2465" y="2252"/>
                      </a:cubicBezTo>
                      <a:cubicBezTo>
                        <a:pt x="2465" y="2249"/>
                        <a:pt x="2461" y="2239"/>
                        <a:pt x="2458" y="2235"/>
                      </a:cubicBezTo>
                      <a:cubicBezTo>
                        <a:pt x="2455" y="2231"/>
                        <a:pt x="2453" y="2227"/>
                        <a:pt x="2453" y="2224"/>
                      </a:cubicBezTo>
                      <a:cubicBezTo>
                        <a:pt x="2452" y="2222"/>
                        <a:pt x="2454" y="2218"/>
                        <a:pt x="2456" y="2215"/>
                      </a:cubicBezTo>
                      <a:cubicBezTo>
                        <a:pt x="2458" y="2212"/>
                        <a:pt x="2465" y="2211"/>
                        <a:pt x="2469" y="2209"/>
                      </a:cubicBezTo>
                      <a:cubicBezTo>
                        <a:pt x="2473" y="2208"/>
                        <a:pt x="2479" y="2209"/>
                        <a:pt x="2481" y="2210"/>
                      </a:cubicBezTo>
                      <a:cubicBezTo>
                        <a:pt x="2484" y="2211"/>
                        <a:pt x="2483" y="2217"/>
                        <a:pt x="2479" y="2218"/>
                      </a:cubicBezTo>
                      <a:cubicBezTo>
                        <a:pt x="2476" y="2220"/>
                        <a:pt x="2472" y="2221"/>
                        <a:pt x="2470" y="2223"/>
                      </a:cubicBezTo>
                      <a:cubicBezTo>
                        <a:pt x="2468" y="2225"/>
                        <a:pt x="2471" y="2226"/>
                        <a:pt x="2474" y="2232"/>
                      </a:cubicBezTo>
                      <a:cubicBezTo>
                        <a:pt x="2478" y="2238"/>
                        <a:pt x="2480" y="2240"/>
                        <a:pt x="2484" y="2244"/>
                      </a:cubicBezTo>
                      <a:cubicBezTo>
                        <a:pt x="2489" y="2247"/>
                        <a:pt x="2491" y="2249"/>
                        <a:pt x="2493" y="2253"/>
                      </a:cubicBezTo>
                      <a:cubicBezTo>
                        <a:pt x="2494" y="2257"/>
                        <a:pt x="2498" y="2258"/>
                        <a:pt x="2503" y="2259"/>
                      </a:cubicBezTo>
                      <a:cubicBezTo>
                        <a:pt x="2507" y="2261"/>
                        <a:pt x="2511" y="2255"/>
                        <a:pt x="2514" y="2254"/>
                      </a:cubicBezTo>
                      <a:cubicBezTo>
                        <a:pt x="2517" y="2253"/>
                        <a:pt x="2521" y="2254"/>
                        <a:pt x="2524" y="2253"/>
                      </a:cubicBezTo>
                      <a:cubicBezTo>
                        <a:pt x="2527" y="2251"/>
                        <a:pt x="2526" y="2249"/>
                        <a:pt x="2526" y="2246"/>
                      </a:cubicBezTo>
                      <a:cubicBezTo>
                        <a:pt x="2526" y="2242"/>
                        <a:pt x="2524" y="2241"/>
                        <a:pt x="2525" y="2238"/>
                      </a:cubicBezTo>
                      <a:cubicBezTo>
                        <a:pt x="2526" y="2234"/>
                        <a:pt x="2537" y="2229"/>
                        <a:pt x="2540" y="2229"/>
                      </a:cubicBezTo>
                      <a:cubicBezTo>
                        <a:pt x="2543" y="2229"/>
                        <a:pt x="2541" y="2234"/>
                        <a:pt x="2540" y="2238"/>
                      </a:cubicBezTo>
                      <a:cubicBezTo>
                        <a:pt x="2539" y="2243"/>
                        <a:pt x="2543" y="2243"/>
                        <a:pt x="2546" y="2245"/>
                      </a:cubicBezTo>
                      <a:cubicBezTo>
                        <a:pt x="2549" y="2247"/>
                        <a:pt x="2551" y="2244"/>
                        <a:pt x="2555" y="2242"/>
                      </a:cubicBezTo>
                      <a:cubicBezTo>
                        <a:pt x="2558" y="2241"/>
                        <a:pt x="2558" y="2237"/>
                        <a:pt x="2561" y="2233"/>
                      </a:cubicBezTo>
                      <a:cubicBezTo>
                        <a:pt x="2564" y="2228"/>
                        <a:pt x="2569" y="2227"/>
                        <a:pt x="2572" y="2228"/>
                      </a:cubicBezTo>
                      <a:cubicBezTo>
                        <a:pt x="2576" y="2229"/>
                        <a:pt x="2575" y="2233"/>
                        <a:pt x="2575" y="2237"/>
                      </a:cubicBezTo>
                      <a:cubicBezTo>
                        <a:pt x="2576" y="2241"/>
                        <a:pt x="2582" y="2239"/>
                        <a:pt x="2584" y="2237"/>
                      </a:cubicBezTo>
                      <a:cubicBezTo>
                        <a:pt x="2587" y="2235"/>
                        <a:pt x="2583" y="2230"/>
                        <a:pt x="2583" y="2226"/>
                      </a:cubicBezTo>
                      <a:cubicBezTo>
                        <a:pt x="2583" y="2223"/>
                        <a:pt x="2586" y="2221"/>
                        <a:pt x="2590" y="2221"/>
                      </a:cubicBezTo>
                      <a:cubicBezTo>
                        <a:pt x="2593" y="2220"/>
                        <a:pt x="2597" y="2223"/>
                        <a:pt x="2598" y="2227"/>
                      </a:cubicBezTo>
                      <a:cubicBezTo>
                        <a:pt x="2600" y="2232"/>
                        <a:pt x="2603" y="2234"/>
                        <a:pt x="2607" y="2232"/>
                      </a:cubicBezTo>
                      <a:cubicBezTo>
                        <a:pt x="2611" y="2231"/>
                        <a:pt x="2611" y="2227"/>
                        <a:pt x="2614" y="2225"/>
                      </a:cubicBezTo>
                      <a:cubicBezTo>
                        <a:pt x="2616" y="2222"/>
                        <a:pt x="2627" y="2222"/>
                        <a:pt x="2631" y="2222"/>
                      </a:cubicBezTo>
                      <a:cubicBezTo>
                        <a:pt x="2635" y="2221"/>
                        <a:pt x="2641" y="2221"/>
                        <a:pt x="2645" y="2218"/>
                      </a:cubicBezTo>
                      <a:cubicBezTo>
                        <a:pt x="2649" y="2215"/>
                        <a:pt x="2647" y="2213"/>
                        <a:pt x="2650" y="2210"/>
                      </a:cubicBezTo>
                      <a:cubicBezTo>
                        <a:pt x="2653" y="2207"/>
                        <a:pt x="2655" y="2203"/>
                        <a:pt x="2656" y="2198"/>
                      </a:cubicBezTo>
                      <a:cubicBezTo>
                        <a:pt x="2656" y="2193"/>
                        <a:pt x="2659" y="2192"/>
                        <a:pt x="2661" y="2192"/>
                      </a:cubicBezTo>
                      <a:cubicBezTo>
                        <a:pt x="2663" y="2192"/>
                        <a:pt x="2667" y="2190"/>
                        <a:pt x="2670" y="2186"/>
                      </a:cubicBezTo>
                      <a:cubicBezTo>
                        <a:pt x="2672" y="2182"/>
                        <a:pt x="2672" y="2178"/>
                        <a:pt x="2677" y="2176"/>
                      </a:cubicBezTo>
                      <a:cubicBezTo>
                        <a:pt x="2683" y="2175"/>
                        <a:pt x="2683" y="2183"/>
                        <a:pt x="2686" y="2182"/>
                      </a:cubicBezTo>
                      <a:cubicBezTo>
                        <a:pt x="2689" y="2181"/>
                        <a:pt x="2691" y="2176"/>
                        <a:pt x="2693" y="2174"/>
                      </a:cubicBezTo>
                      <a:cubicBezTo>
                        <a:pt x="2695" y="2172"/>
                        <a:pt x="2700" y="2172"/>
                        <a:pt x="2702" y="2168"/>
                      </a:cubicBezTo>
                      <a:cubicBezTo>
                        <a:pt x="2704" y="2164"/>
                        <a:pt x="2703" y="2161"/>
                        <a:pt x="2703" y="2158"/>
                      </a:cubicBezTo>
                      <a:cubicBezTo>
                        <a:pt x="2703" y="2155"/>
                        <a:pt x="2708" y="2154"/>
                        <a:pt x="2711" y="2156"/>
                      </a:cubicBezTo>
                      <a:cubicBezTo>
                        <a:pt x="2715" y="2158"/>
                        <a:pt x="2716" y="2161"/>
                        <a:pt x="2719" y="2161"/>
                      </a:cubicBezTo>
                      <a:cubicBezTo>
                        <a:pt x="2722" y="2161"/>
                        <a:pt x="2724" y="2159"/>
                        <a:pt x="2727" y="2154"/>
                      </a:cubicBezTo>
                      <a:cubicBezTo>
                        <a:pt x="2730" y="2149"/>
                        <a:pt x="2733" y="2146"/>
                        <a:pt x="2740" y="2143"/>
                      </a:cubicBezTo>
                      <a:cubicBezTo>
                        <a:pt x="2746" y="2140"/>
                        <a:pt x="2746" y="2139"/>
                        <a:pt x="2743" y="2133"/>
                      </a:cubicBezTo>
                      <a:cubicBezTo>
                        <a:pt x="2740" y="2128"/>
                        <a:pt x="2737" y="2130"/>
                        <a:pt x="2733" y="2129"/>
                      </a:cubicBezTo>
                      <a:cubicBezTo>
                        <a:pt x="2729" y="2128"/>
                        <a:pt x="2725" y="2124"/>
                        <a:pt x="2727" y="2120"/>
                      </a:cubicBezTo>
                      <a:cubicBezTo>
                        <a:pt x="2729" y="2117"/>
                        <a:pt x="2736" y="2121"/>
                        <a:pt x="2740" y="2119"/>
                      </a:cubicBezTo>
                      <a:cubicBezTo>
                        <a:pt x="2743" y="2117"/>
                        <a:pt x="2746" y="2114"/>
                        <a:pt x="2748" y="2112"/>
                      </a:cubicBezTo>
                      <a:cubicBezTo>
                        <a:pt x="2751" y="2110"/>
                        <a:pt x="2752" y="2113"/>
                        <a:pt x="2756" y="2114"/>
                      </a:cubicBezTo>
                      <a:cubicBezTo>
                        <a:pt x="2760" y="2115"/>
                        <a:pt x="2765" y="2109"/>
                        <a:pt x="2770" y="2109"/>
                      </a:cubicBezTo>
                      <a:cubicBezTo>
                        <a:pt x="2775" y="2108"/>
                        <a:pt x="2774" y="2114"/>
                        <a:pt x="2777" y="2115"/>
                      </a:cubicBezTo>
                      <a:cubicBezTo>
                        <a:pt x="2780" y="2116"/>
                        <a:pt x="2783" y="2113"/>
                        <a:pt x="2784" y="2106"/>
                      </a:cubicBezTo>
                      <a:cubicBezTo>
                        <a:pt x="2784" y="2100"/>
                        <a:pt x="2784" y="2101"/>
                        <a:pt x="2788" y="2098"/>
                      </a:cubicBezTo>
                      <a:cubicBezTo>
                        <a:pt x="2791" y="2095"/>
                        <a:pt x="2796" y="2095"/>
                        <a:pt x="2798" y="2091"/>
                      </a:cubicBezTo>
                      <a:cubicBezTo>
                        <a:pt x="2799" y="2088"/>
                        <a:pt x="2799" y="2083"/>
                        <a:pt x="2799" y="2080"/>
                      </a:cubicBezTo>
                      <a:cubicBezTo>
                        <a:pt x="2799" y="2077"/>
                        <a:pt x="2802" y="2074"/>
                        <a:pt x="2805" y="2072"/>
                      </a:cubicBezTo>
                      <a:cubicBezTo>
                        <a:pt x="2809" y="2070"/>
                        <a:pt x="2814" y="2070"/>
                        <a:pt x="2815" y="2067"/>
                      </a:cubicBezTo>
                      <a:cubicBezTo>
                        <a:pt x="2816" y="2063"/>
                        <a:pt x="2816" y="2059"/>
                        <a:pt x="2819" y="2055"/>
                      </a:cubicBezTo>
                      <a:cubicBezTo>
                        <a:pt x="2822" y="2051"/>
                        <a:pt x="2827" y="2052"/>
                        <a:pt x="2828" y="2047"/>
                      </a:cubicBezTo>
                      <a:cubicBezTo>
                        <a:pt x="2829" y="2042"/>
                        <a:pt x="2834" y="2038"/>
                        <a:pt x="2837" y="2034"/>
                      </a:cubicBezTo>
                      <a:cubicBezTo>
                        <a:pt x="2839" y="2030"/>
                        <a:pt x="2842" y="2029"/>
                        <a:pt x="2843" y="2026"/>
                      </a:cubicBezTo>
                      <a:cubicBezTo>
                        <a:pt x="2844" y="2024"/>
                        <a:pt x="2843" y="2022"/>
                        <a:pt x="2840" y="2021"/>
                      </a:cubicBezTo>
                      <a:cubicBezTo>
                        <a:pt x="2837" y="2020"/>
                        <a:pt x="2827" y="2026"/>
                        <a:pt x="2823" y="2026"/>
                      </a:cubicBezTo>
                      <a:cubicBezTo>
                        <a:pt x="2820" y="2025"/>
                        <a:pt x="2816" y="2022"/>
                        <a:pt x="2814" y="2019"/>
                      </a:cubicBezTo>
                      <a:cubicBezTo>
                        <a:pt x="2811" y="2016"/>
                        <a:pt x="2813" y="2013"/>
                        <a:pt x="2816" y="2012"/>
                      </a:cubicBezTo>
                      <a:cubicBezTo>
                        <a:pt x="2819" y="2011"/>
                        <a:pt x="2826" y="2017"/>
                        <a:pt x="2829" y="2017"/>
                      </a:cubicBezTo>
                      <a:cubicBezTo>
                        <a:pt x="2832" y="2018"/>
                        <a:pt x="2835" y="2015"/>
                        <a:pt x="2836" y="2010"/>
                      </a:cubicBezTo>
                      <a:cubicBezTo>
                        <a:pt x="2838" y="2006"/>
                        <a:pt x="2841" y="2007"/>
                        <a:pt x="2845" y="2005"/>
                      </a:cubicBezTo>
                      <a:cubicBezTo>
                        <a:pt x="2849" y="2003"/>
                        <a:pt x="2848" y="2001"/>
                        <a:pt x="2846" y="1998"/>
                      </a:cubicBezTo>
                      <a:cubicBezTo>
                        <a:pt x="2845" y="1996"/>
                        <a:pt x="2841" y="1993"/>
                        <a:pt x="2842" y="1990"/>
                      </a:cubicBezTo>
                      <a:cubicBezTo>
                        <a:pt x="2843" y="1987"/>
                        <a:pt x="2847" y="1985"/>
                        <a:pt x="2846" y="1983"/>
                      </a:cubicBezTo>
                      <a:cubicBezTo>
                        <a:pt x="2845" y="1981"/>
                        <a:pt x="2841" y="1981"/>
                        <a:pt x="2839" y="1980"/>
                      </a:cubicBezTo>
                      <a:cubicBezTo>
                        <a:pt x="2838" y="1979"/>
                        <a:pt x="2834" y="1971"/>
                        <a:pt x="2836" y="1969"/>
                      </a:cubicBezTo>
                      <a:cubicBezTo>
                        <a:pt x="2839" y="1967"/>
                        <a:pt x="2851" y="1969"/>
                        <a:pt x="2855" y="1970"/>
                      </a:cubicBezTo>
                      <a:cubicBezTo>
                        <a:pt x="2858" y="1971"/>
                        <a:pt x="2860" y="1972"/>
                        <a:pt x="2864" y="1972"/>
                      </a:cubicBezTo>
                      <a:cubicBezTo>
                        <a:pt x="2868" y="1972"/>
                        <a:pt x="2863" y="1964"/>
                        <a:pt x="2866" y="1962"/>
                      </a:cubicBezTo>
                      <a:cubicBezTo>
                        <a:pt x="2870" y="1960"/>
                        <a:pt x="2880" y="1952"/>
                        <a:pt x="2881" y="1951"/>
                      </a:cubicBezTo>
                      <a:cubicBezTo>
                        <a:pt x="2882" y="1949"/>
                        <a:pt x="2883" y="1946"/>
                        <a:pt x="2880" y="1943"/>
                      </a:cubicBezTo>
                      <a:cubicBezTo>
                        <a:pt x="2877" y="1940"/>
                        <a:pt x="2873" y="1938"/>
                        <a:pt x="2873" y="1935"/>
                      </a:cubicBezTo>
                      <a:cubicBezTo>
                        <a:pt x="2873" y="1932"/>
                        <a:pt x="2884" y="1931"/>
                        <a:pt x="2885" y="1935"/>
                      </a:cubicBezTo>
                      <a:cubicBezTo>
                        <a:pt x="2886" y="1938"/>
                        <a:pt x="2891" y="1939"/>
                        <a:pt x="2893" y="1938"/>
                      </a:cubicBezTo>
                      <a:cubicBezTo>
                        <a:pt x="2895" y="1938"/>
                        <a:pt x="2897" y="1935"/>
                        <a:pt x="2900" y="1932"/>
                      </a:cubicBezTo>
                      <a:cubicBezTo>
                        <a:pt x="2903" y="1929"/>
                        <a:pt x="2902" y="1927"/>
                        <a:pt x="2902" y="1921"/>
                      </a:cubicBezTo>
                      <a:cubicBezTo>
                        <a:pt x="2903" y="1915"/>
                        <a:pt x="2905" y="1911"/>
                        <a:pt x="2906" y="1907"/>
                      </a:cubicBezTo>
                      <a:cubicBezTo>
                        <a:pt x="2908" y="1903"/>
                        <a:pt x="2909" y="1899"/>
                        <a:pt x="2907" y="1895"/>
                      </a:cubicBezTo>
                      <a:cubicBezTo>
                        <a:pt x="2905" y="1890"/>
                        <a:pt x="2902" y="1887"/>
                        <a:pt x="2900" y="1885"/>
                      </a:cubicBezTo>
                      <a:cubicBezTo>
                        <a:pt x="2898" y="1883"/>
                        <a:pt x="2897" y="1877"/>
                        <a:pt x="2901" y="1877"/>
                      </a:cubicBezTo>
                      <a:cubicBezTo>
                        <a:pt x="2904" y="1877"/>
                        <a:pt x="2912" y="1884"/>
                        <a:pt x="2914" y="1885"/>
                      </a:cubicBezTo>
                      <a:cubicBezTo>
                        <a:pt x="2916" y="1885"/>
                        <a:pt x="2919" y="1884"/>
                        <a:pt x="2922" y="1879"/>
                      </a:cubicBezTo>
                      <a:cubicBezTo>
                        <a:pt x="2925" y="1875"/>
                        <a:pt x="2931" y="1867"/>
                        <a:pt x="2934" y="1865"/>
                      </a:cubicBezTo>
                      <a:cubicBezTo>
                        <a:pt x="2936" y="1863"/>
                        <a:pt x="2941" y="1865"/>
                        <a:pt x="2942" y="1867"/>
                      </a:cubicBezTo>
                      <a:cubicBezTo>
                        <a:pt x="2943" y="1870"/>
                        <a:pt x="2946" y="1875"/>
                        <a:pt x="2949" y="1876"/>
                      </a:cubicBezTo>
                      <a:cubicBezTo>
                        <a:pt x="2952" y="1877"/>
                        <a:pt x="2954" y="1873"/>
                        <a:pt x="2958" y="1871"/>
                      </a:cubicBezTo>
                      <a:cubicBezTo>
                        <a:pt x="2963" y="1869"/>
                        <a:pt x="2965" y="1869"/>
                        <a:pt x="2965" y="1864"/>
                      </a:cubicBezTo>
                      <a:cubicBezTo>
                        <a:pt x="2965" y="1859"/>
                        <a:pt x="2962" y="1853"/>
                        <a:pt x="2959" y="1850"/>
                      </a:cubicBezTo>
                      <a:cubicBezTo>
                        <a:pt x="2955" y="1848"/>
                        <a:pt x="2950" y="1846"/>
                        <a:pt x="2947" y="1846"/>
                      </a:cubicBezTo>
                      <a:cubicBezTo>
                        <a:pt x="2945" y="1845"/>
                        <a:pt x="2940" y="1841"/>
                        <a:pt x="2937" y="1839"/>
                      </a:cubicBezTo>
                      <a:cubicBezTo>
                        <a:pt x="2933" y="1836"/>
                        <a:pt x="2933" y="1832"/>
                        <a:pt x="2936" y="1830"/>
                      </a:cubicBezTo>
                      <a:cubicBezTo>
                        <a:pt x="2939" y="1829"/>
                        <a:pt x="2946" y="1836"/>
                        <a:pt x="2947" y="1838"/>
                      </a:cubicBezTo>
                      <a:cubicBezTo>
                        <a:pt x="2948" y="1839"/>
                        <a:pt x="2954" y="1839"/>
                        <a:pt x="2957" y="1838"/>
                      </a:cubicBezTo>
                      <a:cubicBezTo>
                        <a:pt x="2959" y="1837"/>
                        <a:pt x="2960" y="1835"/>
                        <a:pt x="2960" y="1832"/>
                      </a:cubicBezTo>
                      <a:cubicBezTo>
                        <a:pt x="2959" y="1830"/>
                        <a:pt x="2961" y="1827"/>
                        <a:pt x="2964" y="1825"/>
                      </a:cubicBezTo>
                      <a:cubicBezTo>
                        <a:pt x="2967" y="1824"/>
                        <a:pt x="2964" y="1820"/>
                        <a:pt x="2961" y="1818"/>
                      </a:cubicBezTo>
                      <a:cubicBezTo>
                        <a:pt x="2957" y="1817"/>
                        <a:pt x="2954" y="1814"/>
                        <a:pt x="2953" y="1812"/>
                      </a:cubicBezTo>
                      <a:cubicBezTo>
                        <a:pt x="2952" y="1811"/>
                        <a:pt x="2957" y="1805"/>
                        <a:pt x="2960" y="1805"/>
                      </a:cubicBezTo>
                      <a:cubicBezTo>
                        <a:pt x="2964" y="1804"/>
                        <a:pt x="2966" y="1805"/>
                        <a:pt x="2969" y="1806"/>
                      </a:cubicBezTo>
                      <a:cubicBezTo>
                        <a:pt x="2972" y="1806"/>
                        <a:pt x="2972" y="1802"/>
                        <a:pt x="2975" y="1801"/>
                      </a:cubicBezTo>
                      <a:cubicBezTo>
                        <a:pt x="2978" y="1799"/>
                        <a:pt x="2982" y="1803"/>
                        <a:pt x="2984" y="1800"/>
                      </a:cubicBezTo>
                      <a:cubicBezTo>
                        <a:pt x="2985" y="1797"/>
                        <a:pt x="2983" y="1791"/>
                        <a:pt x="2980" y="1789"/>
                      </a:cubicBezTo>
                      <a:cubicBezTo>
                        <a:pt x="2977" y="1788"/>
                        <a:pt x="2976" y="1791"/>
                        <a:pt x="2971" y="1793"/>
                      </a:cubicBezTo>
                      <a:cubicBezTo>
                        <a:pt x="2967" y="1796"/>
                        <a:pt x="2959" y="1793"/>
                        <a:pt x="2956" y="1791"/>
                      </a:cubicBezTo>
                      <a:cubicBezTo>
                        <a:pt x="2952" y="1790"/>
                        <a:pt x="2955" y="1788"/>
                        <a:pt x="2959" y="1786"/>
                      </a:cubicBezTo>
                      <a:cubicBezTo>
                        <a:pt x="2963" y="1784"/>
                        <a:pt x="2971" y="1782"/>
                        <a:pt x="2973" y="1779"/>
                      </a:cubicBezTo>
                      <a:cubicBezTo>
                        <a:pt x="2976" y="1776"/>
                        <a:pt x="2981" y="1772"/>
                        <a:pt x="2986" y="1771"/>
                      </a:cubicBezTo>
                      <a:cubicBezTo>
                        <a:pt x="2990" y="1770"/>
                        <a:pt x="2996" y="1763"/>
                        <a:pt x="2996" y="1759"/>
                      </a:cubicBezTo>
                      <a:cubicBezTo>
                        <a:pt x="2996" y="1755"/>
                        <a:pt x="2986" y="1758"/>
                        <a:pt x="2982" y="1756"/>
                      </a:cubicBezTo>
                      <a:cubicBezTo>
                        <a:pt x="2978" y="1754"/>
                        <a:pt x="2977" y="1754"/>
                        <a:pt x="2972" y="1754"/>
                      </a:cubicBezTo>
                      <a:cubicBezTo>
                        <a:pt x="2966" y="1753"/>
                        <a:pt x="2963" y="1752"/>
                        <a:pt x="2958" y="1747"/>
                      </a:cubicBezTo>
                      <a:cubicBezTo>
                        <a:pt x="2953" y="1743"/>
                        <a:pt x="2948" y="1736"/>
                        <a:pt x="2941" y="1735"/>
                      </a:cubicBezTo>
                      <a:cubicBezTo>
                        <a:pt x="2935" y="1733"/>
                        <a:pt x="2933" y="1736"/>
                        <a:pt x="2928" y="1738"/>
                      </a:cubicBezTo>
                      <a:cubicBezTo>
                        <a:pt x="2923" y="1741"/>
                        <a:pt x="2914" y="1745"/>
                        <a:pt x="2909" y="1745"/>
                      </a:cubicBezTo>
                      <a:cubicBezTo>
                        <a:pt x="2904" y="1745"/>
                        <a:pt x="2902" y="1740"/>
                        <a:pt x="2898" y="1736"/>
                      </a:cubicBezTo>
                      <a:cubicBezTo>
                        <a:pt x="2895" y="1733"/>
                        <a:pt x="2893" y="1736"/>
                        <a:pt x="2887" y="1737"/>
                      </a:cubicBezTo>
                      <a:cubicBezTo>
                        <a:pt x="2881" y="1738"/>
                        <a:pt x="2878" y="1744"/>
                        <a:pt x="2875" y="1741"/>
                      </a:cubicBezTo>
                      <a:cubicBezTo>
                        <a:pt x="2872" y="1738"/>
                        <a:pt x="2880" y="1734"/>
                        <a:pt x="2882" y="1731"/>
                      </a:cubicBezTo>
                      <a:cubicBezTo>
                        <a:pt x="2884" y="1729"/>
                        <a:pt x="2888" y="1729"/>
                        <a:pt x="2893" y="1728"/>
                      </a:cubicBezTo>
                      <a:cubicBezTo>
                        <a:pt x="2898" y="1728"/>
                        <a:pt x="2901" y="1730"/>
                        <a:pt x="2906" y="1730"/>
                      </a:cubicBezTo>
                      <a:cubicBezTo>
                        <a:pt x="2910" y="1731"/>
                        <a:pt x="2915" y="1730"/>
                        <a:pt x="2918" y="1728"/>
                      </a:cubicBezTo>
                      <a:cubicBezTo>
                        <a:pt x="2920" y="1727"/>
                        <a:pt x="2933" y="1716"/>
                        <a:pt x="2938" y="1710"/>
                      </a:cubicBezTo>
                      <a:cubicBezTo>
                        <a:pt x="2944" y="1704"/>
                        <a:pt x="2953" y="1703"/>
                        <a:pt x="2960" y="1699"/>
                      </a:cubicBezTo>
                      <a:cubicBezTo>
                        <a:pt x="2966" y="1695"/>
                        <a:pt x="2977" y="1691"/>
                        <a:pt x="2976" y="1684"/>
                      </a:cubicBezTo>
                      <a:cubicBezTo>
                        <a:pt x="2975" y="1678"/>
                        <a:pt x="2973" y="1677"/>
                        <a:pt x="2969" y="1671"/>
                      </a:cubicBezTo>
                      <a:cubicBezTo>
                        <a:pt x="2965" y="1665"/>
                        <a:pt x="2961" y="1661"/>
                        <a:pt x="2957" y="1657"/>
                      </a:cubicBezTo>
                      <a:cubicBezTo>
                        <a:pt x="2953" y="1652"/>
                        <a:pt x="2947" y="1651"/>
                        <a:pt x="2941" y="1648"/>
                      </a:cubicBezTo>
                      <a:cubicBezTo>
                        <a:pt x="2936" y="1644"/>
                        <a:pt x="2929" y="1643"/>
                        <a:pt x="2925" y="1640"/>
                      </a:cubicBezTo>
                      <a:cubicBezTo>
                        <a:pt x="2920" y="1637"/>
                        <a:pt x="2915" y="1630"/>
                        <a:pt x="2910" y="1625"/>
                      </a:cubicBezTo>
                      <a:cubicBezTo>
                        <a:pt x="2904" y="1620"/>
                        <a:pt x="2900" y="1621"/>
                        <a:pt x="2893" y="1621"/>
                      </a:cubicBezTo>
                      <a:cubicBezTo>
                        <a:pt x="2885" y="1621"/>
                        <a:pt x="2883" y="1623"/>
                        <a:pt x="2879" y="1624"/>
                      </a:cubicBezTo>
                      <a:cubicBezTo>
                        <a:pt x="2875" y="1626"/>
                        <a:pt x="2865" y="1626"/>
                        <a:pt x="2858" y="1620"/>
                      </a:cubicBezTo>
                      <a:cubicBezTo>
                        <a:pt x="2851" y="1613"/>
                        <a:pt x="2847" y="1614"/>
                        <a:pt x="2842" y="1611"/>
                      </a:cubicBezTo>
                      <a:cubicBezTo>
                        <a:pt x="2837" y="1608"/>
                        <a:pt x="2838" y="1599"/>
                        <a:pt x="2840" y="1596"/>
                      </a:cubicBezTo>
                      <a:cubicBezTo>
                        <a:pt x="2843" y="1592"/>
                        <a:pt x="2847" y="1596"/>
                        <a:pt x="2855" y="1601"/>
                      </a:cubicBezTo>
                      <a:cubicBezTo>
                        <a:pt x="2864" y="1606"/>
                        <a:pt x="2863" y="1610"/>
                        <a:pt x="2866" y="1614"/>
                      </a:cubicBezTo>
                      <a:cubicBezTo>
                        <a:pt x="2869" y="1617"/>
                        <a:pt x="2876" y="1616"/>
                        <a:pt x="2879" y="1614"/>
                      </a:cubicBezTo>
                      <a:cubicBezTo>
                        <a:pt x="2883" y="1612"/>
                        <a:pt x="2896" y="1613"/>
                        <a:pt x="2903" y="1614"/>
                      </a:cubicBezTo>
                      <a:cubicBezTo>
                        <a:pt x="2910" y="1614"/>
                        <a:pt x="2912" y="1616"/>
                        <a:pt x="2915" y="1621"/>
                      </a:cubicBezTo>
                      <a:cubicBezTo>
                        <a:pt x="2918" y="1625"/>
                        <a:pt x="2923" y="1627"/>
                        <a:pt x="2930" y="1628"/>
                      </a:cubicBezTo>
                      <a:cubicBezTo>
                        <a:pt x="2936" y="1630"/>
                        <a:pt x="2942" y="1628"/>
                        <a:pt x="2955" y="1629"/>
                      </a:cubicBezTo>
                      <a:cubicBezTo>
                        <a:pt x="2968" y="1629"/>
                        <a:pt x="2963" y="1634"/>
                        <a:pt x="2969" y="1636"/>
                      </a:cubicBezTo>
                      <a:cubicBezTo>
                        <a:pt x="2974" y="1639"/>
                        <a:pt x="2980" y="1638"/>
                        <a:pt x="2976" y="1631"/>
                      </a:cubicBezTo>
                      <a:cubicBezTo>
                        <a:pt x="2972" y="1625"/>
                        <a:pt x="2968" y="1618"/>
                        <a:pt x="2965" y="1613"/>
                      </a:cubicBezTo>
                      <a:cubicBezTo>
                        <a:pt x="2963" y="1608"/>
                        <a:pt x="2953" y="1609"/>
                        <a:pt x="2950" y="1606"/>
                      </a:cubicBezTo>
                      <a:cubicBezTo>
                        <a:pt x="2947" y="1603"/>
                        <a:pt x="2945" y="1591"/>
                        <a:pt x="2942" y="1585"/>
                      </a:cubicBezTo>
                      <a:cubicBezTo>
                        <a:pt x="2938" y="1578"/>
                        <a:pt x="2933" y="1582"/>
                        <a:pt x="2926" y="1579"/>
                      </a:cubicBezTo>
                      <a:cubicBezTo>
                        <a:pt x="2920" y="1576"/>
                        <a:pt x="2921" y="1574"/>
                        <a:pt x="2918" y="1567"/>
                      </a:cubicBezTo>
                      <a:cubicBezTo>
                        <a:pt x="2915" y="1560"/>
                        <a:pt x="2918" y="1550"/>
                        <a:pt x="2916" y="1541"/>
                      </a:cubicBezTo>
                      <a:cubicBezTo>
                        <a:pt x="2913" y="1531"/>
                        <a:pt x="2911" y="1527"/>
                        <a:pt x="2905" y="1517"/>
                      </a:cubicBezTo>
                      <a:cubicBezTo>
                        <a:pt x="2900" y="1507"/>
                        <a:pt x="2899" y="1500"/>
                        <a:pt x="2894" y="1486"/>
                      </a:cubicBezTo>
                      <a:cubicBezTo>
                        <a:pt x="2888" y="1473"/>
                        <a:pt x="2886" y="1471"/>
                        <a:pt x="2882" y="1465"/>
                      </a:cubicBezTo>
                      <a:cubicBezTo>
                        <a:pt x="2878" y="1458"/>
                        <a:pt x="2873" y="1458"/>
                        <a:pt x="2864" y="1455"/>
                      </a:cubicBezTo>
                      <a:cubicBezTo>
                        <a:pt x="2856" y="1452"/>
                        <a:pt x="2854" y="1452"/>
                        <a:pt x="2849" y="1448"/>
                      </a:cubicBezTo>
                      <a:cubicBezTo>
                        <a:pt x="2844" y="1444"/>
                        <a:pt x="2838" y="1437"/>
                        <a:pt x="2830" y="1432"/>
                      </a:cubicBezTo>
                      <a:cubicBezTo>
                        <a:pt x="2822" y="1428"/>
                        <a:pt x="2820" y="1432"/>
                        <a:pt x="2817" y="1429"/>
                      </a:cubicBezTo>
                      <a:cubicBezTo>
                        <a:pt x="2814" y="1426"/>
                        <a:pt x="2814" y="1419"/>
                        <a:pt x="2814" y="1414"/>
                      </a:cubicBezTo>
                      <a:cubicBezTo>
                        <a:pt x="2814" y="1409"/>
                        <a:pt x="2819" y="1404"/>
                        <a:pt x="2822" y="1403"/>
                      </a:cubicBezTo>
                      <a:cubicBezTo>
                        <a:pt x="2826" y="1401"/>
                        <a:pt x="2833" y="1393"/>
                        <a:pt x="2835" y="1386"/>
                      </a:cubicBezTo>
                      <a:cubicBezTo>
                        <a:pt x="2838" y="1378"/>
                        <a:pt x="2840" y="1371"/>
                        <a:pt x="2846" y="1368"/>
                      </a:cubicBezTo>
                      <a:cubicBezTo>
                        <a:pt x="2852" y="1365"/>
                        <a:pt x="2859" y="1367"/>
                        <a:pt x="2860" y="1363"/>
                      </a:cubicBezTo>
                      <a:cubicBezTo>
                        <a:pt x="2861" y="1359"/>
                        <a:pt x="2862" y="1355"/>
                        <a:pt x="2869" y="1350"/>
                      </a:cubicBezTo>
                      <a:cubicBezTo>
                        <a:pt x="2876" y="1346"/>
                        <a:pt x="2878" y="1347"/>
                        <a:pt x="2879" y="1345"/>
                      </a:cubicBezTo>
                      <a:cubicBezTo>
                        <a:pt x="2879" y="1344"/>
                        <a:pt x="2879" y="1340"/>
                        <a:pt x="2878" y="1338"/>
                      </a:cubicBezTo>
                      <a:cubicBezTo>
                        <a:pt x="2877" y="1337"/>
                        <a:pt x="2870" y="1332"/>
                        <a:pt x="2869" y="1329"/>
                      </a:cubicBezTo>
                      <a:cubicBezTo>
                        <a:pt x="2867" y="1327"/>
                        <a:pt x="2874" y="1320"/>
                        <a:pt x="2879" y="1319"/>
                      </a:cubicBezTo>
                      <a:cubicBezTo>
                        <a:pt x="2883" y="1318"/>
                        <a:pt x="2888" y="1326"/>
                        <a:pt x="2888" y="1330"/>
                      </a:cubicBezTo>
                      <a:cubicBezTo>
                        <a:pt x="2888" y="1335"/>
                        <a:pt x="2891" y="1334"/>
                        <a:pt x="2895" y="1334"/>
                      </a:cubicBezTo>
                      <a:cubicBezTo>
                        <a:pt x="2899" y="1334"/>
                        <a:pt x="2904" y="1332"/>
                        <a:pt x="2907" y="1329"/>
                      </a:cubicBezTo>
                      <a:cubicBezTo>
                        <a:pt x="2910" y="1326"/>
                        <a:pt x="2906" y="1322"/>
                        <a:pt x="2906" y="1317"/>
                      </a:cubicBezTo>
                      <a:cubicBezTo>
                        <a:pt x="2906" y="1312"/>
                        <a:pt x="2913" y="1312"/>
                        <a:pt x="2916" y="1311"/>
                      </a:cubicBezTo>
                      <a:cubicBezTo>
                        <a:pt x="2919" y="1310"/>
                        <a:pt x="2922" y="1306"/>
                        <a:pt x="2920" y="1303"/>
                      </a:cubicBezTo>
                      <a:cubicBezTo>
                        <a:pt x="2918" y="1300"/>
                        <a:pt x="2914" y="1302"/>
                        <a:pt x="2913" y="1298"/>
                      </a:cubicBezTo>
                      <a:cubicBezTo>
                        <a:pt x="2913" y="1295"/>
                        <a:pt x="2915" y="1292"/>
                        <a:pt x="2920" y="1292"/>
                      </a:cubicBezTo>
                      <a:cubicBezTo>
                        <a:pt x="2926" y="1292"/>
                        <a:pt x="2930" y="1292"/>
                        <a:pt x="2939" y="1290"/>
                      </a:cubicBezTo>
                      <a:cubicBezTo>
                        <a:pt x="2948" y="1288"/>
                        <a:pt x="2950" y="1285"/>
                        <a:pt x="2960" y="1280"/>
                      </a:cubicBezTo>
                      <a:cubicBezTo>
                        <a:pt x="2970" y="1275"/>
                        <a:pt x="2976" y="1277"/>
                        <a:pt x="2986" y="1273"/>
                      </a:cubicBezTo>
                      <a:cubicBezTo>
                        <a:pt x="2997" y="1268"/>
                        <a:pt x="2998" y="1266"/>
                        <a:pt x="2999" y="1268"/>
                      </a:cubicBezTo>
                      <a:cubicBezTo>
                        <a:pt x="3001" y="1270"/>
                        <a:pt x="3004" y="1276"/>
                        <a:pt x="3008" y="1276"/>
                      </a:cubicBezTo>
                      <a:cubicBezTo>
                        <a:pt x="3012" y="1276"/>
                        <a:pt x="3020" y="1274"/>
                        <a:pt x="3019" y="1269"/>
                      </a:cubicBezTo>
                      <a:cubicBezTo>
                        <a:pt x="3018" y="1265"/>
                        <a:pt x="3017" y="1261"/>
                        <a:pt x="3020" y="1254"/>
                      </a:cubicBezTo>
                      <a:cubicBezTo>
                        <a:pt x="3023" y="1247"/>
                        <a:pt x="3028" y="1238"/>
                        <a:pt x="3023" y="1238"/>
                      </a:cubicBezTo>
                      <a:cubicBezTo>
                        <a:pt x="3018" y="1238"/>
                        <a:pt x="3013" y="1238"/>
                        <a:pt x="3008" y="1237"/>
                      </a:cubicBezTo>
                      <a:cubicBezTo>
                        <a:pt x="3002" y="1236"/>
                        <a:pt x="2999" y="1232"/>
                        <a:pt x="2996" y="1230"/>
                      </a:cubicBezTo>
                      <a:cubicBezTo>
                        <a:pt x="2993" y="1228"/>
                        <a:pt x="2990" y="1230"/>
                        <a:pt x="2986" y="1234"/>
                      </a:cubicBezTo>
                      <a:cubicBezTo>
                        <a:pt x="2982" y="1238"/>
                        <a:pt x="2975" y="1237"/>
                        <a:pt x="2968" y="1238"/>
                      </a:cubicBezTo>
                      <a:cubicBezTo>
                        <a:pt x="2960" y="1238"/>
                        <a:pt x="2956" y="1237"/>
                        <a:pt x="2947" y="1231"/>
                      </a:cubicBezTo>
                      <a:cubicBezTo>
                        <a:pt x="2938" y="1225"/>
                        <a:pt x="2937" y="1224"/>
                        <a:pt x="2932" y="1221"/>
                      </a:cubicBezTo>
                      <a:cubicBezTo>
                        <a:pt x="2926" y="1218"/>
                        <a:pt x="2912" y="1211"/>
                        <a:pt x="2905" y="1211"/>
                      </a:cubicBezTo>
                      <a:cubicBezTo>
                        <a:pt x="2899" y="1211"/>
                        <a:pt x="2900" y="1215"/>
                        <a:pt x="2893" y="1216"/>
                      </a:cubicBezTo>
                      <a:cubicBezTo>
                        <a:pt x="2886" y="1217"/>
                        <a:pt x="2883" y="1219"/>
                        <a:pt x="2879" y="1221"/>
                      </a:cubicBezTo>
                      <a:cubicBezTo>
                        <a:pt x="2875" y="1223"/>
                        <a:pt x="2878" y="1228"/>
                        <a:pt x="2876" y="1233"/>
                      </a:cubicBezTo>
                      <a:cubicBezTo>
                        <a:pt x="2874" y="1238"/>
                        <a:pt x="2872" y="1238"/>
                        <a:pt x="2864" y="1239"/>
                      </a:cubicBezTo>
                      <a:cubicBezTo>
                        <a:pt x="2857" y="1241"/>
                        <a:pt x="2856" y="1246"/>
                        <a:pt x="2851" y="1250"/>
                      </a:cubicBezTo>
                      <a:cubicBezTo>
                        <a:pt x="2846" y="1255"/>
                        <a:pt x="2838" y="1261"/>
                        <a:pt x="2832" y="1259"/>
                      </a:cubicBezTo>
                      <a:cubicBezTo>
                        <a:pt x="2826" y="1256"/>
                        <a:pt x="2822" y="1253"/>
                        <a:pt x="2816" y="1252"/>
                      </a:cubicBezTo>
                      <a:cubicBezTo>
                        <a:pt x="2810" y="1250"/>
                        <a:pt x="2804" y="1247"/>
                        <a:pt x="2801" y="1241"/>
                      </a:cubicBezTo>
                      <a:cubicBezTo>
                        <a:pt x="2799" y="1236"/>
                        <a:pt x="2806" y="1218"/>
                        <a:pt x="2806" y="1209"/>
                      </a:cubicBezTo>
                      <a:cubicBezTo>
                        <a:pt x="2806" y="1201"/>
                        <a:pt x="2805" y="1204"/>
                        <a:pt x="2802" y="1197"/>
                      </a:cubicBezTo>
                      <a:cubicBezTo>
                        <a:pt x="2799" y="1189"/>
                        <a:pt x="2798" y="1191"/>
                        <a:pt x="2795" y="1188"/>
                      </a:cubicBezTo>
                      <a:cubicBezTo>
                        <a:pt x="2792" y="1185"/>
                        <a:pt x="2787" y="1186"/>
                        <a:pt x="2783" y="1187"/>
                      </a:cubicBezTo>
                      <a:cubicBezTo>
                        <a:pt x="2779" y="1189"/>
                        <a:pt x="2777" y="1196"/>
                        <a:pt x="2772" y="1197"/>
                      </a:cubicBezTo>
                      <a:cubicBezTo>
                        <a:pt x="2767" y="1198"/>
                        <a:pt x="2767" y="1188"/>
                        <a:pt x="2764" y="1187"/>
                      </a:cubicBezTo>
                      <a:cubicBezTo>
                        <a:pt x="2761" y="1185"/>
                        <a:pt x="2755" y="1187"/>
                        <a:pt x="2750" y="1186"/>
                      </a:cubicBezTo>
                      <a:cubicBezTo>
                        <a:pt x="2746" y="1185"/>
                        <a:pt x="2737" y="1182"/>
                        <a:pt x="2733" y="1180"/>
                      </a:cubicBezTo>
                      <a:cubicBezTo>
                        <a:pt x="2728" y="1178"/>
                        <a:pt x="2725" y="1170"/>
                        <a:pt x="2722" y="1168"/>
                      </a:cubicBezTo>
                      <a:cubicBezTo>
                        <a:pt x="2719" y="1166"/>
                        <a:pt x="2712" y="1152"/>
                        <a:pt x="2714" y="1146"/>
                      </a:cubicBezTo>
                      <a:cubicBezTo>
                        <a:pt x="2716" y="1140"/>
                        <a:pt x="2718" y="1135"/>
                        <a:pt x="2722" y="1125"/>
                      </a:cubicBezTo>
                      <a:cubicBezTo>
                        <a:pt x="2725" y="1114"/>
                        <a:pt x="2735" y="1111"/>
                        <a:pt x="2743" y="1111"/>
                      </a:cubicBezTo>
                      <a:cubicBezTo>
                        <a:pt x="2751" y="1111"/>
                        <a:pt x="2753" y="1122"/>
                        <a:pt x="2761" y="1120"/>
                      </a:cubicBezTo>
                      <a:cubicBezTo>
                        <a:pt x="2768" y="1119"/>
                        <a:pt x="2776" y="1116"/>
                        <a:pt x="2782" y="1117"/>
                      </a:cubicBezTo>
                      <a:cubicBezTo>
                        <a:pt x="2788" y="1118"/>
                        <a:pt x="2800" y="1111"/>
                        <a:pt x="2804" y="1106"/>
                      </a:cubicBezTo>
                      <a:cubicBezTo>
                        <a:pt x="2808" y="1102"/>
                        <a:pt x="2823" y="1091"/>
                        <a:pt x="2823" y="1087"/>
                      </a:cubicBezTo>
                      <a:cubicBezTo>
                        <a:pt x="2824" y="1082"/>
                        <a:pt x="2826" y="1073"/>
                        <a:pt x="2830" y="1068"/>
                      </a:cubicBezTo>
                      <a:cubicBezTo>
                        <a:pt x="2835" y="1063"/>
                        <a:pt x="2848" y="1056"/>
                        <a:pt x="2860" y="1051"/>
                      </a:cubicBezTo>
                      <a:cubicBezTo>
                        <a:pt x="2872" y="1045"/>
                        <a:pt x="2884" y="1038"/>
                        <a:pt x="2893" y="1032"/>
                      </a:cubicBezTo>
                      <a:cubicBezTo>
                        <a:pt x="2901" y="1025"/>
                        <a:pt x="2917" y="1005"/>
                        <a:pt x="2920" y="1000"/>
                      </a:cubicBezTo>
                      <a:cubicBezTo>
                        <a:pt x="2924" y="994"/>
                        <a:pt x="2935" y="989"/>
                        <a:pt x="2941" y="989"/>
                      </a:cubicBezTo>
                      <a:cubicBezTo>
                        <a:pt x="2947" y="989"/>
                        <a:pt x="2961" y="992"/>
                        <a:pt x="2965" y="990"/>
                      </a:cubicBezTo>
                      <a:cubicBezTo>
                        <a:pt x="2969" y="988"/>
                        <a:pt x="2974" y="981"/>
                        <a:pt x="2977" y="981"/>
                      </a:cubicBezTo>
                      <a:cubicBezTo>
                        <a:pt x="2981" y="981"/>
                        <a:pt x="2978" y="984"/>
                        <a:pt x="2976" y="990"/>
                      </a:cubicBezTo>
                      <a:cubicBezTo>
                        <a:pt x="2975" y="997"/>
                        <a:pt x="2983" y="996"/>
                        <a:pt x="2987" y="997"/>
                      </a:cubicBezTo>
                      <a:cubicBezTo>
                        <a:pt x="2992" y="999"/>
                        <a:pt x="2996" y="1005"/>
                        <a:pt x="2997" y="1008"/>
                      </a:cubicBezTo>
                      <a:cubicBezTo>
                        <a:pt x="2999" y="1011"/>
                        <a:pt x="3003" y="1014"/>
                        <a:pt x="3005" y="1017"/>
                      </a:cubicBezTo>
                      <a:cubicBezTo>
                        <a:pt x="3006" y="1020"/>
                        <a:pt x="3000" y="1026"/>
                        <a:pt x="2996" y="1030"/>
                      </a:cubicBezTo>
                      <a:cubicBezTo>
                        <a:pt x="2991" y="1033"/>
                        <a:pt x="2991" y="1037"/>
                        <a:pt x="2986" y="1042"/>
                      </a:cubicBezTo>
                      <a:cubicBezTo>
                        <a:pt x="2981" y="1046"/>
                        <a:pt x="2980" y="1048"/>
                        <a:pt x="2977" y="1055"/>
                      </a:cubicBezTo>
                      <a:cubicBezTo>
                        <a:pt x="2974" y="1062"/>
                        <a:pt x="2971" y="1062"/>
                        <a:pt x="2967" y="1063"/>
                      </a:cubicBezTo>
                      <a:cubicBezTo>
                        <a:pt x="2962" y="1064"/>
                        <a:pt x="2957" y="1064"/>
                        <a:pt x="2955" y="1068"/>
                      </a:cubicBezTo>
                      <a:cubicBezTo>
                        <a:pt x="2953" y="1071"/>
                        <a:pt x="2954" y="1075"/>
                        <a:pt x="2953" y="1079"/>
                      </a:cubicBezTo>
                      <a:cubicBezTo>
                        <a:pt x="2951" y="1084"/>
                        <a:pt x="2943" y="1085"/>
                        <a:pt x="2944" y="1088"/>
                      </a:cubicBezTo>
                      <a:cubicBezTo>
                        <a:pt x="2945" y="1092"/>
                        <a:pt x="2953" y="1098"/>
                        <a:pt x="2957" y="1099"/>
                      </a:cubicBezTo>
                      <a:cubicBezTo>
                        <a:pt x="2960" y="1100"/>
                        <a:pt x="2965" y="1097"/>
                        <a:pt x="2975" y="1095"/>
                      </a:cubicBezTo>
                      <a:cubicBezTo>
                        <a:pt x="2984" y="1094"/>
                        <a:pt x="2984" y="1097"/>
                        <a:pt x="2980" y="1101"/>
                      </a:cubicBezTo>
                      <a:cubicBezTo>
                        <a:pt x="2977" y="1106"/>
                        <a:pt x="2974" y="1105"/>
                        <a:pt x="2971" y="1108"/>
                      </a:cubicBezTo>
                      <a:cubicBezTo>
                        <a:pt x="2969" y="1112"/>
                        <a:pt x="2971" y="1114"/>
                        <a:pt x="2971" y="1119"/>
                      </a:cubicBezTo>
                      <a:cubicBezTo>
                        <a:pt x="2972" y="1123"/>
                        <a:pt x="2970" y="1123"/>
                        <a:pt x="2965" y="1123"/>
                      </a:cubicBezTo>
                      <a:cubicBezTo>
                        <a:pt x="2961" y="1123"/>
                        <a:pt x="2957" y="1123"/>
                        <a:pt x="2950" y="1125"/>
                      </a:cubicBezTo>
                      <a:cubicBezTo>
                        <a:pt x="2943" y="1127"/>
                        <a:pt x="2935" y="1127"/>
                        <a:pt x="2934" y="1131"/>
                      </a:cubicBezTo>
                      <a:cubicBezTo>
                        <a:pt x="2932" y="1135"/>
                        <a:pt x="2936" y="1142"/>
                        <a:pt x="2941" y="1143"/>
                      </a:cubicBezTo>
                      <a:cubicBezTo>
                        <a:pt x="2946" y="1145"/>
                        <a:pt x="2955" y="1136"/>
                        <a:pt x="2967" y="1128"/>
                      </a:cubicBezTo>
                      <a:cubicBezTo>
                        <a:pt x="2979" y="1121"/>
                        <a:pt x="2984" y="1118"/>
                        <a:pt x="2992" y="1113"/>
                      </a:cubicBezTo>
                      <a:cubicBezTo>
                        <a:pt x="2999" y="1107"/>
                        <a:pt x="3016" y="1097"/>
                        <a:pt x="3022" y="1091"/>
                      </a:cubicBezTo>
                      <a:cubicBezTo>
                        <a:pt x="3029" y="1085"/>
                        <a:pt x="3050" y="1076"/>
                        <a:pt x="3057" y="1073"/>
                      </a:cubicBezTo>
                      <a:cubicBezTo>
                        <a:pt x="3064" y="1070"/>
                        <a:pt x="3071" y="1068"/>
                        <a:pt x="3081" y="1068"/>
                      </a:cubicBezTo>
                      <a:cubicBezTo>
                        <a:pt x="3092" y="1067"/>
                        <a:pt x="3100" y="1068"/>
                        <a:pt x="3111" y="1066"/>
                      </a:cubicBezTo>
                      <a:cubicBezTo>
                        <a:pt x="3112" y="1066"/>
                        <a:pt x="3113" y="1066"/>
                        <a:pt x="3114" y="1066"/>
                      </a:cubicBezTo>
                      <a:cubicBezTo>
                        <a:pt x="3116" y="1062"/>
                        <a:pt x="3119" y="1056"/>
                        <a:pt x="3123" y="1051"/>
                      </a:cubicBezTo>
                      <a:cubicBezTo>
                        <a:pt x="3127" y="1046"/>
                        <a:pt x="3133" y="1040"/>
                        <a:pt x="3141" y="1036"/>
                      </a:cubicBezTo>
                      <a:cubicBezTo>
                        <a:pt x="3141" y="1036"/>
                        <a:pt x="3141" y="1036"/>
                        <a:pt x="3141" y="1036"/>
                      </a:cubicBezTo>
                      <a:cubicBezTo>
                        <a:pt x="3146" y="1033"/>
                        <a:pt x="3148" y="1032"/>
                        <a:pt x="3151" y="1030"/>
                      </a:cubicBezTo>
                      <a:cubicBezTo>
                        <a:pt x="3167" y="1021"/>
                        <a:pt x="3185" y="1011"/>
                        <a:pt x="3196" y="1003"/>
                      </a:cubicBezTo>
                      <a:cubicBezTo>
                        <a:pt x="3202" y="998"/>
                        <a:pt x="3205" y="995"/>
                        <a:pt x="3207" y="992"/>
                      </a:cubicBezTo>
                      <a:cubicBezTo>
                        <a:pt x="3209" y="989"/>
                        <a:pt x="3210" y="987"/>
                        <a:pt x="3215" y="985"/>
                      </a:cubicBezTo>
                      <a:cubicBezTo>
                        <a:pt x="3219" y="984"/>
                        <a:pt x="3223" y="984"/>
                        <a:pt x="3226" y="984"/>
                      </a:cubicBezTo>
                      <a:cubicBezTo>
                        <a:pt x="3228" y="984"/>
                        <a:pt x="3231" y="985"/>
                        <a:pt x="3233" y="983"/>
                      </a:cubicBezTo>
                      <a:cubicBezTo>
                        <a:pt x="3237" y="981"/>
                        <a:pt x="3245" y="968"/>
                        <a:pt x="3254" y="955"/>
                      </a:cubicBezTo>
                      <a:cubicBezTo>
                        <a:pt x="3262" y="944"/>
                        <a:pt x="3270" y="933"/>
                        <a:pt x="3274" y="928"/>
                      </a:cubicBezTo>
                      <a:cubicBezTo>
                        <a:pt x="3279" y="923"/>
                        <a:pt x="3283" y="921"/>
                        <a:pt x="3287" y="920"/>
                      </a:cubicBezTo>
                      <a:cubicBezTo>
                        <a:pt x="3291" y="919"/>
                        <a:pt x="3294" y="920"/>
                        <a:pt x="3298" y="921"/>
                      </a:cubicBezTo>
                      <a:cubicBezTo>
                        <a:pt x="3302" y="922"/>
                        <a:pt x="3306" y="928"/>
                        <a:pt x="3310" y="934"/>
                      </a:cubicBezTo>
                      <a:cubicBezTo>
                        <a:pt x="3313" y="938"/>
                        <a:pt x="3317" y="942"/>
                        <a:pt x="3317" y="942"/>
                      </a:cubicBezTo>
                      <a:cubicBezTo>
                        <a:pt x="3319" y="942"/>
                        <a:pt x="3324" y="943"/>
                        <a:pt x="3330" y="944"/>
                      </a:cubicBezTo>
                      <a:cubicBezTo>
                        <a:pt x="3336" y="945"/>
                        <a:pt x="3345" y="947"/>
                        <a:pt x="3349" y="947"/>
                      </a:cubicBezTo>
                      <a:cubicBezTo>
                        <a:pt x="3353" y="947"/>
                        <a:pt x="3357" y="947"/>
                        <a:pt x="3360" y="947"/>
                      </a:cubicBezTo>
                      <a:cubicBezTo>
                        <a:pt x="3363" y="946"/>
                        <a:pt x="3366" y="946"/>
                        <a:pt x="3368" y="945"/>
                      </a:cubicBezTo>
                      <a:cubicBezTo>
                        <a:pt x="3370" y="944"/>
                        <a:pt x="3371" y="939"/>
                        <a:pt x="3371" y="934"/>
                      </a:cubicBezTo>
                      <a:cubicBezTo>
                        <a:pt x="3372" y="933"/>
                        <a:pt x="3372" y="932"/>
                        <a:pt x="3372" y="931"/>
                      </a:cubicBezTo>
                      <a:cubicBezTo>
                        <a:pt x="3372" y="928"/>
                        <a:pt x="3369" y="924"/>
                        <a:pt x="3366" y="920"/>
                      </a:cubicBezTo>
                      <a:cubicBezTo>
                        <a:pt x="3365" y="918"/>
                        <a:pt x="3363" y="915"/>
                        <a:pt x="3362" y="913"/>
                      </a:cubicBezTo>
                      <a:cubicBezTo>
                        <a:pt x="3361" y="911"/>
                        <a:pt x="3360" y="909"/>
                        <a:pt x="3360" y="907"/>
                      </a:cubicBezTo>
                      <a:cubicBezTo>
                        <a:pt x="3360" y="905"/>
                        <a:pt x="3360" y="904"/>
                        <a:pt x="3361" y="902"/>
                      </a:cubicBezTo>
                      <a:cubicBezTo>
                        <a:pt x="3362" y="901"/>
                        <a:pt x="3363" y="900"/>
                        <a:pt x="3364" y="899"/>
                      </a:cubicBezTo>
                      <a:cubicBezTo>
                        <a:pt x="3366" y="899"/>
                        <a:pt x="3368" y="898"/>
                        <a:pt x="3370" y="898"/>
                      </a:cubicBezTo>
                      <a:cubicBezTo>
                        <a:pt x="3372" y="898"/>
                        <a:pt x="3391" y="896"/>
                        <a:pt x="3406" y="895"/>
                      </a:cubicBezTo>
                      <a:cubicBezTo>
                        <a:pt x="3413" y="895"/>
                        <a:pt x="3420" y="894"/>
                        <a:pt x="3421" y="894"/>
                      </a:cubicBezTo>
                      <a:cubicBezTo>
                        <a:pt x="3421" y="894"/>
                        <a:pt x="3427" y="887"/>
                        <a:pt x="3431" y="881"/>
                      </a:cubicBezTo>
                      <a:cubicBezTo>
                        <a:pt x="3434" y="876"/>
                        <a:pt x="3437" y="871"/>
                        <a:pt x="3439" y="870"/>
                      </a:cubicBezTo>
                      <a:cubicBezTo>
                        <a:pt x="3443" y="866"/>
                        <a:pt x="3449" y="865"/>
                        <a:pt x="3454" y="864"/>
                      </a:cubicBezTo>
                      <a:cubicBezTo>
                        <a:pt x="3458" y="863"/>
                        <a:pt x="3461" y="863"/>
                        <a:pt x="3463" y="862"/>
                      </a:cubicBezTo>
                      <a:cubicBezTo>
                        <a:pt x="3463" y="862"/>
                        <a:pt x="3463" y="862"/>
                        <a:pt x="3463" y="862"/>
                      </a:cubicBezTo>
                      <a:cubicBezTo>
                        <a:pt x="3465" y="861"/>
                        <a:pt x="3466" y="855"/>
                        <a:pt x="3466" y="849"/>
                      </a:cubicBezTo>
                      <a:cubicBezTo>
                        <a:pt x="3466" y="845"/>
                        <a:pt x="3466" y="842"/>
                        <a:pt x="3467" y="839"/>
                      </a:cubicBezTo>
                      <a:cubicBezTo>
                        <a:pt x="3468" y="838"/>
                        <a:pt x="3468" y="836"/>
                        <a:pt x="3468" y="835"/>
                      </a:cubicBezTo>
                      <a:cubicBezTo>
                        <a:pt x="3470" y="830"/>
                        <a:pt x="3470" y="827"/>
                        <a:pt x="3478" y="827"/>
                      </a:cubicBezTo>
                      <a:cubicBezTo>
                        <a:pt x="3482" y="827"/>
                        <a:pt x="3488" y="830"/>
                        <a:pt x="3493" y="832"/>
                      </a:cubicBezTo>
                      <a:cubicBezTo>
                        <a:pt x="3498" y="835"/>
                        <a:pt x="3503" y="839"/>
                        <a:pt x="3504" y="843"/>
                      </a:cubicBezTo>
                      <a:cubicBezTo>
                        <a:pt x="3504" y="844"/>
                        <a:pt x="3504" y="845"/>
                        <a:pt x="3505" y="847"/>
                      </a:cubicBezTo>
                      <a:cubicBezTo>
                        <a:pt x="3505" y="848"/>
                        <a:pt x="3505" y="848"/>
                        <a:pt x="3505" y="849"/>
                      </a:cubicBezTo>
                      <a:cubicBezTo>
                        <a:pt x="3508" y="847"/>
                        <a:pt x="3513" y="844"/>
                        <a:pt x="3516" y="843"/>
                      </a:cubicBezTo>
                      <a:cubicBezTo>
                        <a:pt x="3519" y="841"/>
                        <a:pt x="3523" y="841"/>
                        <a:pt x="3527" y="840"/>
                      </a:cubicBezTo>
                      <a:cubicBezTo>
                        <a:pt x="3533" y="839"/>
                        <a:pt x="3540" y="837"/>
                        <a:pt x="3545" y="834"/>
                      </a:cubicBezTo>
                      <a:cubicBezTo>
                        <a:pt x="3549" y="830"/>
                        <a:pt x="3550" y="828"/>
                        <a:pt x="3550" y="823"/>
                      </a:cubicBezTo>
                      <a:cubicBezTo>
                        <a:pt x="3551" y="819"/>
                        <a:pt x="3551" y="815"/>
                        <a:pt x="3553" y="810"/>
                      </a:cubicBezTo>
                      <a:cubicBezTo>
                        <a:pt x="3555" y="801"/>
                        <a:pt x="3555" y="797"/>
                        <a:pt x="3555" y="789"/>
                      </a:cubicBezTo>
                      <a:cubicBezTo>
                        <a:pt x="3555" y="785"/>
                        <a:pt x="3554" y="779"/>
                        <a:pt x="3555" y="771"/>
                      </a:cubicBezTo>
                      <a:cubicBezTo>
                        <a:pt x="3555" y="756"/>
                        <a:pt x="3555" y="753"/>
                        <a:pt x="3554" y="749"/>
                      </a:cubicBezTo>
                      <a:cubicBezTo>
                        <a:pt x="3554" y="746"/>
                        <a:pt x="3554" y="744"/>
                        <a:pt x="3554" y="739"/>
                      </a:cubicBezTo>
                      <a:cubicBezTo>
                        <a:pt x="3553" y="731"/>
                        <a:pt x="3551" y="724"/>
                        <a:pt x="3548" y="717"/>
                      </a:cubicBezTo>
                      <a:cubicBezTo>
                        <a:pt x="3547" y="714"/>
                        <a:pt x="3546" y="712"/>
                        <a:pt x="3545" y="709"/>
                      </a:cubicBezTo>
                      <a:cubicBezTo>
                        <a:pt x="3545" y="707"/>
                        <a:pt x="3544" y="705"/>
                        <a:pt x="3543" y="704"/>
                      </a:cubicBezTo>
                      <a:cubicBezTo>
                        <a:pt x="3540" y="694"/>
                        <a:pt x="3538" y="689"/>
                        <a:pt x="3545" y="685"/>
                      </a:cubicBezTo>
                      <a:cubicBezTo>
                        <a:pt x="3547" y="683"/>
                        <a:pt x="3551" y="682"/>
                        <a:pt x="3555" y="681"/>
                      </a:cubicBezTo>
                      <a:cubicBezTo>
                        <a:pt x="3560" y="680"/>
                        <a:pt x="3565" y="679"/>
                        <a:pt x="3570" y="676"/>
                      </a:cubicBezTo>
                      <a:cubicBezTo>
                        <a:pt x="3575" y="674"/>
                        <a:pt x="3576" y="672"/>
                        <a:pt x="3577" y="671"/>
                      </a:cubicBezTo>
                      <a:cubicBezTo>
                        <a:pt x="3579" y="669"/>
                        <a:pt x="3580" y="667"/>
                        <a:pt x="3584" y="664"/>
                      </a:cubicBezTo>
                      <a:cubicBezTo>
                        <a:pt x="3587" y="661"/>
                        <a:pt x="3589" y="660"/>
                        <a:pt x="3590" y="658"/>
                      </a:cubicBezTo>
                      <a:cubicBezTo>
                        <a:pt x="3593" y="655"/>
                        <a:pt x="3595" y="653"/>
                        <a:pt x="3601" y="653"/>
                      </a:cubicBezTo>
                      <a:cubicBezTo>
                        <a:pt x="3606" y="653"/>
                        <a:pt x="3611" y="656"/>
                        <a:pt x="3617" y="658"/>
                      </a:cubicBezTo>
                      <a:cubicBezTo>
                        <a:pt x="3621" y="661"/>
                        <a:pt x="3626" y="663"/>
                        <a:pt x="3631" y="664"/>
                      </a:cubicBezTo>
                      <a:cubicBezTo>
                        <a:pt x="3637" y="666"/>
                        <a:pt x="3644" y="668"/>
                        <a:pt x="3651" y="668"/>
                      </a:cubicBezTo>
                      <a:cubicBezTo>
                        <a:pt x="3657" y="669"/>
                        <a:pt x="3662" y="670"/>
                        <a:pt x="3666" y="669"/>
                      </a:cubicBezTo>
                      <a:cubicBezTo>
                        <a:pt x="3671" y="668"/>
                        <a:pt x="3671" y="664"/>
                        <a:pt x="3671" y="662"/>
                      </a:cubicBezTo>
                      <a:cubicBezTo>
                        <a:pt x="3670" y="661"/>
                        <a:pt x="3670" y="661"/>
                        <a:pt x="3670" y="660"/>
                      </a:cubicBezTo>
                      <a:cubicBezTo>
                        <a:pt x="3670" y="659"/>
                        <a:pt x="3670" y="659"/>
                        <a:pt x="3670" y="659"/>
                      </a:cubicBezTo>
                      <a:cubicBezTo>
                        <a:pt x="3670" y="659"/>
                        <a:pt x="3670" y="659"/>
                        <a:pt x="3670" y="659"/>
                      </a:cubicBezTo>
                      <a:cubicBezTo>
                        <a:pt x="3670" y="655"/>
                        <a:pt x="3670" y="651"/>
                        <a:pt x="3675" y="645"/>
                      </a:cubicBezTo>
                      <a:cubicBezTo>
                        <a:pt x="3678" y="641"/>
                        <a:pt x="3685" y="637"/>
                        <a:pt x="3690" y="633"/>
                      </a:cubicBezTo>
                      <a:cubicBezTo>
                        <a:pt x="3693" y="631"/>
                        <a:pt x="3696" y="630"/>
                        <a:pt x="3696" y="629"/>
                      </a:cubicBezTo>
                      <a:cubicBezTo>
                        <a:pt x="3696" y="629"/>
                        <a:pt x="3696" y="629"/>
                        <a:pt x="3696" y="629"/>
                      </a:cubicBezTo>
                      <a:cubicBezTo>
                        <a:pt x="3697" y="629"/>
                        <a:pt x="3697" y="626"/>
                        <a:pt x="3696" y="623"/>
                      </a:cubicBezTo>
                      <a:cubicBezTo>
                        <a:pt x="3696" y="619"/>
                        <a:pt x="3696" y="616"/>
                        <a:pt x="3697" y="613"/>
                      </a:cubicBezTo>
                      <a:cubicBezTo>
                        <a:pt x="3698" y="610"/>
                        <a:pt x="3699" y="607"/>
                        <a:pt x="3702" y="604"/>
                      </a:cubicBezTo>
                      <a:cubicBezTo>
                        <a:pt x="3704" y="602"/>
                        <a:pt x="3707" y="599"/>
                        <a:pt x="3711" y="596"/>
                      </a:cubicBezTo>
                      <a:cubicBezTo>
                        <a:pt x="3713" y="595"/>
                        <a:pt x="3715" y="592"/>
                        <a:pt x="3716" y="589"/>
                      </a:cubicBezTo>
                      <a:cubicBezTo>
                        <a:pt x="3718" y="585"/>
                        <a:pt x="3718" y="579"/>
                        <a:pt x="3718" y="577"/>
                      </a:cubicBezTo>
                      <a:cubicBezTo>
                        <a:pt x="3718" y="574"/>
                        <a:pt x="3719" y="570"/>
                        <a:pt x="3720" y="565"/>
                      </a:cubicBezTo>
                      <a:cubicBezTo>
                        <a:pt x="3720" y="562"/>
                        <a:pt x="3722" y="559"/>
                        <a:pt x="3723" y="557"/>
                      </a:cubicBezTo>
                      <a:cubicBezTo>
                        <a:pt x="3724" y="556"/>
                        <a:pt x="3724" y="556"/>
                        <a:pt x="3724" y="556"/>
                      </a:cubicBezTo>
                      <a:cubicBezTo>
                        <a:pt x="3727" y="552"/>
                        <a:pt x="3733" y="544"/>
                        <a:pt x="3734" y="535"/>
                      </a:cubicBezTo>
                      <a:cubicBezTo>
                        <a:pt x="3734" y="529"/>
                        <a:pt x="3735" y="525"/>
                        <a:pt x="3736" y="520"/>
                      </a:cubicBezTo>
                      <a:cubicBezTo>
                        <a:pt x="3737" y="517"/>
                        <a:pt x="3738" y="513"/>
                        <a:pt x="3739" y="509"/>
                      </a:cubicBezTo>
                      <a:cubicBezTo>
                        <a:pt x="3740" y="498"/>
                        <a:pt x="3748" y="491"/>
                        <a:pt x="3753" y="487"/>
                      </a:cubicBezTo>
                      <a:cubicBezTo>
                        <a:pt x="3753" y="486"/>
                        <a:pt x="3753" y="486"/>
                        <a:pt x="3753" y="486"/>
                      </a:cubicBezTo>
                      <a:cubicBezTo>
                        <a:pt x="3755" y="485"/>
                        <a:pt x="3758" y="482"/>
                        <a:pt x="3761" y="480"/>
                      </a:cubicBezTo>
                      <a:cubicBezTo>
                        <a:pt x="3767" y="475"/>
                        <a:pt x="3773" y="471"/>
                        <a:pt x="3773" y="469"/>
                      </a:cubicBezTo>
                      <a:cubicBezTo>
                        <a:pt x="3774" y="469"/>
                        <a:pt x="3773" y="467"/>
                        <a:pt x="3773" y="466"/>
                      </a:cubicBezTo>
                      <a:cubicBezTo>
                        <a:pt x="3771" y="463"/>
                        <a:pt x="3769" y="460"/>
                        <a:pt x="3766" y="456"/>
                      </a:cubicBezTo>
                      <a:cubicBezTo>
                        <a:pt x="3760" y="448"/>
                        <a:pt x="3761" y="445"/>
                        <a:pt x="3763" y="440"/>
                      </a:cubicBezTo>
                      <a:cubicBezTo>
                        <a:pt x="3763" y="439"/>
                        <a:pt x="3763" y="438"/>
                        <a:pt x="3764" y="437"/>
                      </a:cubicBezTo>
                      <a:cubicBezTo>
                        <a:pt x="3764" y="436"/>
                        <a:pt x="3764" y="435"/>
                        <a:pt x="3765" y="435"/>
                      </a:cubicBezTo>
                      <a:cubicBezTo>
                        <a:pt x="3766" y="431"/>
                        <a:pt x="3767" y="429"/>
                        <a:pt x="3765" y="426"/>
                      </a:cubicBezTo>
                      <a:cubicBezTo>
                        <a:pt x="3762" y="424"/>
                        <a:pt x="3760" y="423"/>
                        <a:pt x="3758" y="422"/>
                      </a:cubicBezTo>
                      <a:cubicBezTo>
                        <a:pt x="3758" y="422"/>
                        <a:pt x="3758" y="422"/>
                        <a:pt x="3758" y="422"/>
                      </a:cubicBezTo>
                      <a:cubicBezTo>
                        <a:pt x="3756" y="421"/>
                        <a:pt x="3753" y="420"/>
                        <a:pt x="3751" y="420"/>
                      </a:cubicBezTo>
                      <a:cubicBezTo>
                        <a:pt x="3748" y="420"/>
                        <a:pt x="3745" y="420"/>
                        <a:pt x="3742" y="421"/>
                      </a:cubicBezTo>
                      <a:cubicBezTo>
                        <a:pt x="3738" y="422"/>
                        <a:pt x="3734" y="423"/>
                        <a:pt x="3729" y="426"/>
                      </a:cubicBezTo>
                      <a:cubicBezTo>
                        <a:pt x="3726" y="427"/>
                        <a:pt x="3722" y="429"/>
                        <a:pt x="3718" y="430"/>
                      </a:cubicBezTo>
                      <a:cubicBezTo>
                        <a:pt x="3708" y="435"/>
                        <a:pt x="3696" y="441"/>
                        <a:pt x="3685" y="442"/>
                      </a:cubicBezTo>
                      <a:cubicBezTo>
                        <a:pt x="3673" y="444"/>
                        <a:pt x="3671" y="445"/>
                        <a:pt x="3664" y="448"/>
                      </a:cubicBezTo>
                      <a:cubicBezTo>
                        <a:pt x="3664" y="448"/>
                        <a:pt x="3664" y="448"/>
                        <a:pt x="3664" y="448"/>
                      </a:cubicBezTo>
                      <a:cubicBezTo>
                        <a:pt x="3661" y="449"/>
                        <a:pt x="3661" y="449"/>
                        <a:pt x="3661" y="449"/>
                      </a:cubicBezTo>
                      <a:cubicBezTo>
                        <a:pt x="3657" y="450"/>
                        <a:pt x="3654" y="452"/>
                        <a:pt x="3651" y="454"/>
                      </a:cubicBezTo>
                      <a:cubicBezTo>
                        <a:pt x="3649" y="455"/>
                        <a:pt x="3648" y="457"/>
                        <a:pt x="3648" y="459"/>
                      </a:cubicBezTo>
                      <a:cubicBezTo>
                        <a:pt x="3647" y="461"/>
                        <a:pt x="3645" y="465"/>
                        <a:pt x="3643" y="468"/>
                      </a:cubicBezTo>
                      <a:cubicBezTo>
                        <a:pt x="3641" y="471"/>
                        <a:pt x="3637" y="474"/>
                        <a:pt x="3632" y="474"/>
                      </a:cubicBezTo>
                      <a:cubicBezTo>
                        <a:pt x="3631" y="475"/>
                        <a:pt x="3631" y="475"/>
                        <a:pt x="3631" y="475"/>
                      </a:cubicBezTo>
                      <a:cubicBezTo>
                        <a:pt x="3624" y="475"/>
                        <a:pt x="3613" y="475"/>
                        <a:pt x="3598" y="475"/>
                      </a:cubicBezTo>
                      <a:cubicBezTo>
                        <a:pt x="3587" y="475"/>
                        <a:pt x="3569" y="475"/>
                        <a:pt x="3559" y="475"/>
                      </a:cubicBezTo>
                      <a:cubicBezTo>
                        <a:pt x="3554" y="475"/>
                        <a:pt x="3552" y="475"/>
                        <a:pt x="3551" y="475"/>
                      </a:cubicBezTo>
                      <a:cubicBezTo>
                        <a:pt x="3551" y="475"/>
                        <a:pt x="3551" y="475"/>
                        <a:pt x="3551" y="475"/>
                      </a:cubicBezTo>
                      <a:cubicBezTo>
                        <a:pt x="3550" y="475"/>
                        <a:pt x="3550" y="475"/>
                        <a:pt x="3550" y="475"/>
                      </a:cubicBezTo>
                      <a:cubicBezTo>
                        <a:pt x="3544" y="475"/>
                        <a:pt x="3537" y="475"/>
                        <a:pt x="3537" y="466"/>
                      </a:cubicBezTo>
                      <a:cubicBezTo>
                        <a:pt x="3537" y="464"/>
                        <a:pt x="3537" y="462"/>
                        <a:pt x="3536" y="460"/>
                      </a:cubicBezTo>
                      <a:cubicBezTo>
                        <a:pt x="3536" y="458"/>
                        <a:pt x="3535" y="456"/>
                        <a:pt x="3534" y="454"/>
                      </a:cubicBezTo>
                      <a:cubicBezTo>
                        <a:pt x="3533" y="453"/>
                        <a:pt x="3531" y="452"/>
                        <a:pt x="3529" y="451"/>
                      </a:cubicBezTo>
                      <a:cubicBezTo>
                        <a:pt x="3525" y="449"/>
                        <a:pt x="3521" y="447"/>
                        <a:pt x="3520" y="440"/>
                      </a:cubicBezTo>
                      <a:cubicBezTo>
                        <a:pt x="3519" y="435"/>
                        <a:pt x="3521" y="430"/>
                        <a:pt x="3523" y="425"/>
                      </a:cubicBezTo>
                      <a:cubicBezTo>
                        <a:pt x="3525" y="421"/>
                        <a:pt x="3526" y="417"/>
                        <a:pt x="3526" y="413"/>
                      </a:cubicBezTo>
                      <a:cubicBezTo>
                        <a:pt x="3526" y="409"/>
                        <a:pt x="3524" y="408"/>
                        <a:pt x="3521" y="406"/>
                      </a:cubicBezTo>
                      <a:cubicBezTo>
                        <a:pt x="3521" y="406"/>
                        <a:pt x="3521" y="406"/>
                        <a:pt x="3521" y="406"/>
                      </a:cubicBezTo>
                      <a:cubicBezTo>
                        <a:pt x="3519" y="404"/>
                        <a:pt x="3516" y="402"/>
                        <a:pt x="3513" y="398"/>
                      </a:cubicBezTo>
                      <a:cubicBezTo>
                        <a:pt x="3510" y="392"/>
                        <a:pt x="3512" y="387"/>
                        <a:pt x="3513" y="383"/>
                      </a:cubicBezTo>
                      <a:cubicBezTo>
                        <a:pt x="3514" y="382"/>
                        <a:pt x="3515" y="381"/>
                        <a:pt x="3515" y="381"/>
                      </a:cubicBezTo>
                      <a:cubicBezTo>
                        <a:pt x="3514" y="381"/>
                        <a:pt x="3512" y="381"/>
                        <a:pt x="3509" y="381"/>
                      </a:cubicBezTo>
                      <a:cubicBezTo>
                        <a:pt x="3504" y="381"/>
                        <a:pt x="3496" y="381"/>
                        <a:pt x="3489" y="377"/>
                      </a:cubicBezTo>
                      <a:cubicBezTo>
                        <a:pt x="3483" y="373"/>
                        <a:pt x="3476" y="365"/>
                        <a:pt x="3469" y="357"/>
                      </a:cubicBezTo>
                      <a:cubicBezTo>
                        <a:pt x="3462" y="349"/>
                        <a:pt x="3454" y="340"/>
                        <a:pt x="3449" y="338"/>
                      </a:cubicBezTo>
                      <a:cubicBezTo>
                        <a:pt x="3444" y="337"/>
                        <a:pt x="3443" y="337"/>
                        <a:pt x="3441" y="338"/>
                      </a:cubicBezTo>
                      <a:cubicBezTo>
                        <a:pt x="3440" y="339"/>
                        <a:pt x="3438" y="340"/>
                        <a:pt x="3435" y="340"/>
                      </a:cubicBezTo>
                      <a:cubicBezTo>
                        <a:pt x="3427" y="342"/>
                        <a:pt x="3424" y="340"/>
                        <a:pt x="3411" y="333"/>
                      </a:cubicBezTo>
                      <a:cubicBezTo>
                        <a:pt x="3411" y="333"/>
                        <a:pt x="3411" y="333"/>
                        <a:pt x="3411" y="333"/>
                      </a:cubicBezTo>
                      <a:cubicBezTo>
                        <a:pt x="3411" y="333"/>
                        <a:pt x="3411" y="333"/>
                        <a:pt x="3411" y="333"/>
                      </a:cubicBezTo>
                      <a:cubicBezTo>
                        <a:pt x="3411" y="333"/>
                        <a:pt x="3411" y="333"/>
                        <a:pt x="3411" y="333"/>
                      </a:cubicBezTo>
                      <a:cubicBezTo>
                        <a:pt x="3405" y="330"/>
                        <a:pt x="3401" y="328"/>
                        <a:pt x="3398" y="327"/>
                      </a:cubicBezTo>
                      <a:cubicBezTo>
                        <a:pt x="3395" y="326"/>
                        <a:pt x="3392" y="326"/>
                        <a:pt x="3387" y="326"/>
                      </a:cubicBezTo>
                      <a:cubicBezTo>
                        <a:pt x="3384" y="326"/>
                        <a:pt x="3384" y="326"/>
                        <a:pt x="3384" y="326"/>
                      </a:cubicBezTo>
                      <a:cubicBezTo>
                        <a:pt x="3372" y="326"/>
                        <a:pt x="3351" y="325"/>
                        <a:pt x="3346" y="322"/>
                      </a:cubicBezTo>
                      <a:cubicBezTo>
                        <a:pt x="3344" y="321"/>
                        <a:pt x="3341" y="318"/>
                        <a:pt x="3339" y="315"/>
                      </a:cubicBezTo>
                      <a:cubicBezTo>
                        <a:pt x="3336" y="312"/>
                        <a:pt x="3334" y="308"/>
                        <a:pt x="3332" y="304"/>
                      </a:cubicBezTo>
                      <a:cubicBezTo>
                        <a:pt x="3329" y="300"/>
                        <a:pt x="3328" y="297"/>
                        <a:pt x="3327" y="294"/>
                      </a:cubicBezTo>
                      <a:cubicBezTo>
                        <a:pt x="3327" y="291"/>
                        <a:pt x="3326" y="288"/>
                        <a:pt x="3326" y="284"/>
                      </a:cubicBezTo>
                      <a:cubicBezTo>
                        <a:pt x="3325" y="280"/>
                        <a:pt x="3326" y="277"/>
                        <a:pt x="3327" y="275"/>
                      </a:cubicBezTo>
                      <a:cubicBezTo>
                        <a:pt x="3328" y="273"/>
                        <a:pt x="3329" y="271"/>
                        <a:pt x="3328" y="266"/>
                      </a:cubicBezTo>
                      <a:cubicBezTo>
                        <a:pt x="3327" y="261"/>
                        <a:pt x="3321" y="249"/>
                        <a:pt x="3315" y="240"/>
                      </a:cubicBezTo>
                      <a:cubicBezTo>
                        <a:pt x="3312" y="235"/>
                        <a:pt x="3310" y="231"/>
                        <a:pt x="3309" y="228"/>
                      </a:cubicBezTo>
                      <a:cubicBezTo>
                        <a:pt x="3307" y="226"/>
                        <a:pt x="3305" y="222"/>
                        <a:pt x="3303" y="219"/>
                      </a:cubicBezTo>
                      <a:cubicBezTo>
                        <a:pt x="3299" y="213"/>
                        <a:pt x="3295" y="207"/>
                        <a:pt x="3295" y="202"/>
                      </a:cubicBezTo>
                      <a:cubicBezTo>
                        <a:pt x="3295" y="202"/>
                        <a:pt x="3295" y="202"/>
                        <a:pt x="3295" y="202"/>
                      </a:cubicBezTo>
                      <a:cubicBezTo>
                        <a:pt x="3295" y="202"/>
                        <a:pt x="3295" y="202"/>
                        <a:pt x="3295" y="202"/>
                      </a:cubicBezTo>
                      <a:cubicBezTo>
                        <a:pt x="3295" y="196"/>
                        <a:pt x="3295" y="189"/>
                        <a:pt x="3291" y="186"/>
                      </a:cubicBezTo>
                      <a:cubicBezTo>
                        <a:pt x="3290" y="184"/>
                        <a:pt x="3288" y="184"/>
                        <a:pt x="3286" y="183"/>
                      </a:cubicBezTo>
                      <a:cubicBezTo>
                        <a:pt x="3283" y="183"/>
                        <a:pt x="3281" y="182"/>
                        <a:pt x="3279" y="180"/>
                      </a:cubicBezTo>
                      <a:cubicBezTo>
                        <a:pt x="3277" y="177"/>
                        <a:pt x="3276" y="171"/>
                        <a:pt x="3274" y="165"/>
                      </a:cubicBezTo>
                      <a:cubicBezTo>
                        <a:pt x="3273" y="161"/>
                        <a:pt x="3272" y="157"/>
                        <a:pt x="3271" y="153"/>
                      </a:cubicBezTo>
                      <a:cubicBezTo>
                        <a:pt x="3270" y="150"/>
                        <a:pt x="3267" y="146"/>
                        <a:pt x="3265" y="142"/>
                      </a:cubicBezTo>
                      <a:cubicBezTo>
                        <a:pt x="3262" y="136"/>
                        <a:pt x="3258" y="130"/>
                        <a:pt x="3258" y="125"/>
                      </a:cubicBezTo>
                      <a:cubicBezTo>
                        <a:pt x="3258" y="120"/>
                        <a:pt x="3258" y="117"/>
                        <a:pt x="3259" y="115"/>
                      </a:cubicBezTo>
                      <a:cubicBezTo>
                        <a:pt x="3259" y="113"/>
                        <a:pt x="3260" y="111"/>
                        <a:pt x="3259" y="110"/>
                      </a:cubicBezTo>
                      <a:cubicBezTo>
                        <a:pt x="3258" y="106"/>
                        <a:pt x="3255" y="102"/>
                        <a:pt x="3250" y="95"/>
                      </a:cubicBezTo>
                      <a:cubicBezTo>
                        <a:pt x="3249" y="94"/>
                        <a:pt x="3249" y="94"/>
                        <a:pt x="3249" y="94"/>
                      </a:cubicBezTo>
                      <a:cubicBezTo>
                        <a:pt x="3248" y="91"/>
                        <a:pt x="3245" y="88"/>
                        <a:pt x="3241" y="86"/>
                      </a:cubicBezTo>
                      <a:cubicBezTo>
                        <a:pt x="3236" y="82"/>
                        <a:pt x="3231" y="77"/>
                        <a:pt x="3230" y="71"/>
                      </a:cubicBezTo>
                      <a:cubicBezTo>
                        <a:pt x="3229" y="66"/>
                        <a:pt x="3230" y="63"/>
                        <a:pt x="3231" y="61"/>
                      </a:cubicBezTo>
                      <a:cubicBezTo>
                        <a:pt x="3232" y="60"/>
                        <a:pt x="3232" y="59"/>
                        <a:pt x="3231" y="58"/>
                      </a:cubicBezTo>
                      <a:cubicBezTo>
                        <a:pt x="3228" y="55"/>
                        <a:pt x="3217" y="45"/>
                        <a:pt x="3207" y="38"/>
                      </a:cubicBezTo>
                      <a:cubicBezTo>
                        <a:pt x="3207" y="38"/>
                        <a:pt x="3207" y="38"/>
                        <a:pt x="3207" y="38"/>
                      </a:cubicBezTo>
                      <a:cubicBezTo>
                        <a:pt x="3201" y="34"/>
                        <a:pt x="3195" y="30"/>
                        <a:pt x="3192" y="29"/>
                      </a:cubicBezTo>
                      <a:cubicBezTo>
                        <a:pt x="3185" y="26"/>
                        <a:pt x="3182" y="27"/>
                        <a:pt x="3171" y="27"/>
                      </a:cubicBezTo>
                      <a:cubicBezTo>
                        <a:pt x="3168" y="28"/>
                        <a:pt x="3165" y="28"/>
                        <a:pt x="3161" y="28"/>
                      </a:cubicBezTo>
                      <a:cubicBezTo>
                        <a:pt x="3144" y="29"/>
                        <a:pt x="3142" y="27"/>
                        <a:pt x="3138" y="24"/>
                      </a:cubicBezTo>
                      <a:cubicBezTo>
                        <a:pt x="3137" y="23"/>
                        <a:pt x="3135" y="23"/>
                        <a:pt x="3134" y="22"/>
                      </a:cubicBezTo>
                      <a:cubicBezTo>
                        <a:pt x="3130" y="20"/>
                        <a:pt x="3125" y="17"/>
                        <a:pt x="3120" y="15"/>
                      </a:cubicBezTo>
                      <a:cubicBezTo>
                        <a:pt x="3114" y="12"/>
                        <a:pt x="3107" y="9"/>
                        <a:pt x="3102" y="6"/>
                      </a:cubicBezTo>
                      <a:cubicBezTo>
                        <a:pt x="3096" y="3"/>
                        <a:pt x="3092" y="2"/>
                        <a:pt x="3087" y="1"/>
                      </a:cubicBezTo>
                      <a:cubicBezTo>
                        <a:pt x="3083" y="0"/>
                        <a:pt x="3078" y="0"/>
                        <a:pt x="3074" y="0"/>
                      </a:cubicBezTo>
                      <a:cubicBezTo>
                        <a:pt x="3068" y="1"/>
                        <a:pt x="3045" y="3"/>
                        <a:pt x="3025" y="5"/>
                      </a:cubicBezTo>
                      <a:cubicBezTo>
                        <a:pt x="3013" y="7"/>
                        <a:pt x="3002" y="8"/>
                        <a:pt x="2998" y="10"/>
                      </a:cubicBezTo>
                      <a:cubicBezTo>
                        <a:pt x="2997" y="10"/>
                        <a:pt x="2997" y="10"/>
                        <a:pt x="2997" y="10"/>
                      </a:cubicBezTo>
                      <a:cubicBezTo>
                        <a:pt x="2983" y="13"/>
                        <a:pt x="2951" y="22"/>
                        <a:pt x="2938" y="20"/>
                      </a:cubicBezTo>
                      <a:cubicBezTo>
                        <a:pt x="2932" y="20"/>
                        <a:pt x="2928" y="20"/>
                        <a:pt x="2924" y="22"/>
                      </a:cubicBezTo>
                      <a:cubicBezTo>
                        <a:pt x="2920" y="23"/>
                        <a:pt x="2916" y="25"/>
                        <a:pt x="2913" y="27"/>
                      </a:cubicBezTo>
                      <a:cubicBezTo>
                        <a:pt x="2909" y="29"/>
                        <a:pt x="2896" y="40"/>
                        <a:pt x="2885" y="50"/>
                      </a:cubicBezTo>
                      <a:cubicBezTo>
                        <a:pt x="2878" y="56"/>
                        <a:pt x="2872" y="62"/>
                        <a:pt x="2872" y="64"/>
                      </a:cubicBezTo>
                      <a:cubicBezTo>
                        <a:pt x="2871" y="66"/>
                        <a:pt x="2872" y="67"/>
                        <a:pt x="2873" y="69"/>
                      </a:cubicBezTo>
                      <a:cubicBezTo>
                        <a:pt x="2874" y="70"/>
                        <a:pt x="2875" y="71"/>
                        <a:pt x="2877" y="72"/>
                      </a:cubicBezTo>
                      <a:cubicBezTo>
                        <a:pt x="2877" y="72"/>
                        <a:pt x="2879" y="72"/>
                        <a:pt x="2881" y="72"/>
                      </a:cubicBezTo>
                      <a:cubicBezTo>
                        <a:pt x="2884" y="72"/>
                        <a:pt x="2888" y="72"/>
                        <a:pt x="2892" y="71"/>
                      </a:cubicBezTo>
                      <a:cubicBezTo>
                        <a:pt x="2892" y="71"/>
                        <a:pt x="2892" y="71"/>
                        <a:pt x="2893" y="71"/>
                      </a:cubicBezTo>
                      <a:cubicBezTo>
                        <a:pt x="2897" y="70"/>
                        <a:pt x="2901" y="71"/>
                        <a:pt x="2904" y="73"/>
                      </a:cubicBezTo>
                      <a:cubicBezTo>
                        <a:pt x="2907" y="75"/>
                        <a:pt x="2909" y="78"/>
                        <a:pt x="2910" y="81"/>
                      </a:cubicBezTo>
                      <a:cubicBezTo>
                        <a:pt x="2910" y="81"/>
                        <a:pt x="2910" y="81"/>
                        <a:pt x="2910" y="81"/>
                      </a:cubicBezTo>
                      <a:cubicBezTo>
                        <a:pt x="2910" y="82"/>
                        <a:pt x="2910" y="82"/>
                        <a:pt x="2910" y="82"/>
                      </a:cubicBezTo>
                      <a:cubicBezTo>
                        <a:pt x="2910" y="82"/>
                        <a:pt x="2910" y="82"/>
                        <a:pt x="2910" y="82"/>
                      </a:cubicBezTo>
                      <a:cubicBezTo>
                        <a:pt x="2910" y="85"/>
                        <a:pt x="2910" y="87"/>
                        <a:pt x="2909" y="90"/>
                      </a:cubicBezTo>
                      <a:cubicBezTo>
                        <a:pt x="2909" y="93"/>
                        <a:pt x="2909" y="97"/>
                        <a:pt x="2909" y="101"/>
                      </a:cubicBezTo>
                      <a:cubicBezTo>
                        <a:pt x="2910" y="103"/>
                        <a:pt x="2911" y="105"/>
                        <a:pt x="2911" y="106"/>
                      </a:cubicBezTo>
                      <a:cubicBezTo>
                        <a:pt x="2913" y="110"/>
                        <a:pt x="2914" y="112"/>
                        <a:pt x="2911" y="117"/>
                      </a:cubicBezTo>
                      <a:cubicBezTo>
                        <a:pt x="2909" y="122"/>
                        <a:pt x="2898" y="134"/>
                        <a:pt x="2888" y="144"/>
                      </a:cubicBezTo>
                      <a:cubicBezTo>
                        <a:pt x="2882" y="150"/>
                        <a:pt x="2877" y="155"/>
                        <a:pt x="2874" y="158"/>
                      </a:cubicBezTo>
                      <a:cubicBezTo>
                        <a:pt x="2870" y="163"/>
                        <a:pt x="2865" y="170"/>
                        <a:pt x="2861" y="177"/>
                      </a:cubicBezTo>
                      <a:cubicBezTo>
                        <a:pt x="2856" y="184"/>
                        <a:pt x="2852" y="192"/>
                        <a:pt x="2847" y="200"/>
                      </a:cubicBezTo>
                      <a:cubicBezTo>
                        <a:pt x="2845" y="204"/>
                        <a:pt x="2843" y="208"/>
                        <a:pt x="2840" y="211"/>
                      </a:cubicBezTo>
                      <a:cubicBezTo>
                        <a:pt x="2835" y="221"/>
                        <a:pt x="2830" y="229"/>
                        <a:pt x="2828" y="237"/>
                      </a:cubicBezTo>
                      <a:cubicBezTo>
                        <a:pt x="2827" y="242"/>
                        <a:pt x="2827" y="248"/>
                        <a:pt x="2828" y="254"/>
                      </a:cubicBezTo>
                      <a:cubicBezTo>
                        <a:pt x="2829" y="259"/>
                        <a:pt x="2829" y="264"/>
                        <a:pt x="2828" y="268"/>
                      </a:cubicBezTo>
                      <a:cubicBezTo>
                        <a:pt x="2827" y="272"/>
                        <a:pt x="2825" y="277"/>
                        <a:pt x="2820" y="282"/>
                      </a:cubicBezTo>
                      <a:cubicBezTo>
                        <a:pt x="2816" y="286"/>
                        <a:pt x="2811" y="291"/>
                        <a:pt x="2802" y="293"/>
                      </a:cubicBezTo>
                      <a:cubicBezTo>
                        <a:pt x="2792" y="296"/>
                        <a:pt x="2787" y="296"/>
                        <a:pt x="2782" y="296"/>
                      </a:cubicBezTo>
                      <a:cubicBezTo>
                        <a:pt x="2779" y="296"/>
                        <a:pt x="2776" y="296"/>
                        <a:pt x="2772" y="297"/>
                      </a:cubicBezTo>
                      <a:cubicBezTo>
                        <a:pt x="2768" y="298"/>
                        <a:pt x="2762" y="304"/>
                        <a:pt x="2755" y="310"/>
                      </a:cubicBezTo>
                      <a:cubicBezTo>
                        <a:pt x="2747" y="317"/>
                        <a:pt x="2739" y="324"/>
                        <a:pt x="2733" y="325"/>
                      </a:cubicBezTo>
                      <a:cubicBezTo>
                        <a:pt x="2727" y="327"/>
                        <a:pt x="2710" y="320"/>
                        <a:pt x="2694" y="314"/>
                      </a:cubicBezTo>
                      <a:cubicBezTo>
                        <a:pt x="2686" y="312"/>
                        <a:pt x="2679" y="309"/>
                        <a:pt x="2673" y="307"/>
                      </a:cubicBezTo>
                      <a:cubicBezTo>
                        <a:pt x="2670" y="306"/>
                        <a:pt x="2667" y="305"/>
                        <a:pt x="2665" y="304"/>
                      </a:cubicBezTo>
                      <a:cubicBezTo>
                        <a:pt x="2660" y="311"/>
                        <a:pt x="2648" y="333"/>
                        <a:pt x="2636" y="353"/>
                      </a:cubicBezTo>
                      <a:cubicBezTo>
                        <a:pt x="2626" y="373"/>
                        <a:pt x="2616" y="391"/>
                        <a:pt x="2615" y="394"/>
                      </a:cubicBezTo>
                      <a:cubicBezTo>
                        <a:pt x="2614" y="398"/>
                        <a:pt x="2613" y="400"/>
                        <a:pt x="2612" y="401"/>
                      </a:cubicBezTo>
                      <a:cubicBezTo>
                        <a:pt x="2610" y="404"/>
                        <a:pt x="2609" y="406"/>
                        <a:pt x="2609" y="413"/>
                      </a:cubicBezTo>
                      <a:cubicBezTo>
                        <a:pt x="2609" y="414"/>
                        <a:pt x="2609" y="415"/>
                        <a:pt x="2610" y="416"/>
                      </a:cubicBezTo>
                      <a:cubicBezTo>
                        <a:pt x="2610" y="420"/>
                        <a:pt x="2610" y="422"/>
                        <a:pt x="2609" y="424"/>
                      </a:cubicBezTo>
                      <a:cubicBezTo>
                        <a:pt x="2608" y="426"/>
                        <a:pt x="2607" y="428"/>
                        <a:pt x="2605" y="431"/>
                      </a:cubicBezTo>
                      <a:cubicBezTo>
                        <a:pt x="2603" y="433"/>
                        <a:pt x="2603" y="433"/>
                        <a:pt x="2603" y="433"/>
                      </a:cubicBezTo>
                      <a:cubicBezTo>
                        <a:pt x="2601" y="436"/>
                        <a:pt x="2599" y="438"/>
                        <a:pt x="2598" y="440"/>
                      </a:cubicBezTo>
                      <a:cubicBezTo>
                        <a:pt x="2598" y="440"/>
                        <a:pt x="2598" y="440"/>
                        <a:pt x="2598" y="440"/>
                      </a:cubicBezTo>
                      <a:cubicBezTo>
                        <a:pt x="2595" y="442"/>
                        <a:pt x="2594" y="443"/>
                        <a:pt x="2596" y="447"/>
                      </a:cubicBezTo>
                      <a:cubicBezTo>
                        <a:pt x="2597" y="448"/>
                        <a:pt x="2597" y="449"/>
                        <a:pt x="2598" y="450"/>
                      </a:cubicBezTo>
                      <a:cubicBezTo>
                        <a:pt x="2602" y="458"/>
                        <a:pt x="2605" y="464"/>
                        <a:pt x="2611" y="466"/>
                      </a:cubicBezTo>
                      <a:cubicBezTo>
                        <a:pt x="2614" y="468"/>
                        <a:pt x="2620" y="465"/>
                        <a:pt x="2625" y="463"/>
                      </a:cubicBezTo>
                      <a:cubicBezTo>
                        <a:pt x="2630" y="461"/>
                        <a:pt x="2634" y="459"/>
                        <a:pt x="2638" y="459"/>
                      </a:cubicBezTo>
                      <a:cubicBezTo>
                        <a:pt x="2642" y="459"/>
                        <a:pt x="2646" y="458"/>
                        <a:pt x="2651" y="458"/>
                      </a:cubicBezTo>
                      <a:cubicBezTo>
                        <a:pt x="2656" y="457"/>
                        <a:pt x="2662" y="456"/>
                        <a:pt x="2667" y="456"/>
                      </a:cubicBezTo>
                      <a:cubicBezTo>
                        <a:pt x="2673" y="456"/>
                        <a:pt x="2680" y="460"/>
                        <a:pt x="2687" y="464"/>
                      </a:cubicBezTo>
                      <a:cubicBezTo>
                        <a:pt x="2692" y="468"/>
                        <a:pt x="2698" y="471"/>
                        <a:pt x="2700" y="471"/>
                      </a:cubicBezTo>
                      <a:cubicBezTo>
                        <a:pt x="2702" y="471"/>
                        <a:pt x="2703" y="469"/>
                        <a:pt x="2705" y="466"/>
                      </a:cubicBezTo>
                      <a:cubicBezTo>
                        <a:pt x="2708" y="461"/>
                        <a:pt x="2713" y="455"/>
                        <a:pt x="2721" y="452"/>
                      </a:cubicBezTo>
                      <a:cubicBezTo>
                        <a:pt x="2729" y="449"/>
                        <a:pt x="2739" y="447"/>
                        <a:pt x="2749" y="446"/>
                      </a:cubicBezTo>
                      <a:cubicBezTo>
                        <a:pt x="2759" y="445"/>
                        <a:pt x="2770" y="446"/>
                        <a:pt x="2778" y="448"/>
                      </a:cubicBezTo>
                      <a:cubicBezTo>
                        <a:pt x="2785" y="450"/>
                        <a:pt x="2798" y="460"/>
                        <a:pt x="2811" y="473"/>
                      </a:cubicBezTo>
                      <a:cubicBezTo>
                        <a:pt x="2830" y="490"/>
                        <a:pt x="2850" y="512"/>
                        <a:pt x="2856" y="519"/>
                      </a:cubicBezTo>
                      <a:cubicBezTo>
                        <a:pt x="2860" y="526"/>
                        <a:pt x="2864" y="532"/>
                        <a:pt x="2865" y="537"/>
                      </a:cubicBezTo>
                      <a:cubicBezTo>
                        <a:pt x="2867" y="544"/>
                        <a:pt x="2865" y="549"/>
                        <a:pt x="2857" y="552"/>
                      </a:cubicBezTo>
                      <a:cubicBezTo>
                        <a:pt x="2850" y="555"/>
                        <a:pt x="2825" y="554"/>
                        <a:pt x="2803" y="554"/>
                      </a:cubicBezTo>
                      <a:cubicBezTo>
                        <a:pt x="2789" y="553"/>
                        <a:pt x="2777" y="553"/>
                        <a:pt x="2771" y="554"/>
                      </a:cubicBezTo>
                      <a:cubicBezTo>
                        <a:pt x="2763" y="555"/>
                        <a:pt x="2746" y="562"/>
                        <a:pt x="2731" y="567"/>
                      </a:cubicBezTo>
                      <a:cubicBezTo>
                        <a:pt x="2721" y="572"/>
                        <a:pt x="2712" y="576"/>
                        <a:pt x="2708" y="576"/>
                      </a:cubicBezTo>
                      <a:cubicBezTo>
                        <a:pt x="2700" y="577"/>
                        <a:pt x="2675" y="578"/>
                        <a:pt x="2666" y="578"/>
                      </a:cubicBezTo>
                      <a:cubicBezTo>
                        <a:pt x="2665" y="578"/>
                        <a:pt x="2665" y="578"/>
                        <a:pt x="2665" y="578"/>
                      </a:cubicBezTo>
                      <a:cubicBezTo>
                        <a:pt x="2662" y="578"/>
                        <a:pt x="2657" y="582"/>
                        <a:pt x="2652" y="586"/>
                      </a:cubicBezTo>
                      <a:cubicBezTo>
                        <a:pt x="2646" y="592"/>
                        <a:pt x="2640" y="599"/>
                        <a:pt x="2638" y="604"/>
                      </a:cubicBezTo>
                      <a:cubicBezTo>
                        <a:pt x="2636" y="607"/>
                        <a:pt x="2637" y="610"/>
                        <a:pt x="2637" y="613"/>
                      </a:cubicBezTo>
                      <a:cubicBezTo>
                        <a:pt x="2637" y="618"/>
                        <a:pt x="2637" y="621"/>
                        <a:pt x="2632" y="626"/>
                      </a:cubicBezTo>
                      <a:cubicBezTo>
                        <a:pt x="2628" y="629"/>
                        <a:pt x="2622" y="633"/>
                        <a:pt x="2617" y="637"/>
                      </a:cubicBezTo>
                      <a:cubicBezTo>
                        <a:pt x="2617" y="637"/>
                        <a:pt x="2617" y="637"/>
                        <a:pt x="2617" y="637"/>
                      </a:cubicBezTo>
                      <a:cubicBezTo>
                        <a:pt x="2612" y="640"/>
                        <a:pt x="2608" y="643"/>
                        <a:pt x="2603" y="645"/>
                      </a:cubicBezTo>
                      <a:cubicBezTo>
                        <a:pt x="2597" y="648"/>
                        <a:pt x="2577" y="648"/>
                        <a:pt x="2561" y="649"/>
                      </a:cubicBezTo>
                      <a:cubicBezTo>
                        <a:pt x="2552" y="649"/>
                        <a:pt x="2544" y="649"/>
                        <a:pt x="2540" y="650"/>
                      </a:cubicBezTo>
                      <a:cubicBezTo>
                        <a:pt x="2531" y="651"/>
                        <a:pt x="2495" y="681"/>
                        <a:pt x="2483" y="691"/>
                      </a:cubicBezTo>
                      <a:cubicBezTo>
                        <a:pt x="2480" y="693"/>
                        <a:pt x="2480" y="693"/>
                        <a:pt x="2480" y="693"/>
                      </a:cubicBezTo>
                      <a:cubicBezTo>
                        <a:pt x="2480" y="693"/>
                        <a:pt x="2480" y="693"/>
                        <a:pt x="2480" y="693"/>
                      </a:cubicBezTo>
                      <a:cubicBezTo>
                        <a:pt x="2476" y="697"/>
                        <a:pt x="2470" y="700"/>
                        <a:pt x="2465" y="701"/>
                      </a:cubicBezTo>
                      <a:cubicBezTo>
                        <a:pt x="2459" y="703"/>
                        <a:pt x="2453" y="703"/>
                        <a:pt x="2449" y="701"/>
                      </a:cubicBezTo>
                      <a:cubicBezTo>
                        <a:pt x="2445" y="700"/>
                        <a:pt x="2436" y="697"/>
                        <a:pt x="2426" y="693"/>
                      </a:cubicBezTo>
                      <a:cubicBezTo>
                        <a:pt x="2418" y="689"/>
                        <a:pt x="2409" y="686"/>
                        <a:pt x="2402" y="682"/>
                      </a:cubicBezTo>
                      <a:cubicBezTo>
                        <a:pt x="2395" y="678"/>
                        <a:pt x="2389" y="677"/>
                        <a:pt x="2383" y="676"/>
                      </a:cubicBezTo>
                      <a:cubicBezTo>
                        <a:pt x="2377" y="676"/>
                        <a:pt x="2371" y="677"/>
                        <a:pt x="2368" y="680"/>
                      </a:cubicBezTo>
                      <a:cubicBezTo>
                        <a:pt x="2364" y="683"/>
                        <a:pt x="2356" y="693"/>
                        <a:pt x="2349" y="702"/>
                      </a:cubicBezTo>
                      <a:cubicBezTo>
                        <a:pt x="2343" y="711"/>
                        <a:pt x="2339" y="719"/>
                        <a:pt x="2339" y="722"/>
                      </a:cubicBezTo>
                      <a:cubicBezTo>
                        <a:pt x="2339" y="725"/>
                        <a:pt x="2347" y="736"/>
                        <a:pt x="2354" y="746"/>
                      </a:cubicBezTo>
                      <a:cubicBezTo>
                        <a:pt x="2361" y="756"/>
                        <a:pt x="2367" y="764"/>
                        <a:pt x="2368" y="768"/>
                      </a:cubicBezTo>
                      <a:cubicBezTo>
                        <a:pt x="2368" y="773"/>
                        <a:pt x="2366" y="776"/>
                        <a:pt x="2362" y="780"/>
                      </a:cubicBezTo>
                      <a:cubicBezTo>
                        <a:pt x="2359" y="783"/>
                        <a:pt x="2355" y="786"/>
                        <a:pt x="2350" y="789"/>
                      </a:cubicBezTo>
                      <a:cubicBezTo>
                        <a:pt x="2349" y="789"/>
                        <a:pt x="2347" y="791"/>
                        <a:pt x="2344" y="792"/>
                      </a:cubicBezTo>
                      <a:cubicBezTo>
                        <a:pt x="2331" y="800"/>
                        <a:pt x="2306" y="814"/>
                        <a:pt x="2295" y="824"/>
                      </a:cubicBezTo>
                      <a:cubicBezTo>
                        <a:pt x="2289" y="830"/>
                        <a:pt x="2286" y="834"/>
                        <a:pt x="2283" y="838"/>
                      </a:cubicBezTo>
                      <a:cubicBezTo>
                        <a:pt x="2280" y="841"/>
                        <a:pt x="2278" y="844"/>
                        <a:pt x="2274" y="848"/>
                      </a:cubicBezTo>
                      <a:cubicBezTo>
                        <a:pt x="2270" y="852"/>
                        <a:pt x="2257" y="859"/>
                        <a:pt x="2244" y="865"/>
                      </a:cubicBezTo>
                      <a:cubicBezTo>
                        <a:pt x="2231" y="870"/>
                        <a:pt x="2218" y="874"/>
                        <a:pt x="2210" y="875"/>
                      </a:cubicBezTo>
                      <a:cubicBezTo>
                        <a:pt x="2204" y="875"/>
                        <a:pt x="2192" y="876"/>
                        <a:pt x="2176" y="876"/>
                      </a:cubicBezTo>
                      <a:cubicBezTo>
                        <a:pt x="2151" y="877"/>
                        <a:pt x="2119" y="878"/>
                        <a:pt x="2108" y="880"/>
                      </a:cubicBezTo>
                      <a:cubicBezTo>
                        <a:pt x="2103" y="880"/>
                        <a:pt x="2098" y="881"/>
                        <a:pt x="2092" y="882"/>
                      </a:cubicBezTo>
                      <a:cubicBezTo>
                        <a:pt x="2073" y="883"/>
                        <a:pt x="2045" y="886"/>
                        <a:pt x="2025" y="897"/>
                      </a:cubicBezTo>
                      <a:cubicBezTo>
                        <a:pt x="2009" y="905"/>
                        <a:pt x="1991" y="914"/>
                        <a:pt x="1976" y="921"/>
                      </a:cubicBezTo>
                      <a:cubicBezTo>
                        <a:pt x="1964" y="926"/>
                        <a:pt x="1954" y="931"/>
                        <a:pt x="1948" y="934"/>
                      </a:cubicBezTo>
                      <a:cubicBezTo>
                        <a:pt x="1934" y="942"/>
                        <a:pt x="1921" y="938"/>
                        <a:pt x="1912" y="935"/>
                      </a:cubicBezTo>
                      <a:cubicBezTo>
                        <a:pt x="1911" y="935"/>
                        <a:pt x="1911" y="935"/>
                        <a:pt x="1911" y="935"/>
                      </a:cubicBezTo>
                      <a:cubicBezTo>
                        <a:pt x="1911" y="935"/>
                        <a:pt x="1911" y="935"/>
                        <a:pt x="1911" y="935"/>
                      </a:cubicBezTo>
                      <a:cubicBezTo>
                        <a:pt x="1906" y="933"/>
                        <a:pt x="1904" y="931"/>
                        <a:pt x="1902" y="928"/>
                      </a:cubicBezTo>
                      <a:cubicBezTo>
                        <a:pt x="1899" y="926"/>
                        <a:pt x="1897" y="923"/>
                        <a:pt x="1891" y="923"/>
                      </a:cubicBezTo>
                      <a:cubicBezTo>
                        <a:pt x="1885" y="923"/>
                        <a:pt x="1882" y="924"/>
                        <a:pt x="1879" y="925"/>
                      </a:cubicBezTo>
                      <a:cubicBezTo>
                        <a:pt x="1879" y="925"/>
                        <a:pt x="1879" y="925"/>
                        <a:pt x="1879" y="925"/>
                      </a:cubicBezTo>
                      <a:cubicBezTo>
                        <a:pt x="1873" y="927"/>
                        <a:pt x="1868" y="929"/>
                        <a:pt x="1858" y="926"/>
                      </a:cubicBezTo>
                      <a:cubicBezTo>
                        <a:pt x="1852" y="925"/>
                        <a:pt x="1838" y="920"/>
                        <a:pt x="1822" y="915"/>
                      </a:cubicBezTo>
                      <a:cubicBezTo>
                        <a:pt x="1799" y="908"/>
                        <a:pt x="1774" y="900"/>
                        <a:pt x="1767" y="900"/>
                      </a:cubicBezTo>
                      <a:cubicBezTo>
                        <a:pt x="1759" y="899"/>
                        <a:pt x="1755" y="893"/>
                        <a:pt x="1750" y="887"/>
                      </a:cubicBezTo>
                      <a:cubicBezTo>
                        <a:pt x="1750" y="887"/>
                        <a:pt x="1750" y="887"/>
                        <a:pt x="1750" y="887"/>
                      </a:cubicBezTo>
                      <a:cubicBezTo>
                        <a:pt x="1747" y="883"/>
                        <a:pt x="1744" y="879"/>
                        <a:pt x="1740" y="878"/>
                      </a:cubicBezTo>
                      <a:cubicBezTo>
                        <a:pt x="1735" y="878"/>
                        <a:pt x="1721" y="875"/>
                        <a:pt x="1705" y="872"/>
                      </a:cubicBezTo>
                      <a:cubicBezTo>
                        <a:pt x="1674" y="866"/>
                        <a:pt x="1635" y="859"/>
                        <a:pt x="1628" y="860"/>
                      </a:cubicBezTo>
                      <a:cubicBezTo>
                        <a:pt x="1624" y="861"/>
                        <a:pt x="1620" y="863"/>
                        <a:pt x="1617" y="864"/>
                      </a:cubicBezTo>
                      <a:cubicBezTo>
                        <a:pt x="1611" y="866"/>
                        <a:pt x="1606" y="868"/>
                        <a:pt x="1599" y="868"/>
                      </a:cubicBezTo>
                      <a:cubicBezTo>
                        <a:pt x="1593" y="868"/>
                        <a:pt x="1580" y="867"/>
                        <a:pt x="1564" y="866"/>
                      </a:cubicBezTo>
                      <a:cubicBezTo>
                        <a:pt x="1550" y="864"/>
                        <a:pt x="1533" y="862"/>
                        <a:pt x="1520" y="860"/>
                      </a:cubicBezTo>
                      <a:cubicBezTo>
                        <a:pt x="1511" y="859"/>
                        <a:pt x="1504" y="857"/>
                        <a:pt x="1497" y="856"/>
                      </a:cubicBezTo>
                      <a:cubicBezTo>
                        <a:pt x="1485" y="853"/>
                        <a:pt x="1475" y="851"/>
                        <a:pt x="1458" y="850"/>
                      </a:cubicBezTo>
                      <a:cubicBezTo>
                        <a:pt x="1445" y="850"/>
                        <a:pt x="1437" y="852"/>
                        <a:pt x="1430" y="854"/>
                      </a:cubicBezTo>
                      <a:cubicBezTo>
                        <a:pt x="1423" y="856"/>
                        <a:pt x="1417" y="857"/>
                        <a:pt x="1409" y="855"/>
                      </a:cubicBezTo>
                      <a:cubicBezTo>
                        <a:pt x="1398" y="852"/>
                        <a:pt x="1395" y="847"/>
                        <a:pt x="1391" y="840"/>
                      </a:cubicBezTo>
                      <a:cubicBezTo>
                        <a:pt x="1390" y="838"/>
                        <a:pt x="1388" y="835"/>
                        <a:pt x="1386" y="832"/>
                      </a:cubicBezTo>
                      <a:cubicBezTo>
                        <a:pt x="1383" y="829"/>
                        <a:pt x="1380" y="826"/>
                        <a:pt x="1378" y="824"/>
                      </a:cubicBezTo>
                      <a:cubicBezTo>
                        <a:pt x="1374" y="820"/>
                        <a:pt x="1370" y="817"/>
                        <a:pt x="1367" y="810"/>
                      </a:cubicBezTo>
                      <a:cubicBezTo>
                        <a:pt x="1365" y="805"/>
                        <a:pt x="1364" y="799"/>
                        <a:pt x="1362" y="793"/>
                      </a:cubicBezTo>
                      <a:cubicBezTo>
                        <a:pt x="1360" y="787"/>
                        <a:pt x="1359" y="781"/>
                        <a:pt x="1357" y="776"/>
                      </a:cubicBezTo>
                      <a:cubicBezTo>
                        <a:pt x="1355" y="770"/>
                        <a:pt x="1352" y="768"/>
                        <a:pt x="1349" y="766"/>
                      </a:cubicBezTo>
                      <a:cubicBezTo>
                        <a:pt x="1347" y="764"/>
                        <a:pt x="1345" y="763"/>
                        <a:pt x="1343" y="760"/>
                      </a:cubicBezTo>
                      <a:cubicBezTo>
                        <a:pt x="1339" y="756"/>
                        <a:pt x="1339" y="752"/>
                        <a:pt x="1339" y="748"/>
                      </a:cubicBezTo>
                      <a:cubicBezTo>
                        <a:pt x="1339" y="746"/>
                        <a:pt x="1339" y="743"/>
                        <a:pt x="1337" y="741"/>
                      </a:cubicBezTo>
                      <a:cubicBezTo>
                        <a:pt x="1336" y="740"/>
                        <a:pt x="1334" y="740"/>
                        <a:pt x="1330" y="740"/>
                      </a:cubicBezTo>
                      <a:cubicBezTo>
                        <a:pt x="1326" y="741"/>
                        <a:pt x="1319" y="741"/>
                        <a:pt x="1311" y="738"/>
                      </a:cubicBezTo>
                      <a:cubicBezTo>
                        <a:pt x="1303" y="735"/>
                        <a:pt x="1299" y="732"/>
                        <a:pt x="1293" y="727"/>
                      </a:cubicBezTo>
                      <a:cubicBezTo>
                        <a:pt x="1288" y="723"/>
                        <a:pt x="1282" y="719"/>
                        <a:pt x="1272" y="713"/>
                      </a:cubicBezTo>
                      <a:cubicBezTo>
                        <a:pt x="1264" y="708"/>
                        <a:pt x="1260" y="703"/>
                        <a:pt x="1255" y="699"/>
                      </a:cubicBezTo>
                      <a:cubicBezTo>
                        <a:pt x="1248" y="692"/>
                        <a:pt x="1243" y="687"/>
                        <a:pt x="1219" y="684"/>
                      </a:cubicBezTo>
                      <a:cubicBezTo>
                        <a:pt x="1201" y="681"/>
                        <a:pt x="1183" y="680"/>
                        <a:pt x="1168" y="679"/>
                      </a:cubicBezTo>
                      <a:cubicBezTo>
                        <a:pt x="1151" y="678"/>
                        <a:pt x="1137" y="677"/>
                        <a:pt x="1124" y="677"/>
                      </a:cubicBezTo>
                      <a:cubicBezTo>
                        <a:pt x="1110" y="676"/>
                        <a:pt x="1098" y="676"/>
                        <a:pt x="1088" y="674"/>
                      </a:cubicBezTo>
                      <a:cubicBezTo>
                        <a:pt x="1079" y="672"/>
                        <a:pt x="1072" y="670"/>
                        <a:pt x="1068" y="667"/>
                      </a:cubicBezTo>
                      <a:cubicBezTo>
                        <a:pt x="1067" y="666"/>
                        <a:pt x="1066" y="665"/>
                        <a:pt x="1065" y="664"/>
                      </a:cubicBezTo>
                      <a:cubicBezTo>
                        <a:pt x="1058" y="659"/>
                        <a:pt x="1050" y="653"/>
                        <a:pt x="1050" y="642"/>
                      </a:cubicBezTo>
                      <a:cubicBezTo>
                        <a:pt x="1050" y="636"/>
                        <a:pt x="1051" y="632"/>
                        <a:pt x="1052" y="628"/>
                      </a:cubicBezTo>
                      <a:cubicBezTo>
                        <a:pt x="1054" y="624"/>
                        <a:pt x="1056" y="620"/>
                        <a:pt x="1060" y="615"/>
                      </a:cubicBezTo>
                      <a:cubicBezTo>
                        <a:pt x="1063" y="611"/>
                        <a:pt x="1066" y="607"/>
                        <a:pt x="1067" y="604"/>
                      </a:cubicBezTo>
                      <a:cubicBezTo>
                        <a:pt x="1068" y="601"/>
                        <a:pt x="1069" y="598"/>
                        <a:pt x="1069" y="595"/>
                      </a:cubicBezTo>
                      <a:cubicBezTo>
                        <a:pt x="1068" y="594"/>
                        <a:pt x="1068" y="592"/>
                        <a:pt x="1067" y="590"/>
                      </a:cubicBezTo>
                      <a:cubicBezTo>
                        <a:pt x="1066" y="585"/>
                        <a:pt x="1064" y="581"/>
                        <a:pt x="1067" y="573"/>
                      </a:cubicBezTo>
                      <a:cubicBezTo>
                        <a:pt x="1069" y="568"/>
                        <a:pt x="1070" y="561"/>
                        <a:pt x="1069" y="555"/>
                      </a:cubicBezTo>
                      <a:cubicBezTo>
                        <a:pt x="1069" y="550"/>
                        <a:pt x="1068" y="545"/>
                        <a:pt x="1066" y="543"/>
                      </a:cubicBezTo>
                      <a:cubicBezTo>
                        <a:pt x="1065" y="542"/>
                        <a:pt x="1063" y="540"/>
                        <a:pt x="1061" y="538"/>
                      </a:cubicBezTo>
                      <a:cubicBezTo>
                        <a:pt x="1055" y="532"/>
                        <a:pt x="1046" y="522"/>
                        <a:pt x="1041" y="509"/>
                      </a:cubicBezTo>
                      <a:cubicBezTo>
                        <a:pt x="1038" y="502"/>
                        <a:pt x="1036" y="497"/>
                        <a:pt x="1035" y="493"/>
                      </a:cubicBezTo>
                      <a:cubicBezTo>
                        <a:pt x="1034" y="488"/>
                        <a:pt x="1033" y="484"/>
                        <a:pt x="1030" y="478"/>
                      </a:cubicBezTo>
                      <a:cubicBezTo>
                        <a:pt x="1027" y="473"/>
                        <a:pt x="1025" y="470"/>
                        <a:pt x="1022" y="468"/>
                      </a:cubicBezTo>
                      <a:cubicBezTo>
                        <a:pt x="1018" y="466"/>
                        <a:pt x="1014" y="465"/>
                        <a:pt x="1007" y="462"/>
                      </a:cubicBezTo>
                      <a:cubicBezTo>
                        <a:pt x="999" y="460"/>
                        <a:pt x="994" y="457"/>
                        <a:pt x="989" y="455"/>
                      </a:cubicBezTo>
                      <a:cubicBezTo>
                        <a:pt x="984" y="453"/>
                        <a:pt x="981" y="451"/>
                        <a:pt x="977" y="448"/>
                      </a:cubicBezTo>
                      <a:cubicBezTo>
                        <a:pt x="976" y="447"/>
                        <a:pt x="971" y="448"/>
                        <a:pt x="966" y="450"/>
                      </a:cubicBezTo>
                      <a:cubicBezTo>
                        <a:pt x="958" y="451"/>
                        <a:pt x="950" y="453"/>
                        <a:pt x="945" y="449"/>
                      </a:cubicBezTo>
                      <a:cubicBezTo>
                        <a:pt x="943" y="448"/>
                        <a:pt x="941" y="447"/>
                        <a:pt x="939" y="446"/>
                      </a:cubicBezTo>
                      <a:cubicBezTo>
                        <a:pt x="933" y="444"/>
                        <a:pt x="929" y="442"/>
                        <a:pt x="925" y="434"/>
                      </a:cubicBezTo>
                      <a:cubicBezTo>
                        <a:pt x="923" y="430"/>
                        <a:pt x="922" y="428"/>
                        <a:pt x="922" y="426"/>
                      </a:cubicBezTo>
                      <a:cubicBezTo>
                        <a:pt x="922" y="424"/>
                        <a:pt x="922" y="423"/>
                        <a:pt x="913" y="419"/>
                      </a:cubicBezTo>
                      <a:cubicBezTo>
                        <a:pt x="913" y="419"/>
                        <a:pt x="913" y="419"/>
                        <a:pt x="913" y="419"/>
                      </a:cubicBezTo>
                      <a:cubicBezTo>
                        <a:pt x="906" y="415"/>
                        <a:pt x="901" y="412"/>
                        <a:pt x="897" y="410"/>
                      </a:cubicBezTo>
                      <a:cubicBezTo>
                        <a:pt x="893" y="407"/>
                        <a:pt x="890" y="405"/>
                        <a:pt x="887" y="402"/>
                      </a:cubicBezTo>
                      <a:cubicBezTo>
                        <a:pt x="883" y="398"/>
                        <a:pt x="883" y="396"/>
                        <a:pt x="883" y="393"/>
                      </a:cubicBezTo>
                      <a:cubicBezTo>
                        <a:pt x="883" y="393"/>
                        <a:pt x="883" y="393"/>
                        <a:pt x="883" y="393"/>
                      </a:cubicBezTo>
                      <a:cubicBezTo>
                        <a:pt x="883" y="393"/>
                        <a:pt x="883" y="392"/>
                        <a:pt x="882" y="391"/>
                      </a:cubicBezTo>
                      <a:cubicBezTo>
                        <a:pt x="881" y="390"/>
                        <a:pt x="881" y="390"/>
                        <a:pt x="880" y="389"/>
                      </a:cubicBezTo>
                      <a:cubicBezTo>
                        <a:pt x="877" y="388"/>
                        <a:pt x="874" y="387"/>
                        <a:pt x="872" y="380"/>
                      </a:cubicBezTo>
                      <a:cubicBezTo>
                        <a:pt x="870" y="373"/>
                        <a:pt x="871" y="370"/>
                        <a:pt x="872" y="366"/>
                      </a:cubicBezTo>
                      <a:cubicBezTo>
                        <a:pt x="872" y="365"/>
                        <a:pt x="872" y="364"/>
                        <a:pt x="872" y="363"/>
                      </a:cubicBezTo>
                      <a:close/>
                    </a:path>
                  </a:pathLst>
                </a:custGeom>
                <a:solidFill>
                  <a:srgbClr val="BFAAD4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48" name="Freeform 74"/>
                <p:cNvSpPr/>
                <p:nvPr>
                  <p:custDataLst>
                    <p:tags r:id="rId146"/>
                  </p:custDataLst>
                </p:nvPr>
              </p:nvSpPr>
              <p:spPr bwMode="auto">
                <a:xfrm>
                  <a:off x="3140" y="1771"/>
                  <a:ext cx="194" cy="229"/>
                </a:xfrm>
                <a:custGeom>
                  <a:avLst/>
                  <a:gdLst>
                    <a:gd name="T0" fmla="*/ 74 w 454"/>
                    <a:gd name="T1" fmla="*/ 83 h 536"/>
                    <a:gd name="T2" fmla="*/ 58 w 454"/>
                    <a:gd name="T3" fmla="*/ 61 h 536"/>
                    <a:gd name="T4" fmla="*/ 29 w 454"/>
                    <a:gd name="T5" fmla="*/ 86 h 536"/>
                    <a:gd name="T6" fmla="*/ 4 w 454"/>
                    <a:gd name="T7" fmla="*/ 117 h 536"/>
                    <a:gd name="T8" fmla="*/ 0 w 454"/>
                    <a:gd name="T9" fmla="*/ 126 h 536"/>
                    <a:gd name="T10" fmla="*/ 8 w 454"/>
                    <a:gd name="T11" fmla="*/ 130 h 536"/>
                    <a:gd name="T12" fmla="*/ 21 w 454"/>
                    <a:gd name="T13" fmla="*/ 161 h 536"/>
                    <a:gd name="T14" fmla="*/ 24 w 454"/>
                    <a:gd name="T15" fmla="*/ 180 h 536"/>
                    <a:gd name="T16" fmla="*/ 60 w 454"/>
                    <a:gd name="T17" fmla="*/ 185 h 536"/>
                    <a:gd name="T18" fmla="*/ 72 w 454"/>
                    <a:gd name="T19" fmla="*/ 219 h 536"/>
                    <a:gd name="T20" fmla="*/ 62 w 454"/>
                    <a:gd name="T21" fmla="*/ 258 h 536"/>
                    <a:gd name="T22" fmla="*/ 56 w 454"/>
                    <a:gd name="T23" fmla="*/ 290 h 536"/>
                    <a:gd name="T24" fmla="*/ 55 w 454"/>
                    <a:gd name="T25" fmla="*/ 311 h 536"/>
                    <a:gd name="T26" fmla="*/ 96 w 454"/>
                    <a:gd name="T27" fmla="*/ 281 h 536"/>
                    <a:gd name="T28" fmla="*/ 144 w 454"/>
                    <a:gd name="T29" fmla="*/ 286 h 536"/>
                    <a:gd name="T30" fmla="*/ 161 w 454"/>
                    <a:gd name="T31" fmla="*/ 283 h 536"/>
                    <a:gd name="T32" fmla="*/ 209 w 454"/>
                    <a:gd name="T33" fmla="*/ 254 h 536"/>
                    <a:gd name="T34" fmla="*/ 260 w 454"/>
                    <a:gd name="T35" fmla="*/ 293 h 536"/>
                    <a:gd name="T36" fmla="*/ 287 w 454"/>
                    <a:gd name="T37" fmla="*/ 330 h 536"/>
                    <a:gd name="T38" fmla="*/ 286 w 454"/>
                    <a:gd name="T39" fmla="*/ 366 h 536"/>
                    <a:gd name="T40" fmla="*/ 306 w 454"/>
                    <a:gd name="T41" fmla="*/ 392 h 536"/>
                    <a:gd name="T42" fmla="*/ 334 w 454"/>
                    <a:gd name="T43" fmla="*/ 434 h 536"/>
                    <a:gd name="T44" fmla="*/ 331 w 454"/>
                    <a:gd name="T45" fmla="*/ 491 h 536"/>
                    <a:gd name="T46" fmla="*/ 313 w 454"/>
                    <a:gd name="T47" fmla="*/ 522 h 536"/>
                    <a:gd name="T48" fmla="*/ 342 w 454"/>
                    <a:gd name="T49" fmla="*/ 530 h 536"/>
                    <a:gd name="T50" fmla="*/ 362 w 454"/>
                    <a:gd name="T51" fmla="*/ 535 h 536"/>
                    <a:gd name="T52" fmla="*/ 367 w 454"/>
                    <a:gd name="T53" fmla="*/ 505 h 536"/>
                    <a:gd name="T54" fmla="*/ 409 w 454"/>
                    <a:gd name="T55" fmla="*/ 507 h 536"/>
                    <a:gd name="T56" fmla="*/ 429 w 454"/>
                    <a:gd name="T57" fmla="*/ 506 h 536"/>
                    <a:gd name="T58" fmla="*/ 446 w 454"/>
                    <a:gd name="T59" fmla="*/ 479 h 536"/>
                    <a:gd name="T60" fmla="*/ 451 w 454"/>
                    <a:gd name="T61" fmla="*/ 452 h 536"/>
                    <a:gd name="T62" fmla="*/ 427 w 454"/>
                    <a:gd name="T63" fmla="*/ 424 h 536"/>
                    <a:gd name="T64" fmla="*/ 436 w 454"/>
                    <a:gd name="T65" fmla="*/ 399 h 536"/>
                    <a:gd name="T66" fmla="*/ 415 w 454"/>
                    <a:gd name="T67" fmla="*/ 386 h 536"/>
                    <a:gd name="T68" fmla="*/ 395 w 454"/>
                    <a:gd name="T69" fmla="*/ 376 h 536"/>
                    <a:gd name="T70" fmla="*/ 374 w 454"/>
                    <a:gd name="T71" fmla="*/ 335 h 536"/>
                    <a:gd name="T72" fmla="*/ 336 w 454"/>
                    <a:gd name="T73" fmla="*/ 295 h 536"/>
                    <a:gd name="T74" fmla="*/ 317 w 454"/>
                    <a:gd name="T75" fmla="*/ 277 h 536"/>
                    <a:gd name="T76" fmla="*/ 300 w 454"/>
                    <a:gd name="T77" fmla="*/ 248 h 536"/>
                    <a:gd name="T78" fmla="*/ 260 w 454"/>
                    <a:gd name="T79" fmla="*/ 225 h 536"/>
                    <a:gd name="T80" fmla="*/ 232 w 454"/>
                    <a:gd name="T81" fmla="*/ 194 h 536"/>
                    <a:gd name="T82" fmla="*/ 240 w 454"/>
                    <a:gd name="T83" fmla="*/ 177 h 536"/>
                    <a:gd name="T84" fmla="*/ 283 w 454"/>
                    <a:gd name="T85" fmla="*/ 165 h 536"/>
                    <a:gd name="T86" fmla="*/ 289 w 454"/>
                    <a:gd name="T87" fmla="*/ 152 h 536"/>
                    <a:gd name="T88" fmla="*/ 277 w 454"/>
                    <a:gd name="T89" fmla="*/ 138 h 536"/>
                    <a:gd name="T90" fmla="*/ 265 w 454"/>
                    <a:gd name="T91" fmla="*/ 122 h 536"/>
                    <a:gd name="T92" fmla="*/ 245 w 454"/>
                    <a:gd name="T93" fmla="*/ 102 h 536"/>
                    <a:gd name="T94" fmla="*/ 214 w 454"/>
                    <a:gd name="T95" fmla="*/ 114 h 536"/>
                    <a:gd name="T96" fmla="*/ 169 w 454"/>
                    <a:gd name="T97" fmla="*/ 87 h 536"/>
                    <a:gd name="T98" fmla="*/ 164 w 454"/>
                    <a:gd name="T99" fmla="*/ 53 h 536"/>
                    <a:gd name="T100" fmla="*/ 147 w 454"/>
                    <a:gd name="T101" fmla="*/ 45 h 536"/>
                    <a:gd name="T102" fmla="*/ 132 w 454"/>
                    <a:gd name="T103" fmla="*/ 19 h 536"/>
                    <a:gd name="T104" fmla="*/ 132 w 454"/>
                    <a:gd name="T105" fmla="*/ 19 h 536"/>
                    <a:gd name="T106" fmla="*/ 108 w 454"/>
                    <a:gd name="T107" fmla="*/ 1 h 536"/>
                    <a:gd name="T108" fmla="*/ 87 w 454"/>
                    <a:gd name="T109" fmla="*/ 14 h 536"/>
                    <a:gd name="T110" fmla="*/ 98 w 454"/>
                    <a:gd name="T111" fmla="*/ 31 h 536"/>
                    <a:gd name="T112" fmla="*/ 101 w 454"/>
                    <a:gd name="T113" fmla="*/ 67 h 5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452" h="536">
                      <a:moveTo>
                        <a:pt x="99" y="85"/>
                      </a:moveTo>
                      <a:cubicBezTo>
                        <a:pt x="96" y="86"/>
                        <a:pt x="93" y="86"/>
                        <a:pt x="87" y="86"/>
                      </a:cubicBezTo>
                      <a:cubicBezTo>
                        <a:pt x="82" y="86"/>
                        <a:pt x="77" y="85"/>
                        <a:pt x="74" y="83"/>
                      </a:cubicBezTo>
                      <a:cubicBezTo>
                        <a:pt x="69" y="81"/>
                        <a:pt x="66" y="78"/>
                        <a:pt x="63" y="75"/>
                      </a:cubicBezTo>
                      <a:cubicBezTo>
                        <a:pt x="61" y="71"/>
                        <a:pt x="60" y="67"/>
                        <a:pt x="58" y="63"/>
                      </a:cubicBezTo>
                      <a:cubicBezTo>
                        <a:pt x="58" y="61"/>
                        <a:pt x="58" y="61"/>
                        <a:pt x="58" y="61"/>
                      </a:cubicBezTo>
                      <a:cubicBezTo>
                        <a:pt x="53" y="63"/>
                        <a:pt x="45" y="66"/>
                        <a:pt x="37" y="71"/>
                      </a:cubicBezTo>
                      <a:cubicBezTo>
                        <a:pt x="30" y="76"/>
                        <a:pt x="30" y="78"/>
                        <a:pt x="30" y="81"/>
                      </a:cubicBezTo>
                      <a:cubicBezTo>
                        <a:pt x="30" y="83"/>
                        <a:pt x="30" y="84"/>
                        <a:pt x="29" y="86"/>
                      </a:cubicBezTo>
                      <a:cubicBezTo>
                        <a:pt x="29" y="88"/>
                        <a:pt x="29" y="89"/>
                        <a:pt x="29" y="91"/>
                      </a:cubicBezTo>
                      <a:cubicBezTo>
                        <a:pt x="28" y="97"/>
                        <a:pt x="27" y="104"/>
                        <a:pt x="18" y="107"/>
                      </a:cubicBezTo>
                      <a:cubicBezTo>
                        <a:pt x="10" y="110"/>
                        <a:pt x="8" y="112"/>
                        <a:pt x="4" y="117"/>
                      </a:cubicBezTo>
                      <a:cubicBezTo>
                        <a:pt x="4" y="118"/>
                        <a:pt x="4" y="118"/>
                        <a:pt x="4" y="118"/>
                      </a:cubicBezTo>
                      <a:cubicBezTo>
                        <a:pt x="3" y="119"/>
                        <a:pt x="2" y="122"/>
                        <a:pt x="1" y="124"/>
                      </a:cubicBezTo>
                      <a:cubicBezTo>
                        <a:pt x="1" y="125"/>
                        <a:pt x="0" y="125"/>
                        <a:pt x="0" y="126"/>
                      </a:cubicBezTo>
                      <a:cubicBezTo>
                        <a:pt x="1" y="126"/>
                        <a:pt x="1" y="126"/>
                        <a:pt x="1" y="126"/>
                      </a:cubicBezTo>
                      <a:cubicBezTo>
                        <a:pt x="3" y="127"/>
                        <a:pt x="6" y="128"/>
                        <a:pt x="8" y="130"/>
                      </a:cubicBezTo>
                      <a:cubicBezTo>
                        <a:pt x="8" y="130"/>
                        <a:pt x="8" y="130"/>
                        <a:pt x="8" y="130"/>
                      </a:cubicBezTo>
                      <a:cubicBezTo>
                        <a:pt x="10" y="130"/>
                        <a:pt x="10" y="130"/>
                        <a:pt x="10" y="130"/>
                      </a:cubicBezTo>
                      <a:cubicBezTo>
                        <a:pt x="15" y="133"/>
                        <a:pt x="19" y="136"/>
                        <a:pt x="22" y="143"/>
                      </a:cubicBezTo>
                      <a:cubicBezTo>
                        <a:pt x="25" y="149"/>
                        <a:pt x="23" y="155"/>
                        <a:pt x="21" y="161"/>
                      </a:cubicBezTo>
                      <a:cubicBezTo>
                        <a:pt x="20" y="164"/>
                        <a:pt x="20" y="166"/>
                        <a:pt x="19" y="168"/>
                      </a:cubicBezTo>
                      <a:cubicBezTo>
                        <a:pt x="19" y="171"/>
                        <a:pt x="19" y="173"/>
                        <a:pt x="19" y="175"/>
                      </a:cubicBezTo>
                      <a:cubicBezTo>
                        <a:pt x="20" y="176"/>
                        <a:pt x="21" y="178"/>
                        <a:pt x="24" y="180"/>
                      </a:cubicBezTo>
                      <a:cubicBezTo>
                        <a:pt x="26" y="182"/>
                        <a:pt x="29" y="184"/>
                        <a:pt x="33" y="184"/>
                      </a:cubicBezTo>
                      <a:cubicBezTo>
                        <a:pt x="37" y="185"/>
                        <a:pt x="42" y="185"/>
                        <a:pt x="46" y="184"/>
                      </a:cubicBezTo>
                      <a:cubicBezTo>
                        <a:pt x="51" y="182"/>
                        <a:pt x="56" y="183"/>
                        <a:pt x="60" y="185"/>
                      </a:cubicBezTo>
                      <a:cubicBezTo>
                        <a:pt x="65" y="188"/>
                        <a:pt x="68" y="193"/>
                        <a:pt x="70" y="196"/>
                      </a:cubicBezTo>
                      <a:cubicBezTo>
                        <a:pt x="70" y="196"/>
                        <a:pt x="70" y="196"/>
                        <a:pt x="70" y="196"/>
                      </a:cubicBezTo>
                      <a:cubicBezTo>
                        <a:pt x="71" y="199"/>
                        <a:pt x="72" y="209"/>
                        <a:pt x="72" y="219"/>
                      </a:cubicBezTo>
                      <a:cubicBezTo>
                        <a:pt x="72" y="225"/>
                        <a:pt x="72" y="231"/>
                        <a:pt x="70" y="236"/>
                      </a:cubicBezTo>
                      <a:cubicBezTo>
                        <a:pt x="69" y="238"/>
                        <a:pt x="68" y="240"/>
                        <a:pt x="67" y="242"/>
                      </a:cubicBezTo>
                      <a:cubicBezTo>
                        <a:pt x="64" y="248"/>
                        <a:pt x="61" y="252"/>
                        <a:pt x="62" y="258"/>
                      </a:cubicBezTo>
                      <a:cubicBezTo>
                        <a:pt x="62" y="261"/>
                        <a:pt x="63" y="263"/>
                        <a:pt x="64" y="266"/>
                      </a:cubicBezTo>
                      <a:cubicBezTo>
                        <a:pt x="66" y="271"/>
                        <a:pt x="67" y="275"/>
                        <a:pt x="63" y="280"/>
                      </a:cubicBezTo>
                      <a:cubicBezTo>
                        <a:pt x="61" y="282"/>
                        <a:pt x="58" y="286"/>
                        <a:pt x="56" y="290"/>
                      </a:cubicBezTo>
                      <a:cubicBezTo>
                        <a:pt x="54" y="295"/>
                        <a:pt x="53" y="299"/>
                        <a:pt x="52" y="302"/>
                      </a:cubicBezTo>
                      <a:cubicBezTo>
                        <a:pt x="52" y="305"/>
                        <a:pt x="51" y="308"/>
                        <a:pt x="52" y="309"/>
                      </a:cubicBezTo>
                      <a:cubicBezTo>
                        <a:pt x="52" y="310"/>
                        <a:pt x="53" y="311"/>
                        <a:pt x="55" y="311"/>
                      </a:cubicBezTo>
                      <a:cubicBezTo>
                        <a:pt x="57" y="312"/>
                        <a:pt x="60" y="311"/>
                        <a:pt x="63" y="310"/>
                      </a:cubicBezTo>
                      <a:cubicBezTo>
                        <a:pt x="66" y="308"/>
                        <a:pt x="70" y="305"/>
                        <a:pt x="75" y="300"/>
                      </a:cubicBezTo>
                      <a:cubicBezTo>
                        <a:pt x="82" y="294"/>
                        <a:pt x="89" y="287"/>
                        <a:pt x="96" y="281"/>
                      </a:cubicBezTo>
                      <a:cubicBezTo>
                        <a:pt x="101" y="276"/>
                        <a:pt x="106" y="273"/>
                        <a:pt x="109" y="272"/>
                      </a:cubicBezTo>
                      <a:cubicBezTo>
                        <a:pt x="114" y="269"/>
                        <a:pt x="121" y="273"/>
                        <a:pt x="128" y="278"/>
                      </a:cubicBezTo>
                      <a:cubicBezTo>
                        <a:pt x="133" y="281"/>
                        <a:pt x="139" y="284"/>
                        <a:pt x="144" y="286"/>
                      </a:cubicBezTo>
                      <a:cubicBezTo>
                        <a:pt x="153" y="289"/>
                        <a:pt x="155" y="287"/>
                        <a:pt x="158" y="285"/>
                      </a:cubicBezTo>
                      <a:cubicBezTo>
                        <a:pt x="158" y="284"/>
                        <a:pt x="159" y="283"/>
                        <a:pt x="161" y="283"/>
                      </a:cubicBezTo>
                      <a:cubicBezTo>
                        <a:pt x="161" y="283"/>
                        <a:pt x="161" y="283"/>
                        <a:pt x="161" y="283"/>
                      </a:cubicBezTo>
                      <a:cubicBezTo>
                        <a:pt x="163" y="281"/>
                        <a:pt x="169" y="276"/>
                        <a:pt x="174" y="271"/>
                      </a:cubicBezTo>
                      <a:cubicBezTo>
                        <a:pt x="180" y="266"/>
                        <a:pt x="185" y="261"/>
                        <a:pt x="189" y="258"/>
                      </a:cubicBezTo>
                      <a:cubicBezTo>
                        <a:pt x="193" y="255"/>
                        <a:pt x="201" y="254"/>
                        <a:pt x="209" y="254"/>
                      </a:cubicBezTo>
                      <a:cubicBezTo>
                        <a:pt x="217" y="255"/>
                        <a:pt x="225" y="257"/>
                        <a:pt x="232" y="260"/>
                      </a:cubicBezTo>
                      <a:cubicBezTo>
                        <a:pt x="242" y="265"/>
                        <a:pt x="248" y="275"/>
                        <a:pt x="253" y="283"/>
                      </a:cubicBezTo>
                      <a:cubicBezTo>
                        <a:pt x="256" y="287"/>
                        <a:pt x="258" y="291"/>
                        <a:pt x="260" y="293"/>
                      </a:cubicBezTo>
                      <a:cubicBezTo>
                        <a:pt x="264" y="297"/>
                        <a:pt x="269" y="302"/>
                        <a:pt x="274" y="307"/>
                      </a:cubicBezTo>
                      <a:cubicBezTo>
                        <a:pt x="278" y="311"/>
                        <a:pt x="282" y="315"/>
                        <a:pt x="284" y="318"/>
                      </a:cubicBezTo>
                      <a:cubicBezTo>
                        <a:pt x="288" y="322"/>
                        <a:pt x="287" y="324"/>
                        <a:pt x="287" y="330"/>
                      </a:cubicBezTo>
                      <a:cubicBezTo>
                        <a:pt x="287" y="332"/>
                        <a:pt x="286" y="335"/>
                        <a:pt x="286" y="338"/>
                      </a:cubicBezTo>
                      <a:cubicBezTo>
                        <a:pt x="286" y="342"/>
                        <a:pt x="286" y="346"/>
                        <a:pt x="286" y="349"/>
                      </a:cubicBezTo>
                      <a:cubicBezTo>
                        <a:pt x="285" y="355"/>
                        <a:pt x="285" y="360"/>
                        <a:pt x="286" y="366"/>
                      </a:cubicBezTo>
                      <a:cubicBezTo>
                        <a:pt x="286" y="370"/>
                        <a:pt x="287" y="373"/>
                        <a:pt x="288" y="376"/>
                      </a:cubicBezTo>
                      <a:cubicBezTo>
                        <a:pt x="290" y="379"/>
                        <a:pt x="293" y="381"/>
                        <a:pt x="297" y="385"/>
                      </a:cubicBezTo>
                      <a:cubicBezTo>
                        <a:pt x="299" y="387"/>
                        <a:pt x="303" y="390"/>
                        <a:pt x="306" y="392"/>
                      </a:cubicBezTo>
                      <a:cubicBezTo>
                        <a:pt x="314" y="398"/>
                        <a:pt x="321" y="404"/>
                        <a:pt x="324" y="409"/>
                      </a:cubicBezTo>
                      <a:cubicBezTo>
                        <a:pt x="325" y="410"/>
                        <a:pt x="325" y="412"/>
                        <a:pt x="326" y="413"/>
                      </a:cubicBezTo>
                      <a:cubicBezTo>
                        <a:pt x="329" y="418"/>
                        <a:pt x="332" y="423"/>
                        <a:pt x="334" y="434"/>
                      </a:cubicBezTo>
                      <a:cubicBezTo>
                        <a:pt x="335" y="442"/>
                        <a:pt x="334" y="448"/>
                        <a:pt x="332" y="455"/>
                      </a:cubicBezTo>
                      <a:cubicBezTo>
                        <a:pt x="331" y="459"/>
                        <a:pt x="330" y="464"/>
                        <a:pt x="330" y="468"/>
                      </a:cubicBezTo>
                      <a:cubicBezTo>
                        <a:pt x="331" y="477"/>
                        <a:pt x="331" y="485"/>
                        <a:pt x="331" y="491"/>
                      </a:cubicBezTo>
                      <a:cubicBezTo>
                        <a:pt x="331" y="491"/>
                        <a:pt x="331" y="491"/>
                        <a:pt x="331" y="491"/>
                      </a:cubicBezTo>
                      <a:cubicBezTo>
                        <a:pt x="331" y="492"/>
                        <a:pt x="331" y="494"/>
                        <a:pt x="331" y="496"/>
                      </a:cubicBezTo>
                      <a:cubicBezTo>
                        <a:pt x="331" y="502"/>
                        <a:pt x="319" y="515"/>
                        <a:pt x="313" y="522"/>
                      </a:cubicBezTo>
                      <a:cubicBezTo>
                        <a:pt x="317" y="523"/>
                        <a:pt x="320" y="524"/>
                        <a:pt x="323" y="525"/>
                      </a:cubicBezTo>
                      <a:cubicBezTo>
                        <a:pt x="327" y="526"/>
                        <a:pt x="331" y="527"/>
                        <a:pt x="335" y="528"/>
                      </a:cubicBezTo>
                      <a:cubicBezTo>
                        <a:pt x="339" y="529"/>
                        <a:pt x="340" y="529"/>
                        <a:pt x="342" y="530"/>
                      </a:cubicBezTo>
                      <a:cubicBezTo>
                        <a:pt x="344" y="531"/>
                        <a:pt x="346" y="532"/>
                        <a:pt x="352" y="534"/>
                      </a:cubicBezTo>
                      <a:cubicBezTo>
                        <a:pt x="358" y="536"/>
                        <a:pt x="361" y="536"/>
                        <a:pt x="362" y="536"/>
                      </a:cubicBezTo>
                      <a:cubicBezTo>
                        <a:pt x="363" y="536"/>
                        <a:pt x="362" y="536"/>
                        <a:pt x="362" y="535"/>
                      </a:cubicBezTo>
                      <a:cubicBezTo>
                        <a:pt x="362" y="533"/>
                        <a:pt x="361" y="531"/>
                        <a:pt x="360" y="529"/>
                      </a:cubicBezTo>
                      <a:cubicBezTo>
                        <a:pt x="358" y="526"/>
                        <a:pt x="357" y="523"/>
                        <a:pt x="358" y="517"/>
                      </a:cubicBezTo>
                      <a:cubicBezTo>
                        <a:pt x="359" y="513"/>
                        <a:pt x="363" y="508"/>
                        <a:pt x="367" y="505"/>
                      </a:cubicBezTo>
                      <a:cubicBezTo>
                        <a:pt x="373" y="501"/>
                        <a:pt x="379" y="499"/>
                        <a:pt x="384" y="498"/>
                      </a:cubicBezTo>
                      <a:cubicBezTo>
                        <a:pt x="391" y="498"/>
                        <a:pt x="396" y="501"/>
                        <a:pt x="403" y="504"/>
                      </a:cubicBezTo>
                      <a:cubicBezTo>
                        <a:pt x="405" y="505"/>
                        <a:pt x="407" y="506"/>
                        <a:pt x="409" y="507"/>
                      </a:cubicBezTo>
                      <a:cubicBezTo>
                        <a:pt x="412" y="509"/>
                        <a:pt x="416" y="510"/>
                        <a:pt x="419" y="509"/>
                      </a:cubicBezTo>
                      <a:cubicBezTo>
                        <a:pt x="423" y="509"/>
                        <a:pt x="426" y="508"/>
                        <a:pt x="429" y="507"/>
                      </a:cubicBezTo>
                      <a:cubicBezTo>
                        <a:pt x="429" y="506"/>
                        <a:pt x="429" y="506"/>
                        <a:pt x="429" y="506"/>
                      </a:cubicBezTo>
                      <a:cubicBezTo>
                        <a:pt x="434" y="503"/>
                        <a:pt x="438" y="500"/>
                        <a:pt x="442" y="495"/>
                      </a:cubicBezTo>
                      <a:cubicBezTo>
                        <a:pt x="444" y="490"/>
                        <a:pt x="445" y="490"/>
                        <a:pt x="446" y="483"/>
                      </a:cubicBezTo>
                      <a:cubicBezTo>
                        <a:pt x="446" y="479"/>
                        <a:pt x="446" y="479"/>
                        <a:pt x="446" y="479"/>
                      </a:cubicBezTo>
                      <a:cubicBezTo>
                        <a:pt x="448" y="472"/>
                        <a:pt x="450" y="469"/>
                        <a:pt x="452" y="466"/>
                      </a:cubicBezTo>
                      <a:cubicBezTo>
                        <a:pt x="453" y="464"/>
                        <a:pt x="454" y="463"/>
                        <a:pt x="454" y="460"/>
                      </a:cubicBezTo>
                      <a:cubicBezTo>
                        <a:pt x="454" y="457"/>
                        <a:pt x="452" y="454"/>
                        <a:pt x="451" y="452"/>
                      </a:cubicBezTo>
                      <a:cubicBezTo>
                        <a:pt x="449" y="449"/>
                        <a:pt x="447" y="446"/>
                        <a:pt x="445" y="445"/>
                      </a:cubicBezTo>
                      <a:cubicBezTo>
                        <a:pt x="442" y="443"/>
                        <a:pt x="436" y="439"/>
                        <a:pt x="432" y="435"/>
                      </a:cubicBezTo>
                      <a:cubicBezTo>
                        <a:pt x="428" y="431"/>
                        <a:pt x="426" y="428"/>
                        <a:pt x="427" y="424"/>
                      </a:cubicBezTo>
                      <a:cubicBezTo>
                        <a:pt x="427" y="420"/>
                        <a:pt x="431" y="418"/>
                        <a:pt x="435" y="416"/>
                      </a:cubicBezTo>
                      <a:cubicBezTo>
                        <a:pt x="439" y="414"/>
                        <a:pt x="443" y="412"/>
                        <a:pt x="442" y="408"/>
                      </a:cubicBezTo>
                      <a:cubicBezTo>
                        <a:pt x="440" y="401"/>
                        <a:pt x="440" y="401"/>
                        <a:pt x="436" y="399"/>
                      </a:cubicBezTo>
                      <a:cubicBezTo>
                        <a:pt x="436" y="399"/>
                        <a:pt x="436" y="399"/>
                        <a:pt x="436" y="399"/>
                      </a:cubicBezTo>
                      <a:cubicBezTo>
                        <a:pt x="434" y="399"/>
                        <a:pt x="433" y="398"/>
                        <a:pt x="431" y="398"/>
                      </a:cubicBezTo>
                      <a:cubicBezTo>
                        <a:pt x="423" y="394"/>
                        <a:pt x="419" y="389"/>
                        <a:pt x="415" y="386"/>
                      </a:cubicBezTo>
                      <a:cubicBezTo>
                        <a:pt x="414" y="385"/>
                        <a:pt x="413" y="384"/>
                        <a:pt x="412" y="384"/>
                      </a:cubicBezTo>
                      <a:cubicBezTo>
                        <a:pt x="412" y="384"/>
                        <a:pt x="410" y="384"/>
                        <a:pt x="409" y="384"/>
                      </a:cubicBezTo>
                      <a:cubicBezTo>
                        <a:pt x="403" y="384"/>
                        <a:pt x="397" y="384"/>
                        <a:pt x="395" y="376"/>
                      </a:cubicBezTo>
                      <a:cubicBezTo>
                        <a:pt x="394" y="373"/>
                        <a:pt x="394" y="370"/>
                        <a:pt x="394" y="366"/>
                      </a:cubicBezTo>
                      <a:cubicBezTo>
                        <a:pt x="394" y="361"/>
                        <a:pt x="394" y="355"/>
                        <a:pt x="389" y="348"/>
                      </a:cubicBezTo>
                      <a:cubicBezTo>
                        <a:pt x="384" y="341"/>
                        <a:pt x="380" y="338"/>
                        <a:pt x="374" y="335"/>
                      </a:cubicBezTo>
                      <a:cubicBezTo>
                        <a:pt x="371" y="332"/>
                        <a:pt x="367" y="330"/>
                        <a:pt x="362" y="326"/>
                      </a:cubicBezTo>
                      <a:cubicBezTo>
                        <a:pt x="350" y="316"/>
                        <a:pt x="343" y="306"/>
                        <a:pt x="337" y="297"/>
                      </a:cubicBezTo>
                      <a:cubicBezTo>
                        <a:pt x="336" y="295"/>
                        <a:pt x="336" y="295"/>
                        <a:pt x="336" y="295"/>
                      </a:cubicBezTo>
                      <a:cubicBezTo>
                        <a:pt x="336" y="295"/>
                        <a:pt x="336" y="295"/>
                        <a:pt x="336" y="295"/>
                      </a:cubicBezTo>
                      <a:cubicBezTo>
                        <a:pt x="331" y="288"/>
                        <a:pt x="327" y="285"/>
                        <a:pt x="321" y="280"/>
                      </a:cubicBezTo>
                      <a:cubicBezTo>
                        <a:pt x="320" y="279"/>
                        <a:pt x="319" y="278"/>
                        <a:pt x="317" y="277"/>
                      </a:cubicBezTo>
                      <a:cubicBezTo>
                        <a:pt x="314" y="275"/>
                        <a:pt x="313" y="274"/>
                        <a:pt x="311" y="273"/>
                      </a:cubicBezTo>
                      <a:cubicBezTo>
                        <a:pt x="306" y="270"/>
                        <a:pt x="303" y="268"/>
                        <a:pt x="303" y="259"/>
                      </a:cubicBezTo>
                      <a:cubicBezTo>
                        <a:pt x="303" y="254"/>
                        <a:pt x="302" y="251"/>
                        <a:pt x="300" y="248"/>
                      </a:cubicBezTo>
                      <a:cubicBezTo>
                        <a:pt x="299" y="246"/>
                        <a:pt x="297" y="244"/>
                        <a:pt x="295" y="242"/>
                      </a:cubicBezTo>
                      <a:cubicBezTo>
                        <a:pt x="293" y="241"/>
                        <a:pt x="288" y="238"/>
                        <a:pt x="283" y="235"/>
                      </a:cubicBezTo>
                      <a:cubicBezTo>
                        <a:pt x="275" y="231"/>
                        <a:pt x="265" y="227"/>
                        <a:pt x="260" y="225"/>
                      </a:cubicBezTo>
                      <a:cubicBezTo>
                        <a:pt x="259" y="224"/>
                        <a:pt x="257" y="224"/>
                        <a:pt x="256" y="223"/>
                      </a:cubicBezTo>
                      <a:cubicBezTo>
                        <a:pt x="248" y="220"/>
                        <a:pt x="239" y="216"/>
                        <a:pt x="234" y="210"/>
                      </a:cubicBezTo>
                      <a:cubicBezTo>
                        <a:pt x="229" y="203"/>
                        <a:pt x="230" y="200"/>
                        <a:pt x="232" y="194"/>
                      </a:cubicBezTo>
                      <a:cubicBezTo>
                        <a:pt x="232" y="194"/>
                        <a:pt x="232" y="193"/>
                        <a:pt x="233" y="192"/>
                      </a:cubicBezTo>
                      <a:cubicBezTo>
                        <a:pt x="233" y="190"/>
                        <a:pt x="234" y="189"/>
                        <a:pt x="234" y="187"/>
                      </a:cubicBezTo>
                      <a:cubicBezTo>
                        <a:pt x="235" y="183"/>
                        <a:pt x="235" y="180"/>
                        <a:pt x="240" y="177"/>
                      </a:cubicBezTo>
                      <a:cubicBezTo>
                        <a:pt x="243" y="176"/>
                        <a:pt x="248" y="176"/>
                        <a:pt x="253" y="177"/>
                      </a:cubicBezTo>
                      <a:cubicBezTo>
                        <a:pt x="258" y="177"/>
                        <a:pt x="263" y="178"/>
                        <a:pt x="267" y="177"/>
                      </a:cubicBezTo>
                      <a:cubicBezTo>
                        <a:pt x="272" y="176"/>
                        <a:pt x="278" y="170"/>
                        <a:pt x="283" y="165"/>
                      </a:cubicBezTo>
                      <a:cubicBezTo>
                        <a:pt x="285" y="163"/>
                        <a:pt x="287" y="161"/>
                        <a:pt x="289" y="159"/>
                      </a:cubicBezTo>
                      <a:cubicBezTo>
                        <a:pt x="289" y="159"/>
                        <a:pt x="289" y="159"/>
                        <a:pt x="289" y="159"/>
                      </a:cubicBezTo>
                      <a:cubicBezTo>
                        <a:pt x="290" y="158"/>
                        <a:pt x="290" y="155"/>
                        <a:pt x="289" y="152"/>
                      </a:cubicBezTo>
                      <a:cubicBezTo>
                        <a:pt x="288" y="149"/>
                        <a:pt x="286" y="145"/>
                        <a:pt x="284" y="143"/>
                      </a:cubicBezTo>
                      <a:cubicBezTo>
                        <a:pt x="283" y="142"/>
                        <a:pt x="282" y="141"/>
                        <a:pt x="282" y="141"/>
                      </a:cubicBezTo>
                      <a:cubicBezTo>
                        <a:pt x="281" y="139"/>
                        <a:pt x="279" y="139"/>
                        <a:pt x="277" y="138"/>
                      </a:cubicBezTo>
                      <a:cubicBezTo>
                        <a:pt x="277" y="138"/>
                        <a:pt x="277" y="138"/>
                        <a:pt x="277" y="138"/>
                      </a:cubicBezTo>
                      <a:cubicBezTo>
                        <a:pt x="273" y="137"/>
                        <a:pt x="269" y="137"/>
                        <a:pt x="267" y="131"/>
                      </a:cubicBezTo>
                      <a:cubicBezTo>
                        <a:pt x="265" y="126"/>
                        <a:pt x="265" y="124"/>
                        <a:pt x="265" y="122"/>
                      </a:cubicBezTo>
                      <a:cubicBezTo>
                        <a:pt x="265" y="120"/>
                        <a:pt x="266" y="119"/>
                        <a:pt x="265" y="117"/>
                      </a:cubicBezTo>
                      <a:cubicBezTo>
                        <a:pt x="264" y="114"/>
                        <a:pt x="261" y="111"/>
                        <a:pt x="257" y="108"/>
                      </a:cubicBezTo>
                      <a:cubicBezTo>
                        <a:pt x="253" y="105"/>
                        <a:pt x="248" y="102"/>
                        <a:pt x="245" y="102"/>
                      </a:cubicBezTo>
                      <a:cubicBezTo>
                        <a:pt x="242" y="101"/>
                        <a:pt x="239" y="104"/>
                        <a:pt x="236" y="107"/>
                      </a:cubicBezTo>
                      <a:cubicBezTo>
                        <a:pt x="235" y="108"/>
                        <a:pt x="233" y="110"/>
                        <a:pt x="231" y="111"/>
                      </a:cubicBezTo>
                      <a:cubicBezTo>
                        <a:pt x="227" y="114"/>
                        <a:pt x="221" y="115"/>
                        <a:pt x="214" y="114"/>
                      </a:cubicBezTo>
                      <a:cubicBezTo>
                        <a:pt x="206" y="114"/>
                        <a:pt x="198" y="111"/>
                        <a:pt x="194" y="109"/>
                      </a:cubicBezTo>
                      <a:cubicBezTo>
                        <a:pt x="190" y="107"/>
                        <a:pt x="186" y="103"/>
                        <a:pt x="182" y="99"/>
                      </a:cubicBezTo>
                      <a:cubicBezTo>
                        <a:pt x="177" y="95"/>
                        <a:pt x="172" y="90"/>
                        <a:pt x="169" y="87"/>
                      </a:cubicBezTo>
                      <a:cubicBezTo>
                        <a:pt x="166" y="83"/>
                        <a:pt x="165" y="80"/>
                        <a:pt x="164" y="76"/>
                      </a:cubicBezTo>
                      <a:cubicBezTo>
                        <a:pt x="163" y="72"/>
                        <a:pt x="163" y="68"/>
                        <a:pt x="164" y="63"/>
                      </a:cubicBezTo>
                      <a:cubicBezTo>
                        <a:pt x="165" y="58"/>
                        <a:pt x="165" y="55"/>
                        <a:pt x="164" y="53"/>
                      </a:cubicBezTo>
                      <a:cubicBezTo>
                        <a:pt x="164" y="52"/>
                        <a:pt x="164" y="52"/>
                        <a:pt x="164" y="52"/>
                      </a:cubicBezTo>
                      <a:cubicBezTo>
                        <a:pt x="163" y="52"/>
                        <a:pt x="163" y="52"/>
                        <a:pt x="162" y="52"/>
                      </a:cubicBezTo>
                      <a:cubicBezTo>
                        <a:pt x="158" y="53"/>
                        <a:pt x="153" y="54"/>
                        <a:pt x="147" y="45"/>
                      </a:cubicBezTo>
                      <a:cubicBezTo>
                        <a:pt x="143" y="39"/>
                        <a:pt x="142" y="36"/>
                        <a:pt x="141" y="33"/>
                      </a:cubicBezTo>
                      <a:cubicBezTo>
                        <a:pt x="141" y="32"/>
                        <a:pt x="141" y="31"/>
                        <a:pt x="140" y="30"/>
                      </a:cubicBezTo>
                      <a:cubicBezTo>
                        <a:pt x="138" y="27"/>
                        <a:pt x="135" y="23"/>
                        <a:pt x="132" y="19"/>
                      </a:cubicBezTo>
                      <a:cubicBezTo>
                        <a:pt x="132" y="19"/>
                        <a:pt x="132" y="19"/>
                        <a:pt x="132" y="19"/>
                      </a:cubicBezTo>
                      <a:cubicBezTo>
                        <a:pt x="132" y="19"/>
                        <a:pt x="132" y="19"/>
                        <a:pt x="132" y="19"/>
                      </a:cubicBezTo>
                      <a:cubicBezTo>
                        <a:pt x="132" y="19"/>
                        <a:pt x="132" y="19"/>
                        <a:pt x="132" y="19"/>
                      </a:cubicBezTo>
                      <a:cubicBezTo>
                        <a:pt x="129" y="16"/>
                        <a:pt x="121" y="7"/>
                        <a:pt x="118" y="2"/>
                      </a:cubicBezTo>
                      <a:cubicBezTo>
                        <a:pt x="116" y="3"/>
                        <a:pt x="115" y="3"/>
                        <a:pt x="114" y="2"/>
                      </a:cubicBezTo>
                      <a:cubicBezTo>
                        <a:pt x="112" y="2"/>
                        <a:pt x="110" y="2"/>
                        <a:pt x="108" y="1"/>
                      </a:cubicBezTo>
                      <a:cubicBezTo>
                        <a:pt x="104" y="1"/>
                        <a:pt x="101" y="0"/>
                        <a:pt x="98" y="1"/>
                      </a:cubicBezTo>
                      <a:cubicBezTo>
                        <a:pt x="96" y="2"/>
                        <a:pt x="93" y="4"/>
                        <a:pt x="90" y="7"/>
                      </a:cubicBezTo>
                      <a:cubicBezTo>
                        <a:pt x="88" y="10"/>
                        <a:pt x="87" y="12"/>
                        <a:pt x="87" y="14"/>
                      </a:cubicBezTo>
                      <a:cubicBezTo>
                        <a:pt x="87" y="17"/>
                        <a:pt x="90" y="21"/>
                        <a:pt x="93" y="25"/>
                      </a:cubicBezTo>
                      <a:cubicBezTo>
                        <a:pt x="93" y="25"/>
                        <a:pt x="93" y="25"/>
                        <a:pt x="93" y="25"/>
                      </a:cubicBezTo>
                      <a:cubicBezTo>
                        <a:pt x="95" y="27"/>
                        <a:pt x="96" y="29"/>
                        <a:pt x="98" y="31"/>
                      </a:cubicBezTo>
                      <a:cubicBezTo>
                        <a:pt x="101" y="36"/>
                        <a:pt x="100" y="38"/>
                        <a:pt x="100" y="43"/>
                      </a:cubicBezTo>
                      <a:cubicBezTo>
                        <a:pt x="99" y="46"/>
                        <a:pt x="99" y="48"/>
                        <a:pt x="99" y="52"/>
                      </a:cubicBezTo>
                      <a:cubicBezTo>
                        <a:pt x="99" y="59"/>
                        <a:pt x="100" y="63"/>
                        <a:pt x="101" y="67"/>
                      </a:cubicBezTo>
                      <a:cubicBezTo>
                        <a:pt x="101" y="69"/>
                        <a:pt x="102" y="71"/>
                        <a:pt x="102" y="74"/>
                      </a:cubicBezTo>
                      <a:cubicBezTo>
                        <a:pt x="103" y="79"/>
                        <a:pt x="102" y="82"/>
                        <a:pt x="99" y="85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49" name="Freeform 75"/>
                <p:cNvSpPr/>
                <p:nvPr>
                  <p:custDataLst>
                    <p:tags r:id="rId147"/>
                  </p:custDataLst>
                </p:nvPr>
              </p:nvSpPr>
              <p:spPr bwMode="auto">
                <a:xfrm>
                  <a:off x="3236" y="2094"/>
                  <a:ext cx="6" cy="16"/>
                </a:xfrm>
                <a:custGeom>
                  <a:avLst/>
                  <a:gdLst>
                    <a:gd name="T0" fmla="*/ 2 w 15"/>
                    <a:gd name="T1" fmla="*/ 8 h 36"/>
                    <a:gd name="T2" fmla="*/ 4 w 15"/>
                    <a:gd name="T3" fmla="*/ 21 h 36"/>
                    <a:gd name="T4" fmla="*/ 15 w 15"/>
                    <a:gd name="T5" fmla="*/ 25 h 36"/>
                    <a:gd name="T6" fmla="*/ 2 w 15"/>
                    <a:gd name="T7" fmla="*/ 8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5" h="36">
                      <a:moveTo>
                        <a:pt x="2" y="8"/>
                      </a:moveTo>
                      <a:cubicBezTo>
                        <a:pt x="0" y="14"/>
                        <a:pt x="0" y="14"/>
                        <a:pt x="4" y="21"/>
                      </a:cubicBezTo>
                      <a:cubicBezTo>
                        <a:pt x="8" y="28"/>
                        <a:pt x="15" y="36"/>
                        <a:pt x="15" y="25"/>
                      </a:cubicBezTo>
                      <a:cubicBezTo>
                        <a:pt x="14" y="14"/>
                        <a:pt x="8" y="0"/>
                        <a:pt x="2" y="8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50" name="Freeform 76"/>
                <p:cNvSpPr/>
                <p:nvPr>
                  <p:custDataLst>
                    <p:tags r:id="rId148"/>
                  </p:custDataLst>
                </p:nvPr>
              </p:nvSpPr>
              <p:spPr bwMode="auto">
                <a:xfrm>
                  <a:off x="3198" y="1985"/>
                  <a:ext cx="138" cy="110"/>
                </a:xfrm>
                <a:custGeom>
                  <a:avLst/>
                  <a:gdLst>
                    <a:gd name="T0" fmla="*/ 314 w 323"/>
                    <a:gd name="T1" fmla="*/ 9 h 257"/>
                    <a:gd name="T2" fmla="*/ 310 w 323"/>
                    <a:gd name="T3" fmla="*/ 0 h 257"/>
                    <a:gd name="T4" fmla="*/ 296 w 323"/>
                    <a:gd name="T5" fmla="*/ 12 h 257"/>
                    <a:gd name="T6" fmla="*/ 268 w 323"/>
                    <a:gd name="T7" fmla="*/ 13 h 257"/>
                    <a:gd name="T8" fmla="*/ 248 w 323"/>
                    <a:gd name="T9" fmla="*/ 5 h 257"/>
                    <a:gd name="T10" fmla="*/ 229 w 323"/>
                    <a:gd name="T11" fmla="*/ 18 h 257"/>
                    <a:gd name="T12" fmla="*/ 233 w 323"/>
                    <a:gd name="T13" fmla="*/ 34 h 257"/>
                    <a:gd name="T14" fmla="*/ 213 w 323"/>
                    <a:gd name="T15" fmla="*/ 41 h 257"/>
                    <a:gd name="T16" fmla="*/ 196 w 323"/>
                    <a:gd name="T17" fmla="*/ 35 h 257"/>
                    <a:gd name="T18" fmla="*/ 170 w 323"/>
                    <a:gd name="T19" fmla="*/ 28 h 257"/>
                    <a:gd name="T20" fmla="*/ 143 w 323"/>
                    <a:gd name="T21" fmla="*/ 16 h 257"/>
                    <a:gd name="T22" fmla="*/ 83 w 323"/>
                    <a:gd name="T23" fmla="*/ 15 h 257"/>
                    <a:gd name="T24" fmla="*/ 35 w 323"/>
                    <a:gd name="T25" fmla="*/ 30 h 257"/>
                    <a:gd name="T26" fmla="*/ 13 w 323"/>
                    <a:gd name="T27" fmla="*/ 58 h 257"/>
                    <a:gd name="T28" fmla="*/ 0 w 323"/>
                    <a:gd name="T29" fmla="*/ 77 h 257"/>
                    <a:gd name="T30" fmla="*/ 10 w 323"/>
                    <a:gd name="T31" fmla="*/ 94 h 257"/>
                    <a:gd name="T32" fmla="*/ 12 w 323"/>
                    <a:gd name="T33" fmla="*/ 118 h 257"/>
                    <a:gd name="T34" fmla="*/ 25 w 323"/>
                    <a:gd name="T35" fmla="*/ 137 h 257"/>
                    <a:gd name="T36" fmla="*/ 27 w 323"/>
                    <a:gd name="T37" fmla="*/ 155 h 257"/>
                    <a:gd name="T38" fmla="*/ 29 w 323"/>
                    <a:gd name="T39" fmla="*/ 163 h 257"/>
                    <a:gd name="T40" fmla="*/ 42 w 323"/>
                    <a:gd name="T41" fmla="*/ 195 h 257"/>
                    <a:gd name="T42" fmla="*/ 44 w 323"/>
                    <a:gd name="T43" fmla="*/ 225 h 257"/>
                    <a:gd name="T44" fmla="*/ 71 w 323"/>
                    <a:gd name="T45" fmla="*/ 216 h 257"/>
                    <a:gd name="T46" fmla="*/ 73 w 323"/>
                    <a:gd name="T47" fmla="*/ 241 h 257"/>
                    <a:gd name="T48" fmla="*/ 96 w 323"/>
                    <a:gd name="T49" fmla="*/ 249 h 257"/>
                    <a:gd name="T50" fmla="*/ 127 w 323"/>
                    <a:gd name="T51" fmla="*/ 257 h 257"/>
                    <a:gd name="T52" fmla="*/ 167 w 323"/>
                    <a:gd name="T53" fmla="*/ 238 h 257"/>
                    <a:gd name="T54" fmla="*/ 199 w 323"/>
                    <a:gd name="T55" fmla="*/ 223 h 257"/>
                    <a:gd name="T56" fmla="*/ 214 w 323"/>
                    <a:gd name="T57" fmla="*/ 210 h 257"/>
                    <a:gd name="T58" fmla="*/ 211 w 323"/>
                    <a:gd name="T59" fmla="*/ 195 h 257"/>
                    <a:gd name="T60" fmla="*/ 227 w 323"/>
                    <a:gd name="T61" fmla="*/ 175 h 257"/>
                    <a:gd name="T62" fmla="*/ 243 w 323"/>
                    <a:gd name="T63" fmla="*/ 174 h 257"/>
                    <a:gd name="T64" fmla="*/ 262 w 323"/>
                    <a:gd name="T65" fmla="*/ 154 h 257"/>
                    <a:gd name="T66" fmla="*/ 301 w 323"/>
                    <a:gd name="T67" fmla="*/ 126 h 257"/>
                    <a:gd name="T68" fmla="*/ 318 w 323"/>
                    <a:gd name="T69" fmla="*/ 75 h 257"/>
                    <a:gd name="T70" fmla="*/ 306 w 323"/>
                    <a:gd name="T71" fmla="*/ 27 h 2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323" h="257">
                      <a:moveTo>
                        <a:pt x="311" y="16"/>
                      </a:moveTo>
                      <a:cubicBezTo>
                        <a:pt x="313" y="13"/>
                        <a:pt x="314" y="11"/>
                        <a:pt x="314" y="9"/>
                      </a:cubicBezTo>
                      <a:cubicBezTo>
                        <a:pt x="314" y="7"/>
                        <a:pt x="313" y="4"/>
                        <a:pt x="312" y="2"/>
                      </a:cubicBezTo>
                      <a:cubicBezTo>
                        <a:pt x="311" y="1"/>
                        <a:pt x="311" y="1"/>
                        <a:pt x="310" y="0"/>
                      </a:cubicBezTo>
                      <a:cubicBezTo>
                        <a:pt x="306" y="5"/>
                        <a:pt x="302" y="8"/>
                        <a:pt x="297" y="12"/>
                      </a:cubicBezTo>
                      <a:cubicBezTo>
                        <a:pt x="296" y="12"/>
                        <a:pt x="296" y="12"/>
                        <a:pt x="296" y="12"/>
                      </a:cubicBezTo>
                      <a:cubicBezTo>
                        <a:pt x="292" y="15"/>
                        <a:pt x="288" y="16"/>
                        <a:pt x="282" y="16"/>
                      </a:cubicBezTo>
                      <a:cubicBezTo>
                        <a:pt x="278" y="17"/>
                        <a:pt x="273" y="16"/>
                        <a:pt x="268" y="13"/>
                      </a:cubicBezTo>
                      <a:cubicBezTo>
                        <a:pt x="266" y="12"/>
                        <a:pt x="264" y="11"/>
                        <a:pt x="262" y="10"/>
                      </a:cubicBezTo>
                      <a:cubicBezTo>
                        <a:pt x="257" y="7"/>
                        <a:pt x="253" y="5"/>
                        <a:pt x="248" y="5"/>
                      </a:cubicBezTo>
                      <a:cubicBezTo>
                        <a:pt x="244" y="6"/>
                        <a:pt x="239" y="8"/>
                        <a:pt x="235" y="10"/>
                      </a:cubicBezTo>
                      <a:cubicBezTo>
                        <a:pt x="232" y="13"/>
                        <a:pt x="229" y="15"/>
                        <a:pt x="229" y="18"/>
                      </a:cubicBezTo>
                      <a:cubicBezTo>
                        <a:pt x="228" y="21"/>
                        <a:pt x="229" y="23"/>
                        <a:pt x="230" y="25"/>
                      </a:cubicBezTo>
                      <a:cubicBezTo>
                        <a:pt x="231" y="27"/>
                        <a:pt x="233" y="30"/>
                        <a:pt x="233" y="34"/>
                      </a:cubicBezTo>
                      <a:cubicBezTo>
                        <a:pt x="232" y="39"/>
                        <a:pt x="231" y="42"/>
                        <a:pt x="227" y="43"/>
                      </a:cubicBezTo>
                      <a:cubicBezTo>
                        <a:pt x="224" y="44"/>
                        <a:pt x="220" y="43"/>
                        <a:pt x="213" y="41"/>
                      </a:cubicBezTo>
                      <a:cubicBezTo>
                        <a:pt x="206" y="39"/>
                        <a:pt x="203" y="38"/>
                        <a:pt x="201" y="36"/>
                      </a:cubicBezTo>
                      <a:cubicBezTo>
                        <a:pt x="200" y="36"/>
                        <a:pt x="199" y="35"/>
                        <a:pt x="196" y="35"/>
                      </a:cubicBezTo>
                      <a:cubicBezTo>
                        <a:pt x="192" y="34"/>
                        <a:pt x="188" y="33"/>
                        <a:pt x="184" y="32"/>
                      </a:cubicBezTo>
                      <a:cubicBezTo>
                        <a:pt x="180" y="31"/>
                        <a:pt x="175" y="29"/>
                        <a:pt x="170" y="28"/>
                      </a:cubicBezTo>
                      <a:cubicBezTo>
                        <a:pt x="165" y="26"/>
                        <a:pt x="163" y="24"/>
                        <a:pt x="160" y="22"/>
                      </a:cubicBezTo>
                      <a:cubicBezTo>
                        <a:pt x="157" y="19"/>
                        <a:pt x="153" y="16"/>
                        <a:pt x="143" y="16"/>
                      </a:cubicBezTo>
                      <a:cubicBezTo>
                        <a:pt x="134" y="16"/>
                        <a:pt x="126" y="16"/>
                        <a:pt x="116" y="16"/>
                      </a:cubicBezTo>
                      <a:cubicBezTo>
                        <a:pt x="106" y="16"/>
                        <a:pt x="96" y="15"/>
                        <a:pt x="83" y="15"/>
                      </a:cubicBezTo>
                      <a:cubicBezTo>
                        <a:pt x="72" y="15"/>
                        <a:pt x="64" y="16"/>
                        <a:pt x="57" y="18"/>
                      </a:cubicBezTo>
                      <a:cubicBezTo>
                        <a:pt x="50" y="21"/>
                        <a:pt x="43" y="25"/>
                        <a:pt x="35" y="30"/>
                      </a:cubicBezTo>
                      <a:cubicBezTo>
                        <a:pt x="26" y="37"/>
                        <a:pt x="23" y="43"/>
                        <a:pt x="20" y="48"/>
                      </a:cubicBezTo>
                      <a:cubicBezTo>
                        <a:pt x="19" y="51"/>
                        <a:pt x="17" y="54"/>
                        <a:pt x="13" y="58"/>
                      </a:cubicBezTo>
                      <a:cubicBezTo>
                        <a:pt x="10" y="61"/>
                        <a:pt x="7" y="64"/>
                        <a:pt x="5" y="67"/>
                      </a:cubicBezTo>
                      <a:cubicBezTo>
                        <a:pt x="3" y="70"/>
                        <a:pt x="1" y="73"/>
                        <a:pt x="0" y="77"/>
                      </a:cubicBezTo>
                      <a:cubicBezTo>
                        <a:pt x="0" y="79"/>
                        <a:pt x="1" y="80"/>
                        <a:pt x="3" y="83"/>
                      </a:cubicBezTo>
                      <a:cubicBezTo>
                        <a:pt x="6" y="85"/>
                        <a:pt x="8" y="89"/>
                        <a:pt x="10" y="94"/>
                      </a:cubicBezTo>
                      <a:cubicBezTo>
                        <a:pt x="13" y="101"/>
                        <a:pt x="12" y="104"/>
                        <a:pt x="12" y="108"/>
                      </a:cubicBezTo>
                      <a:cubicBezTo>
                        <a:pt x="12" y="111"/>
                        <a:pt x="12" y="114"/>
                        <a:pt x="12" y="118"/>
                      </a:cubicBezTo>
                      <a:cubicBezTo>
                        <a:pt x="12" y="124"/>
                        <a:pt x="16" y="127"/>
                        <a:pt x="18" y="129"/>
                      </a:cubicBezTo>
                      <a:cubicBezTo>
                        <a:pt x="21" y="132"/>
                        <a:pt x="23" y="134"/>
                        <a:pt x="25" y="137"/>
                      </a:cubicBezTo>
                      <a:cubicBezTo>
                        <a:pt x="25" y="137"/>
                        <a:pt x="25" y="137"/>
                        <a:pt x="25" y="137"/>
                      </a:cubicBezTo>
                      <a:cubicBezTo>
                        <a:pt x="26" y="141"/>
                        <a:pt x="26" y="147"/>
                        <a:pt x="27" y="155"/>
                      </a:cubicBezTo>
                      <a:cubicBezTo>
                        <a:pt x="27" y="157"/>
                        <a:pt x="27" y="159"/>
                        <a:pt x="27" y="162"/>
                      </a:cubicBezTo>
                      <a:cubicBezTo>
                        <a:pt x="28" y="162"/>
                        <a:pt x="28" y="163"/>
                        <a:pt x="29" y="163"/>
                      </a:cubicBezTo>
                      <a:cubicBezTo>
                        <a:pt x="37" y="169"/>
                        <a:pt x="32" y="169"/>
                        <a:pt x="36" y="175"/>
                      </a:cubicBezTo>
                      <a:cubicBezTo>
                        <a:pt x="41" y="181"/>
                        <a:pt x="43" y="184"/>
                        <a:pt x="42" y="195"/>
                      </a:cubicBezTo>
                      <a:cubicBezTo>
                        <a:pt x="42" y="205"/>
                        <a:pt x="34" y="203"/>
                        <a:pt x="40" y="208"/>
                      </a:cubicBezTo>
                      <a:cubicBezTo>
                        <a:pt x="46" y="214"/>
                        <a:pt x="41" y="218"/>
                        <a:pt x="44" y="225"/>
                      </a:cubicBezTo>
                      <a:cubicBezTo>
                        <a:pt x="46" y="233"/>
                        <a:pt x="53" y="231"/>
                        <a:pt x="59" y="228"/>
                      </a:cubicBezTo>
                      <a:cubicBezTo>
                        <a:pt x="66" y="225"/>
                        <a:pt x="66" y="216"/>
                        <a:pt x="71" y="216"/>
                      </a:cubicBezTo>
                      <a:cubicBezTo>
                        <a:pt x="75" y="216"/>
                        <a:pt x="75" y="225"/>
                        <a:pt x="76" y="230"/>
                      </a:cubicBezTo>
                      <a:cubicBezTo>
                        <a:pt x="76" y="235"/>
                        <a:pt x="75" y="239"/>
                        <a:pt x="73" y="241"/>
                      </a:cubicBezTo>
                      <a:cubicBezTo>
                        <a:pt x="70" y="243"/>
                        <a:pt x="68" y="251"/>
                        <a:pt x="76" y="250"/>
                      </a:cubicBezTo>
                      <a:cubicBezTo>
                        <a:pt x="84" y="249"/>
                        <a:pt x="89" y="247"/>
                        <a:pt x="96" y="249"/>
                      </a:cubicBezTo>
                      <a:cubicBezTo>
                        <a:pt x="102" y="250"/>
                        <a:pt x="107" y="251"/>
                        <a:pt x="117" y="252"/>
                      </a:cubicBezTo>
                      <a:cubicBezTo>
                        <a:pt x="124" y="253"/>
                        <a:pt x="126" y="254"/>
                        <a:pt x="127" y="257"/>
                      </a:cubicBezTo>
                      <a:cubicBezTo>
                        <a:pt x="128" y="257"/>
                        <a:pt x="128" y="257"/>
                        <a:pt x="129" y="256"/>
                      </a:cubicBezTo>
                      <a:cubicBezTo>
                        <a:pt x="136" y="253"/>
                        <a:pt x="153" y="245"/>
                        <a:pt x="167" y="238"/>
                      </a:cubicBezTo>
                      <a:cubicBezTo>
                        <a:pt x="179" y="231"/>
                        <a:pt x="189" y="224"/>
                        <a:pt x="193" y="223"/>
                      </a:cubicBezTo>
                      <a:cubicBezTo>
                        <a:pt x="194" y="223"/>
                        <a:pt x="196" y="223"/>
                        <a:pt x="199" y="223"/>
                      </a:cubicBezTo>
                      <a:cubicBezTo>
                        <a:pt x="205" y="223"/>
                        <a:pt x="215" y="224"/>
                        <a:pt x="216" y="219"/>
                      </a:cubicBezTo>
                      <a:cubicBezTo>
                        <a:pt x="217" y="215"/>
                        <a:pt x="216" y="213"/>
                        <a:pt x="214" y="210"/>
                      </a:cubicBezTo>
                      <a:cubicBezTo>
                        <a:pt x="214" y="210"/>
                        <a:pt x="214" y="210"/>
                        <a:pt x="214" y="210"/>
                      </a:cubicBezTo>
                      <a:cubicBezTo>
                        <a:pt x="213" y="206"/>
                        <a:pt x="211" y="202"/>
                        <a:pt x="211" y="195"/>
                      </a:cubicBezTo>
                      <a:cubicBezTo>
                        <a:pt x="210" y="188"/>
                        <a:pt x="211" y="183"/>
                        <a:pt x="213" y="179"/>
                      </a:cubicBezTo>
                      <a:cubicBezTo>
                        <a:pt x="216" y="176"/>
                        <a:pt x="220" y="175"/>
                        <a:pt x="227" y="175"/>
                      </a:cubicBezTo>
                      <a:cubicBezTo>
                        <a:pt x="230" y="175"/>
                        <a:pt x="233" y="176"/>
                        <a:pt x="235" y="177"/>
                      </a:cubicBezTo>
                      <a:cubicBezTo>
                        <a:pt x="239" y="178"/>
                        <a:pt x="241" y="179"/>
                        <a:pt x="243" y="174"/>
                      </a:cubicBezTo>
                      <a:cubicBezTo>
                        <a:pt x="244" y="173"/>
                        <a:pt x="244" y="173"/>
                        <a:pt x="244" y="173"/>
                      </a:cubicBezTo>
                      <a:cubicBezTo>
                        <a:pt x="249" y="163"/>
                        <a:pt x="251" y="159"/>
                        <a:pt x="262" y="154"/>
                      </a:cubicBezTo>
                      <a:cubicBezTo>
                        <a:pt x="264" y="154"/>
                        <a:pt x="266" y="153"/>
                        <a:pt x="269" y="152"/>
                      </a:cubicBezTo>
                      <a:cubicBezTo>
                        <a:pt x="278" y="149"/>
                        <a:pt x="290" y="146"/>
                        <a:pt x="301" y="126"/>
                      </a:cubicBezTo>
                      <a:cubicBezTo>
                        <a:pt x="303" y="123"/>
                        <a:pt x="304" y="120"/>
                        <a:pt x="306" y="118"/>
                      </a:cubicBezTo>
                      <a:cubicBezTo>
                        <a:pt x="317" y="97"/>
                        <a:pt x="323" y="86"/>
                        <a:pt x="318" y="75"/>
                      </a:cubicBezTo>
                      <a:cubicBezTo>
                        <a:pt x="317" y="73"/>
                        <a:pt x="317" y="73"/>
                        <a:pt x="317" y="73"/>
                      </a:cubicBezTo>
                      <a:cubicBezTo>
                        <a:pt x="311" y="58"/>
                        <a:pt x="303" y="39"/>
                        <a:pt x="306" y="27"/>
                      </a:cubicBezTo>
                      <a:cubicBezTo>
                        <a:pt x="308" y="22"/>
                        <a:pt x="310" y="19"/>
                        <a:pt x="311" y="16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51" name="Freeform 77"/>
                <p:cNvSpPr/>
                <p:nvPr>
                  <p:custDataLst>
                    <p:tags r:id="rId149"/>
                  </p:custDataLst>
                </p:nvPr>
              </p:nvSpPr>
              <p:spPr bwMode="auto">
                <a:xfrm>
                  <a:off x="3193" y="1748"/>
                  <a:ext cx="190" cy="354"/>
                </a:xfrm>
                <a:custGeom>
                  <a:avLst/>
                  <a:gdLst>
                    <a:gd name="T0" fmla="*/ 421 w 445"/>
                    <a:gd name="T1" fmla="*/ 745 h 827"/>
                    <a:gd name="T2" fmla="*/ 430 w 445"/>
                    <a:gd name="T3" fmla="*/ 701 h 827"/>
                    <a:gd name="T4" fmla="*/ 445 w 445"/>
                    <a:gd name="T5" fmla="*/ 655 h 827"/>
                    <a:gd name="T6" fmla="*/ 436 w 445"/>
                    <a:gd name="T7" fmla="*/ 592 h 827"/>
                    <a:gd name="T8" fmla="*/ 411 w 445"/>
                    <a:gd name="T9" fmla="*/ 507 h 827"/>
                    <a:gd name="T10" fmla="*/ 358 w 445"/>
                    <a:gd name="T11" fmla="*/ 447 h 827"/>
                    <a:gd name="T12" fmla="*/ 286 w 445"/>
                    <a:gd name="T13" fmla="*/ 388 h 827"/>
                    <a:gd name="T14" fmla="*/ 258 w 445"/>
                    <a:gd name="T15" fmla="*/ 342 h 827"/>
                    <a:gd name="T16" fmla="*/ 214 w 445"/>
                    <a:gd name="T17" fmla="*/ 292 h 827"/>
                    <a:gd name="T18" fmla="*/ 219 w 445"/>
                    <a:gd name="T19" fmla="*/ 248 h 827"/>
                    <a:gd name="T20" fmla="*/ 261 w 445"/>
                    <a:gd name="T21" fmla="*/ 190 h 827"/>
                    <a:gd name="T22" fmla="*/ 277 w 445"/>
                    <a:gd name="T23" fmla="*/ 160 h 827"/>
                    <a:gd name="T24" fmla="*/ 279 w 445"/>
                    <a:gd name="T25" fmla="*/ 144 h 827"/>
                    <a:gd name="T26" fmla="*/ 319 w 445"/>
                    <a:gd name="T27" fmla="*/ 129 h 827"/>
                    <a:gd name="T28" fmla="*/ 327 w 445"/>
                    <a:gd name="T29" fmla="*/ 108 h 827"/>
                    <a:gd name="T30" fmla="*/ 291 w 445"/>
                    <a:gd name="T31" fmla="*/ 88 h 827"/>
                    <a:gd name="T32" fmla="*/ 264 w 445"/>
                    <a:gd name="T33" fmla="*/ 51 h 827"/>
                    <a:gd name="T34" fmla="*/ 273 w 445"/>
                    <a:gd name="T35" fmla="*/ 26 h 827"/>
                    <a:gd name="T36" fmla="*/ 209 w 445"/>
                    <a:gd name="T37" fmla="*/ 16 h 827"/>
                    <a:gd name="T38" fmla="*/ 172 w 445"/>
                    <a:gd name="T39" fmla="*/ 9 h 827"/>
                    <a:gd name="T40" fmla="*/ 124 w 445"/>
                    <a:gd name="T41" fmla="*/ 36 h 827"/>
                    <a:gd name="T42" fmla="*/ 86 w 445"/>
                    <a:gd name="T43" fmla="*/ 40 h 827"/>
                    <a:gd name="T44" fmla="*/ 71 w 445"/>
                    <a:gd name="T45" fmla="*/ 39 h 827"/>
                    <a:gd name="T46" fmla="*/ 46 w 445"/>
                    <a:gd name="T47" fmla="*/ 53 h 827"/>
                    <a:gd name="T48" fmla="*/ 17 w 445"/>
                    <a:gd name="T49" fmla="*/ 38 h 827"/>
                    <a:gd name="T50" fmla="*/ 0 w 445"/>
                    <a:gd name="T51" fmla="*/ 53 h 827"/>
                    <a:gd name="T52" fmla="*/ 13 w 445"/>
                    <a:gd name="T53" fmla="*/ 68 h 827"/>
                    <a:gd name="T54" fmla="*/ 36 w 445"/>
                    <a:gd name="T55" fmla="*/ 98 h 827"/>
                    <a:gd name="T56" fmla="*/ 47 w 445"/>
                    <a:gd name="T57" fmla="*/ 128 h 827"/>
                    <a:gd name="T58" fmla="*/ 90 w 445"/>
                    <a:gd name="T59" fmla="*/ 160 h 827"/>
                    <a:gd name="T60" fmla="*/ 137 w 445"/>
                    <a:gd name="T61" fmla="*/ 156 h 827"/>
                    <a:gd name="T62" fmla="*/ 154 w 445"/>
                    <a:gd name="T63" fmla="*/ 185 h 827"/>
                    <a:gd name="T64" fmla="*/ 172 w 445"/>
                    <a:gd name="T65" fmla="*/ 204 h 827"/>
                    <a:gd name="T66" fmla="*/ 144 w 445"/>
                    <a:gd name="T67" fmla="*/ 239 h 827"/>
                    <a:gd name="T68" fmla="*/ 115 w 445"/>
                    <a:gd name="T69" fmla="*/ 249 h 827"/>
                    <a:gd name="T70" fmla="*/ 138 w 445"/>
                    <a:gd name="T71" fmla="*/ 271 h 827"/>
                    <a:gd name="T72" fmla="*/ 186 w 445"/>
                    <a:gd name="T73" fmla="*/ 312 h 827"/>
                    <a:gd name="T74" fmla="*/ 217 w 445"/>
                    <a:gd name="T75" fmla="*/ 345 h 827"/>
                    <a:gd name="T76" fmla="*/ 254 w 445"/>
                    <a:gd name="T77" fmla="*/ 382 h 827"/>
                    <a:gd name="T78" fmla="*/ 283 w 445"/>
                    <a:gd name="T79" fmla="*/ 430 h 827"/>
                    <a:gd name="T80" fmla="*/ 314 w 445"/>
                    <a:gd name="T81" fmla="*/ 446 h 827"/>
                    <a:gd name="T82" fmla="*/ 309 w 445"/>
                    <a:gd name="T83" fmla="*/ 479 h 827"/>
                    <a:gd name="T84" fmla="*/ 337 w 445"/>
                    <a:gd name="T85" fmla="*/ 514 h 827"/>
                    <a:gd name="T86" fmla="*/ 326 w 445"/>
                    <a:gd name="T87" fmla="*/ 548 h 827"/>
                    <a:gd name="T88" fmla="*/ 326 w 445"/>
                    <a:gd name="T89" fmla="*/ 585 h 827"/>
                    <a:gd name="T90" fmla="*/ 320 w 445"/>
                    <a:gd name="T91" fmla="*/ 685 h 827"/>
                    <a:gd name="T92" fmla="*/ 263 w 445"/>
                    <a:gd name="T93" fmla="*/ 733 h 827"/>
                    <a:gd name="T94" fmla="*/ 230 w 445"/>
                    <a:gd name="T95" fmla="*/ 750 h 827"/>
                    <a:gd name="T96" fmla="*/ 211 w 445"/>
                    <a:gd name="T97" fmla="*/ 786 h 827"/>
                    <a:gd name="T98" fmla="*/ 221 w 445"/>
                    <a:gd name="T99" fmla="*/ 817 h 827"/>
                    <a:gd name="T100" fmla="*/ 274 w 445"/>
                    <a:gd name="T101" fmla="*/ 820 h 827"/>
                    <a:gd name="T102" fmla="*/ 303 w 445"/>
                    <a:gd name="T103" fmla="*/ 820 h 827"/>
                    <a:gd name="T104" fmla="*/ 386 w 445"/>
                    <a:gd name="T105" fmla="*/ 774 h 8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445" h="825">
                      <a:moveTo>
                        <a:pt x="386" y="774"/>
                      </a:moveTo>
                      <a:cubicBezTo>
                        <a:pt x="390" y="770"/>
                        <a:pt x="400" y="764"/>
                        <a:pt x="404" y="763"/>
                      </a:cubicBezTo>
                      <a:cubicBezTo>
                        <a:pt x="407" y="762"/>
                        <a:pt x="414" y="757"/>
                        <a:pt x="416" y="755"/>
                      </a:cubicBezTo>
                      <a:cubicBezTo>
                        <a:pt x="418" y="753"/>
                        <a:pt x="419" y="749"/>
                        <a:pt x="421" y="745"/>
                      </a:cubicBezTo>
                      <a:cubicBezTo>
                        <a:pt x="423" y="742"/>
                        <a:pt x="428" y="739"/>
                        <a:pt x="429" y="735"/>
                      </a:cubicBezTo>
                      <a:cubicBezTo>
                        <a:pt x="430" y="731"/>
                        <a:pt x="427" y="729"/>
                        <a:pt x="425" y="726"/>
                      </a:cubicBezTo>
                      <a:cubicBezTo>
                        <a:pt x="423" y="723"/>
                        <a:pt x="426" y="717"/>
                        <a:pt x="427" y="714"/>
                      </a:cubicBezTo>
                      <a:cubicBezTo>
                        <a:pt x="428" y="710"/>
                        <a:pt x="432" y="706"/>
                        <a:pt x="430" y="701"/>
                      </a:cubicBezTo>
                      <a:cubicBezTo>
                        <a:pt x="428" y="696"/>
                        <a:pt x="430" y="692"/>
                        <a:pt x="432" y="688"/>
                      </a:cubicBezTo>
                      <a:cubicBezTo>
                        <a:pt x="433" y="685"/>
                        <a:pt x="435" y="683"/>
                        <a:pt x="434" y="680"/>
                      </a:cubicBezTo>
                      <a:cubicBezTo>
                        <a:pt x="433" y="676"/>
                        <a:pt x="436" y="671"/>
                        <a:pt x="438" y="667"/>
                      </a:cubicBezTo>
                      <a:cubicBezTo>
                        <a:pt x="440" y="663"/>
                        <a:pt x="445" y="660"/>
                        <a:pt x="445" y="655"/>
                      </a:cubicBezTo>
                      <a:cubicBezTo>
                        <a:pt x="445" y="650"/>
                        <a:pt x="444" y="644"/>
                        <a:pt x="443" y="639"/>
                      </a:cubicBezTo>
                      <a:cubicBezTo>
                        <a:pt x="441" y="634"/>
                        <a:pt x="436" y="627"/>
                        <a:pt x="435" y="620"/>
                      </a:cubicBezTo>
                      <a:cubicBezTo>
                        <a:pt x="433" y="614"/>
                        <a:pt x="436" y="611"/>
                        <a:pt x="437" y="605"/>
                      </a:cubicBezTo>
                      <a:cubicBezTo>
                        <a:pt x="438" y="598"/>
                        <a:pt x="437" y="596"/>
                        <a:pt x="436" y="592"/>
                      </a:cubicBezTo>
                      <a:cubicBezTo>
                        <a:pt x="434" y="587"/>
                        <a:pt x="431" y="578"/>
                        <a:pt x="429" y="571"/>
                      </a:cubicBezTo>
                      <a:cubicBezTo>
                        <a:pt x="426" y="564"/>
                        <a:pt x="424" y="558"/>
                        <a:pt x="421" y="552"/>
                      </a:cubicBezTo>
                      <a:cubicBezTo>
                        <a:pt x="419" y="547"/>
                        <a:pt x="416" y="532"/>
                        <a:pt x="416" y="527"/>
                      </a:cubicBezTo>
                      <a:cubicBezTo>
                        <a:pt x="415" y="522"/>
                        <a:pt x="413" y="513"/>
                        <a:pt x="411" y="507"/>
                      </a:cubicBezTo>
                      <a:cubicBezTo>
                        <a:pt x="408" y="502"/>
                        <a:pt x="404" y="498"/>
                        <a:pt x="400" y="494"/>
                      </a:cubicBezTo>
                      <a:cubicBezTo>
                        <a:pt x="395" y="489"/>
                        <a:pt x="387" y="483"/>
                        <a:pt x="381" y="477"/>
                      </a:cubicBezTo>
                      <a:cubicBezTo>
                        <a:pt x="375" y="471"/>
                        <a:pt x="372" y="466"/>
                        <a:pt x="370" y="461"/>
                      </a:cubicBezTo>
                      <a:cubicBezTo>
                        <a:pt x="367" y="455"/>
                        <a:pt x="366" y="451"/>
                        <a:pt x="358" y="447"/>
                      </a:cubicBezTo>
                      <a:cubicBezTo>
                        <a:pt x="350" y="442"/>
                        <a:pt x="342" y="439"/>
                        <a:pt x="335" y="434"/>
                      </a:cubicBezTo>
                      <a:cubicBezTo>
                        <a:pt x="327" y="428"/>
                        <a:pt x="318" y="421"/>
                        <a:pt x="311" y="416"/>
                      </a:cubicBezTo>
                      <a:cubicBezTo>
                        <a:pt x="305" y="412"/>
                        <a:pt x="302" y="406"/>
                        <a:pt x="297" y="401"/>
                      </a:cubicBezTo>
                      <a:cubicBezTo>
                        <a:pt x="292" y="395"/>
                        <a:pt x="292" y="394"/>
                        <a:pt x="286" y="388"/>
                      </a:cubicBezTo>
                      <a:cubicBezTo>
                        <a:pt x="280" y="382"/>
                        <a:pt x="277" y="379"/>
                        <a:pt x="269" y="373"/>
                      </a:cubicBezTo>
                      <a:cubicBezTo>
                        <a:pt x="261" y="368"/>
                        <a:pt x="256" y="366"/>
                        <a:pt x="251" y="361"/>
                      </a:cubicBezTo>
                      <a:cubicBezTo>
                        <a:pt x="246" y="356"/>
                        <a:pt x="249" y="355"/>
                        <a:pt x="252" y="351"/>
                      </a:cubicBezTo>
                      <a:cubicBezTo>
                        <a:pt x="254" y="348"/>
                        <a:pt x="258" y="348"/>
                        <a:pt x="258" y="342"/>
                      </a:cubicBezTo>
                      <a:cubicBezTo>
                        <a:pt x="259" y="336"/>
                        <a:pt x="257" y="336"/>
                        <a:pt x="255" y="331"/>
                      </a:cubicBezTo>
                      <a:cubicBezTo>
                        <a:pt x="252" y="326"/>
                        <a:pt x="245" y="321"/>
                        <a:pt x="239" y="317"/>
                      </a:cubicBezTo>
                      <a:cubicBezTo>
                        <a:pt x="233" y="314"/>
                        <a:pt x="227" y="307"/>
                        <a:pt x="224" y="303"/>
                      </a:cubicBezTo>
                      <a:cubicBezTo>
                        <a:pt x="221" y="300"/>
                        <a:pt x="217" y="294"/>
                        <a:pt x="214" y="292"/>
                      </a:cubicBezTo>
                      <a:cubicBezTo>
                        <a:pt x="211" y="289"/>
                        <a:pt x="210" y="283"/>
                        <a:pt x="209" y="279"/>
                      </a:cubicBezTo>
                      <a:cubicBezTo>
                        <a:pt x="208" y="276"/>
                        <a:pt x="210" y="271"/>
                        <a:pt x="212" y="268"/>
                      </a:cubicBezTo>
                      <a:cubicBezTo>
                        <a:pt x="214" y="265"/>
                        <a:pt x="216" y="262"/>
                        <a:pt x="218" y="257"/>
                      </a:cubicBezTo>
                      <a:cubicBezTo>
                        <a:pt x="219" y="253"/>
                        <a:pt x="219" y="251"/>
                        <a:pt x="219" y="248"/>
                      </a:cubicBezTo>
                      <a:cubicBezTo>
                        <a:pt x="218" y="245"/>
                        <a:pt x="217" y="240"/>
                        <a:pt x="217" y="235"/>
                      </a:cubicBezTo>
                      <a:cubicBezTo>
                        <a:pt x="217" y="230"/>
                        <a:pt x="221" y="223"/>
                        <a:pt x="225" y="218"/>
                      </a:cubicBezTo>
                      <a:cubicBezTo>
                        <a:pt x="229" y="212"/>
                        <a:pt x="235" y="208"/>
                        <a:pt x="242" y="203"/>
                      </a:cubicBezTo>
                      <a:cubicBezTo>
                        <a:pt x="250" y="199"/>
                        <a:pt x="257" y="194"/>
                        <a:pt x="261" y="190"/>
                      </a:cubicBezTo>
                      <a:cubicBezTo>
                        <a:pt x="265" y="186"/>
                        <a:pt x="268" y="179"/>
                        <a:pt x="268" y="178"/>
                      </a:cubicBezTo>
                      <a:cubicBezTo>
                        <a:pt x="268" y="176"/>
                        <a:pt x="268" y="173"/>
                        <a:pt x="268" y="171"/>
                      </a:cubicBezTo>
                      <a:cubicBezTo>
                        <a:pt x="268" y="168"/>
                        <a:pt x="270" y="165"/>
                        <a:pt x="272" y="164"/>
                      </a:cubicBezTo>
                      <a:cubicBezTo>
                        <a:pt x="275" y="162"/>
                        <a:pt x="276" y="161"/>
                        <a:pt x="277" y="160"/>
                      </a:cubicBezTo>
                      <a:cubicBezTo>
                        <a:pt x="278" y="159"/>
                        <a:pt x="277" y="156"/>
                        <a:pt x="276" y="153"/>
                      </a:cubicBezTo>
                      <a:cubicBezTo>
                        <a:pt x="275" y="150"/>
                        <a:pt x="274" y="151"/>
                        <a:pt x="273" y="149"/>
                      </a:cubicBezTo>
                      <a:cubicBezTo>
                        <a:pt x="272" y="148"/>
                        <a:pt x="270" y="145"/>
                        <a:pt x="272" y="143"/>
                      </a:cubicBezTo>
                      <a:cubicBezTo>
                        <a:pt x="273" y="141"/>
                        <a:pt x="277" y="143"/>
                        <a:pt x="279" y="144"/>
                      </a:cubicBezTo>
                      <a:cubicBezTo>
                        <a:pt x="281" y="145"/>
                        <a:pt x="287" y="149"/>
                        <a:pt x="290" y="149"/>
                      </a:cubicBezTo>
                      <a:cubicBezTo>
                        <a:pt x="293" y="150"/>
                        <a:pt x="295" y="148"/>
                        <a:pt x="300" y="148"/>
                      </a:cubicBezTo>
                      <a:cubicBezTo>
                        <a:pt x="306" y="147"/>
                        <a:pt x="312" y="144"/>
                        <a:pt x="312" y="142"/>
                      </a:cubicBezTo>
                      <a:cubicBezTo>
                        <a:pt x="313" y="140"/>
                        <a:pt x="316" y="132"/>
                        <a:pt x="319" y="129"/>
                      </a:cubicBezTo>
                      <a:cubicBezTo>
                        <a:pt x="322" y="125"/>
                        <a:pt x="330" y="124"/>
                        <a:pt x="332" y="120"/>
                      </a:cubicBezTo>
                      <a:cubicBezTo>
                        <a:pt x="335" y="116"/>
                        <a:pt x="340" y="113"/>
                        <a:pt x="344" y="111"/>
                      </a:cubicBezTo>
                      <a:cubicBezTo>
                        <a:pt x="342" y="110"/>
                        <a:pt x="341" y="110"/>
                        <a:pt x="340" y="110"/>
                      </a:cubicBezTo>
                      <a:cubicBezTo>
                        <a:pt x="333" y="108"/>
                        <a:pt x="329" y="108"/>
                        <a:pt x="327" y="108"/>
                      </a:cubicBezTo>
                      <a:cubicBezTo>
                        <a:pt x="323" y="107"/>
                        <a:pt x="319" y="107"/>
                        <a:pt x="312" y="104"/>
                      </a:cubicBezTo>
                      <a:cubicBezTo>
                        <a:pt x="302" y="100"/>
                        <a:pt x="301" y="96"/>
                        <a:pt x="299" y="93"/>
                      </a:cubicBezTo>
                      <a:cubicBezTo>
                        <a:pt x="299" y="92"/>
                        <a:pt x="298" y="91"/>
                        <a:pt x="297" y="90"/>
                      </a:cubicBezTo>
                      <a:cubicBezTo>
                        <a:pt x="296" y="89"/>
                        <a:pt x="294" y="89"/>
                        <a:pt x="291" y="88"/>
                      </a:cubicBezTo>
                      <a:cubicBezTo>
                        <a:pt x="288" y="88"/>
                        <a:pt x="283" y="87"/>
                        <a:pt x="278" y="85"/>
                      </a:cubicBezTo>
                      <a:cubicBezTo>
                        <a:pt x="269" y="81"/>
                        <a:pt x="270" y="79"/>
                        <a:pt x="270" y="74"/>
                      </a:cubicBezTo>
                      <a:cubicBezTo>
                        <a:pt x="270" y="72"/>
                        <a:pt x="271" y="69"/>
                        <a:pt x="269" y="65"/>
                      </a:cubicBezTo>
                      <a:cubicBezTo>
                        <a:pt x="266" y="58"/>
                        <a:pt x="265" y="54"/>
                        <a:pt x="264" y="51"/>
                      </a:cubicBezTo>
                      <a:cubicBezTo>
                        <a:pt x="264" y="51"/>
                        <a:pt x="264" y="51"/>
                        <a:pt x="264" y="51"/>
                      </a:cubicBezTo>
                      <a:cubicBezTo>
                        <a:pt x="264" y="47"/>
                        <a:pt x="265" y="44"/>
                        <a:pt x="267" y="39"/>
                      </a:cubicBezTo>
                      <a:cubicBezTo>
                        <a:pt x="269" y="36"/>
                        <a:pt x="271" y="33"/>
                        <a:pt x="272" y="31"/>
                      </a:cubicBezTo>
                      <a:cubicBezTo>
                        <a:pt x="273" y="29"/>
                        <a:pt x="273" y="27"/>
                        <a:pt x="273" y="26"/>
                      </a:cubicBezTo>
                      <a:cubicBezTo>
                        <a:pt x="271" y="25"/>
                        <a:pt x="267" y="25"/>
                        <a:pt x="258" y="25"/>
                      </a:cubicBezTo>
                      <a:cubicBezTo>
                        <a:pt x="255" y="25"/>
                        <a:pt x="252" y="25"/>
                        <a:pt x="251" y="25"/>
                      </a:cubicBezTo>
                      <a:cubicBezTo>
                        <a:pt x="248" y="25"/>
                        <a:pt x="247" y="25"/>
                        <a:pt x="245" y="25"/>
                      </a:cubicBezTo>
                      <a:cubicBezTo>
                        <a:pt x="232" y="25"/>
                        <a:pt x="223" y="25"/>
                        <a:pt x="209" y="16"/>
                      </a:cubicBezTo>
                      <a:cubicBezTo>
                        <a:pt x="203" y="11"/>
                        <a:pt x="199" y="8"/>
                        <a:pt x="197" y="5"/>
                      </a:cubicBezTo>
                      <a:cubicBezTo>
                        <a:pt x="193" y="2"/>
                        <a:pt x="191" y="0"/>
                        <a:pt x="188" y="0"/>
                      </a:cubicBezTo>
                      <a:cubicBezTo>
                        <a:pt x="183" y="0"/>
                        <a:pt x="181" y="2"/>
                        <a:pt x="177" y="6"/>
                      </a:cubicBezTo>
                      <a:cubicBezTo>
                        <a:pt x="175" y="7"/>
                        <a:pt x="174" y="8"/>
                        <a:pt x="172" y="9"/>
                      </a:cubicBezTo>
                      <a:cubicBezTo>
                        <a:pt x="170" y="11"/>
                        <a:pt x="167" y="14"/>
                        <a:pt x="164" y="17"/>
                      </a:cubicBezTo>
                      <a:cubicBezTo>
                        <a:pt x="156" y="25"/>
                        <a:pt x="145" y="35"/>
                        <a:pt x="139" y="35"/>
                      </a:cubicBezTo>
                      <a:cubicBezTo>
                        <a:pt x="136" y="35"/>
                        <a:pt x="134" y="35"/>
                        <a:pt x="132" y="35"/>
                      </a:cubicBezTo>
                      <a:cubicBezTo>
                        <a:pt x="130" y="35"/>
                        <a:pt x="128" y="34"/>
                        <a:pt x="124" y="36"/>
                      </a:cubicBezTo>
                      <a:cubicBezTo>
                        <a:pt x="121" y="37"/>
                        <a:pt x="119" y="39"/>
                        <a:pt x="116" y="42"/>
                      </a:cubicBezTo>
                      <a:cubicBezTo>
                        <a:pt x="111" y="47"/>
                        <a:pt x="107" y="51"/>
                        <a:pt x="101" y="45"/>
                      </a:cubicBezTo>
                      <a:cubicBezTo>
                        <a:pt x="96" y="42"/>
                        <a:pt x="92" y="41"/>
                        <a:pt x="89" y="40"/>
                      </a:cubicBezTo>
                      <a:cubicBezTo>
                        <a:pt x="88" y="40"/>
                        <a:pt x="87" y="40"/>
                        <a:pt x="86" y="40"/>
                      </a:cubicBezTo>
                      <a:cubicBezTo>
                        <a:pt x="85" y="40"/>
                        <a:pt x="85" y="40"/>
                        <a:pt x="85" y="40"/>
                      </a:cubicBezTo>
                      <a:cubicBezTo>
                        <a:pt x="83" y="42"/>
                        <a:pt x="82" y="43"/>
                        <a:pt x="78" y="43"/>
                      </a:cubicBezTo>
                      <a:cubicBezTo>
                        <a:pt x="78" y="43"/>
                        <a:pt x="78" y="43"/>
                        <a:pt x="78" y="43"/>
                      </a:cubicBezTo>
                      <a:cubicBezTo>
                        <a:pt x="75" y="42"/>
                        <a:pt x="73" y="41"/>
                        <a:pt x="71" y="39"/>
                      </a:cubicBezTo>
                      <a:cubicBezTo>
                        <a:pt x="70" y="38"/>
                        <a:pt x="69" y="37"/>
                        <a:pt x="68" y="36"/>
                      </a:cubicBezTo>
                      <a:cubicBezTo>
                        <a:pt x="68" y="36"/>
                        <a:pt x="68" y="36"/>
                        <a:pt x="68" y="36"/>
                      </a:cubicBezTo>
                      <a:cubicBezTo>
                        <a:pt x="68" y="36"/>
                        <a:pt x="65" y="39"/>
                        <a:pt x="63" y="42"/>
                      </a:cubicBezTo>
                      <a:cubicBezTo>
                        <a:pt x="58" y="47"/>
                        <a:pt x="53" y="53"/>
                        <a:pt x="46" y="53"/>
                      </a:cubicBezTo>
                      <a:cubicBezTo>
                        <a:pt x="40" y="52"/>
                        <a:pt x="35" y="48"/>
                        <a:pt x="29" y="45"/>
                      </a:cubicBezTo>
                      <a:cubicBezTo>
                        <a:pt x="29" y="45"/>
                        <a:pt x="29" y="45"/>
                        <a:pt x="29" y="45"/>
                      </a:cubicBezTo>
                      <a:cubicBezTo>
                        <a:pt x="27" y="43"/>
                        <a:pt x="25" y="42"/>
                        <a:pt x="23" y="41"/>
                      </a:cubicBezTo>
                      <a:cubicBezTo>
                        <a:pt x="20" y="39"/>
                        <a:pt x="18" y="38"/>
                        <a:pt x="17" y="38"/>
                      </a:cubicBezTo>
                      <a:cubicBezTo>
                        <a:pt x="17" y="38"/>
                        <a:pt x="17" y="38"/>
                        <a:pt x="17" y="38"/>
                      </a:cubicBezTo>
                      <a:cubicBezTo>
                        <a:pt x="15" y="38"/>
                        <a:pt x="14" y="39"/>
                        <a:pt x="12" y="41"/>
                      </a:cubicBezTo>
                      <a:cubicBezTo>
                        <a:pt x="11" y="42"/>
                        <a:pt x="9" y="44"/>
                        <a:pt x="8" y="45"/>
                      </a:cubicBezTo>
                      <a:cubicBezTo>
                        <a:pt x="5" y="48"/>
                        <a:pt x="3" y="51"/>
                        <a:pt x="0" y="53"/>
                      </a:cubicBezTo>
                      <a:cubicBezTo>
                        <a:pt x="4" y="58"/>
                        <a:pt x="10" y="65"/>
                        <a:pt x="13" y="68"/>
                      </a:cubicBezTo>
                      <a:cubicBezTo>
                        <a:pt x="13" y="68"/>
                        <a:pt x="13" y="68"/>
                        <a:pt x="13" y="68"/>
                      </a:cubicBezTo>
                      <a:cubicBezTo>
                        <a:pt x="13" y="68"/>
                        <a:pt x="13" y="68"/>
                        <a:pt x="13" y="68"/>
                      </a:cubicBezTo>
                      <a:cubicBezTo>
                        <a:pt x="13" y="68"/>
                        <a:pt x="13" y="68"/>
                        <a:pt x="13" y="68"/>
                      </a:cubicBezTo>
                      <a:cubicBezTo>
                        <a:pt x="16" y="72"/>
                        <a:pt x="19" y="76"/>
                        <a:pt x="22" y="80"/>
                      </a:cubicBezTo>
                      <a:cubicBezTo>
                        <a:pt x="23" y="82"/>
                        <a:pt x="24" y="83"/>
                        <a:pt x="24" y="85"/>
                      </a:cubicBezTo>
                      <a:cubicBezTo>
                        <a:pt x="25" y="87"/>
                        <a:pt x="25" y="90"/>
                        <a:pt x="29" y="95"/>
                      </a:cubicBezTo>
                      <a:cubicBezTo>
                        <a:pt x="32" y="99"/>
                        <a:pt x="34" y="98"/>
                        <a:pt x="36" y="98"/>
                      </a:cubicBezTo>
                      <a:cubicBezTo>
                        <a:pt x="38" y="98"/>
                        <a:pt x="39" y="98"/>
                        <a:pt x="41" y="98"/>
                      </a:cubicBezTo>
                      <a:cubicBezTo>
                        <a:pt x="44" y="99"/>
                        <a:pt x="46" y="102"/>
                        <a:pt x="47" y="105"/>
                      </a:cubicBezTo>
                      <a:cubicBezTo>
                        <a:pt x="48" y="108"/>
                        <a:pt x="48" y="112"/>
                        <a:pt x="47" y="118"/>
                      </a:cubicBezTo>
                      <a:cubicBezTo>
                        <a:pt x="46" y="122"/>
                        <a:pt x="46" y="125"/>
                        <a:pt x="47" y="128"/>
                      </a:cubicBezTo>
                      <a:cubicBezTo>
                        <a:pt x="47" y="131"/>
                        <a:pt x="48" y="133"/>
                        <a:pt x="51" y="136"/>
                      </a:cubicBezTo>
                      <a:cubicBezTo>
                        <a:pt x="53" y="139"/>
                        <a:pt x="58" y="143"/>
                        <a:pt x="62" y="148"/>
                      </a:cubicBezTo>
                      <a:cubicBezTo>
                        <a:pt x="66" y="151"/>
                        <a:pt x="70" y="154"/>
                        <a:pt x="73" y="156"/>
                      </a:cubicBezTo>
                      <a:cubicBezTo>
                        <a:pt x="76" y="158"/>
                        <a:pt x="83" y="160"/>
                        <a:pt x="90" y="160"/>
                      </a:cubicBezTo>
                      <a:cubicBezTo>
                        <a:pt x="95" y="161"/>
                        <a:pt x="99" y="160"/>
                        <a:pt x="101" y="159"/>
                      </a:cubicBezTo>
                      <a:cubicBezTo>
                        <a:pt x="103" y="158"/>
                        <a:pt x="104" y="156"/>
                        <a:pt x="106" y="155"/>
                      </a:cubicBezTo>
                      <a:cubicBezTo>
                        <a:pt x="110" y="151"/>
                        <a:pt x="114" y="147"/>
                        <a:pt x="121" y="148"/>
                      </a:cubicBezTo>
                      <a:cubicBezTo>
                        <a:pt x="126" y="148"/>
                        <a:pt x="132" y="152"/>
                        <a:pt x="137" y="156"/>
                      </a:cubicBezTo>
                      <a:cubicBezTo>
                        <a:pt x="142" y="159"/>
                        <a:pt x="146" y="164"/>
                        <a:pt x="147" y="168"/>
                      </a:cubicBezTo>
                      <a:cubicBezTo>
                        <a:pt x="149" y="172"/>
                        <a:pt x="148" y="174"/>
                        <a:pt x="148" y="176"/>
                      </a:cubicBezTo>
                      <a:cubicBezTo>
                        <a:pt x="148" y="178"/>
                        <a:pt x="148" y="179"/>
                        <a:pt x="149" y="182"/>
                      </a:cubicBezTo>
                      <a:cubicBezTo>
                        <a:pt x="150" y="184"/>
                        <a:pt x="152" y="184"/>
                        <a:pt x="154" y="185"/>
                      </a:cubicBezTo>
                      <a:cubicBezTo>
                        <a:pt x="154" y="185"/>
                        <a:pt x="154" y="185"/>
                        <a:pt x="154" y="185"/>
                      </a:cubicBezTo>
                      <a:cubicBezTo>
                        <a:pt x="156" y="185"/>
                        <a:pt x="159" y="186"/>
                        <a:pt x="162" y="189"/>
                      </a:cubicBezTo>
                      <a:cubicBezTo>
                        <a:pt x="163" y="190"/>
                        <a:pt x="164" y="191"/>
                        <a:pt x="165" y="191"/>
                      </a:cubicBezTo>
                      <a:cubicBezTo>
                        <a:pt x="167" y="195"/>
                        <a:pt x="170" y="199"/>
                        <a:pt x="172" y="204"/>
                      </a:cubicBezTo>
                      <a:cubicBezTo>
                        <a:pt x="174" y="209"/>
                        <a:pt x="174" y="215"/>
                        <a:pt x="170" y="219"/>
                      </a:cubicBezTo>
                      <a:cubicBezTo>
                        <a:pt x="170" y="219"/>
                        <a:pt x="170" y="219"/>
                        <a:pt x="169" y="219"/>
                      </a:cubicBezTo>
                      <a:cubicBezTo>
                        <a:pt x="168" y="221"/>
                        <a:pt x="166" y="223"/>
                        <a:pt x="163" y="225"/>
                      </a:cubicBezTo>
                      <a:cubicBezTo>
                        <a:pt x="158" y="231"/>
                        <a:pt x="151" y="238"/>
                        <a:pt x="144" y="239"/>
                      </a:cubicBezTo>
                      <a:cubicBezTo>
                        <a:pt x="138" y="240"/>
                        <a:pt x="132" y="239"/>
                        <a:pt x="127" y="239"/>
                      </a:cubicBezTo>
                      <a:cubicBezTo>
                        <a:pt x="123" y="238"/>
                        <a:pt x="119" y="238"/>
                        <a:pt x="118" y="238"/>
                      </a:cubicBezTo>
                      <a:cubicBezTo>
                        <a:pt x="117" y="239"/>
                        <a:pt x="117" y="240"/>
                        <a:pt x="117" y="242"/>
                      </a:cubicBezTo>
                      <a:cubicBezTo>
                        <a:pt x="117" y="244"/>
                        <a:pt x="116" y="246"/>
                        <a:pt x="115" y="249"/>
                      </a:cubicBezTo>
                      <a:cubicBezTo>
                        <a:pt x="115" y="249"/>
                        <a:pt x="115" y="250"/>
                        <a:pt x="114" y="251"/>
                      </a:cubicBezTo>
                      <a:cubicBezTo>
                        <a:pt x="113" y="254"/>
                        <a:pt x="113" y="255"/>
                        <a:pt x="116" y="259"/>
                      </a:cubicBezTo>
                      <a:cubicBezTo>
                        <a:pt x="119" y="264"/>
                        <a:pt x="127" y="267"/>
                        <a:pt x="134" y="270"/>
                      </a:cubicBezTo>
                      <a:cubicBezTo>
                        <a:pt x="135" y="270"/>
                        <a:pt x="137" y="271"/>
                        <a:pt x="138" y="271"/>
                      </a:cubicBezTo>
                      <a:cubicBezTo>
                        <a:pt x="143" y="273"/>
                        <a:pt x="153" y="278"/>
                        <a:pt x="161" y="282"/>
                      </a:cubicBezTo>
                      <a:cubicBezTo>
                        <a:pt x="167" y="285"/>
                        <a:pt x="173" y="288"/>
                        <a:pt x="175" y="290"/>
                      </a:cubicBezTo>
                      <a:cubicBezTo>
                        <a:pt x="178" y="293"/>
                        <a:pt x="180" y="295"/>
                        <a:pt x="182" y="298"/>
                      </a:cubicBezTo>
                      <a:cubicBezTo>
                        <a:pt x="184" y="302"/>
                        <a:pt x="186" y="306"/>
                        <a:pt x="186" y="312"/>
                      </a:cubicBezTo>
                      <a:cubicBezTo>
                        <a:pt x="186" y="318"/>
                        <a:pt x="187" y="318"/>
                        <a:pt x="190" y="320"/>
                      </a:cubicBezTo>
                      <a:cubicBezTo>
                        <a:pt x="192" y="321"/>
                        <a:pt x="194" y="322"/>
                        <a:pt x="197" y="325"/>
                      </a:cubicBezTo>
                      <a:cubicBezTo>
                        <a:pt x="198" y="326"/>
                        <a:pt x="200" y="327"/>
                        <a:pt x="201" y="328"/>
                      </a:cubicBezTo>
                      <a:cubicBezTo>
                        <a:pt x="207" y="333"/>
                        <a:pt x="212" y="337"/>
                        <a:pt x="217" y="345"/>
                      </a:cubicBezTo>
                      <a:cubicBezTo>
                        <a:pt x="217" y="345"/>
                        <a:pt x="217" y="345"/>
                        <a:pt x="217" y="345"/>
                      </a:cubicBezTo>
                      <a:cubicBezTo>
                        <a:pt x="219" y="346"/>
                        <a:pt x="219" y="346"/>
                        <a:pt x="219" y="346"/>
                      </a:cubicBezTo>
                      <a:cubicBezTo>
                        <a:pt x="224" y="355"/>
                        <a:pt x="231" y="364"/>
                        <a:pt x="242" y="374"/>
                      </a:cubicBezTo>
                      <a:cubicBezTo>
                        <a:pt x="247" y="377"/>
                        <a:pt x="251" y="380"/>
                        <a:pt x="254" y="382"/>
                      </a:cubicBezTo>
                      <a:cubicBezTo>
                        <a:pt x="260" y="386"/>
                        <a:pt x="265" y="390"/>
                        <a:pt x="271" y="397"/>
                      </a:cubicBezTo>
                      <a:cubicBezTo>
                        <a:pt x="277" y="406"/>
                        <a:pt x="277" y="413"/>
                        <a:pt x="277" y="420"/>
                      </a:cubicBezTo>
                      <a:cubicBezTo>
                        <a:pt x="277" y="423"/>
                        <a:pt x="277" y="426"/>
                        <a:pt x="278" y="428"/>
                      </a:cubicBezTo>
                      <a:cubicBezTo>
                        <a:pt x="278" y="430"/>
                        <a:pt x="281" y="430"/>
                        <a:pt x="283" y="430"/>
                      </a:cubicBezTo>
                      <a:cubicBezTo>
                        <a:pt x="287" y="430"/>
                        <a:pt x="290" y="429"/>
                        <a:pt x="292" y="432"/>
                      </a:cubicBezTo>
                      <a:cubicBezTo>
                        <a:pt x="293" y="432"/>
                        <a:pt x="294" y="433"/>
                        <a:pt x="295" y="434"/>
                      </a:cubicBezTo>
                      <a:cubicBezTo>
                        <a:pt x="299" y="437"/>
                        <a:pt x="303" y="441"/>
                        <a:pt x="310" y="444"/>
                      </a:cubicBezTo>
                      <a:cubicBezTo>
                        <a:pt x="311" y="445"/>
                        <a:pt x="313" y="446"/>
                        <a:pt x="314" y="446"/>
                      </a:cubicBezTo>
                      <a:cubicBezTo>
                        <a:pt x="314" y="446"/>
                        <a:pt x="314" y="446"/>
                        <a:pt x="314" y="446"/>
                      </a:cubicBezTo>
                      <a:cubicBezTo>
                        <a:pt x="321" y="449"/>
                        <a:pt x="322" y="449"/>
                        <a:pt x="325" y="460"/>
                      </a:cubicBezTo>
                      <a:cubicBezTo>
                        <a:pt x="328" y="470"/>
                        <a:pt x="320" y="474"/>
                        <a:pt x="314" y="477"/>
                      </a:cubicBezTo>
                      <a:cubicBezTo>
                        <a:pt x="312" y="478"/>
                        <a:pt x="310" y="479"/>
                        <a:pt x="309" y="479"/>
                      </a:cubicBezTo>
                      <a:cubicBezTo>
                        <a:pt x="309" y="480"/>
                        <a:pt x="311" y="482"/>
                        <a:pt x="312" y="483"/>
                      </a:cubicBezTo>
                      <a:cubicBezTo>
                        <a:pt x="316" y="487"/>
                        <a:pt x="321" y="491"/>
                        <a:pt x="324" y="492"/>
                      </a:cubicBezTo>
                      <a:cubicBezTo>
                        <a:pt x="327" y="494"/>
                        <a:pt x="330" y="497"/>
                        <a:pt x="333" y="501"/>
                      </a:cubicBezTo>
                      <a:cubicBezTo>
                        <a:pt x="335" y="505"/>
                        <a:pt x="337" y="509"/>
                        <a:pt x="337" y="514"/>
                      </a:cubicBezTo>
                      <a:cubicBezTo>
                        <a:pt x="337" y="519"/>
                        <a:pt x="335" y="521"/>
                        <a:pt x="333" y="525"/>
                      </a:cubicBezTo>
                      <a:cubicBezTo>
                        <a:pt x="332" y="527"/>
                        <a:pt x="330" y="529"/>
                        <a:pt x="329" y="534"/>
                      </a:cubicBezTo>
                      <a:cubicBezTo>
                        <a:pt x="329" y="539"/>
                        <a:pt x="329" y="539"/>
                        <a:pt x="329" y="539"/>
                      </a:cubicBezTo>
                      <a:cubicBezTo>
                        <a:pt x="328" y="544"/>
                        <a:pt x="327" y="546"/>
                        <a:pt x="326" y="548"/>
                      </a:cubicBezTo>
                      <a:cubicBezTo>
                        <a:pt x="328" y="549"/>
                        <a:pt x="329" y="551"/>
                        <a:pt x="330" y="553"/>
                      </a:cubicBezTo>
                      <a:cubicBezTo>
                        <a:pt x="332" y="556"/>
                        <a:pt x="334" y="561"/>
                        <a:pt x="334" y="564"/>
                      </a:cubicBezTo>
                      <a:cubicBezTo>
                        <a:pt x="334" y="568"/>
                        <a:pt x="332" y="571"/>
                        <a:pt x="330" y="575"/>
                      </a:cubicBezTo>
                      <a:cubicBezTo>
                        <a:pt x="329" y="577"/>
                        <a:pt x="327" y="581"/>
                        <a:pt x="326" y="585"/>
                      </a:cubicBezTo>
                      <a:cubicBezTo>
                        <a:pt x="323" y="594"/>
                        <a:pt x="331" y="611"/>
                        <a:pt x="337" y="625"/>
                      </a:cubicBezTo>
                      <a:cubicBezTo>
                        <a:pt x="337" y="627"/>
                        <a:pt x="337" y="627"/>
                        <a:pt x="337" y="627"/>
                      </a:cubicBezTo>
                      <a:cubicBezTo>
                        <a:pt x="344" y="642"/>
                        <a:pt x="337" y="654"/>
                        <a:pt x="325" y="676"/>
                      </a:cubicBezTo>
                      <a:cubicBezTo>
                        <a:pt x="323" y="679"/>
                        <a:pt x="322" y="682"/>
                        <a:pt x="320" y="685"/>
                      </a:cubicBezTo>
                      <a:cubicBezTo>
                        <a:pt x="308" y="707"/>
                        <a:pt x="294" y="712"/>
                        <a:pt x="283" y="715"/>
                      </a:cubicBezTo>
                      <a:cubicBezTo>
                        <a:pt x="281" y="715"/>
                        <a:pt x="279" y="716"/>
                        <a:pt x="277" y="717"/>
                      </a:cubicBezTo>
                      <a:cubicBezTo>
                        <a:pt x="269" y="720"/>
                        <a:pt x="267" y="723"/>
                        <a:pt x="263" y="732"/>
                      </a:cubicBezTo>
                      <a:cubicBezTo>
                        <a:pt x="263" y="733"/>
                        <a:pt x="263" y="733"/>
                        <a:pt x="263" y="733"/>
                      </a:cubicBezTo>
                      <a:cubicBezTo>
                        <a:pt x="257" y="743"/>
                        <a:pt x="252" y="742"/>
                        <a:pt x="245" y="740"/>
                      </a:cubicBezTo>
                      <a:cubicBezTo>
                        <a:pt x="243" y="739"/>
                        <a:pt x="241" y="738"/>
                        <a:pt x="238" y="738"/>
                      </a:cubicBezTo>
                      <a:cubicBezTo>
                        <a:pt x="234" y="738"/>
                        <a:pt x="232" y="738"/>
                        <a:pt x="231" y="739"/>
                      </a:cubicBezTo>
                      <a:cubicBezTo>
                        <a:pt x="230" y="741"/>
                        <a:pt x="230" y="744"/>
                        <a:pt x="230" y="750"/>
                      </a:cubicBezTo>
                      <a:cubicBezTo>
                        <a:pt x="231" y="755"/>
                        <a:pt x="232" y="758"/>
                        <a:pt x="234" y="761"/>
                      </a:cubicBezTo>
                      <a:cubicBezTo>
                        <a:pt x="234" y="761"/>
                        <a:pt x="234" y="761"/>
                        <a:pt x="234" y="761"/>
                      </a:cubicBezTo>
                      <a:cubicBezTo>
                        <a:pt x="236" y="766"/>
                        <a:pt x="237" y="770"/>
                        <a:pt x="236" y="776"/>
                      </a:cubicBezTo>
                      <a:cubicBezTo>
                        <a:pt x="233" y="787"/>
                        <a:pt x="219" y="786"/>
                        <a:pt x="211" y="786"/>
                      </a:cubicBezTo>
                      <a:cubicBezTo>
                        <a:pt x="209" y="786"/>
                        <a:pt x="207" y="786"/>
                        <a:pt x="206" y="786"/>
                      </a:cubicBezTo>
                      <a:cubicBezTo>
                        <a:pt x="206" y="786"/>
                        <a:pt x="203" y="788"/>
                        <a:pt x="199" y="790"/>
                      </a:cubicBezTo>
                      <a:cubicBezTo>
                        <a:pt x="201" y="793"/>
                        <a:pt x="202" y="797"/>
                        <a:pt x="204" y="800"/>
                      </a:cubicBezTo>
                      <a:cubicBezTo>
                        <a:pt x="208" y="808"/>
                        <a:pt x="215" y="812"/>
                        <a:pt x="221" y="817"/>
                      </a:cubicBezTo>
                      <a:cubicBezTo>
                        <a:pt x="228" y="822"/>
                        <a:pt x="230" y="821"/>
                        <a:pt x="235" y="821"/>
                      </a:cubicBezTo>
                      <a:cubicBezTo>
                        <a:pt x="239" y="822"/>
                        <a:pt x="248" y="823"/>
                        <a:pt x="256" y="825"/>
                      </a:cubicBezTo>
                      <a:cubicBezTo>
                        <a:pt x="263" y="827"/>
                        <a:pt x="267" y="826"/>
                        <a:pt x="273" y="826"/>
                      </a:cubicBezTo>
                      <a:cubicBezTo>
                        <a:pt x="278" y="825"/>
                        <a:pt x="276" y="824"/>
                        <a:pt x="274" y="820"/>
                      </a:cubicBezTo>
                      <a:cubicBezTo>
                        <a:pt x="272" y="817"/>
                        <a:pt x="273" y="810"/>
                        <a:pt x="276" y="807"/>
                      </a:cubicBezTo>
                      <a:cubicBezTo>
                        <a:pt x="279" y="805"/>
                        <a:pt x="284" y="810"/>
                        <a:pt x="289" y="808"/>
                      </a:cubicBezTo>
                      <a:cubicBezTo>
                        <a:pt x="294" y="806"/>
                        <a:pt x="296" y="804"/>
                        <a:pt x="298" y="807"/>
                      </a:cubicBezTo>
                      <a:cubicBezTo>
                        <a:pt x="300" y="810"/>
                        <a:pt x="300" y="817"/>
                        <a:pt x="303" y="820"/>
                      </a:cubicBezTo>
                      <a:cubicBezTo>
                        <a:pt x="306" y="823"/>
                        <a:pt x="312" y="816"/>
                        <a:pt x="318" y="813"/>
                      </a:cubicBezTo>
                      <a:cubicBezTo>
                        <a:pt x="323" y="810"/>
                        <a:pt x="324" y="808"/>
                        <a:pt x="333" y="802"/>
                      </a:cubicBezTo>
                      <a:cubicBezTo>
                        <a:pt x="341" y="796"/>
                        <a:pt x="353" y="791"/>
                        <a:pt x="365" y="787"/>
                      </a:cubicBezTo>
                      <a:cubicBezTo>
                        <a:pt x="377" y="783"/>
                        <a:pt x="382" y="778"/>
                        <a:pt x="386" y="774"/>
                      </a:cubicBezTo>
                      <a:close/>
                    </a:path>
                  </a:pathLst>
                </a:custGeom>
                <a:solidFill>
                  <a:srgbClr val="603093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52" name="Freeform 78"/>
                <p:cNvSpPr/>
                <p:nvPr>
                  <p:custDataLst>
                    <p:tags r:id="rId150"/>
                  </p:custDataLst>
                </p:nvPr>
              </p:nvSpPr>
              <p:spPr bwMode="auto">
                <a:xfrm>
                  <a:off x="3624" y="2311"/>
                  <a:ext cx="6" cy="6"/>
                </a:xfrm>
                <a:custGeom>
                  <a:avLst/>
                  <a:gdLst>
                    <a:gd name="T0" fmla="*/ 2 w 14"/>
                    <a:gd name="T1" fmla="*/ 1 h 13"/>
                    <a:gd name="T2" fmla="*/ 3 w 14"/>
                    <a:gd name="T3" fmla="*/ 7 h 13"/>
                    <a:gd name="T4" fmla="*/ 7 w 14"/>
                    <a:gd name="T5" fmla="*/ 13 h 13"/>
                    <a:gd name="T6" fmla="*/ 14 w 14"/>
                    <a:gd name="T7" fmla="*/ 10 h 13"/>
                    <a:gd name="T8" fmla="*/ 10 w 14"/>
                    <a:gd name="T9" fmla="*/ 4 h 13"/>
                    <a:gd name="T10" fmla="*/ 2 w 14"/>
                    <a:gd name="T11" fmla="*/ 1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4" h="13">
                      <a:moveTo>
                        <a:pt x="2" y="1"/>
                      </a:moveTo>
                      <a:cubicBezTo>
                        <a:pt x="0" y="4"/>
                        <a:pt x="2" y="5"/>
                        <a:pt x="3" y="7"/>
                      </a:cubicBezTo>
                      <a:cubicBezTo>
                        <a:pt x="5" y="10"/>
                        <a:pt x="3" y="13"/>
                        <a:pt x="7" y="13"/>
                      </a:cubicBezTo>
                      <a:cubicBezTo>
                        <a:pt x="11" y="13"/>
                        <a:pt x="14" y="13"/>
                        <a:pt x="14" y="10"/>
                      </a:cubicBezTo>
                      <a:cubicBezTo>
                        <a:pt x="13" y="7"/>
                        <a:pt x="11" y="7"/>
                        <a:pt x="10" y="4"/>
                      </a:cubicBezTo>
                      <a:cubicBezTo>
                        <a:pt x="8" y="2"/>
                        <a:pt x="6" y="0"/>
                        <a:pt x="2" y="1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53" name="Freeform 79"/>
                <p:cNvSpPr/>
                <p:nvPr>
                  <p:custDataLst>
                    <p:tags r:id="rId151"/>
                  </p:custDataLst>
                </p:nvPr>
              </p:nvSpPr>
              <p:spPr bwMode="auto">
                <a:xfrm>
                  <a:off x="3604" y="2280"/>
                  <a:ext cx="6" cy="5"/>
                </a:xfrm>
                <a:custGeom>
                  <a:avLst/>
                  <a:gdLst>
                    <a:gd name="T0" fmla="*/ 11 w 13"/>
                    <a:gd name="T1" fmla="*/ 4 h 12"/>
                    <a:gd name="T2" fmla="*/ 1 w 13"/>
                    <a:gd name="T3" fmla="*/ 0 h 12"/>
                    <a:gd name="T4" fmla="*/ 5 w 13"/>
                    <a:gd name="T5" fmla="*/ 7 h 12"/>
                    <a:gd name="T6" fmla="*/ 12 w 13"/>
                    <a:gd name="T7" fmla="*/ 10 h 12"/>
                    <a:gd name="T8" fmla="*/ 11 w 13"/>
                    <a:gd name="T9" fmla="*/ 4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1" y="4"/>
                      </a:moveTo>
                      <a:cubicBezTo>
                        <a:pt x="9" y="2"/>
                        <a:pt x="5" y="0"/>
                        <a:pt x="1" y="0"/>
                      </a:cubicBezTo>
                      <a:cubicBezTo>
                        <a:pt x="0" y="2"/>
                        <a:pt x="3" y="4"/>
                        <a:pt x="5" y="7"/>
                      </a:cubicBezTo>
                      <a:cubicBezTo>
                        <a:pt x="8" y="10"/>
                        <a:pt x="12" y="12"/>
                        <a:pt x="12" y="10"/>
                      </a:cubicBezTo>
                      <a:cubicBezTo>
                        <a:pt x="12" y="7"/>
                        <a:pt x="13" y="6"/>
                        <a:pt x="11" y="4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54" name="Freeform 80"/>
                <p:cNvSpPr/>
                <p:nvPr>
                  <p:custDataLst>
                    <p:tags r:id="rId152"/>
                  </p:custDataLst>
                </p:nvPr>
              </p:nvSpPr>
              <p:spPr bwMode="auto">
                <a:xfrm>
                  <a:off x="3630" y="2085"/>
                  <a:ext cx="24" cy="26"/>
                </a:xfrm>
                <a:custGeom>
                  <a:avLst/>
                  <a:gdLst>
                    <a:gd name="T0" fmla="*/ 26 w 57"/>
                    <a:gd name="T1" fmla="*/ 28 h 59"/>
                    <a:gd name="T2" fmla="*/ 11 w 57"/>
                    <a:gd name="T3" fmla="*/ 39 h 59"/>
                    <a:gd name="T4" fmla="*/ 2 w 57"/>
                    <a:gd name="T5" fmla="*/ 52 h 59"/>
                    <a:gd name="T6" fmla="*/ 12 w 57"/>
                    <a:gd name="T7" fmla="*/ 54 h 59"/>
                    <a:gd name="T8" fmla="*/ 25 w 57"/>
                    <a:gd name="T9" fmla="*/ 44 h 59"/>
                    <a:gd name="T10" fmla="*/ 36 w 57"/>
                    <a:gd name="T11" fmla="*/ 35 h 59"/>
                    <a:gd name="T12" fmla="*/ 43 w 57"/>
                    <a:gd name="T13" fmla="*/ 24 h 59"/>
                    <a:gd name="T14" fmla="*/ 55 w 57"/>
                    <a:gd name="T15" fmla="*/ 17 h 59"/>
                    <a:gd name="T16" fmla="*/ 46 w 57"/>
                    <a:gd name="T17" fmla="*/ 5 h 59"/>
                    <a:gd name="T18" fmla="*/ 38 w 57"/>
                    <a:gd name="T19" fmla="*/ 8 h 59"/>
                    <a:gd name="T20" fmla="*/ 31 w 57"/>
                    <a:gd name="T21" fmla="*/ 5 h 59"/>
                    <a:gd name="T22" fmla="*/ 29 w 57"/>
                    <a:gd name="T23" fmla="*/ 19 h 59"/>
                    <a:gd name="T24" fmla="*/ 26 w 57"/>
                    <a:gd name="T25" fmla="*/ 28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57" h="59">
                      <a:moveTo>
                        <a:pt x="26" y="28"/>
                      </a:moveTo>
                      <a:cubicBezTo>
                        <a:pt x="21" y="31"/>
                        <a:pt x="16" y="35"/>
                        <a:pt x="11" y="39"/>
                      </a:cubicBezTo>
                      <a:cubicBezTo>
                        <a:pt x="6" y="44"/>
                        <a:pt x="0" y="49"/>
                        <a:pt x="2" y="52"/>
                      </a:cubicBezTo>
                      <a:cubicBezTo>
                        <a:pt x="5" y="55"/>
                        <a:pt x="6" y="59"/>
                        <a:pt x="12" y="54"/>
                      </a:cubicBezTo>
                      <a:cubicBezTo>
                        <a:pt x="18" y="49"/>
                        <a:pt x="17" y="47"/>
                        <a:pt x="25" y="44"/>
                      </a:cubicBezTo>
                      <a:cubicBezTo>
                        <a:pt x="32" y="41"/>
                        <a:pt x="35" y="39"/>
                        <a:pt x="36" y="35"/>
                      </a:cubicBezTo>
                      <a:cubicBezTo>
                        <a:pt x="37" y="30"/>
                        <a:pt x="37" y="28"/>
                        <a:pt x="43" y="24"/>
                      </a:cubicBezTo>
                      <a:cubicBezTo>
                        <a:pt x="50" y="21"/>
                        <a:pt x="53" y="22"/>
                        <a:pt x="55" y="17"/>
                      </a:cubicBezTo>
                      <a:cubicBezTo>
                        <a:pt x="57" y="13"/>
                        <a:pt x="47" y="6"/>
                        <a:pt x="46" y="5"/>
                      </a:cubicBezTo>
                      <a:cubicBezTo>
                        <a:pt x="44" y="4"/>
                        <a:pt x="40" y="9"/>
                        <a:pt x="38" y="8"/>
                      </a:cubicBezTo>
                      <a:cubicBezTo>
                        <a:pt x="36" y="6"/>
                        <a:pt x="31" y="0"/>
                        <a:pt x="31" y="5"/>
                      </a:cubicBezTo>
                      <a:cubicBezTo>
                        <a:pt x="29" y="12"/>
                        <a:pt x="28" y="14"/>
                        <a:pt x="29" y="19"/>
                      </a:cubicBezTo>
                      <a:cubicBezTo>
                        <a:pt x="29" y="24"/>
                        <a:pt x="30" y="24"/>
                        <a:pt x="26" y="28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55" name="Freeform 81"/>
                <p:cNvSpPr/>
                <p:nvPr>
                  <p:custDataLst>
                    <p:tags r:id="rId153"/>
                  </p:custDataLst>
                </p:nvPr>
              </p:nvSpPr>
              <p:spPr bwMode="auto">
                <a:xfrm>
                  <a:off x="3649" y="1735"/>
                  <a:ext cx="8" cy="6"/>
                </a:xfrm>
                <a:custGeom>
                  <a:avLst/>
                  <a:gdLst>
                    <a:gd name="T0" fmla="*/ 16 w 18"/>
                    <a:gd name="T1" fmla="*/ 10 h 14"/>
                    <a:gd name="T2" fmla="*/ 5 w 18"/>
                    <a:gd name="T3" fmla="*/ 6 h 14"/>
                    <a:gd name="T4" fmla="*/ 6 w 18"/>
                    <a:gd name="T5" fmla="*/ 13 h 14"/>
                    <a:gd name="T6" fmla="*/ 16 w 18"/>
                    <a:gd name="T7" fmla="*/ 10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8" h="14">
                      <a:moveTo>
                        <a:pt x="16" y="10"/>
                      </a:moveTo>
                      <a:cubicBezTo>
                        <a:pt x="18" y="5"/>
                        <a:pt x="13" y="0"/>
                        <a:pt x="5" y="6"/>
                      </a:cubicBezTo>
                      <a:cubicBezTo>
                        <a:pt x="0" y="9"/>
                        <a:pt x="1" y="13"/>
                        <a:pt x="6" y="13"/>
                      </a:cubicBezTo>
                      <a:cubicBezTo>
                        <a:pt x="11" y="13"/>
                        <a:pt x="13" y="14"/>
                        <a:pt x="16" y="10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56" name="Freeform 82"/>
                <p:cNvSpPr/>
                <p:nvPr>
                  <p:custDataLst>
                    <p:tags r:id="rId154"/>
                  </p:custDataLst>
                </p:nvPr>
              </p:nvSpPr>
              <p:spPr bwMode="auto">
                <a:xfrm>
                  <a:off x="3645" y="2071"/>
                  <a:ext cx="6" cy="13"/>
                </a:xfrm>
                <a:custGeom>
                  <a:avLst/>
                  <a:gdLst>
                    <a:gd name="T0" fmla="*/ 0 w 14"/>
                    <a:gd name="T1" fmla="*/ 21 h 31"/>
                    <a:gd name="T2" fmla="*/ 5 w 14"/>
                    <a:gd name="T3" fmla="*/ 28 h 31"/>
                    <a:gd name="T4" fmla="*/ 11 w 14"/>
                    <a:gd name="T5" fmla="*/ 26 h 31"/>
                    <a:gd name="T6" fmla="*/ 11 w 14"/>
                    <a:gd name="T7" fmla="*/ 16 h 31"/>
                    <a:gd name="T8" fmla="*/ 14 w 14"/>
                    <a:gd name="T9" fmla="*/ 7 h 31"/>
                    <a:gd name="T10" fmla="*/ 8 w 14"/>
                    <a:gd name="T11" fmla="*/ 2 h 31"/>
                    <a:gd name="T12" fmla="*/ 5 w 14"/>
                    <a:gd name="T13" fmla="*/ 12 h 31"/>
                    <a:gd name="T14" fmla="*/ 0 w 14"/>
                    <a:gd name="T15" fmla="*/ 21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4" h="31">
                      <a:moveTo>
                        <a:pt x="0" y="21"/>
                      </a:moveTo>
                      <a:cubicBezTo>
                        <a:pt x="0" y="25"/>
                        <a:pt x="1" y="27"/>
                        <a:pt x="5" y="28"/>
                      </a:cubicBezTo>
                      <a:cubicBezTo>
                        <a:pt x="8" y="30"/>
                        <a:pt x="11" y="31"/>
                        <a:pt x="11" y="26"/>
                      </a:cubicBezTo>
                      <a:cubicBezTo>
                        <a:pt x="12" y="22"/>
                        <a:pt x="9" y="20"/>
                        <a:pt x="11" y="16"/>
                      </a:cubicBezTo>
                      <a:cubicBezTo>
                        <a:pt x="13" y="12"/>
                        <a:pt x="14" y="10"/>
                        <a:pt x="14" y="7"/>
                      </a:cubicBezTo>
                      <a:cubicBezTo>
                        <a:pt x="14" y="3"/>
                        <a:pt x="11" y="0"/>
                        <a:pt x="8" y="2"/>
                      </a:cubicBezTo>
                      <a:cubicBezTo>
                        <a:pt x="5" y="6"/>
                        <a:pt x="9" y="7"/>
                        <a:pt x="5" y="12"/>
                      </a:cubicBezTo>
                      <a:cubicBezTo>
                        <a:pt x="2" y="17"/>
                        <a:pt x="0" y="17"/>
                        <a:pt x="0" y="21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57" name="Freeform 83"/>
                <p:cNvSpPr/>
                <p:nvPr>
                  <p:custDataLst>
                    <p:tags r:id="rId155"/>
                  </p:custDataLst>
                </p:nvPr>
              </p:nvSpPr>
              <p:spPr bwMode="auto">
                <a:xfrm>
                  <a:off x="3511" y="2241"/>
                  <a:ext cx="27" cy="23"/>
                </a:xfrm>
                <a:custGeom>
                  <a:avLst/>
                  <a:gdLst>
                    <a:gd name="T0" fmla="*/ 36 w 63"/>
                    <a:gd name="T1" fmla="*/ 32 h 52"/>
                    <a:gd name="T2" fmla="*/ 49 w 63"/>
                    <a:gd name="T3" fmla="*/ 31 h 52"/>
                    <a:gd name="T4" fmla="*/ 55 w 63"/>
                    <a:gd name="T5" fmla="*/ 33 h 52"/>
                    <a:gd name="T6" fmla="*/ 60 w 63"/>
                    <a:gd name="T7" fmla="*/ 32 h 52"/>
                    <a:gd name="T8" fmla="*/ 63 w 63"/>
                    <a:gd name="T9" fmla="*/ 25 h 52"/>
                    <a:gd name="T10" fmla="*/ 59 w 63"/>
                    <a:gd name="T11" fmla="*/ 2 h 52"/>
                    <a:gd name="T12" fmla="*/ 57 w 63"/>
                    <a:gd name="T13" fmla="*/ 1 h 52"/>
                    <a:gd name="T14" fmla="*/ 34 w 63"/>
                    <a:gd name="T15" fmla="*/ 4 h 52"/>
                    <a:gd name="T16" fmla="*/ 16 w 63"/>
                    <a:gd name="T17" fmla="*/ 20 h 52"/>
                    <a:gd name="T18" fmla="*/ 0 w 63"/>
                    <a:gd name="T19" fmla="*/ 27 h 52"/>
                    <a:gd name="T20" fmla="*/ 18 w 63"/>
                    <a:gd name="T21" fmla="*/ 48 h 52"/>
                    <a:gd name="T22" fmla="*/ 24 w 63"/>
                    <a:gd name="T23" fmla="*/ 51 h 52"/>
                    <a:gd name="T24" fmla="*/ 29 w 63"/>
                    <a:gd name="T25" fmla="*/ 51 h 52"/>
                    <a:gd name="T26" fmla="*/ 31 w 63"/>
                    <a:gd name="T27" fmla="*/ 50 h 52"/>
                    <a:gd name="T28" fmla="*/ 31 w 63"/>
                    <a:gd name="T29" fmla="*/ 50 h 52"/>
                    <a:gd name="T30" fmla="*/ 31 w 63"/>
                    <a:gd name="T31" fmla="*/ 45 h 52"/>
                    <a:gd name="T32" fmla="*/ 36 w 63"/>
                    <a:gd name="T33" fmla="*/ 32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2" h="52">
                      <a:moveTo>
                        <a:pt x="36" y="32"/>
                      </a:moveTo>
                      <a:cubicBezTo>
                        <a:pt x="41" y="28"/>
                        <a:pt x="44" y="29"/>
                        <a:pt x="49" y="31"/>
                      </a:cubicBezTo>
                      <a:cubicBezTo>
                        <a:pt x="50" y="32"/>
                        <a:pt x="52" y="33"/>
                        <a:pt x="55" y="33"/>
                      </a:cubicBezTo>
                      <a:cubicBezTo>
                        <a:pt x="58" y="34"/>
                        <a:pt x="59" y="34"/>
                        <a:pt x="60" y="32"/>
                      </a:cubicBezTo>
                      <a:cubicBezTo>
                        <a:pt x="62" y="31"/>
                        <a:pt x="62" y="28"/>
                        <a:pt x="63" y="25"/>
                      </a:cubicBezTo>
                      <a:cubicBezTo>
                        <a:pt x="63" y="21"/>
                        <a:pt x="61" y="10"/>
                        <a:pt x="59" y="2"/>
                      </a:cubicBezTo>
                      <a:cubicBezTo>
                        <a:pt x="58" y="2"/>
                        <a:pt x="57" y="1"/>
                        <a:pt x="57" y="1"/>
                      </a:cubicBezTo>
                      <a:cubicBezTo>
                        <a:pt x="49" y="0"/>
                        <a:pt x="43" y="2"/>
                        <a:pt x="34" y="4"/>
                      </a:cubicBezTo>
                      <a:cubicBezTo>
                        <a:pt x="25" y="6"/>
                        <a:pt x="25" y="12"/>
                        <a:pt x="16" y="20"/>
                      </a:cubicBezTo>
                      <a:cubicBezTo>
                        <a:pt x="9" y="27"/>
                        <a:pt x="7" y="25"/>
                        <a:pt x="0" y="27"/>
                      </a:cubicBezTo>
                      <a:cubicBezTo>
                        <a:pt x="6" y="34"/>
                        <a:pt x="13" y="44"/>
                        <a:pt x="18" y="48"/>
                      </a:cubicBezTo>
                      <a:cubicBezTo>
                        <a:pt x="20" y="50"/>
                        <a:pt x="22" y="51"/>
                        <a:pt x="24" y="51"/>
                      </a:cubicBezTo>
                      <a:cubicBezTo>
                        <a:pt x="26" y="52"/>
                        <a:pt x="27" y="52"/>
                        <a:pt x="29" y="51"/>
                      </a:cubicBezTo>
                      <a:cubicBezTo>
                        <a:pt x="30" y="51"/>
                        <a:pt x="31" y="51"/>
                        <a:pt x="31" y="50"/>
                      </a:cubicBezTo>
                      <a:cubicBezTo>
                        <a:pt x="31" y="50"/>
                        <a:pt x="31" y="50"/>
                        <a:pt x="31" y="50"/>
                      </a:cubicBezTo>
                      <a:cubicBezTo>
                        <a:pt x="31" y="48"/>
                        <a:pt x="31" y="47"/>
                        <a:pt x="31" y="45"/>
                      </a:cubicBezTo>
                      <a:cubicBezTo>
                        <a:pt x="31" y="40"/>
                        <a:pt x="31" y="35"/>
                        <a:pt x="36" y="32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58" name="Freeform 84"/>
                <p:cNvSpPr/>
                <p:nvPr>
                  <p:custDataLst>
                    <p:tags r:id="rId156"/>
                  </p:custDataLst>
                </p:nvPr>
              </p:nvSpPr>
              <p:spPr bwMode="auto">
                <a:xfrm>
                  <a:off x="3254" y="2091"/>
                  <a:ext cx="43" cy="54"/>
                </a:xfrm>
                <a:custGeom>
                  <a:avLst/>
                  <a:gdLst>
                    <a:gd name="T0" fmla="*/ 40 w 101"/>
                    <a:gd name="T1" fmla="*/ 123 h 127"/>
                    <a:gd name="T2" fmla="*/ 58 w 101"/>
                    <a:gd name="T3" fmla="*/ 101 h 127"/>
                    <a:gd name="T4" fmla="*/ 75 w 101"/>
                    <a:gd name="T5" fmla="*/ 88 h 127"/>
                    <a:gd name="T6" fmla="*/ 99 w 101"/>
                    <a:gd name="T7" fmla="*/ 78 h 127"/>
                    <a:gd name="T8" fmla="*/ 92 w 101"/>
                    <a:gd name="T9" fmla="*/ 59 h 127"/>
                    <a:gd name="T10" fmla="*/ 77 w 101"/>
                    <a:gd name="T11" fmla="*/ 42 h 127"/>
                    <a:gd name="T12" fmla="*/ 61 w 101"/>
                    <a:gd name="T13" fmla="*/ 29 h 127"/>
                    <a:gd name="T14" fmla="*/ 49 w 101"/>
                    <a:gd name="T15" fmla="*/ 12 h 127"/>
                    <a:gd name="T16" fmla="*/ 39 w 101"/>
                    <a:gd name="T17" fmla="*/ 1 h 127"/>
                    <a:gd name="T18" fmla="*/ 38 w 101"/>
                    <a:gd name="T19" fmla="*/ 0 h 127"/>
                    <a:gd name="T20" fmla="*/ 30 w 101"/>
                    <a:gd name="T21" fmla="*/ 4 h 127"/>
                    <a:gd name="T22" fmla="*/ 3 w 101"/>
                    <a:gd name="T23" fmla="*/ 17 h 127"/>
                    <a:gd name="T24" fmla="*/ 0 w 101"/>
                    <a:gd name="T25" fmla="*/ 18 h 127"/>
                    <a:gd name="T26" fmla="*/ 10 w 101"/>
                    <a:gd name="T27" fmla="*/ 33 h 127"/>
                    <a:gd name="T28" fmla="*/ 29 w 101"/>
                    <a:gd name="T29" fmla="*/ 41 h 127"/>
                    <a:gd name="T30" fmla="*/ 36 w 101"/>
                    <a:gd name="T31" fmla="*/ 48 h 127"/>
                    <a:gd name="T32" fmla="*/ 27 w 101"/>
                    <a:gd name="T33" fmla="*/ 55 h 127"/>
                    <a:gd name="T34" fmla="*/ 19 w 101"/>
                    <a:gd name="T35" fmla="*/ 67 h 127"/>
                    <a:gd name="T36" fmla="*/ 19 w 101"/>
                    <a:gd name="T37" fmla="*/ 88 h 127"/>
                    <a:gd name="T38" fmla="*/ 14 w 101"/>
                    <a:gd name="T39" fmla="*/ 113 h 127"/>
                    <a:gd name="T40" fmla="*/ 25 w 101"/>
                    <a:gd name="T41" fmla="*/ 122 h 127"/>
                    <a:gd name="T42" fmla="*/ 40 w 101"/>
                    <a:gd name="T43" fmla="*/ 123 h 1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00" h="127">
                      <a:moveTo>
                        <a:pt x="40" y="123"/>
                      </a:moveTo>
                      <a:cubicBezTo>
                        <a:pt x="46" y="119"/>
                        <a:pt x="53" y="109"/>
                        <a:pt x="58" y="101"/>
                      </a:cubicBezTo>
                      <a:cubicBezTo>
                        <a:pt x="63" y="93"/>
                        <a:pt x="70" y="90"/>
                        <a:pt x="75" y="88"/>
                      </a:cubicBezTo>
                      <a:cubicBezTo>
                        <a:pt x="79" y="86"/>
                        <a:pt x="96" y="81"/>
                        <a:pt x="99" y="78"/>
                      </a:cubicBezTo>
                      <a:cubicBezTo>
                        <a:pt x="101" y="74"/>
                        <a:pt x="97" y="66"/>
                        <a:pt x="92" y="59"/>
                      </a:cubicBezTo>
                      <a:cubicBezTo>
                        <a:pt x="88" y="51"/>
                        <a:pt x="81" y="47"/>
                        <a:pt x="77" y="42"/>
                      </a:cubicBezTo>
                      <a:cubicBezTo>
                        <a:pt x="73" y="37"/>
                        <a:pt x="67" y="33"/>
                        <a:pt x="61" y="29"/>
                      </a:cubicBezTo>
                      <a:cubicBezTo>
                        <a:pt x="55" y="25"/>
                        <a:pt x="54" y="20"/>
                        <a:pt x="49" y="12"/>
                      </a:cubicBezTo>
                      <a:cubicBezTo>
                        <a:pt x="43" y="4"/>
                        <a:pt x="41" y="3"/>
                        <a:pt x="39" y="1"/>
                      </a:cubicBezTo>
                      <a:cubicBezTo>
                        <a:pt x="38" y="1"/>
                        <a:pt x="38" y="1"/>
                        <a:pt x="38" y="0"/>
                      </a:cubicBezTo>
                      <a:cubicBezTo>
                        <a:pt x="35" y="2"/>
                        <a:pt x="32" y="4"/>
                        <a:pt x="30" y="4"/>
                      </a:cubicBezTo>
                      <a:cubicBezTo>
                        <a:pt x="26" y="6"/>
                        <a:pt x="13" y="12"/>
                        <a:pt x="3" y="17"/>
                      </a:cubicBezTo>
                      <a:cubicBezTo>
                        <a:pt x="2" y="17"/>
                        <a:pt x="1" y="18"/>
                        <a:pt x="0" y="18"/>
                      </a:cubicBezTo>
                      <a:cubicBezTo>
                        <a:pt x="2" y="25"/>
                        <a:pt x="8" y="28"/>
                        <a:pt x="10" y="33"/>
                      </a:cubicBezTo>
                      <a:cubicBezTo>
                        <a:pt x="13" y="39"/>
                        <a:pt x="23" y="39"/>
                        <a:pt x="29" y="41"/>
                      </a:cubicBezTo>
                      <a:cubicBezTo>
                        <a:pt x="36" y="42"/>
                        <a:pt x="36" y="44"/>
                        <a:pt x="36" y="48"/>
                      </a:cubicBezTo>
                      <a:cubicBezTo>
                        <a:pt x="36" y="52"/>
                        <a:pt x="30" y="53"/>
                        <a:pt x="27" y="55"/>
                      </a:cubicBezTo>
                      <a:cubicBezTo>
                        <a:pt x="23" y="58"/>
                        <a:pt x="21" y="62"/>
                        <a:pt x="19" y="67"/>
                      </a:cubicBezTo>
                      <a:cubicBezTo>
                        <a:pt x="17" y="73"/>
                        <a:pt x="19" y="80"/>
                        <a:pt x="19" y="88"/>
                      </a:cubicBezTo>
                      <a:cubicBezTo>
                        <a:pt x="18" y="97"/>
                        <a:pt x="16" y="106"/>
                        <a:pt x="14" y="113"/>
                      </a:cubicBezTo>
                      <a:cubicBezTo>
                        <a:pt x="13" y="120"/>
                        <a:pt x="20" y="117"/>
                        <a:pt x="25" y="122"/>
                      </a:cubicBezTo>
                      <a:cubicBezTo>
                        <a:pt x="30" y="127"/>
                        <a:pt x="33" y="126"/>
                        <a:pt x="40" y="123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59" name="Freeform 85"/>
                <p:cNvSpPr/>
                <p:nvPr>
                  <p:custDataLst>
                    <p:tags r:id="rId157"/>
                  </p:custDataLst>
                </p:nvPr>
              </p:nvSpPr>
              <p:spPr bwMode="auto">
                <a:xfrm>
                  <a:off x="3589" y="2109"/>
                  <a:ext cx="40" cy="42"/>
                </a:xfrm>
                <a:custGeom>
                  <a:avLst/>
                  <a:gdLst>
                    <a:gd name="T0" fmla="*/ 6 w 94"/>
                    <a:gd name="T1" fmla="*/ 95 h 98"/>
                    <a:gd name="T2" fmla="*/ 24 w 94"/>
                    <a:gd name="T3" fmla="*/ 81 h 98"/>
                    <a:gd name="T4" fmla="*/ 48 w 94"/>
                    <a:gd name="T5" fmla="*/ 62 h 98"/>
                    <a:gd name="T6" fmla="*/ 64 w 94"/>
                    <a:gd name="T7" fmla="*/ 50 h 98"/>
                    <a:gd name="T8" fmla="*/ 83 w 94"/>
                    <a:gd name="T9" fmla="*/ 35 h 98"/>
                    <a:gd name="T10" fmla="*/ 92 w 94"/>
                    <a:gd name="T11" fmla="*/ 23 h 98"/>
                    <a:gd name="T12" fmla="*/ 94 w 94"/>
                    <a:gd name="T13" fmla="*/ 10 h 98"/>
                    <a:gd name="T14" fmla="*/ 80 w 94"/>
                    <a:gd name="T15" fmla="*/ 13 h 98"/>
                    <a:gd name="T16" fmla="*/ 62 w 94"/>
                    <a:gd name="T17" fmla="*/ 29 h 98"/>
                    <a:gd name="T18" fmla="*/ 44 w 94"/>
                    <a:gd name="T19" fmla="*/ 49 h 98"/>
                    <a:gd name="T20" fmla="*/ 20 w 94"/>
                    <a:gd name="T21" fmla="*/ 68 h 98"/>
                    <a:gd name="T22" fmla="*/ 3 w 94"/>
                    <a:gd name="T23" fmla="*/ 88 h 98"/>
                    <a:gd name="T24" fmla="*/ 6 w 94"/>
                    <a:gd name="T25" fmla="*/ 95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94" h="98">
                      <a:moveTo>
                        <a:pt x="6" y="95"/>
                      </a:moveTo>
                      <a:cubicBezTo>
                        <a:pt x="10" y="93"/>
                        <a:pt x="21" y="86"/>
                        <a:pt x="24" y="81"/>
                      </a:cubicBezTo>
                      <a:cubicBezTo>
                        <a:pt x="27" y="76"/>
                        <a:pt x="43" y="68"/>
                        <a:pt x="48" y="62"/>
                      </a:cubicBezTo>
                      <a:cubicBezTo>
                        <a:pt x="54" y="57"/>
                        <a:pt x="59" y="56"/>
                        <a:pt x="64" y="50"/>
                      </a:cubicBezTo>
                      <a:cubicBezTo>
                        <a:pt x="68" y="44"/>
                        <a:pt x="76" y="42"/>
                        <a:pt x="83" y="35"/>
                      </a:cubicBezTo>
                      <a:cubicBezTo>
                        <a:pt x="90" y="28"/>
                        <a:pt x="92" y="27"/>
                        <a:pt x="92" y="23"/>
                      </a:cubicBezTo>
                      <a:cubicBezTo>
                        <a:pt x="92" y="18"/>
                        <a:pt x="94" y="15"/>
                        <a:pt x="94" y="10"/>
                      </a:cubicBezTo>
                      <a:cubicBezTo>
                        <a:pt x="94" y="0"/>
                        <a:pt x="86" y="11"/>
                        <a:pt x="80" y="13"/>
                      </a:cubicBezTo>
                      <a:cubicBezTo>
                        <a:pt x="75" y="15"/>
                        <a:pt x="66" y="26"/>
                        <a:pt x="62" y="29"/>
                      </a:cubicBezTo>
                      <a:cubicBezTo>
                        <a:pt x="58" y="33"/>
                        <a:pt x="50" y="44"/>
                        <a:pt x="44" y="49"/>
                      </a:cubicBezTo>
                      <a:cubicBezTo>
                        <a:pt x="39" y="54"/>
                        <a:pt x="25" y="62"/>
                        <a:pt x="20" y="68"/>
                      </a:cubicBezTo>
                      <a:cubicBezTo>
                        <a:pt x="14" y="74"/>
                        <a:pt x="6" y="83"/>
                        <a:pt x="3" y="88"/>
                      </a:cubicBezTo>
                      <a:cubicBezTo>
                        <a:pt x="0" y="92"/>
                        <a:pt x="2" y="98"/>
                        <a:pt x="6" y="95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60" name="Freeform 86"/>
                <p:cNvSpPr/>
                <p:nvPr>
                  <p:custDataLst>
                    <p:tags r:id="rId158"/>
                  </p:custDataLst>
                </p:nvPr>
              </p:nvSpPr>
              <p:spPr bwMode="auto">
                <a:xfrm>
                  <a:off x="3303" y="2103"/>
                  <a:ext cx="7" cy="9"/>
                </a:xfrm>
                <a:custGeom>
                  <a:avLst/>
                  <a:gdLst>
                    <a:gd name="T0" fmla="*/ 13 w 17"/>
                    <a:gd name="T1" fmla="*/ 15 h 20"/>
                    <a:gd name="T2" fmla="*/ 13 w 17"/>
                    <a:gd name="T3" fmla="*/ 4 h 20"/>
                    <a:gd name="T4" fmla="*/ 2 w 17"/>
                    <a:gd name="T5" fmla="*/ 4 h 20"/>
                    <a:gd name="T6" fmla="*/ 4 w 17"/>
                    <a:gd name="T7" fmla="*/ 13 h 20"/>
                    <a:gd name="T8" fmla="*/ 13 w 17"/>
                    <a:gd name="T9" fmla="*/ 15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7" h="20">
                      <a:moveTo>
                        <a:pt x="13" y="15"/>
                      </a:moveTo>
                      <a:cubicBezTo>
                        <a:pt x="13" y="10"/>
                        <a:pt x="17" y="8"/>
                        <a:pt x="13" y="4"/>
                      </a:cubicBezTo>
                      <a:cubicBezTo>
                        <a:pt x="9" y="1"/>
                        <a:pt x="5" y="0"/>
                        <a:pt x="2" y="4"/>
                      </a:cubicBezTo>
                      <a:cubicBezTo>
                        <a:pt x="0" y="7"/>
                        <a:pt x="0" y="10"/>
                        <a:pt x="4" y="13"/>
                      </a:cubicBezTo>
                      <a:cubicBezTo>
                        <a:pt x="9" y="17"/>
                        <a:pt x="12" y="20"/>
                        <a:pt x="13" y="15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61" name="Freeform 87"/>
                <p:cNvSpPr/>
                <p:nvPr>
                  <p:custDataLst>
                    <p:tags r:id="rId159"/>
                  </p:custDataLst>
                </p:nvPr>
              </p:nvSpPr>
              <p:spPr bwMode="auto">
                <a:xfrm>
                  <a:off x="3281" y="2097"/>
                  <a:ext cx="28" cy="25"/>
                </a:xfrm>
                <a:custGeom>
                  <a:avLst/>
                  <a:gdLst>
                    <a:gd name="T0" fmla="*/ 45 w 65"/>
                    <a:gd name="T1" fmla="*/ 31 h 58"/>
                    <a:gd name="T2" fmla="*/ 34 w 65"/>
                    <a:gd name="T3" fmla="*/ 20 h 58"/>
                    <a:gd name="T4" fmla="*/ 4 w 65"/>
                    <a:gd name="T5" fmla="*/ 4 h 58"/>
                    <a:gd name="T6" fmla="*/ 7 w 65"/>
                    <a:gd name="T7" fmla="*/ 14 h 58"/>
                    <a:gd name="T8" fmla="*/ 23 w 65"/>
                    <a:gd name="T9" fmla="*/ 23 h 58"/>
                    <a:gd name="T10" fmla="*/ 40 w 65"/>
                    <a:gd name="T11" fmla="*/ 41 h 58"/>
                    <a:gd name="T12" fmla="*/ 56 w 65"/>
                    <a:gd name="T13" fmla="*/ 54 h 58"/>
                    <a:gd name="T14" fmla="*/ 58 w 65"/>
                    <a:gd name="T15" fmla="*/ 45 h 58"/>
                    <a:gd name="T16" fmla="*/ 45 w 65"/>
                    <a:gd name="T17" fmla="*/ 31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5" h="57">
                      <a:moveTo>
                        <a:pt x="45" y="31"/>
                      </a:moveTo>
                      <a:cubicBezTo>
                        <a:pt x="41" y="26"/>
                        <a:pt x="42" y="27"/>
                        <a:pt x="34" y="20"/>
                      </a:cubicBezTo>
                      <a:cubicBezTo>
                        <a:pt x="26" y="13"/>
                        <a:pt x="7" y="0"/>
                        <a:pt x="4" y="4"/>
                      </a:cubicBezTo>
                      <a:cubicBezTo>
                        <a:pt x="3" y="8"/>
                        <a:pt x="0" y="10"/>
                        <a:pt x="7" y="14"/>
                      </a:cubicBezTo>
                      <a:cubicBezTo>
                        <a:pt x="15" y="19"/>
                        <a:pt x="17" y="16"/>
                        <a:pt x="23" y="23"/>
                      </a:cubicBezTo>
                      <a:cubicBezTo>
                        <a:pt x="29" y="30"/>
                        <a:pt x="33" y="31"/>
                        <a:pt x="40" y="41"/>
                      </a:cubicBezTo>
                      <a:cubicBezTo>
                        <a:pt x="48" y="50"/>
                        <a:pt x="53" y="58"/>
                        <a:pt x="56" y="54"/>
                      </a:cubicBezTo>
                      <a:cubicBezTo>
                        <a:pt x="60" y="49"/>
                        <a:pt x="65" y="49"/>
                        <a:pt x="58" y="45"/>
                      </a:cubicBezTo>
                      <a:cubicBezTo>
                        <a:pt x="52" y="41"/>
                        <a:pt x="48" y="37"/>
                        <a:pt x="45" y="31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62" name="Freeform 88"/>
                <p:cNvSpPr/>
                <p:nvPr>
                  <p:custDataLst>
                    <p:tags r:id="rId160"/>
                  </p:custDataLst>
                </p:nvPr>
              </p:nvSpPr>
              <p:spPr bwMode="auto">
                <a:xfrm>
                  <a:off x="3582" y="2160"/>
                  <a:ext cx="4" cy="7"/>
                </a:xfrm>
                <a:custGeom>
                  <a:avLst/>
                  <a:gdLst>
                    <a:gd name="T0" fmla="*/ 4 w 10"/>
                    <a:gd name="T1" fmla="*/ 13 h 15"/>
                    <a:gd name="T2" fmla="*/ 8 w 10"/>
                    <a:gd name="T3" fmla="*/ 7 h 15"/>
                    <a:gd name="T4" fmla="*/ 4 w 10"/>
                    <a:gd name="T5" fmla="*/ 1 h 15"/>
                    <a:gd name="T6" fmla="*/ 1 w 10"/>
                    <a:gd name="T7" fmla="*/ 7 h 15"/>
                    <a:gd name="T8" fmla="*/ 4 w 10"/>
                    <a:gd name="T9" fmla="*/ 13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" h="15">
                      <a:moveTo>
                        <a:pt x="4" y="13"/>
                      </a:moveTo>
                      <a:cubicBezTo>
                        <a:pt x="7" y="12"/>
                        <a:pt x="6" y="11"/>
                        <a:pt x="8" y="7"/>
                      </a:cubicBezTo>
                      <a:cubicBezTo>
                        <a:pt x="10" y="3"/>
                        <a:pt x="9" y="0"/>
                        <a:pt x="4" y="1"/>
                      </a:cubicBezTo>
                      <a:cubicBezTo>
                        <a:pt x="2" y="3"/>
                        <a:pt x="0" y="1"/>
                        <a:pt x="1" y="7"/>
                      </a:cubicBezTo>
                      <a:cubicBezTo>
                        <a:pt x="1" y="12"/>
                        <a:pt x="1" y="15"/>
                        <a:pt x="4" y="13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63" name="Freeform 89"/>
                <p:cNvSpPr/>
                <p:nvPr>
                  <p:custDataLst>
                    <p:tags r:id="rId161"/>
                  </p:custDataLst>
                </p:nvPr>
              </p:nvSpPr>
              <p:spPr bwMode="auto">
                <a:xfrm>
                  <a:off x="3586" y="2178"/>
                  <a:ext cx="5" cy="6"/>
                </a:xfrm>
                <a:custGeom>
                  <a:avLst/>
                  <a:gdLst>
                    <a:gd name="T0" fmla="*/ 2 w 12"/>
                    <a:gd name="T1" fmla="*/ 4 h 12"/>
                    <a:gd name="T2" fmla="*/ 4 w 12"/>
                    <a:gd name="T3" fmla="*/ 11 h 12"/>
                    <a:gd name="T4" fmla="*/ 10 w 12"/>
                    <a:gd name="T5" fmla="*/ 7 h 12"/>
                    <a:gd name="T6" fmla="*/ 2 w 12"/>
                    <a:gd name="T7" fmla="*/ 4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2" h="12">
                      <a:moveTo>
                        <a:pt x="2" y="4"/>
                      </a:moveTo>
                      <a:cubicBezTo>
                        <a:pt x="0" y="7"/>
                        <a:pt x="1" y="12"/>
                        <a:pt x="4" y="11"/>
                      </a:cubicBezTo>
                      <a:cubicBezTo>
                        <a:pt x="7" y="11"/>
                        <a:pt x="8" y="12"/>
                        <a:pt x="10" y="7"/>
                      </a:cubicBezTo>
                      <a:cubicBezTo>
                        <a:pt x="12" y="3"/>
                        <a:pt x="5" y="0"/>
                        <a:pt x="2" y="4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64" name="Freeform 90"/>
                <p:cNvSpPr/>
                <p:nvPr>
                  <p:custDataLst>
                    <p:tags r:id="rId162"/>
                  </p:custDataLst>
                </p:nvPr>
              </p:nvSpPr>
              <p:spPr bwMode="auto">
                <a:xfrm>
                  <a:off x="3142" y="2204"/>
                  <a:ext cx="107" cy="137"/>
                </a:xfrm>
                <a:custGeom>
                  <a:avLst/>
                  <a:gdLst>
                    <a:gd name="T0" fmla="*/ 117 w 251"/>
                    <a:gd name="T1" fmla="*/ 47 h 321"/>
                    <a:gd name="T2" fmla="*/ 53 w 251"/>
                    <a:gd name="T3" fmla="*/ 61 h 321"/>
                    <a:gd name="T4" fmla="*/ 14 w 251"/>
                    <a:gd name="T5" fmla="*/ 0 h 321"/>
                    <a:gd name="T6" fmla="*/ 0 w 251"/>
                    <a:gd name="T7" fmla="*/ 18 h 321"/>
                    <a:gd name="T8" fmla="*/ 1 w 251"/>
                    <a:gd name="T9" fmla="*/ 19 h 321"/>
                    <a:gd name="T10" fmla="*/ 4 w 251"/>
                    <a:gd name="T11" fmla="*/ 33 h 321"/>
                    <a:gd name="T12" fmla="*/ 1 w 251"/>
                    <a:gd name="T13" fmla="*/ 62 h 321"/>
                    <a:gd name="T14" fmla="*/ 5 w 251"/>
                    <a:gd name="T15" fmla="*/ 73 h 321"/>
                    <a:gd name="T16" fmla="*/ 8 w 251"/>
                    <a:gd name="T17" fmla="*/ 87 h 321"/>
                    <a:gd name="T18" fmla="*/ 24 w 251"/>
                    <a:gd name="T19" fmla="*/ 116 h 321"/>
                    <a:gd name="T20" fmla="*/ 22 w 251"/>
                    <a:gd name="T21" fmla="*/ 133 h 321"/>
                    <a:gd name="T22" fmla="*/ 30 w 251"/>
                    <a:gd name="T23" fmla="*/ 144 h 321"/>
                    <a:gd name="T24" fmla="*/ 29 w 251"/>
                    <a:gd name="T25" fmla="*/ 155 h 321"/>
                    <a:gd name="T26" fmla="*/ 44 w 251"/>
                    <a:gd name="T27" fmla="*/ 170 h 321"/>
                    <a:gd name="T28" fmla="*/ 60 w 251"/>
                    <a:gd name="T29" fmla="*/ 193 h 321"/>
                    <a:gd name="T30" fmla="*/ 63 w 251"/>
                    <a:gd name="T31" fmla="*/ 215 h 321"/>
                    <a:gd name="T32" fmla="*/ 83 w 251"/>
                    <a:gd name="T33" fmla="*/ 234 h 321"/>
                    <a:gd name="T34" fmla="*/ 104 w 251"/>
                    <a:gd name="T35" fmla="*/ 247 h 321"/>
                    <a:gd name="T36" fmla="*/ 134 w 251"/>
                    <a:gd name="T37" fmla="*/ 261 h 321"/>
                    <a:gd name="T38" fmla="*/ 166 w 251"/>
                    <a:gd name="T39" fmla="*/ 287 h 321"/>
                    <a:gd name="T40" fmla="*/ 191 w 251"/>
                    <a:gd name="T41" fmla="*/ 307 h 321"/>
                    <a:gd name="T42" fmla="*/ 203 w 251"/>
                    <a:gd name="T43" fmla="*/ 316 h 321"/>
                    <a:gd name="T44" fmla="*/ 218 w 251"/>
                    <a:gd name="T45" fmla="*/ 320 h 321"/>
                    <a:gd name="T46" fmla="*/ 235 w 251"/>
                    <a:gd name="T47" fmla="*/ 317 h 321"/>
                    <a:gd name="T48" fmla="*/ 246 w 251"/>
                    <a:gd name="T49" fmla="*/ 316 h 321"/>
                    <a:gd name="T50" fmla="*/ 246 w 251"/>
                    <a:gd name="T51" fmla="*/ 300 h 321"/>
                    <a:gd name="T52" fmla="*/ 231 w 251"/>
                    <a:gd name="T53" fmla="*/ 268 h 321"/>
                    <a:gd name="T54" fmla="*/ 208 w 251"/>
                    <a:gd name="T55" fmla="*/ 231 h 321"/>
                    <a:gd name="T56" fmla="*/ 194 w 251"/>
                    <a:gd name="T57" fmla="*/ 200 h 321"/>
                    <a:gd name="T58" fmla="*/ 196 w 251"/>
                    <a:gd name="T59" fmla="*/ 158 h 321"/>
                    <a:gd name="T60" fmla="*/ 196 w 251"/>
                    <a:gd name="T61" fmla="*/ 114 h 321"/>
                    <a:gd name="T62" fmla="*/ 182 w 251"/>
                    <a:gd name="T63" fmla="*/ 72 h 321"/>
                    <a:gd name="T64" fmla="*/ 154 w 251"/>
                    <a:gd name="T65" fmla="*/ 46 h 321"/>
                    <a:gd name="T66" fmla="*/ 145 w 251"/>
                    <a:gd name="T67" fmla="*/ 32 h 321"/>
                    <a:gd name="T68" fmla="*/ 141 w 251"/>
                    <a:gd name="T69" fmla="*/ 26 h 321"/>
                    <a:gd name="T70" fmla="*/ 117 w 251"/>
                    <a:gd name="T71" fmla="*/ 47 h 3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251" h="321">
                      <a:moveTo>
                        <a:pt x="117" y="47"/>
                      </a:moveTo>
                      <a:cubicBezTo>
                        <a:pt x="109" y="59"/>
                        <a:pt x="73" y="53"/>
                        <a:pt x="53" y="61"/>
                      </a:cubicBezTo>
                      <a:cubicBezTo>
                        <a:pt x="49" y="26"/>
                        <a:pt x="34" y="24"/>
                        <a:pt x="14" y="0"/>
                      </a:cubicBezTo>
                      <a:cubicBezTo>
                        <a:pt x="11" y="12"/>
                        <a:pt x="7" y="11"/>
                        <a:pt x="0" y="18"/>
                      </a:cubicBezTo>
                      <a:cubicBezTo>
                        <a:pt x="3" y="22"/>
                        <a:pt x="1" y="19"/>
                        <a:pt x="1" y="19"/>
                      </a:cubicBezTo>
                      <a:cubicBezTo>
                        <a:pt x="3" y="22"/>
                        <a:pt x="4" y="26"/>
                        <a:pt x="4" y="33"/>
                      </a:cubicBezTo>
                      <a:cubicBezTo>
                        <a:pt x="4" y="40"/>
                        <a:pt x="2" y="58"/>
                        <a:pt x="1" y="62"/>
                      </a:cubicBezTo>
                      <a:cubicBezTo>
                        <a:pt x="0" y="66"/>
                        <a:pt x="1" y="66"/>
                        <a:pt x="5" y="73"/>
                      </a:cubicBezTo>
                      <a:cubicBezTo>
                        <a:pt x="10" y="79"/>
                        <a:pt x="5" y="79"/>
                        <a:pt x="8" y="87"/>
                      </a:cubicBezTo>
                      <a:cubicBezTo>
                        <a:pt x="11" y="94"/>
                        <a:pt x="26" y="109"/>
                        <a:pt x="24" y="116"/>
                      </a:cubicBezTo>
                      <a:cubicBezTo>
                        <a:pt x="22" y="122"/>
                        <a:pt x="21" y="126"/>
                        <a:pt x="22" y="133"/>
                      </a:cubicBezTo>
                      <a:cubicBezTo>
                        <a:pt x="22" y="140"/>
                        <a:pt x="28" y="140"/>
                        <a:pt x="30" y="144"/>
                      </a:cubicBezTo>
                      <a:cubicBezTo>
                        <a:pt x="33" y="148"/>
                        <a:pt x="29" y="149"/>
                        <a:pt x="29" y="155"/>
                      </a:cubicBezTo>
                      <a:cubicBezTo>
                        <a:pt x="30" y="161"/>
                        <a:pt x="36" y="165"/>
                        <a:pt x="44" y="170"/>
                      </a:cubicBezTo>
                      <a:cubicBezTo>
                        <a:pt x="52" y="175"/>
                        <a:pt x="55" y="185"/>
                        <a:pt x="60" y="193"/>
                      </a:cubicBezTo>
                      <a:cubicBezTo>
                        <a:pt x="64" y="200"/>
                        <a:pt x="62" y="210"/>
                        <a:pt x="63" y="215"/>
                      </a:cubicBezTo>
                      <a:cubicBezTo>
                        <a:pt x="64" y="220"/>
                        <a:pt x="76" y="229"/>
                        <a:pt x="83" y="234"/>
                      </a:cubicBezTo>
                      <a:cubicBezTo>
                        <a:pt x="91" y="238"/>
                        <a:pt x="95" y="242"/>
                        <a:pt x="104" y="247"/>
                      </a:cubicBezTo>
                      <a:cubicBezTo>
                        <a:pt x="114" y="252"/>
                        <a:pt x="123" y="255"/>
                        <a:pt x="134" y="261"/>
                      </a:cubicBezTo>
                      <a:cubicBezTo>
                        <a:pt x="145" y="268"/>
                        <a:pt x="158" y="282"/>
                        <a:pt x="166" y="287"/>
                      </a:cubicBezTo>
                      <a:cubicBezTo>
                        <a:pt x="174" y="293"/>
                        <a:pt x="183" y="299"/>
                        <a:pt x="191" y="307"/>
                      </a:cubicBezTo>
                      <a:cubicBezTo>
                        <a:pt x="198" y="314"/>
                        <a:pt x="199" y="313"/>
                        <a:pt x="203" y="316"/>
                      </a:cubicBezTo>
                      <a:cubicBezTo>
                        <a:pt x="207" y="319"/>
                        <a:pt x="211" y="320"/>
                        <a:pt x="218" y="320"/>
                      </a:cubicBezTo>
                      <a:cubicBezTo>
                        <a:pt x="225" y="321"/>
                        <a:pt x="229" y="320"/>
                        <a:pt x="235" y="317"/>
                      </a:cubicBezTo>
                      <a:cubicBezTo>
                        <a:pt x="241" y="314"/>
                        <a:pt x="240" y="317"/>
                        <a:pt x="246" y="316"/>
                      </a:cubicBezTo>
                      <a:cubicBezTo>
                        <a:pt x="251" y="315"/>
                        <a:pt x="248" y="307"/>
                        <a:pt x="246" y="300"/>
                      </a:cubicBezTo>
                      <a:cubicBezTo>
                        <a:pt x="245" y="292"/>
                        <a:pt x="243" y="288"/>
                        <a:pt x="231" y="268"/>
                      </a:cubicBezTo>
                      <a:cubicBezTo>
                        <a:pt x="218" y="249"/>
                        <a:pt x="214" y="241"/>
                        <a:pt x="208" y="231"/>
                      </a:cubicBezTo>
                      <a:cubicBezTo>
                        <a:pt x="202" y="221"/>
                        <a:pt x="194" y="213"/>
                        <a:pt x="194" y="200"/>
                      </a:cubicBezTo>
                      <a:cubicBezTo>
                        <a:pt x="194" y="187"/>
                        <a:pt x="196" y="176"/>
                        <a:pt x="196" y="158"/>
                      </a:cubicBezTo>
                      <a:cubicBezTo>
                        <a:pt x="196" y="141"/>
                        <a:pt x="196" y="128"/>
                        <a:pt x="196" y="114"/>
                      </a:cubicBezTo>
                      <a:cubicBezTo>
                        <a:pt x="196" y="100"/>
                        <a:pt x="187" y="80"/>
                        <a:pt x="182" y="72"/>
                      </a:cubicBezTo>
                      <a:cubicBezTo>
                        <a:pt x="177" y="64"/>
                        <a:pt x="168" y="57"/>
                        <a:pt x="154" y="46"/>
                      </a:cubicBezTo>
                      <a:cubicBezTo>
                        <a:pt x="153" y="45"/>
                        <a:pt x="151" y="43"/>
                        <a:pt x="145" y="32"/>
                      </a:cubicBezTo>
                      <a:cubicBezTo>
                        <a:pt x="144" y="30"/>
                        <a:pt x="142" y="28"/>
                        <a:pt x="141" y="26"/>
                      </a:cubicBezTo>
                      <a:cubicBezTo>
                        <a:pt x="131" y="27"/>
                        <a:pt x="123" y="41"/>
                        <a:pt x="117" y="47"/>
                      </a:cubicBezTo>
                      <a:close/>
                    </a:path>
                  </a:pathLst>
                </a:custGeom>
                <a:solidFill>
                  <a:srgbClr val="603093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65" name="Freeform 91"/>
                <p:cNvSpPr/>
                <p:nvPr>
                  <p:custDataLst>
                    <p:tags r:id="rId163"/>
                  </p:custDataLst>
                </p:nvPr>
              </p:nvSpPr>
              <p:spPr bwMode="auto">
                <a:xfrm>
                  <a:off x="3390" y="2189"/>
                  <a:ext cx="254" cy="159"/>
                </a:xfrm>
                <a:custGeom>
                  <a:avLst/>
                  <a:gdLst>
                    <a:gd name="T0" fmla="*/ 60 w 594"/>
                    <a:gd name="T1" fmla="*/ 344 h 371"/>
                    <a:gd name="T2" fmla="*/ 33 w 594"/>
                    <a:gd name="T3" fmla="*/ 326 h 371"/>
                    <a:gd name="T4" fmla="*/ 2 w 594"/>
                    <a:gd name="T5" fmla="*/ 311 h 371"/>
                    <a:gd name="T6" fmla="*/ 21 w 594"/>
                    <a:gd name="T7" fmla="*/ 347 h 371"/>
                    <a:gd name="T8" fmla="*/ 85 w 594"/>
                    <a:gd name="T9" fmla="*/ 363 h 371"/>
                    <a:gd name="T10" fmla="*/ 134 w 594"/>
                    <a:gd name="T11" fmla="*/ 365 h 371"/>
                    <a:gd name="T12" fmla="*/ 152 w 594"/>
                    <a:gd name="T13" fmla="*/ 340 h 371"/>
                    <a:gd name="T14" fmla="*/ 222 w 594"/>
                    <a:gd name="T15" fmla="*/ 344 h 371"/>
                    <a:gd name="T16" fmla="*/ 250 w 594"/>
                    <a:gd name="T17" fmla="*/ 348 h 371"/>
                    <a:gd name="T18" fmla="*/ 286 w 594"/>
                    <a:gd name="T19" fmla="*/ 341 h 371"/>
                    <a:gd name="T20" fmla="*/ 307 w 594"/>
                    <a:gd name="T21" fmla="*/ 324 h 371"/>
                    <a:gd name="T22" fmla="*/ 315 w 594"/>
                    <a:gd name="T23" fmla="*/ 305 h 371"/>
                    <a:gd name="T24" fmla="*/ 333 w 594"/>
                    <a:gd name="T25" fmla="*/ 276 h 371"/>
                    <a:gd name="T26" fmla="*/ 346 w 594"/>
                    <a:gd name="T27" fmla="*/ 243 h 371"/>
                    <a:gd name="T28" fmla="*/ 363 w 594"/>
                    <a:gd name="T29" fmla="*/ 213 h 371"/>
                    <a:gd name="T30" fmla="*/ 363 w 594"/>
                    <a:gd name="T31" fmla="*/ 179 h 371"/>
                    <a:gd name="T32" fmla="*/ 403 w 594"/>
                    <a:gd name="T33" fmla="*/ 154 h 371"/>
                    <a:gd name="T34" fmla="*/ 465 w 594"/>
                    <a:gd name="T35" fmla="*/ 161 h 371"/>
                    <a:gd name="T36" fmla="*/ 509 w 594"/>
                    <a:gd name="T37" fmla="*/ 158 h 371"/>
                    <a:gd name="T38" fmla="*/ 549 w 594"/>
                    <a:gd name="T39" fmla="*/ 147 h 371"/>
                    <a:gd name="T40" fmla="*/ 551 w 594"/>
                    <a:gd name="T41" fmla="*/ 131 h 371"/>
                    <a:gd name="T42" fmla="*/ 585 w 594"/>
                    <a:gd name="T43" fmla="*/ 102 h 371"/>
                    <a:gd name="T44" fmla="*/ 546 w 594"/>
                    <a:gd name="T45" fmla="*/ 89 h 371"/>
                    <a:gd name="T46" fmla="*/ 509 w 594"/>
                    <a:gd name="T47" fmla="*/ 78 h 371"/>
                    <a:gd name="T48" fmla="*/ 498 w 594"/>
                    <a:gd name="T49" fmla="*/ 71 h 371"/>
                    <a:gd name="T50" fmla="*/ 489 w 594"/>
                    <a:gd name="T51" fmla="*/ 48 h 371"/>
                    <a:gd name="T52" fmla="*/ 482 w 594"/>
                    <a:gd name="T53" fmla="*/ 21 h 371"/>
                    <a:gd name="T54" fmla="*/ 455 w 594"/>
                    <a:gd name="T55" fmla="*/ 9 h 371"/>
                    <a:gd name="T56" fmla="*/ 441 w 594"/>
                    <a:gd name="T57" fmla="*/ 17 h 371"/>
                    <a:gd name="T58" fmla="*/ 432 w 594"/>
                    <a:gd name="T59" fmla="*/ 16 h 371"/>
                    <a:gd name="T60" fmla="*/ 410 w 594"/>
                    <a:gd name="T61" fmla="*/ 44 h 371"/>
                    <a:gd name="T62" fmla="*/ 387 w 594"/>
                    <a:gd name="T63" fmla="*/ 76 h 371"/>
                    <a:gd name="T64" fmla="*/ 365 w 594"/>
                    <a:gd name="T65" fmla="*/ 90 h 371"/>
                    <a:gd name="T66" fmla="*/ 357 w 594"/>
                    <a:gd name="T67" fmla="*/ 124 h 371"/>
                    <a:gd name="T68" fmla="*/ 349 w 594"/>
                    <a:gd name="T69" fmla="*/ 160 h 371"/>
                    <a:gd name="T70" fmla="*/ 323 w 594"/>
                    <a:gd name="T71" fmla="*/ 160 h 371"/>
                    <a:gd name="T72" fmla="*/ 320 w 594"/>
                    <a:gd name="T73" fmla="*/ 177 h 371"/>
                    <a:gd name="T74" fmla="*/ 296 w 594"/>
                    <a:gd name="T75" fmla="*/ 176 h 371"/>
                    <a:gd name="T76" fmla="*/ 264 w 594"/>
                    <a:gd name="T77" fmla="*/ 161 h 371"/>
                    <a:gd name="T78" fmla="*/ 203 w 594"/>
                    <a:gd name="T79" fmla="*/ 236 h 371"/>
                    <a:gd name="T80" fmla="*/ 144 w 594"/>
                    <a:gd name="T81" fmla="*/ 255 h 371"/>
                    <a:gd name="T82" fmla="*/ 117 w 594"/>
                    <a:gd name="T83" fmla="*/ 277 h 371"/>
                    <a:gd name="T84" fmla="*/ 103 w 594"/>
                    <a:gd name="T85" fmla="*/ 290 h 371"/>
                    <a:gd name="T86" fmla="*/ 94 w 594"/>
                    <a:gd name="T87" fmla="*/ 320 h 371"/>
                    <a:gd name="T88" fmla="*/ 94 w 594"/>
                    <a:gd name="T89" fmla="*/ 338 h 371"/>
                    <a:gd name="T90" fmla="*/ 88 w 594"/>
                    <a:gd name="T91" fmla="*/ 350 h 3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594" h="371">
                      <a:moveTo>
                        <a:pt x="88" y="350"/>
                      </a:moveTo>
                      <a:cubicBezTo>
                        <a:pt x="84" y="349"/>
                        <a:pt x="83" y="348"/>
                        <a:pt x="78" y="347"/>
                      </a:cubicBezTo>
                      <a:cubicBezTo>
                        <a:pt x="72" y="345"/>
                        <a:pt x="64" y="350"/>
                        <a:pt x="60" y="344"/>
                      </a:cubicBezTo>
                      <a:cubicBezTo>
                        <a:pt x="56" y="338"/>
                        <a:pt x="60" y="337"/>
                        <a:pt x="57" y="331"/>
                      </a:cubicBezTo>
                      <a:cubicBezTo>
                        <a:pt x="54" y="325"/>
                        <a:pt x="49" y="327"/>
                        <a:pt x="45" y="325"/>
                      </a:cubicBezTo>
                      <a:cubicBezTo>
                        <a:pt x="40" y="324"/>
                        <a:pt x="37" y="325"/>
                        <a:pt x="33" y="326"/>
                      </a:cubicBezTo>
                      <a:cubicBezTo>
                        <a:pt x="28" y="326"/>
                        <a:pt x="24" y="327"/>
                        <a:pt x="19" y="327"/>
                      </a:cubicBezTo>
                      <a:cubicBezTo>
                        <a:pt x="14" y="326"/>
                        <a:pt x="13" y="324"/>
                        <a:pt x="9" y="319"/>
                      </a:cubicBezTo>
                      <a:cubicBezTo>
                        <a:pt x="6" y="314"/>
                        <a:pt x="6" y="314"/>
                        <a:pt x="2" y="311"/>
                      </a:cubicBezTo>
                      <a:cubicBezTo>
                        <a:pt x="2" y="311"/>
                        <a:pt x="2" y="311"/>
                        <a:pt x="2" y="311"/>
                      </a:cubicBezTo>
                      <a:cubicBezTo>
                        <a:pt x="1" y="314"/>
                        <a:pt x="0" y="317"/>
                        <a:pt x="0" y="320"/>
                      </a:cubicBezTo>
                      <a:cubicBezTo>
                        <a:pt x="0" y="323"/>
                        <a:pt x="10" y="335"/>
                        <a:pt x="21" y="347"/>
                      </a:cubicBezTo>
                      <a:cubicBezTo>
                        <a:pt x="31" y="357"/>
                        <a:pt x="42" y="366"/>
                        <a:pt x="48" y="368"/>
                      </a:cubicBezTo>
                      <a:cubicBezTo>
                        <a:pt x="57" y="371"/>
                        <a:pt x="66" y="368"/>
                        <a:pt x="74" y="366"/>
                      </a:cubicBezTo>
                      <a:cubicBezTo>
                        <a:pt x="78" y="365"/>
                        <a:pt x="82" y="364"/>
                        <a:pt x="85" y="363"/>
                      </a:cubicBezTo>
                      <a:cubicBezTo>
                        <a:pt x="91" y="362"/>
                        <a:pt x="95" y="361"/>
                        <a:pt x="100" y="361"/>
                      </a:cubicBezTo>
                      <a:cubicBezTo>
                        <a:pt x="105" y="361"/>
                        <a:pt x="109" y="362"/>
                        <a:pt x="117" y="364"/>
                      </a:cubicBezTo>
                      <a:cubicBezTo>
                        <a:pt x="124" y="365"/>
                        <a:pt x="129" y="366"/>
                        <a:pt x="134" y="365"/>
                      </a:cubicBezTo>
                      <a:cubicBezTo>
                        <a:pt x="137" y="365"/>
                        <a:pt x="140" y="364"/>
                        <a:pt x="142" y="361"/>
                      </a:cubicBezTo>
                      <a:cubicBezTo>
                        <a:pt x="144" y="359"/>
                        <a:pt x="144" y="356"/>
                        <a:pt x="145" y="354"/>
                      </a:cubicBezTo>
                      <a:cubicBezTo>
                        <a:pt x="145" y="349"/>
                        <a:pt x="146" y="344"/>
                        <a:pt x="152" y="340"/>
                      </a:cubicBezTo>
                      <a:cubicBezTo>
                        <a:pt x="157" y="336"/>
                        <a:pt x="166" y="335"/>
                        <a:pt x="175" y="334"/>
                      </a:cubicBezTo>
                      <a:cubicBezTo>
                        <a:pt x="183" y="333"/>
                        <a:pt x="191" y="333"/>
                        <a:pt x="196" y="333"/>
                      </a:cubicBezTo>
                      <a:cubicBezTo>
                        <a:pt x="203" y="333"/>
                        <a:pt x="213" y="339"/>
                        <a:pt x="222" y="344"/>
                      </a:cubicBezTo>
                      <a:cubicBezTo>
                        <a:pt x="225" y="345"/>
                        <a:pt x="228" y="347"/>
                        <a:pt x="230" y="348"/>
                      </a:cubicBezTo>
                      <a:cubicBezTo>
                        <a:pt x="234" y="351"/>
                        <a:pt x="238" y="351"/>
                        <a:pt x="241" y="351"/>
                      </a:cubicBezTo>
                      <a:cubicBezTo>
                        <a:pt x="244" y="350"/>
                        <a:pt x="247" y="349"/>
                        <a:pt x="250" y="348"/>
                      </a:cubicBezTo>
                      <a:cubicBezTo>
                        <a:pt x="252" y="347"/>
                        <a:pt x="253" y="346"/>
                        <a:pt x="254" y="346"/>
                      </a:cubicBezTo>
                      <a:cubicBezTo>
                        <a:pt x="258" y="343"/>
                        <a:pt x="262" y="341"/>
                        <a:pt x="272" y="340"/>
                      </a:cubicBezTo>
                      <a:cubicBezTo>
                        <a:pt x="279" y="339"/>
                        <a:pt x="283" y="340"/>
                        <a:pt x="286" y="341"/>
                      </a:cubicBezTo>
                      <a:cubicBezTo>
                        <a:pt x="289" y="341"/>
                        <a:pt x="291" y="342"/>
                        <a:pt x="295" y="340"/>
                      </a:cubicBezTo>
                      <a:cubicBezTo>
                        <a:pt x="300" y="336"/>
                        <a:pt x="302" y="334"/>
                        <a:pt x="304" y="330"/>
                      </a:cubicBezTo>
                      <a:cubicBezTo>
                        <a:pt x="305" y="328"/>
                        <a:pt x="306" y="326"/>
                        <a:pt x="307" y="324"/>
                      </a:cubicBezTo>
                      <a:cubicBezTo>
                        <a:pt x="309" y="321"/>
                        <a:pt x="311" y="318"/>
                        <a:pt x="312" y="317"/>
                      </a:cubicBezTo>
                      <a:cubicBezTo>
                        <a:pt x="314" y="314"/>
                        <a:pt x="315" y="313"/>
                        <a:pt x="315" y="310"/>
                      </a:cubicBezTo>
                      <a:cubicBezTo>
                        <a:pt x="315" y="309"/>
                        <a:pt x="315" y="307"/>
                        <a:pt x="315" y="305"/>
                      </a:cubicBezTo>
                      <a:cubicBezTo>
                        <a:pt x="314" y="299"/>
                        <a:pt x="313" y="291"/>
                        <a:pt x="318" y="286"/>
                      </a:cubicBezTo>
                      <a:cubicBezTo>
                        <a:pt x="321" y="283"/>
                        <a:pt x="325" y="281"/>
                        <a:pt x="328" y="280"/>
                      </a:cubicBezTo>
                      <a:cubicBezTo>
                        <a:pt x="331" y="279"/>
                        <a:pt x="334" y="278"/>
                        <a:pt x="333" y="276"/>
                      </a:cubicBezTo>
                      <a:cubicBezTo>
                        <a:pt x="333" y="274"/>
                        <a:pt x="333" y="272"/>
                        <a:pt x="332" y="270"/>
                      </a:cubicBezTo>
                      <a:cubicBezTo>
                        <a:pt x="331" y="263"/>
                        <a:pt x="330" y="258"/>
                        <a:pt x="335" y="252"/>
                      </a:cubicBezTo>
                      <a:cubicBezTo>
                        <a:pt x="338" y="247"/>
                        <a:pt x="342" y="245"/>
                        <a:pt x="346" y="243"/>
                      </a:cubicBezTo>
                      <a:cubicBezTo>
                        <a:pt x="349" y="242"/>
                        <a:pt x="351" y="241"/>
                        <a:pt x="354" y="238"/>
                      </a:cubicBezTo>
                      <a:cubicBezTo>
                        <a:pt x="356" y="235"/>
                        <a:pt x="359" y="231"/>
                        <a:pt x="360" y="227"/>
                      </a:cubicBezTo>
                      <a:cubicBezTo>
                        <a:pt x="362" y="223"/>
                        <a:pt x="362" y="218"/>
                        <a:pt x="363" y="213"/>
                      </a:cubicBezTo>
                      <a:cubicBezTo>
                        <a:pt x="363" y="209"/>
                        <a:pt x="362" y="204"/>
                        <a:pt x="361" y="199"/>
                      </a:cubicBezTo>
                      <a:cubicBezTo>
                        <a:pt x="360" y="193"/>
                        <a:pt x="359" y="187"/>
                        <a:pt x="362" y="183"/>
                      </a:cubicBezTo>
                      <a:cubicBezTo>
                        <a:pt x="362" y="182"/>
                        <a:pt x="362" y="181"/>
                        <a:pt x="363" y="179"/>
                      </a:cubicBezTo>
                      <a:cubicBezTo>
                        <a:pt x="363" y="179"/>
                        <a:pt x="363" y="179"/>
                        <a:pt x="363" y="179"/>
                      </a:cubicBezTo>
                      <a:cubicBezTo>
                        <a:pt x="366" y="173"/>
                        <a:pt x="369" y="164"/>
                        <a:pt x="382" y="160"/>
                      </a:cubicBezTo>
                      <a:cubicBezTo>
                        <a:pt x="389" y="157"/>
                        <a:pt x="396" y="155"/>
                        <a:pt x="403" y="154"/>
                      </a:cubicBezTo>
                      <a:cubicBezTo>
                        <a:pt x="411" y="153"/>
                        <a:pt x="419" y="154"/>
                        <a:pt x="428" y="156"/>
                      </a:cubicBezTo>
                      <a:cubicBezTo>
                        <a:pt x="439" y="159"/>
                        <a:pt x="445" y="160"/>
                        <a:pt x="453" y="160"/>
                      </a:cubicBezTo>
                      <a:cubicBezTo>
                        <a:pt x="456" y="160"/>
                        <a:pt x="460" y="161"/>
                        <a:pt x="465" y="161"/>
                      </a:cubicBezTo>
                      <a:cubicBezTo>
                        <a:pt x="471" y="162"/>
                        <a:pt x="480" y="164"/>
                        <a:pt x="488" y="167"/>
                      </a:cubicBezTo>
                      <a:cubicBezTo>
                        <a:pt x="488" y="163"/>
                        <a:pt x="489" y="160"/>
                        <a:pt x="496" y="157"/>
                      </a:cubicBezTo>
                      <a:cubicBezTo>
                        <a:pt x="504" y="154"/>
                        <a:pt x="499" y="160"/>
                        <a:pt x="509" y="158"/>
                      </a:cubicBezTo>
                      <a:cubicBezTo>
                        <a:pt x="518" y="157"/>
                        <a:pt x="527" y="161"/>
                        <a:pt x="533" y="162"/>
                      </a:cubicBezTo>
                      <a:cubicBezTo>
                        <a:pt x="538" y="164"/>
                        <a:pt x="546" y="163"/>
                        <a:pt x="553" y="158"/>
                      </a:cubicBezTo>
                      <a:cubicBezTo>
                        <a:pt x="559" y="152"/>
                        <a:pt x="552" y="153"/>
                        <a:pt x="549" y="147"/>
                      </a:cubicBezTo>
                      <a:cubicBezTo>
                        <a:pt x="546" y="142"/>
                        <a:pt x="541" y="140"/>
                        <a:pt x="535" y="139"/>
                      </a:cubicBezTo>
                      <a:cubicBezTo>
                        <a:pt x="528" y="138"/>
                        <a:pt x="530" y="119"/>
                        <a:pt x="538" y="117"/>
                      </a:cubicBezTo>
                      <a:cubicBezTo>
                        <a:pt x="546" y="123"/>
                        <a:pt x="547" y="134"/>
                        <a:pt x="551" y="131"/>
                      </a:cubicBezTo>
                      <a:cubicBezTo>
                        <a:pt x="555" y="128"/>
                        <a:pt x="560" y="124"/>
                        <a:pt x="574" y="117"/>
                      </a:cubicBezTo>
                      <a:cubicBezTo>
                        <a:pt x="589" y="110"/>
                        <a:pt x="590" y="114"/>
                        <a:pt x="592" y="108"/>
                      </a:cubicBezTo>
                      <a:cubicBezTo>
                        <a:pt x="594" y="101"/>
                        <a:pt x="591" y="102"/>
                        <a:pt x="585" y="102"/>
                      </a:cubicBezTo>
                      <a:cubicBezTo>
                        <a:pt x="578" y="103"/>
                        <a:pt x="574" y="103"/>
                        <a:pt x="567" y="97"/>
                      </a:cubicBezTo>
                      <a:cubicBezTo>
                        <a:pt x="560" y="91"/>
                        <a:pt x="565" y="92"/>
                        <a:pt x="560" y="87"/>
                      </a:cubicBezTo>
                      <a:cubicBezTo>
                        <a:pt x="555" y="83"/>
                        <a:pt x="553" y="90"/>
                        <a:pt x="546" y="89"/>
                      </a:cubicBezTo>
                      <a:cubicBezTo>
                        <a:pt x="538" y="88"/>
                        <a:pt x="543" y="85"/>
                        <a:pt x="537" y="78"/>
                      </a:cubicBezTo>
                      <a:cubicBezTo>
                        <a:pt x="531" y="71"/>
                        <a:pt x="529" y="78"/>
                        <a:pt x="523" y="85"/>
                      </a:cubicBezTo>
                      <a:cubicBezTo>
                        <a:pt x="518" y="91"/>
                        <a:pt x="513" y="85"/>
                        <a:pt x="509" y="78"/>
                      </a:cubicBezTo>
                      <a:cubicBezTo>
                        <a:pt x="505" y="72"/>
                        <a:pt x="513" y="72"/>
                        <a:pt x="517" y="65"/>
                      </a:cubicBezTo>
                      <a:cubicBezTo>
                        <a:pt x="521" y="57"/>
                        <a:pt x="514" y="58"/>
                        <a:pt x="509" y="58"/>
                      </a:cubicBezTo>
                      <a:cubicBezTo>
                        <a:pt x="504" y="58"/>
                        <a:pt x="504" y="66"/>
                        <a:pt x="498" y="71"/>
                      </a:cubicBezTo>
                      <a:cubicBezTo>
                        <a:pt x="491" y="77"/>
                        <a:pt x="491" y="72"/>
                        <a:pt x="485" y="70"/>
                      </a:cubicBezTo>
                      <a:cubicBezTo>
                        <a:pt x="479" y="68"/>
                        <a:pt x="487" y="66"/>
                        <a:pt x="491" y="59"/>
                      </a:cubicBezTo>
                      <a:cubicBezTo>
                        <a:pt x="494" y="53"/>
                        <a:pt x="488" y="54"/>
                        <a:pt x="489" y="48"/>
                      </a:cubicBezTo>
                      <a:cubicBezTo>
                        <a:pt x="490" y="42"/>
                        <a:pt x="497" y="44"/>
                        <a:pt x="497" y="36"/>
                      </a:cubicBezTo>
                      <a:cubicBezTo>
                        <a:pt x="497" y="28"/>
                        <a:pt x="494" y="35"/>
                        <a:pt x="489" y="30"/>
                      </a:cubicBezTo>
                      <a:cubicBezTo>
                        <a:pt x="485" y="25"/>
                        <a:pt x="488" y="26"/>
                        <a:pt x="482" y="21"/>
                      </a:cubicBezTo>
                      <a:cubicBezTo>
                        <a:pt x="476" y="16"/>
                        <a:pt x="478" y="20"/>
                        <a:pt x="470" y="20"/>
                      </a:cubicBezTo>
                      <a:cubicBezTo>
                        <a:pt x="462" y="19"/>
                        <a:pt x="467" y="11"/>
                        <a:pt x="461" y="3"/>
                      </a:cubicBezTo>
                      <a:cubicBezTo>
                        <a:pt x="459" y="0"/>
                        <a:pt x="455" y="6"/>
                        <a:pt x="455" y="9"/>
                      </a:cubicBezTo>
                      <a:cubicBezTo>
                        <a:pt x="455" y="13"/>
                        <a:pt x="453" y="13"/>
                        <a:pt x="451" y="16"/>
                      </a:cubicBezTo>
                      <a:cubicBezTo>
                        <a:pt x="450" y="20"/>
                        <a:pt x="448" y="20"/>
                        <a:pt x="446" y="22"/>
                      </a:cubicBezTo>
                      <a:cubicBezTo>
                        <a:pt x="444" y="25"/>
                        <a:pt x="442" y="22"/>
                        <a:pt x="441" y="17"/>
                      </a:cubicBezTo>
                      <a:cubicBezTo>
                        <a:pt x="440" y="13"/>
                        <a:pt x="442" y="12"/>
                        <a:pt x="443" y="8"/>
                      </a:cubicBezTo>
                      <a:cubicBezTo>
                        <a:pt x="443" y="4"/>
                        <a:pt x="441" y="6"/>
                        <a:pt x="437" y="6"/>
                      </a:cubicBezTo>
                      <a:cubicBezTo>
                        <a:pt x="433" y="6"/>
                        <a:pt x="434" y="10"/>
                        <a:pt x="432" y="16"/>
                      </a:cubicBezTo>
                      <a:cubicBezTo>
                        <a:pt x="431" y="21"/>
                        <a:pt x="430" y="19"/>
                        <a:pt x="426" y="22"/>
                      </a:cubicBezTo>
                      <a:cubicBezTo>
                        <a:pt x="421" y="25"/>
                        <a:pt x="422" y="27"/>
                        <a:pt x="419" y="33"/>
                      </a:cubicBezTo>
                      <a:cubicBezTo>
                        <a:pt x="416" y="40"/>
                        <a:pt x="415" y="40"/>
                        <a:pt x="410" y="44"/>
                      </a:cubicBezTo>
                      <a:cubicBezTo>
                        <a:pt x="404" y="47"/>
                        <a:pt x="403" y="49"/>
                        <a:pt x="400" y="54"/>
                      </a:cubicBezTo>
                      <a:cubicBezTo>
                        <a:pt x="397" y="58"/>
                        <a:pt x="398" y="58"/>
                        <a:pt x="393" y="63"/>
                      </a:cubicBezTo>
                      <a:cubicBezTo>
                        <a:pt x="388" y="68"/>
                        <a:pt x="390" y="68"/>
                        <a:pt x="387" y="76"/>
                      </a:cubicBezTo>
                      <a:cubicBezTo>
                        <a:pt x="385" y="85"/>
                        <a:pt x="389" y="83"/>
                        <a:pt x="385" y="89"/>
                      </a:cubicBezTo>
                      <a:cubicBezTo>
                        <a:pt x="380" y="94"/>
                        <a:pt x="381" y="93"/>
                        <a:pt x="373" y="91"/>
                      </a:cubicBezTo>
                      <a:cubicBezTo>
                        <a:pt x="366" y="88"/>
                        <a:pt x="367" y="90"/>
                        <a:pt x="365" y="90"/>
                      </a:cubicBezTo>
                      <a:cubicBezTo>
                        <a:pt x="362" y="91"/>
                        <a:pt x="359" y="94"/>
                        <a:pt x="357" y="98"/>
                      </a:cubicBezTo>
                      <a:cubicBezTo>
                        <a:pt x="356" y="102"/>
                        <a:pt x="358" y="102"/>
                        <a:pt x="360" y="107"/>
                      </a:cubicBezTo>
                      <a:cubicBezTo>
                        <a:pt x="361" y="111"/>
                        <a:pt x="359" y="120"/>
                        <a:pt x="357" y="124"/>
                      </a:cubicBezTo>
                      <a:cubicBezTo>
                        <a:pt x="356" y="126"/>
                        <a:pt x="353" y="126"/>
                        <a:pt x="350" y="125"/>
                      </a:cubicBezTo>
                      <a:cubicBezTo>
                        <a:pt x="352" y="134"/>
                        <a:pt x="354" y="144"/>
                        <a:pt x="354" y="148"/>
                      </a:cubicBezTo>
                      <a:cubicBezTo>
                        <a:pt x="353" y="152"/>
                        <a:pt x="352" y="157"/>
                        <a:pt x="349" y="160"/>
                      </a:cubicBezTo>
                      <a:cubicBezTo>
                        <a:pt x="346" y="163"/>
                        <a:pt x="342" y="165"/>
                        <a:pt x="336" y="163"/>
                      </a:cubicBezTo>
                      <a:cubicBezTo>
                        <a:pt x="333" y="162"/>
                        <a:pt x="330" y="161"/>
                        <a:pt x="328" y="160"/>
                      </a:cubicBezTo>
                      <a:cubicBezTo>
                        <a:pt x="326" y="160"/>
                        <a:pt x="325" y="159"/>
                        <a:pt x="323" y="160"/>
                      </a:cubicBezTo>
                      <a:cubicBezTo>
                        <a:pt x="322" y="161"/>
                        <a:pt x="322" y="164"/>
                        <a:pt x="322" y="166"/>
                      </a:cubicBezTo>
                      <a:cubicBezTo>
                        <a:pt x="322" y="169"/>
                        <a:pt x="322" y="171"/>
                        <a:pt x="322" y="173"/>
                      </a:cubicBezTo>
                      <a:cubicBezTo>
                        <a:pt x="322" y="175"/>
                        <a:pt x="321" y="176"/>
                        <a:pt x="320" y="177"/>
                      </a:cubicBezTo>
                      <a:cubicBezTo>
                        <a:pt x="319" y="179"/>
                        <a:pt x="316" y="180"/>
                        <a:pt x="313" y="181"/>
                      </a:cubicBezTo>
                      <a:cubicBezTo>
                        <a:pt x="311" y="182"/>
                        <a:pt x="308" y="182"/>
                        <a:pt x="305" y="181"/>
                      </a:cubicBezTo>
                      <a:cubicBezTo>
                        <a:pt x="302" y="180"/>
                        <a:pt x="299" y="179"/>
                        <a:pt x="296" y="176"/>
                      </a:cubicBezTo>
                      <a:cubicBezTo>
                        <a:pt x="290" y="172"/>
                        <a:pt x="282" y="161"/>
                        <a:pt x="276" y="153"/>
                      </a:cubicBezTo>
                      <a:cubicBezTo>
                        <a:pt x="275" y="151"/>
                        <a:pt x="275" y="151"/>
                        <a:pt x="275" y="151"/>
                      </a:cubicBezTo>
                      <a:cubicBezTo>
                        <a:pt x="269" y="153"/>
                        <a:pt x="269" y="156"/>
                        <a:pt x="264" y="161"/>
                      </a:cubicBezTo>
                      <a:cubicBezTo>
                        <a:pt x="258" y="167"/>
                        <a:pt x="245" y="183"/>
                        <a:pt x="238" y="193"/>
                      </a:cubicBezTo>
                      <a:cubicBezTo>
                        <a:pt x="231" y="203"/>
                        <a:pt x="227" y="210"/>
                        <a:pt x="219" y="220"/>
                      </a:cubicBezTo>
                      <a:cubicBezTo>
                        <a:pt x="210" y="230"/>
                        <a:pt x="210" y="231"/>
                        <a:pt x="203" y="236"/>
                      </a:cubicBezTo>
                      <a:cubicBezTo>
                        <a:pt x="196" y="241"/>
                        <a:pt x="196" y="240"/>
                        <a:pt x="183" y="245"/>
                      </a:cubicBezTo>
                      <a:cubicBezTo>
                        <a:pt x="170" y="251"/>
                        <a:pt x="171" y="246"/>
                        <a:pt x="159" y="248"/>
                      </a:cubicBezTo>
                      <a:cubicBezTo>
                        <a:pt x="147" y="250"/>
                        <a:pt x="150" y="253"/>
                        <a:pt x="144" y="255"/>
                      </a:cubicBezTo>
                      <a:cubicBezTo>
                        <a:pt x="138" y="258"/>
                        <a:pt x="134" y="258"/>
                        <a:pt x="129" y="259"/>
                      </a:cubicBezTo>
                      <a:cubicBezTo>
                        <a:pt x="125" y="260"/>
                        <a:pt x="121" y="262"/>
                        <a:pt x="119" y="266"/>
                      </a:cubicBezTo>
                      <a:cubicBezTo>
                        <a:pt x="116" y="270"/>
                        <a:pt x="117" y="271"/>
                        <a:pt x="117" y="277"/>
                      </a:cubicBezTo>
                      <a:cubicBezTo>
                        <a:pt x="116" y="283"/>
                        <a:pt x="114" y="282"/>
                        <a:pt x="111" y="284"/>
                      </a:cubicBezTo>
                      <a:cubicBezTo>
                        <a:pt x="108" y="286"/>
                        <a:pt x="108" y="284"/>
                        <a:pt x="105" y="284"/>
                      </a:cubicBezTo>
                      <a:cubicBezTo>
                        <a:pt x="101" y="283"/>
                        <a:pt x="102" y="287"/>
                        <a:pt x="103" y="290"/>
                      </a:cubicBezTo>
                      <a:cubicBezTo>
                        <a:pt x="104" y="292"/>
                        <a:pt x="107" y="295"/>
                        <a:pt x="107" y="299"/>
                      </a:cubicBezTo>
                      <a:cubicBezTo>
                        <a:pt x="106" y="304"/>
                        <a:pt x="102" y="306"/>
                        <a:pt x="99" y="308"/>
                      </a:cubicBezTo>
                      <a:cubicBezTo>
                        <a:pt x="97" y="310"/>
                        <a:pt x="94" y="316"/>
                        <a:pt x="94" y="320"/>
                      </a:cubicBezTo>
                      <a:cubicBezTo>
                        <a:pt x="94" y="323"/>
                        <a:pt x="97" y="325"/>
                        <a:pt x="100" y="329"/>
                      </a:cubicBezTo>
                      <a:cubicBezTo>
                        <a:pt x="104" y="333"/>
                        <a:pt x="101" y="331"/>
                        <a:pt x="98" y="333"/>
                      </a:cubicBezTo>
                      <a:cubicBezTo>
                        <a:pt x="95" y="334"/>
                        <a:pt x="95" y="335"/>
                        <a:pt x="94" y="338"/>
                      </a:cubicBezTo>
                      <a:cubicBezTo>
                        <a:pt x="92" y="342"/>
                        <a:pt x="97" y="343"/>
                        <a:pt x="100" y="343"/>
                      </a:cubicBezTo>
                      <a:cubicBezTo>
                        <a:pt x="103" y="344"/>
                        <a:pt x="103" y="347"/>
                        <a:pt x="102" y="350"/>
                      </a:cubicBezTo>
                      <a:cubicBezTo>
                        <a:pt x="101" y="352"/>
                        <a:pt x="93" y="351"/>
                        <a:pt x="88" y="350"/>
                      </a:cubicBezTo>
                      <a:close/>
                    </a:path>
                  </a:pathLst>
                </a:custGeom>
                <a:solidFill>
                  <a:srgbClr val="603093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66" name="Freeform 92"/>
                <p:cNvSpPr/>
                <p:nvPr>
                  <p:custDataLst>
                    <p:tags r:id="rId164"/>
                  </p:custDataLst>
                </p:nvPr>
              </p:nvSpPr>
              <p:spPr bwMode="auto">
                <a:xfrm>
                  <a:off x="3362" y="1834"/>
                  <a:ext cx="65" cy="55"/>
                </a:xfrm>
                <a:custGeom>
                  <a:avLst/>
                  <a:gdLst>
                    <a:gd name="T0" fmla="*/ 7 w 152"/>
                    <a:gd name="T1" fmla="*/ 102 h 130"/>
                    <a:gd name="T2" fmla="*/ 26 w 152"/>
                    <a:gd name="T3" fmla="*/ 112 h 130"/>
                    <a:gd name="T4" fmla="*/ 47 w 152"/>
                    <a:gd name="T5" fmla="*/ 118 h 130"/>
                    <a:gd name="T6" fmla="*/ 65 w 152"/>
                    <a:gd name="T7" fmla="*/ 127 h 130"/>
                    <a:gd name="T8" fmla="*/ 74 w 152"/>
                    <a:gd name="T9" fmla="*/ 112 h 130"/>
                    <a:gd name="T10" fmla="*/ 88 w 152"/>
                    <a:gd name="T11" fmla="*/ 108 h 130"/>
                    <a:gd name="T12" fmla="*/ 104 w 152"/>
                    <a:gd name="T13" fmla="*/ 95 h 130"/>
                    <a:gd name="T14" fmla="*/ 118 w 152"/>
                    <a:gd name="T15" fmla="*/ 86 h 130"/>
                    <a:gd name="T16" fmla="*/ 124 w 152"/>
                    <a:gd name="T17" fmla="*/ 74 h 130"/>
                    <a:gd name="T18" fmla="*/ 122 w 152"/>
                    <a:gd name="T19" fmla="*/ 51 h 130"/>
                    <a:gd name="T20" fmla="*/ 134 w 152"/>
                    <a:gd name="T21" fmla="*/ 37 h 130"/>
                    <a:gd name="T22" fmla="*/ 148 w 152"/>
                    <a:gd name="T23" fmla="*/ 31 h 130"/>
                    <a:gd name="T24" fmla="*/ 147 w 152"/>
                    <a:gd name="T25" fmla="*/ 13 h 130"/>
                    <a:gd name="T26" fmla="*/ 135 w 152"/>
                    <a:gd name="T27" fmla="*/ 2 h 130"/>
                    <a:gd name="T28" fmla="*/ 127 w 152"/>
                    <a:gd name="T29" fmla="*/ 13 h 130"/>
                    <a:gd name="T30" fmla="*/ 109 w 152"/>
                    <a:gd name="T31" fmla="*/ 9 h 130"/>
                    <a:gd name="T32" fmla="*/ 95 w 152"/>
                    <a:gd name="T33" fmla="*/ 11 h 130"/>
                    <a:gd name="T34" fmla="*/ 84 w 152"/>
                    <a:gd name="T35" fmla="*/ 15 h 130"/>
                    <a:gd name="T36" fmla="*/ 73 w 152"/>
                    <a:gd name="T37" fmla="*/ 9 h 130"/>
                    <a:gd name="T38" fmla="*/ 62 w 152"/>
                    <a:gd name="T39" fmla="*/ 18 h 130"/>
                    <a:gd name="T40" fmla="*/ 48 w 152"/>
                    <a:gd name="T41" fmla="*/ 17 h 130"/>
                    <a:gd name="T42" fmla="*/ 41 w 152"/>
                    <a:gd name="T43" fmla="*/ 34 h 130"/>
                    <a:gd name="T44" fmla="*/ 28 w 152"/>
                    <a:gd name="T45" fmla="*/ 39 h 130"/>
                    <a:gd name="T46" fmla="*/ 7 w 152"/>
                    <a:gd name="T47" fmla="*/ 49 h 130"/>
                    <a:gd name="T48" fmla="*/ 5 w 152"/>
                    <a:gd name="T49" fmla="*/ 63 h 130"/>
                    <a:gd name="T50" fmla="*/ 4 w 152"/>
                    <a:gd name="T51" fmla="*/ 86 h 130"/>
                    <a:gd name="T52" fmla="*/ 7 w 152"/>
                    <a:gd name="T53" fmla="*/ 102 h 1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152" h="130">
                      <a:moveTo>
                        <a:pt x="7" y="102"/>
                      </a:moveTo>
                      <a:cubicBezTo>
                        <a:pt x="14" y="106"/>
                        <a:pt x="18" y="112"/>
                        <a:pt x="26" y="112"/>
                      </a:cubicBezTo>
                      <a:cubicBezTo>
                        <a:pt x="35" y="112"/>
                        <a:pt x="37" y="109"/>
                        <a:pt x="47" y="118"/>
                      </a:cubicBezTo>
                      <a:cubicBezTo>
                        <a:pt x="57" y="127"/>
                        <a:pt x="59" y="130"/>
                        <a:pt x="65" y="127"/>
                      </a:cubicBezTo>
                      <a:cubicBezTo>
                        <a:pt x="71" y="123"/>
                        <a:pt x="71" y="116"/>
                        <a:pt x="74" y="112"/>
                      </a:cubicBezTo>
                      <a:cubicBezTo>
                        <a:pt x="78" y="108"/>
                        <a:pt x="80" y="111"/>
                        <a:pt x="88" y="108"/>
                      </a:cubicBezTo>
                      <a:cubicBezTo>
                        <a:pt x="95" y="104"/>
                        <a:pt x="100" y="102"/>
                        <a:pt x="104" y="95"/>
                      </a:cubicBezTo>
                      <a:cubicBezTo>
                        <a:pt x="108" y="88"/>
                        <a:pt x="112" y="90"/>
                        <a:pt x="118" y="86"/>
                      </a:cubicBezTo>
                      <a:cubicBezTo>
                        <a:pt x="123" y="82"/>
                        <a:pt x="125" y="81"/>
                        <a:pt x="124" y="74"/>
                      </a:cubicBezTo>
                      <a:cubicBezTo>
                        <a:pt x="122" y="66"/>
                        <a:pt x="120" y="57"/>
                        <a:pt x="122" y="51"/>
                      </a:cubicBezTo>
                      <a:cubicBezTo>
                        <a:pt x="124" y="45"/>
                        <a:pt x="128" y="38"/>
                        <a:pt x="134" y="37"/>
                      </a:cubicBezTo>
                      <a:cubicBezTo>
                        <a:pt x="139" y="36"/>
                        <a:pt x="146" y="40"/>
                        <a:pt x="148" y="31"/>
                      </a:cubicBezTo>
                      <a:cubicBezTo>
                        <a:pt x="150" y="22"/>
                        <a:pt x="152" y="18"/>
                        <a:pt x="147" y="13"/>
                      </a:cubicBezTo>
                      <a:cubicBezTo>
                        <a:pt x="142" y="8"/>
                        <a:pt x="139" y="0"/>
                        <a:pt x="135" y="2"/>
                      </a:cubicBezTo>
                      <a:cubicBezTo>
                        <a:pt x="131" y="4"/>
                        <a:pt x="130" y="10"/>
                        <a:pt x="127" y="13"/>
                      </a:cubicBezTo>
                      <a:cubicBezTo>
                        <a:pt x="123" y="16"/>
                        <a:pt x="116" y="13"/>
                        <a:pt x="109" y="9"/>
                      </a:cubicBezTo>
                      <a:cubicBezTo>
                        <a:pt x="103" y="7"/>
                        <a:pt x="99" y="7"/>
                        <a:pt x="95" y="11"/>
                      </a:cubicBezTo>
                      <a:cubicBezTo>
                        <a:pt x="91" y="15"/>
                        <a:pt x="88" y="17"/>
                        <a:pt x="84" y="15"/>
                      </a:cubicBezTo>
                      <a:cubicBezTo>
                        <a:pt x="80" y="12"/>
                        <a:pt x="76" y="5"/>
                        <a:pt x="73" y="9"/>
                      </a:cubicBezTo>
                      <a:cubicBezTo>
                        <a:pt x="69" y="13"/>
                        <a:pt x="65" y="17"/>
                        <a:pt x="62" y="18"/>
                      </a:cubicBezTo>
                      <a:cubicBezTo>
                        <a:pt x="59" y="19"/>
                        <a:pt x="54" y="14"/>
                        <a:pt x="48" y="17"/>
                      </a:cubicBezTo>
                      <a:cubicBezTo>
                        <a:pt x="43" y="20"/>
                        <a:pt x="45" y="31"/>
                        <a:pt x="41" y="34"/>
                      </a:cubicBezTo>
                      <a:cubicBezTo>
                        <a:pt x="38" y="37"/>
                        <a:pt x="35" y="36"/>
                        <a:pt x="28" y="39"/>
                      </a:cubicBezTo>
                      <a:cubicBezTo>
                        <a:pt x="20" y="43"/>
                        <a:pt x="8" y="44"/>
                        <a:pt x="7" y="49"/>
                      </a:cubicBezTo>
                      <a:cubicBezTo>
                        <a:pt x="6" y="55"/>
                        <a:pt x="3" y="51"/>
                        <a:pt x="5" y="63"/>
                      </a:cubicBezTo>
                      <a:cubicBezTo>
                        <a:pt x="7" y="76"/>
                        <a:pt x="5" y="77"/>
                        <a:pt x="4" y="86"/>
                      </a:cubicBezTo>
                      <a:cubicBezTo>
                        <a:pt x="2" y="95"/>
                        <a:pt x="0" y="98"/>
                        <a:pt x="7" y="102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67" name="Freeform 93"/>
                <p:cNvSpPr/>
                <p:nvPr>
                  <p:custDataLst>
                    <p:tags r:id="rId165"/>
                  </p:custDataLst>
                </p:nvPr>
              </p:nvSpPr>
              <p:spPr bwMode="auto">
                <a:xfrm>
                  <a:off x="3916" y="2578"/>
                  <a:ext cx="7" cy="8"/>
                </a:xfrm>
                <a:custGeom>
                  <a:avLst/>
                  <a:gdLst>
                    <a:gd name="T0" fmla="*/ 3 w 15"/>
                    <a:gd name="T1" fmla="*/ 6 h 18"/>
                    <a:gd name="T2" fmla="*/ 6 w 15"/>
                    <a:gd name="T3" fmla="*/ 13 h 18"/>
                    <a:gd name="T4" fmla="*/ 15 w 15"/>
                    <a:gd name="T5" fmla="*/ 13 h 18"/>
                    <a:gd name="T6" fmla="*/ 12 w 15"/>
                    <a:gd name="T7" fmla="*/ 4 h 18"/>
                    <a:gd name="T8" fmla="*/ 3 w 15"/>
                    <a:gd name="T9" fmla="*/ 6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5" h="18">
                      <a:moveTo>
                        <a:pt x="3" y="6"/>
                      </a:moveTo>
                      <a:cubicBezTo>
                        <a:pt x="3" y="9"/>
                        <a:pt x="0" y="9"/>
                        <a:pt x="6" y="13"/>
                      </a:cubicBezTo>
                      <a:cubicBezTo>
                        <a:pt x="11" y="17"/>
                        <a:pt x="14" y="18"/>
                        <a:pt x="15" y="13"/>
                      </a:cubicBezTo>
                      <a:cubicBezTo>
                        <a:pt x="15" y="7"/>
                        <a:pt x="14" y="5"/>
                        <a:pt x="12" y="4"/>
                      </a:cubicBezTo>
                      <a:cubicBezTo>
                        <a:pt x="11" y="3"/>
                        <a:pt x="4" y="0"/>
                        <a:pt x="3" y="6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68" name="Freeform 94"/>
                <p:cNvSpPr/>
                <p:nvPr>
                  <p:custDataLst>
                    <p:tags r:id="rId166"/>
                  </p:custDataLst>
                </p:nvPr>
              </p:nvSpPr>
              <p:spPr bwMode="auto">
                <a:xfrm>
                  <a:off x="4537" y="2214"/>
                  <a:ext cx="6" cy="6"/>
                </a:xfrm>
                <a:custGeom>
                  <a:avLst/>
                  <a:gdLst>
                    <a:gd name="T0" fmla="*/ 4 w 15"/>
                    <a:gd name="T1" fmla="*/ 6 h 15"/>
                    <a:gd name="T2" fmla="*/ 4 w 15"/>
                    <a:gd name="T3" fmla="*/ 14 h 15"/>
                    <a:gd name="T4" fmla="*/ 15 w 15"/>
                    <a:gd name="T5" fmla="*/ 10 h 15"/>
                    <a:gd name="T6" fmla="*/ 4 w 15"/>
                    <a:gd name="T7" fmla="*/ 6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5" h="15">
                      <a:moveTo>
                        <a:pt x="4" y="6"/>
                      </a:moveTo>
                      <a:cubicBezTo>
                        <a:pt x="4" y="6"/>
                        <a:pt x="0" y="13"/>
                        <a:pt x="4" y="14"/>
                      </a:cubicBezTo>
                      <a:cubicBezTo>
                        <a:pt x="8" y="15"/>
                        <a:pt x="14" y="13"/>
                        <a:pt x="15" y="10"/>
                      </a:cubicBezTo>
                      <a:cubicBezTo>
                        <a:pt x="15" y="6"/>
                        <a:pt x="9" y="0"/>
                        <a:pt x="4" y="6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69" name="Freeform 95"/>
                <p:cNvSpPr/>
                <p:nvPr>
                  <p:custDataLst>
                    <p:tags r:id="rId167"/>
                  </p:custDataLst>
                </p:nvPr>
              </p:nvSpPr>
              <p:spPr bwMode="auto">
                <a:xfrm>
                  <a:off x="4516" y="2141"/>
                  <a:ext cx="6" cy="6"/>
                </a:xfrm>
                <a:custGeom>
                  <a:avLst/>
                  <a:gdLst>
                    <a:gd name="T0" fmla="*/ 3 w 14"/>
                    <a:gd name="T1" fmla="*/ 5 h 14"/>
                    <a:gd name="T2" fmla="*/ 5 w 14"/>
                    <a:gd name="T3" fmla="*/ 13 h 14"/>
                    <a:gd name="T4" fmla="*/ 14 w 14"/>
                    <a:gd name="T5" fmla="*/ 7 h 14"/>
                    <a:gd name="T6" fmla="*/ 3 w 14"/>
                    <a:gd name="T7" fmla="*/ 5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4" h="14">
                      <a:moveTo>
                        <a:pt x="3" y="5"/>
                      </a:moveTo>
                      <a:cubicBezTo>
                        <a:pt x="0" y="9"/>
                        <a:pt x="0" y="13"/>
                        <a:pt x="5" y="13"/>
                      </a:cubicBezTo>
                      <a:cubicBezTo>
                        <a:pt x="9" y="14"/>
                        <a:pt x="14" y="11"/>
                        <a:pt x="14" y="7"/>
                      </a:cubicBezTo>
                      <a:cubicBezTo>
                        <a:pt x="14" y="4"/>
                        <a:pt x="6" y="0"/>
                        <a:pt x="3" y="5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70" name="Freeform 96"/>
                <p:cNvSpPr/>
                <p:nvPr>
                  <p:custDataLst>
                    <p:tags r:id="rId168"/>
                  </p:custDataLst>
                </p:nvPr>
              </p:nvSpPr>
              <p:spPr bwMode="auto">
                <a:xfrm>
                  <a:off x="4526" y="2187"/>
                  <a:ext cx="4" cy="6"/>
                </a:xfrm>
                <a:custGeom>
                  <a:avLst/>
                  <a:gdLst>
                    <a:gd name="T0" fmla="*/ 3 w 9"/>
                    <a:gd name="T1" fmla="*/ 14 h 16"/>
                    <a:gd name="T2" fmla="*/ 9 w 9"/>
                    <a:gd name="T3" fmla="*/ 12 h 16"/>
                    <a:gd name="T4" fmla="*/ 1 w 9"/>
                    <a:gd name="T5" fmla="*/ 8 h 16"/>
                    <a:gd name="T6" fmla="*/ 3 w 9"/>
                    <a:gd name="T7" fmla="*/ 14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9" h="16">
                      <a:moveTo>
                        <a:pt x="3" y="14"/>
                      </a:moveTo>
                      <a:cubicBezTo>
                        <a:pt x="5" y="15"/>
                        <a:pt x="9" y="16"/>
                        <a:pt x="9" y="12"/>
                      </a:cubicBezTo>
                      <a:cubicBezTo>
                        <a:pt x="9" y="9"/>
                        <a:pt x="4" y="0"/>
                        <a:pt x="1" y="8"/>
                      </a:cubicBezTo>
                      <a:cubicBezTo>
                        <a:pt x="0" y="10"/>
                        <a:pt x="1" y="14"/>
                        <a:pt x="3" y="14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71" name="Freeform 97"/>
                <p:cNvSpPr/>
                <p:nvPr>
                  <p:custDataLst>
                    <p:tags r:id="rId169"/>
                  </p:custDataLst>
                </p:nvPr>
              </p:nvSpPr>
              <p:spPr bwMode="auto">
                <a:xfrm>
                  <a:off x="3888" y="2559"/>
                  <a:ext cx="4" cy="5"/>
                </a:xfrm>
                <a:custGeom>
                  <a:avLst/>
                  <a:gdLst>
                    <a:gd name="T0" fmla="*/ 2 w 9"/>
                    <a:gd name="T1" fmla="*/ 6 h 12"/>
                    <a:gd name="T2" fmla="*/ 4 w 9"/>
                    <a:gd name="T3" fmla="*/ 12 h 12"/>
                    <a:gd name="T4" fmla="*/ 9 w 9"/>
                    <a:gd name="T5" fmla="*/ 8 h 12"/>
                    <a:gd name="T6" fmla="*/ 2 w 9"/>
                    <a:gd name="T7" fmla="*/ 6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9" h="12">
                      <a:moveTo>
                        <a:pt x="2" y="6"/>
                      </a:moveTo>
                      <a:cubicBezTo>
                        <a:pt x="1" y="9"/>
                        <a:pt x="0" y="11"/>
                        <a:pt x="4" y="12"/>
                      </a:cubicBezTo>
                      <a:cubicBezTo>
                        <a:pt x="9" y="12"/>
                        <a:pt x="9" y="11"/>
                        <a:pt x="9" y="8"/>
                      </a:cubicBezTo>
                      <a:cubicBezTo>
                        <a:pt x="9" y="5"/>
                        <a:pt x="4" y="0"/>
                        <a:pt x="2" y="6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72" name="Freeform 98"/>
                <p:cNvSpPr/>
                <p:nvPr>
                  <p:custDataLst>
                    <p:tags r:id="rId170"/>
                  </p:custDataLst>
                </p:nvPr>
              </p:nvSpPr>
              <p:spPr bwMode="auto">
                <a:xfrm>
                  <a:off x="4436" y="2192"/>
                  <a:ext cx="4" cy="6"/>
                </a:xfrm>
                <a:custGeom>
                  <a:avLst/>
                  <a:gdLst>
                    <a:gd name="T0" fmla="*/ 11 w 11"/>
                    <a:gd name="T1" fmla="*/ 10 h 14"/>
                    <a:gd name="T2" fmla="*/ 0 w 11"/>
                    <a:gd name="T3" fmla="*/ 7 h 14"/>
                    <a:gd name="T4" fmla="*/ 3 w 11"/>
                    <a:gd name="T5" fmla="*/ 14 h 14"/>
                    <a:gd name="T6" fmla="*/ 11 w 11"/>
                    <a:gd name="T7" fmla="*/ 10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1" h="14">
                      <a:moveTo>
                        <a:pt x="11" y="10"/>
                      </a:moveTo>
                      <a:cubicBezTo>
                        <a:pt x="11" y="6"/>
                        <a:pt x="2" y="0"/>
                        <a:pt x="0" y="7"/>
                      </a:cubicBezTo>
                      <a:cubicBezTo>
                        <a:pt x="0" y="10"/>
                        <a:pt x="0" y="13"/>
                        <a:pt x="3" y="14"/>
                      </a:cubicBezTo>
                      <a:cubicBezTo>
                        <a:pt x="7" y="14"/>
                        <a:pt x="11" y="14"/>
                        <a:pt x="11" y="10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73" name="Freeform 99"/>
                <p:cNvSpPr/>
                <p:nvPr>
                  <p:custDataLst>
                    <p:tags r:id="rId171"/>
                  </p:custDataLst>
                </p:nvPr>
              </p:nvSpPr>
              <p:spPr bwMode="auto">
                <a:xfrm>
                  <a:off x="3955" y="2562"/>
                  <a:ext cx="24" cy="25"/>
                </a:xfrm>
                <a:custGeom>
                  <a:avLst/>
                  <a:gdLst>
                    <a:gd name="T0" fmla="*/ 49 w 56"/>
                    <a:gd name="T1" fmla="*/ 7 h 58"/>
                    <a:gd name="T2" fmla="*/ 55 w 56"/>
                    <a:gd name="T3" fmla="*/ 6 h 58"/>
                    <a:gd name="T4" fmla="*/ 47 w 56"/>
                    <a:gd name="T5" fmla="*/ 0 h 58"/>
                    <a:gd name="T6" fmla="*/ 36 w 56"/>
                    <a:gd name="T7" fmla="*/ 4 h 58"/>
                    <a:gd name="T8" fmla="*/ 25 w 56"/>
                    <a:gd name="T9" fmla="*/ 12 h 58"/>
                    <a:gd name="T10" fmla="*/ 15 w 56"/>
                    <a:gd name="T11" fmla="*/ 24 h 58"/>
                    <a:gd name="T12" fmla="*/ 7 w 56"/>
                    <a:gd name="T13" fmla="*/ 36 h 58"/>
                    <a:gd name="T14" fmla="*/ 5 w 56"/>
                    <a:gd name="T15" fmla="*/ 51 h 58"/>
                    <a:gd name="T16" fmla="*/ 14 w 56"/>
                    <a:gd name="T17" fmla="*/ 55 h 58"/>
                    <a:gd name="T18" fmla="*/ 26 w 56"/>
                    <a:gd name="T19" fmla="*/ 41 h 58"/>
                    <a:gd name="T20" fmla="*/ 41 w 56"/>
                    <a:gd name="T21" fmla="*/ 25 h 58"/>
                    <a:gd name="T22" fmla="*/ 40 w 56"/>
                    <a:gd name="T23" fmla="*/ 11 h 58"/>
                    <a:gd name="T24" fmla="*/ 49 w 56"/>
                    <a:gd name="T25" fmla="*/ 7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56" h="57">
                      <a:moveTo>
                        <a:pt x="49" y="7"/>
                      </a:moveTo>
                      <a:cubicBezTo>
                        <a:pt x="54" y="8"/>
                        <a:pt x="56" y="9"/>
                        <a:pt x="55" y="6"/>
                      </a:cubicBezTo>
                      <a:cubicBezTo>
                        <a:pt x="54" y="4"/>
                        <a:pt x="52" y="0"/>
                        <a:pt x="47" y="0"/>
                      </a:cubicBezTo>
                      <a:cubicBezTo>
                        <a:pt x="42" y="1"/>
                        <a:pt x="42" y="2"/>
                        <a:pt x="36" y="4"/>
                      </a:cubicBezTo>
                      <a:cubicBezTo>
                        <a:pt x="30" y="7"/>
                        <a:pt x="31" y="8"/>
                        <a:pt x="25" y="12"/>
                      </a:cubicBezTo>
                      <a:cubicBezTo>
                        <a:pt x="19" y="16"/>
                        <a:pt x="17" y="17"/>
                        <a:pt x="15" y="24"/>
                      </a:cubicBezTo>
                      <a:cubicBezTo>
                        <a:pt x="13" y="30"/>
                        <a:pt x="10" y="28"/>
                        <a:pt x="7" y="36"/>
                      </a:cubicBezTo>
                      <a:cubicBezTo>
                        <a:pt x="4" y="43"/>
                        <a:pt x="0" y="47"/>
                        <a:pt x="5" y="51"/>
                      </a:cubicBezTo>
                      <a:cubicBezTo>
                        <a:pt x="9" y="55"/>
                        <a:pt x="8" y="58"/>
                        <a:pt x="14" y="55"/>
                      </a:cubicBezTo>
                      <a:cubicBezTo>
                        <a:pt x="19" y="51"/>
                        <a:pt x="17" y="49"/>
                        <a:pt x="26" y="41"/>
                      </a:cubicBezTo>
                      <a:cubicBezTo>
                        <a:pt x="34" y="33"/>
                        <a:pt x="41" y="32"/>
                        <a:pt x="41" y="25"/>
                      </a:cubicBezTo>
                      <a:cubicBezTo>
                        <a:pt x="40" y="18"/>
                        <a:pt x="38" y="13"/>
                        <a:pt x="40" y="11"/>
                      </a:cubicBezTo>
                      <a:cubicBezTo>
                        <a:pt x="42" y="8"/>
                        <a:pt x="44" y="5"/>
                        <a:pt x="49" y="7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74" name="Freeform 100"/>
                <p:cNvSpPr/>
                <p:nvPr>
                  <p:custDataLst>
                    <p:tags r:id="rId172"/>
                  </p:custDataLst>
                </p:nvPr>
              </p:nvSpPr>
              <p:spPr bwMode="auto">
                <a:xfrm>
                  <a:off x="3875" y="2446"/>
                  <a:ext cx="76" cy="30"/>
                </a:xfrm>
                <a:custGeom>
                  <a:avLst/>
                  <a:gdLst>
                    <a:gd name="T0" fmla="*/ 131 w 177"/>
                    <a:gd name="T1" fmla="*/ 46 h 72"/>
                    <a:gd name="T2" fmla="*/ 144 w 177"/>
                    <a:gd name="T3" fmla="*/ 51 h 72"/>
                    <a:gd name="T4" fmla="*/ 159 w 177"/>
                    <a:gd name="T5" fmla="*/ 62 h 72"/>
                    <a:gd name="T6" fmla="*/ 173 w 177"/>
                    <a:gd name="T7" fmla="*/ 71 h 72"/>
                    <a:gd name="T8" fmla="*/ 175 w 177"/>
                    <a:gd name="T9" fmla="*/ 57 h 72"/>
                    <a:gd name="T10" fmla="*/ 171 w 177"/>
                    <a:gd name="T11" fmla="*/ 45 h 72"/>
                    <a:gd name="T12" fmla="*/ 161 w 177"/>
                    <a:gd name="T13" fmla="*/ 42 h 72"/>
                    <a:gd name="T14" fmla="*/ 158 w 177"/>
                    <a:gd name="T15" fmla="*/ 27 h 72"/>
                    <a:gd name="T16" fmla="*/ 150 w 177"/>
                    <a:gd name="T17" fmla="*/ 18 h 72"/>
                    <a:gd name="T18" fmla="*/ 133 w 177"/>
                    <a:gd name="T19" fmla="*/ 15 h 72"/>
                    <a:gd name="T20" fmla="*/ 115 w 177"/>
                    <a:gd name="T21" fmla="*/ 12 h 72"/>
                    <a:gd name="T22" fmla="*/ 98 w 177"/>
                    <a:gd name="T23" fmla="*/ 4 h 72"/>
                    <a:gd name="T24" fmla="*/ 78 w 177"/>
                    <a:gd name="T25" fmla="*/ 8 h 72"/>
                    <a:gd name="T26" fmla="*/ 70 w 177"/>
                    <a:gd name="T27" fmla="*/ 11 h 72"/>
                    <a:gd name="T28" fmla="*/ 65 w 177"/>
                    <a:gd name="T29" fmla="*/ 4 h 72"/>
                    <a:gd name="T30" fmla="*/ 51 w 177"/>
                    <a:gd name="T31" fmla="*/ 3 h 72"/>
                    <a:gd name="T32" fmla="*/ 31 w 177"/>
                    <a:gd name="T33" fmla="*/ 11 h 72"/>
                    <a:gd name="T34" fmla="*/ 11 w 177"/>
                    <a:gd name="T35" fmla="*/ 9 h 72"/>
                    <a:gd name="T36" fmla="*/ 5 w 177"/>
                    <a:gd name="T37" fmla="*/ 20 h 72"/>
                    <a:gd name="T38" fmla="*/ 12 w 177"/>
                    <a:gd name="T39" fmla="*/ 33 h 72"/>
                    <a:gd name="T40" fmla="*/ 27 w 177"/>
                    <a:gd name="T41" fmla="*/ 39 h 72"/>
                    <a:gd name="T42" fmla="*/ 44 w 177"/>
                    <a:gd name="T43" fmla="*/ 35 h 72"/>
                    <a:gd name="T44" fmla="*/ 57 w 177"/>
                    <a:gd name="T45" fmla="*/ 37 h 72"/>
                    <a:gd name="T46" fmla="*/ 79 w 177"/>
                    <a:gd name="T47" fmla="*/ 38 h 72"/>
                    <a:gd name="T48" fmla="*/ 100 w 177"/>
                    <a:gd name="T49" fmla="*/ 36 h 72"/>
                    <a:gd name="T50" fmla="*/ 114 w 177"/>
                    <a:gd name="T51" fmla="*/ 36 h 72"/>
                    <a:gd name="T52" fmla="*/ 131 w 177"/>
                    <a:gd name="T53" fmla="*/ 46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177" h="72">
                      <a:moveTo>
                        <a:pt x="131" y="46"/>
                      </a:moveTo>
                      <a:cubicBezTo>
                        <a:pt x="136" y="51"/>
                        <a:pt x="139" y="51"/>
                        <a:pt x="144" y="51"/>
                      </a:cubicBezTo>
                      <a:cubicBezTo>
                        <a:pt x="150" y="51"/>
                        <a:pt x="156" y="57"/>
                        <a:pt x="159" y="62"/>
                      </a:cubicBezTo>
                      <a:cubicBezTo>
                        <a:pt x="161" y="66"/>
                        <a:pt x="169" y="69"/>
                        <a:pt x="173" y="71"/>
                      </a:cubicBezTo>
                      <a:cubicBezTo>
                        <a:pt x="177" y="72"/>
                        <a:pt x="175" y="66"/>
                        <a:pt x="175" y="57"/>
                      </a:cubicBezTo>
                      <a:cubicBezTo>
                        <a:pt x="174" y="48"/>
                        <a:pt x="175" y="49"/>
                        <a:pt x="171" y="45"/>
                      </a:cubicBezTo>
                      <a:cubicBezTo>
                        <a:pt x="167" y="41"/>
                        <a:pt x="165" y="43"/>
                        <a:pt x="161" y="42"/>
                      </a:cubicBezTo>
                      <a:cubicBezTo>
                        <a:pt x="157" y="40"/>
                        <a:pt x="160" y="33"/>
                        <a:pt x="158" y="27"/>
                      </a:cubicBezTo>
                      <a:cubicBezTo>
                        <a:pt x="156" y="21"/>
                        <a:pt x="155" y="21"/>
                        <a:pt x="150" y="18"/>
                      </a:cubicBezTo>
                      <a:cubicBezTo>
                        <a:pt x="145" y="14"/>
                        <a:pt x="141" y="15"/>
                        <a:pt x="133" y="15"/>
                      </a:cubicBezTo>
                      <a:cubicBezTo>
                        <a:pt x="126" y="15"/>
                        <a:pt x="124" y="15"/>
                        <a:pt x="115" y="12"/>
                      </a:cubicBezTo>
                      <a:cubicBezTo>
                        <a:pt x="106" y="10"/>
                        <a:pt x="106" y="8"/>
                        <a:pt x="98" y="4"/>
                      </a:cubicBezTo>
                      <a:cubicBezTo>
                        <a:pt x="90" y="0"/>
                        <a:pt x="89" y="4"/>
                        <a:pt x="78" y="8"/>
                      </a:cubicBezTo>
                      <a:cubicBezTo>
                        <a:pt x="75" y="9"/>
                        <a:pt x="70" y="11"/>
                        <a:pt x="70" y="11"/>
                      </a:cubicBezTo>
                      <a:cubicBezTo>
                        <a:pt x="70" y="11"/>
                        <a:pt x="68" y="9"/>
                        <a:pt x="65" y="4"/>
                      </a:cubicBezTo>
                      <a:cubicBezTo>
                        <a:pt x="62" y="0"/>
                        <a:pt x="59" y="3"/>
                        <a:pt x="51" y="3"/>
                      </a:cubicBezTo>
                      <a:cubicBezTo>
                        <a:pt x="43" y="3"/>
                        <a:pt x="43" y="8"/>
                        <a:pt x="31" y="11"/>
                      </a:cubicBezTo>
                      <a:cubicBezTo>
                        <a:pt x="19" y="14"/>
                        <a:pt x="22" y="9"/>
                        <a:pt x="11" y="9"/>
                      </a:cubicBezTo>
                      <a:cubicBezTo>
                        <a:pt x="0" y="9"/>
                        <a:pt x="6" y="14"/>
                        <a:pt x="5" y="20"/>
                      </a:cubicBezTo>
                      <a:cubicBezTo>
                        <a:pt x="4" y="27"/>
                        <a:pt x="10" y="29"/>
                        <a:pt x="12" y="33"/>
                      </a:cubicBezTo>
                      <a:cubicBezTo>
                        <a:pt x="15" y="37"/>
                        <a:pt x="20" y="39"/>
                        <a:pt x="27" y="39"/>
                      </a:cubicBezTo>
                      <a:cubicBezTo>
                        <a:pt x="33" y="40"/>
                        <a:pt x="36" y="38"/>
                        <a:pt x="44" y="35"/>
                      </a:cubicBezTo>
                      <a:cubicBezTo>
                        <a:pt x="52" y="32"/>
                        <a:pt x="54" y="36"/>
                        <a:pt x="57" y="37"/>
                      </a:cubicBezTo>
                      <a:cubicBezTo>
                        <a:pt x="60" y="38"/>
                        <a:pt x="73" y="39"/>
                        <a:pt x="79" y="38"/>
                      </a:cubicBezTo>
                      <a:cubicBezTo>
                        <a:pt x="84" y="37"/>
                        <a:pt x="95" y="37"/>
                        <a:pt x="100" y="36"/>
                      </a:cubicBezTo>
                      <a:cubicBezTo>
                        <a:pt x="104" y="36"/>
                        <a:pt x="111" y="36"/>
                        <a:pt x="114" y="36"/>
                      </a:cubicBezTo>
                      <a:cubicBezTo>
                        <a:pt x="118" y="36"/>
                        <a:pt x="126" y="42"/>
                        <a:pt x="131" y="46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75" name="Freeform 101"/>
                <p:cNvSpPr>
                  <a:spLocks noEditPoints="1"/>
                </p:cNvSpPr>
                <p:nvPr>
                  <p:custDataLst>
                    <p:tags r:id="rId173"/>
                  </p:custDataLst>
                </p:nvPr>
              </p:nvSpPr>
              <p:spPr bwMode="auto">
                <a:xfrm>
                  <a:off x="3282" y="2244"/>
                  <a:ext cx="353" cy="239"/>
                </a:xfrm>
                <a:custGeom>
                  <a:avLst/>
                  <a:gdLst>
                    <a:gd name="T0" fmla="*/ 723 w 826"/>
                    <a:gd name="T1" fmla="*/ 358 h 559"/>
                    <a:gd name="T2" fmla="*/ 734 w 826"/>
                    <a:gd name="T3" fmla="*/ 327 h 559"/>
                    <a:gd name="T4" fmla="*/ 750 w 826"/>
                    <a:gd name="T5" fmla="*/ 255 h 559"/>
                    <a:gd name="T6" fmla="*/ 774 w 826"/>
                    <a:gd name="T7" fmla="*/ 241 h 559"/>
                    <a:gd name="T8" fmla="*/ 813 w 826"/>
                    <a:gd name="T9" fmla="*/ 226 h 559"/>
                    <a:gd name="T10" fmla="*/ 755 w 826"/>
                    <a:gd name="T11" fmla="*/ 173 h 559"/>
                    <a:gd name="T12" fmla="*/ 743 w 826"/>
                    <a:gd name="T13" fmla="*/ 122 h 559"/>
                    <a:gd name="T14" fmla="*/ 723 w 826"/>
                    <a:gd name="T15" fmla="*/ 86 h 559"/>
                    <a:gd name="T16" fmla="*/ 738 w 826"/>
                    <a:gd name="T17" fmla="*/ 66 h 559"/>
                    <a:gd name="T18" fmla="*/ 739 w 826"/>
                    <a:gd name="T19" fmla="*/ 45 h 559"/>
                    <a:gd name="T20" fmla="*/ 658 w 826"/>
                    <a:gd name="T21" fmla="*/ 33 h 559"/>
                    <a:gd name="T22" fmla="*/ 623 w 826"/>
                    <a:gd name="T23" fmla="*/ 58 h 559"/>
                    <a:gd name="T24" fmla="*/ 614 w 826"/>
                    <a:gd name="T25" fmla="*/ 114 h 559"/>
                    <a:gd name="T26" fmla="*/ 595 w 826"/>
                    <a:gd name="T27" fmla="*/ 146 h 559"/>
                    <a:gd name="T28" fmla="*/ 577 w 826"/>
                    <a:gd name="T29" fmla="*/ 182 h 559"/>
                    <a:gd name="T30" fmla="*/ 553 w 826"/>
                    <a:gd name="T31" fmla="*/ 217 h 559"/>
                    <a:gd name="T32" fmla="*/ 507 w 826"/>
                    <a:gd name="T33" fmla="*/ 226 h 559"/>
                    <a:gd name="T34" fmla="*/ 450 w 826"/>
                    <a:gd name="T35" fmla="*/ 212 h 559"/>
                    <a:gd name="T36" fmla="*/ 402 w 826"/>
                    <a:gd name="T37" fmla="*/ 237 h 559"/>
                    <a:gd name="T38" fmla="*/ 340 w 826"/>
                    <a:gd name="T39" fmla="*/ 242 h 559"/>
                    <a:gd name="T40" fmla="*/ 246 w 826"/>
                    <a:gd name="T41" fmla="*/ 191 h 559"/>
                    <a:gd name="T42" fmla="*/ 231 w 826"/>
                    <a:gd name="T43" fmla="*/ 195 h 559"/>
                    <a:gd name="T44" fmla="*/ 228 w 826"/>
                    <a:gd name="T45" fmla="*/ 221 h 559"/>
                    <a:gd name="T46" fmla="*/ 212 w 826"/>
                    <a:gd name="T47" fmla="*/ 244 h 559"/>
                    <a:gd name="T48" fmla="*/ 211 w 826"/>
                    <a:gd name="T49" fmla="*/ 279 h 559"/>
                    <a:gd name="T50" fmla="*/ 223 w 826"/>
                    <a:gd name="T51" fmla="*/ 319 h 559"/>
                    <a:gd name="T52" fmla="*/ 231 w 826"/>
                    <a:gd name="T53" fmla="*/ 350 h 559"/>
                    <a:gd name="T54" fmla="*/ 265 w 826"/>
                    <a:gd name="T55" fmla="*/ 361 h 559"/>
                    <a:gd name="T56" fmla="*/ 273 w 826"/>
                    <a:gd name="T57" fmla="*/ 416 h 559"/>
                    <a:gd name="T58" fmla="*/ 287 w 826"/>
                    <a:gd name="T59" fmla="*/ 466 h 559"/>
                    <a:gd name="T60" fmla="*/ 332 w 826"/>
                    <a:gd name="T61" fmla="*/ 480 h 559"/>
                    <a:gd name="T62" fmla="*/ 365 w 826"/>
                    <a:gd name="T63" fmla="*/ 483 h 559"/>
                    <a:gd name="T64" fmla="*/ 389 w 826"/>
                    <a:gd name="T65" fmla="*/ 507 h 559"/>
                    <a:gd name="T66" fmla="*/ 442 w 826"/>
                    <a:gd name="T67" fmla="*/ 503 h 559"/>
                    <a:gd name="T68" fmla="*/ 490 w 826"/>
                    <a:gd name="T69" fmla="*/ 496 h 559"/>
                    <a:gd name="T70" fmla="*/ 531 w 826"/>
                    <a:gd name="T71" fmla="*/ 502 h 559"/>
                    <a:gd name="T72" fmla="*/ 563 w 826"/>
                    <a:gd name="T73" fmla="*/ 550 h 559"/>
                    <a:gd name="T74" fmla="*/ 632 w 826"/>
                    <a:gd name="T75" fmla="*/ 528 h 559"/>
                    <a:gd name="T76" fmla="*/ 658 w 826"/>
                    <a:gd name="T77" fmla="*/ 491 h 559"/>
                    <a:gd name="T78" fmla="*/ 667 w 826"/>
                    <a:gd name="T79" fmla="*/ 468 h 559"/>
                    <a:gd name="T80" fmla="*/ 679 w 826"/>
                    <a:gd name="T81" fmla="*/ 440 h 559"/>
                    <a:gd name="T82" fmla="*/ 669 w 826"/>
                    <a:gd name="T83" fmla="*/ 423 h 559"/>
                    <a:gd name="T84" fmla="*/ 683 w 826"/>
                    <a:gd name="T85" fmla="*/ 390 h 559"/>
                    <a:gd name="T86" fmla="*/ 6 w 826"/>
                    <a:gd name="T87" fmla="*/ 127 h 559"/>
                    <a:gd name="T88" fmla="*/ 207 w 826"/>
                    <a:gd name="T89" fmla="*/ 126 h 559"/>
                    <a:gd name="T90" fmla="*/ 144 w 826"/>
                    <a:gd name="T91" fmla="*/ 4 h 559"/>
                    <a:gd name="T92" fmla="*/ 168 w 826"/>
                    <a:gd name="T93" fmla="*/ 51 h 559"/>
                    <a:gd name="T94" fmla="*/ 174 w 826"/>
                    <a:gd name="T95" fmla="*/ 67 h 559"/>
                    <a:gd name="T96" fmla="*/ 666 w 826"/>
                    <a:gd name="T97" fmla="*/ 520 h 559"/>
                    <a:gd name="T98" fmla="*/ 651 w 826"/>
                    <a:gd name="T99" fmla="*/ 553 h 5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825" h="559">
                      <a:moveTo>
                        <a:pt x="696" y="370"/>
                      </a:moveTo>
                      <a:cubicBezTo>
                        <a:pt x="703" y="370"/>
                        <a:pt x="698" y="376"/>
                        <a:pt x="704" y="375"/>
                      </a:cubicBezTo>
                      <a:cubicBezTo>
                        <a:pt x="710" y="374"/>
                        <a:pt x="717" y="369"/>
                        <a:pt x="719" y="368"/>
                      </a:cubicBezTo>
                      <a:cubicBezTo>
                        <a:pt x="721" y="367"/>
                        <a:pt x="723" y="364"/>
                        <a:pt x="723" y="358"/>
                      </a:cubicBezTo>
                      <a:cubicBezTo>
                        <a:pt x="724" y="352"/>
                        <a:pt x="727" y="352"/>
                        <a:pt x="730" y="351"/>
                      </a:cubicBezTo>
                      <a:cubicBezTo>
                        <a:pt x="734" y="350"/>
                        <a:pt x="738" y="349"/>
                        <a:pt x="738" y="343"/>
                      </a:cubicBezTo>
                      <a:cubicBezTo>
                        <a:pt x="739" y="337"/>
                        <a:pt x="745" y="335"/>
                        <a:pt x="742" y="330"/>
                      </a:cubicBezTo>
                      <a:cubicBezTo>
                        <a:pt x="739" y="325"/>
                        <a:pt x="738" y="330"/>
                        <a:pt x="734" y="327"/>
                      </a:cubicBezTo>
                      <a:cubicBezTo>
                        <a:pt x="730" y="324"/>
                        <a:pt x="734" y="324"/>
                        <a:pt x="736" y="312"/>
                      </a:cubicBezTo>
                      <a:cubicBezTo>
                        <a:pt x="738" y="299"/>
                        <a:pt x="736" y="304"/>
                        <a:pt x="736" y="294"/>
                      </a:cubicBezTo>
                      <a:cubicBezTo>
                        <a:pt x="736" y="283"/>
                        <a:pt x="738" y="280"/>
                        <a:pt x="745" y="272"/>
                      </a:cubicBezTo>
                      <a:cubicBezTo>
                        <a:pt x="752" y="265"/>
                        <a:pt x="749" y="260"/>
                        <a:pt x="750" y="255"/>
                      </a:cubicBezTo>
                      <a:cubicBezTo>
                        <a:pt x="752" y="249"/>
                        <a:pt x="759" y="252"/>
                        <a:pt x="764" y="250"/>
                      </a:cubicBezTo>
                      <a:cubicBezTo>
                        <a:pt x="769" y="248"/>
                        <a:pt x="766" y="245"/>
                        <a:pt x="764" y="238"/>
                      </a:cubicBezTo>
                      <a:cubicBezTo>
                        <a:pt x="761" y="232"/>
                        <a:pt x="761" y="233"/>
                        <a:pt x="763" y="232"/>
                      </a:cubicBezTo>
                      <a:cubicBezTo>
                        <a:pt x="765" y="231"/>
                        <a:pt x="772" y="236"/>
                        <a:pt x="774" y="241"/>
                      </a:cubicBezTo>
                      <a:cubicBezTo>
                        <a:pt x="777" y="246"/>
                        <a:pt x="783" y="246"/>
                        <a:pt x="787" y="247"/>
                      </a:cubicBezTo>
                      <a:cubicBezTo>
                        <a:pt x="792" y="249"/>
                        <a:pt x="805" y="251"/>
                        <a:pt x="811" y="251"/>
                      </a:cubicBezTo>
                      <a:cubicBezTo>
                        <a:pt x="818" y="251"/>
                        <a:pt x="826" y="248"/>
                        <a:pt x="824" y="239"/>
                      </a:cubicBezTo>
                      <a:cubicBezTo>
                        <a:pt x="823" y="231"/>
                        <a:pt x="819" y="238"/>
                        <a:pt x="813" y="226"/>
                      </a:cubicBezTo>
                      <a:cubicBezTo>
                        <a:pt x="806" y="214"/>
                        <a:pt x="805" y="221"/>
                        <a:pt x="796" y="216"/>
                      </a:cubicBezTo>
                      <a:cubicBezTo>
                        <a:pt x="787" y="211"/>
                        <a:pt x="789" y="211"/>
                        <a:pt x="785" y="200"/>
                      </a:cubicBezTo>
                      <a:cubicBezTo>
                        <a:pt x="781" y="190"/>
                        <a:pt x="776" y="193"/>
                        <a:pt x="765" y="187"/>
                      </a:cubicBezTo>
                      <a:cubicBezTo>
                        <a:pt x="754" y="181"/>
                        <a:pt x="755" y="179"/>
                        <a:pt x="755" y="173"/>
                      </a:cubicBezTo>
                      <a:cubicBezTo>
                        <a:pt x="756" y="167"/>
                        <a:pt x="762" y="170"/>
                        <a:pt x="766" y="162"/>
                      </a:cubicBezTo>
                      <a:cubicBezTo>
                        <a:pt x="771" y="155"/>
                        <a:pt x="773" y="155"/>
                        <a:pt x="765" y="147"/>
                      </a:cubicBezTo>
                      <a:cubicBezTo>
                        <a:pt x="757" y="140"/>
                        <a:pt x="758" y="139"/>
                        <a:pt x="750" y="132"/>
                      </a:cubicBezTo>
                      <a:cubicBezTo>
                        <a:pt x="743" y="126"/>
                        <a:pt x="746" y="129"/>
                        <a:pt x="743" y="122"/>
                      </a:cubicBezTo>
                      <a:cubicBezTo>
                        <a:pt x="740" y="115"/>
                        <a:pt x="745" y="116"/>
                        <a:pt x="744" y="109"/>
                      </a:cubicBezTo>
                      <a:cubicBezTo>
                        <a:pt x="743" y="101"/>
                        <a:pt x="739" y="110"/>
                        <a:pt x="731" y="106"/>
                      </a:cubicBezTo>
                      <a:cubicBezTo>
                        <a:pt x="724" y="102"/>
                        <a:pt x="726" y="101"/>
                        <a:pt x="727" y="95"/>
                      </a:cubicBezTo>
                      <a:cubicBezTo>
                        <a:pt x="729" y="89"/>
                        <a:pt x="729" y="89"/>
                        <a:pt x="723" y="86"/>
                      </a:cubicBezTo>
                      <a:cubicBezTo>
                        <a:pt x="717" y="83"/>
                        <a:pt x="711" y="85"/>
                        <a:pt x="710" y="80"/>
                      </a:cubicBezTo>
                      <a:cubicBezTo>
                        <a:pt x="708" y="75"/>
                        <a:pt x="717" y="77"/>
                        <a:pt x="723" y="77"/>
                      </a:cubicBezTo>
                      <a:cubicBezTo>
                        <a:pt x="729" y="77"/>
                        <a:pt x="732" y="78"/>
                        <a:pt x="736" y="76"/>
                      </a:cubicBezTo>
                      <a:cubicBezTo>
                        <a:pt x="741" y="75"/>
                        <a:pt x="736" y="69"/>
                        <a:pt x="738" y="66"/>
                      </a:cubicBezTo>
                      <a:cubicBezTo>
                        <a:pt x="740" y="63"/>
                        <a:pt x="746" y="70"/>
                        <a:pt x="750" y="71"/>
                      </a:cubicBezTo>
                      <a:cubicBezTo>
                        <a:pt x="754" y="71"/>
                        <a:pt x="754" y="65"/>
                        <a:pt x="751" y="63"/>
                      </a:cubicBezTo>
                      <a:cubicBezTo>
                        <a:pt x="749" y="61"/>
                        <a:pt x="743" y="57"/>
                        <a:pt x="739" y="50"/>
                      </a:cubicBezTo>
                      <a:cubicBezTo>
                        <a:pt x="737" y="47"/>
                        <a:pt x="738" y="46"/>
                        <a:pt x="739" y="45"/>
                      </a:cubicBezTo>
                      <a:cubicBezTo>
                        <a:pt x="731" y="43"/>
                        <a:pt x="723" y="41"/>
                        <a:pt x="718" y="40"/>
                      </a:cubicBezTo>
                      <a:cubicBezTo>
                        <a:pt x="713" y="39"/>
                        <a:pt x="710" y="39"/>
                        <a:pt x="706" y="39"/>
                      </a:cubicBezTo>
                      <a:cubicBezTo>
                        <a:pt x="698" y="39"/>
                        <a:pt x="691" y="38"/>
                        <a:pt x="680" y="35"/>
                      </a:cubicBezTo>
                      <a:cubicBezTo>
                        <a:pt x="672" y="33"/>
                        <a:pt x="665" y="32"/>
                        <a:pt x="658" y="33"/>
                      </a:cubicBezTo>
                      <a:cubicBezTo>
                        <a:pt x="651" y="34"/>
                        <a:pt x="645" y="36"/>
                        <a:pt x="638" y="38"/>
                      </a:cubicBezTo>
                      <a:cubicBezTo>
                        <a:pt x="629" y="41"/>
                        <a:pt x="626" y="48"/>
                        <a:pt x="624" y="53"/>
                      </a:cubicBezTo>
                      <a:cubicBezTo>
                        <a:pt x="624" y="53"/>
                        <a:pt x="624" y="53"/>
                        <a:pt x="624" y="53"/>
                      </a:cubicBezTo>
                      <a:cubicBezTo>
                        <a:pt x="624" y="55"/>
                        <a:pt x="623" y="56"/>
                        <a:pt x="623" y="58"/>
                      </a:cubicBezTo>
                      <a:cubicBezTo>
                        <a:pt x="622" y="59"/>
                        <a:pt x="622" y="64"/>
                        <a:pt x="623" y="69"/>
                      </a:cubicBezTo>
                      <a:cubicBezTo>
                        <a:pt x="624" y="74"/>
                        <a:pt x="625" y="79"/>
                        <a:pt x="624" y="84"/>
                      </a:cubicBezTo>
                      <a:cubicBezTo>
                        <a:pt x="624" y="90"/>
                        <a:pt x="623" y="96"/>
                        <a:pt x="622" y="101"/>
                      </a:cubicBezTo>
                      <a:cubicBezTo>
                        <a:pt x="620" y="106"/>
                        <a:pt x="617" y="111"/>
                        <a:pt x="614" y="114"/>
                      </a:cubicBezTo>
                      <a:cubicBezTo>
                        <a:pt x="610" y="118"/>
                        <a:pt x="607" y="120"/>
                        <a:pt x="603" y="121"/>
                      </a:cubicBezTo>
                      <a:cubicBezTo>
                        <a:pt x="600" y="123"/>
                        <a:pt x="597" y="124"/>
                        <a:pt x="595" y="127"/>
                      </a:cubicBezTo>
                      <a:cubicBezTo>
                        <a:pt x="593" y="131"/>
                        <a:pt x="593" y="134"/>
                        <a:pt x="594" y="139"/>
                      </a:cubicBezTo>
                      <a:cubicBezTo>
                        <a:pt x="595" y="141"/>
                        <a:pt x="595" y="143"/>
                        <a:pt x="595" y="146"/>
                      </a:cubicBezTo>
                      <a:cubicBezTo>
                        <a:pt x="597" y="155"/>
                        <a:pt x="591" y="157"/>
                        <a:pt x="585" y="159"/>
                      </a:cubicBezTo>
                      <a:cubicBezTo>
                        <a:pt x="582" y="160"/>
                        <a:pt x="580" y="161"/>
                        <a:pt x="578" y="162"/>
                      </a:cubicBezTo>
                      <a:cubicBezTo>
                        <a:pt x="575" y="165"/>
                        <a:pt x="576" y="170"/>
                        <a:pt x="577" y="175"/>
                      </a:cubicBezTo>
                      <a:cubicBezTo>
                        <a:pt x="577" y="177"/>
                        <a:pt x="577" y="179"/>
                        <a:pt x="577" y="182"/>
                      </a:cubicBezTo>
                      <a:cubicBezTo>
                        <a:pt x="577" y="187"/>
                        <a:pt x="575" y="189"/>
                        <a:pt x="572" y="193"/>
                      </a:cubicBezTo>
                      <a:cubicBezTo>
                        <a:pt x="571" y="194"/>
                        <a:pt x="569" y="196"/>
                        <a:pt x="568" y="199"/>
                      </a:cubicBezTo>
                      <a:cubicBezTo>
                        <a:pt x="567" y="201"/>
                        <a:pt x="566" y="203"/>
                        <a:pt x="565" y="204"/>
                      </a:cubicBezTo>
                      <a:cubicBezTo>
                        <a:pt x="562" y="209"/>
                        <a:pt x="561" y="213"/>
                        <a:pt x="553" y="217"/>
                      </a:cubicBezTo>
                      <a:cubicBezTo>
                        <a:pt x="547" y="221"/>
                        <a:pt x="543" y="221"/>
                        <a:pt x="538" y="220"/>
                      </a:cubicBezTo>
                      <a:cubicBezTo>
                        <a:pt x="536" y="219"/>
                        <a:pt x="532" y="218"/>
                        <a:pt x="527" y="219"/>
                      </a:cubicBezTo>
                      <a:cubicBezTo>
                        <a:pt x="518" y="220"/>
                        <a:pt x="515" y="222"/>
                        <a:pt x="512" y="223"/>
                      </a:cubicBezTo>
                      <a:cubicBezTo>
                        <a:pt x="511" y="224"/>
                        <a:pt x="509" y="225"/>
                        <a:pt x="507" y="226"/>
                      </a:cubicBezTo>
                      <a:cubicBezTo>
                        <a:pt x="504" y="228"/>
                        <a:pt x="500" y="229"/>
                        <a:pt x="496" y="230"/>
                      </a:cubicBezTo>
                      <a:cubicBezTo>
                        <a:pt x="491" y="230"/>
                        <a:pt x="486" y="229"/>
                        <a:pt x="480" y="227"/>
                      </a:cubicBezTo>
                      <a:cubicBezTo>
                        <a:pt x="477" y="225"/>
                        <a:pt x="475" y="223"/>
                        <a:pt x="472" y="222"/>
                      </a:cubicBezTo>
                      <a:cubicBezTo>
                        <a:pt x="464" y="217"/>
                        <a:pt x="455" y="212"/>
                        <a:pt x="450" y="212"/>
                      </a:cubicBezTo>
                      <a:cubicBezTo>
                        <a:pt x="445" y="212"/>
                        <a:pt x="437" y="212"/>
                        <a:pt x="429" y="213"/>
                      </a:cubicBezTo>
                      <a:cubicBezTo>
                        <a:pt x="422" y="213"/>
                        <a:pt x="415" y="215"/>
                        <a:pt x="411" y="217"/>
                      </a:cubicBezTo>
                      <a:cubicBezTo>
                        <a:pt x="408" y="220"/>
                        <a:pt x="407" y="223"/>
                        <a:pt x="407" y="226"/>
                      </a:cubicBezTo>
                      <a:cubicBezTo>
                        <a:pt x="406" y="230"/>
                        <a:pt x="405" y="233"/>
                        <a:pt x="402" y="237"/>
                      </a:cubicBezTo>
                      <a:cubicBezTo>
                        <a:pt x="399" y="242"/>
                        <a:pt x="394" y="244"/>
                        <a:pt x="389" y="244"/>
                      </a:cubicBezTo>
                      <a:cubicBezTo>
                        <a:pt x="383" y="245"/>
                        <a:pt x="377" y="244"/>
                        <a:pt x="369" y="243"/>
                      </a:cubicBezTo>
                      <a:cubicBezTo>
                        <a:pt x="363" y="241"/>
                        <a:pt x="358" y="240"/>
                        <a:pt x="354" y="240"/>
                      </a:cubicBezTo>
                      <a:cubicBezTo>
                        <a:pt x="350" y="240"/>
                        <a:pt x="346" y="241"/>
                        <a:pt x="340" y="242"/>
                      </a:cubicBezTo>
                      <a:cubicBezTo>
                        <a:pt x="337" y="243"/>
                        <a:pt x="334" y="244"/>
                        <a:pt x="331" y="245"/>
                      </a:cubicBezTo>
                      <a:cubicBezTo>
                        <a:pt x="321" y="247"/>
                        <a:pt x="311" y="250"/>
                        <a:pt x="300" y="247"/>
                      </a:cubicBezTo>
                      <a:cubicBezTo>
                        <a:pt x="292" y="245"/>
                        <a:pt x="280" y="234"/>
                        <a:pt x="269" y="223"/>
                      </a:cubicBezTo>
                      <a:cubicBezTo>
                        <a:pt x="257" y="211"/>
                        <a:pt x="246" y="196"/>
                        <a:pt x="246" y="191"/>
                      </a:cubicBezTo>
                      <a:cubicBezTo>
                        <a:pt x="246" y="187"/>
                        <a:pt x="247" y="184"/>
                        <a:pt x="248" y="180"/>
                      </a:cubicBezTo>
                      <a:cubicBezTo>
                        <a:pt x="247" y="180"/>
                        <a:pt x="246" y="181"/>
                        <a:pt x="244" y="181"/>
                      </a:cubicBezTo>
                      <a:cubicBezTo>
                        <a:pt x="240" y="181"/>
                        <a:pt x="240" y="184"/>
                        <a:pt x="236" y="187"/>
                      </a:cubicBezTo>
                      <a:cubicBezTo>
                        <a:pt x="233" y="189"/>
                        <a:pt x="233" y="192"/>
                        <a:pt x="231" y="195"/>
                      </a:cubicBezTo>
                      <a:cubicBezTo>
                        <a:pt x="228" y="199"/>
                        <a:pt x="225" y="201"/>
                        <a:pt x="221" y="204"/>
                      </a:cubicBezTo>
                      <a:cubicBezTo>
                        <a:pt x="218" y="207"/>
                        <a:pt x="220" y="208"/>
                        <a:pt x="222" y="211"/>
                      </a:cubicBezTo>
                      <a:cubicBezTo>
                        <a:pt x="223" y="213"/>
                        <a:pt x="226" y="212"/>
                        <a:pt x="228" y="214"/>
                      </a:cubicBezTo>
                      <a:cubicBezTo>
                        <a:pt x="231" y="216"/>
                        <a:pt x="229" y="217"/>
                        <a:pt x="228" y="221"/>
                      </a:cubicBezTo>
                      <a:cubicBezTo>
                        <a:pt x="227" y="224"/>
                        <a:pt x="225" y="224"/>
                        <a:pt x="220" y="226"/>
                      </a:cubicBezTo>
                      <a:cubicBezTo>
                        <a:pt x="216" y="228"/>
                        <a:pt x="217" y="227"/>
                        <a:pt x="213" y="228"/>
                      </a:cubicBezTo>
                      <a:cubicBezTo>
                        <a:pt x="209" y="230"/>
                        <a:pt x="211" y="231"/>
                        <a:pt x="211" y="234"/>
                      </a:cubicBezTo>
                      <a:cubicBezTo>
                        <a:pt x="211" y="236"/>
                        <a:pt x="212" y="239"/>
                        <a:pt x="212" y="244"/>
                      </a:cubicBezTo>
                      <a:cubicBezTo>
                        <a:pt x="212" y="248"/>
                        <a:pt x="210" y="246"/>
                        <a:pt x="206" y="249"/>
                      </a:cubicBezTo>
                      <a:cubicBezTo>
                        <a:pt x="203" y="253"/>
                        <a:pt x="205" y="254"/>
                        <a:pt x="205" y="259"/>
                      </a:cubicBezTo>
                      <a:cubicBezTo>
                        <a:pt x="206" y="265"/>
                        <a:pt x="208" y="263"/>
                        <a:pt x="211" y="269"/>
                      </a:cubicBezTo>
                      <a:cubicBezTo>
                        <a:pt x="215" y="275"/>
                        <a:pt x="211" y="276"/>
                        <a:pt x="211" y="279"/>
                      </a:cubicBezTo>
                      <a:cubicBezTo>
                        <a:pt x="211" y="282"/>
                        <a:pt x="214" y="285"/>
                        <a:pt x="218" y="287"/>
                      </a:cubicBezTo>
                      <a:cubicBezTo>
                        <a:pt x="223" y="290"/>
                        <a:pt x="226" y="293"/>
                        <a:pt x="228" y="297"/>
                      </a:cubicBezTo>
                      <a:cubicBezTo>
                        <a:pt x="229" y="300"/>
                        <a:pt x="226" y="301"/>
                        <a:pt x="226" y="306"/>
                      </a:cubicBezTo>
                      <a:cubicBezTo>
                        <a:pt x="226" y="311"/>
                        <a:pt x="226" y="313"/>
                        <a:pt x="223" y="319"/>
                      </a:cubicBezTo>
                      <a:cubicBezTo>
                        <a:pt x="221" y="324"/>
                        <a:pt x="221" y="321"/>
                        <a:pt x="217" y="322"/>
                      </a:cubicBezTo>
                      <a:cubicBezTo>
                        <a:pt x="214" y="323"/>
                        <a:pt x="217" y="324"/>
                        <a:pt x="218" y="329"/>
                      </a:cubicBezTo>
                      <a:cubicBezTo>
                        <a:pt x="220" y="334"/>
                        <a:pt x="222" y="332"/>
                        <a:pt x="227" y="337"/>
                      </a:cubicBezTo>
                      <a:cubicBezTo>
                        <a:pt x="232" y="342"/>
                        <a:pt x="229" y="344"/>
                        <a:pt x="231" y="350"/>
                      </a:cubicBezTo>
                      <a:cubicBezTo>
                        <a:pt x="233" y="356"/>
                        <a:pt x="235" y="352"/>
                        <a:pt x="239" y="354"/>
                      </a:cubicBezTo>
                      <a:cubicBezTo>
                        <a:pt x="243" y="356"/>
                        <a:pt x="245" y="359"/>
                        <a:pt x="250" y="358"/>
                      </a:cubicBezTo>
                      <a:cubicBezTo>
                        <a:pt x="256" y="358"/>
                        <a:pt x="254" y="356"/>
                        <a:pt x="259" y="355"/>
                      </a:cubicBezTo>
                      <a:cubicBezTo>
                        <a:pt x="264" y="354"/>
                        <a:pt x="264" y="357"/>
                        <a:pt x="265" y="361"/>
                      </a:cubicBezTo>
                      <a:cubicBezTo>
                        <a:pt x="267" y="364"/>
                        <a:pt x="266" y="366"/>
                        <a:pt x="272" y="372"/>
                      </a:cubicBezTo>
                      <a:cubicBezTo>
                        <a:pt x="278" y="379"/>
                        <a:pt x="275" y="376"/>
                        <a:pt x="277" y="382"/>
                      </a:cubicBezTo>
                      <a:cubicBezTo>
                        <a:pt x="278" y="389"/>
                        <a:pt x="277" y="397"/>
                        <a:pt x="273" y="402"/>
                      </a:cubicBezTo>
                      <a:cubicBezTo>
                        <a:pt x="269" y="407"/>
                        <a:pt x="272" y="408"/>
                        <a:pt x="273" y="416"/>
                      </a:cubicBezTo>
                      <a:cubicBezTo>
                        <a:pt x="273" y="424"/>
                        <a:pt x="277" y="422"/>
                        <a:pt x="282" y="425"/>
                      </a:cubicBezTo>
                      <a:cubicBezTo>
                        <a:pt x="286" y="428"/>
                        <a:pt x="288" y="433"/>
                        <a:pt x="290" y="441"/>
                      </a:cubicBezTo>
                      <a:cubicBezTo>
                        <a:pt x="292" y="450"/>
                        <a:pt x="290" y="448"/>
                        <a:pt x="287" y="456"/>
                      </a:cubicBezTo>
                      <a:cubicBezTo>
                        <a:pt x="283" y="464"/>
                        <a:pt x="284" y="462"/>
                        <a:pt x="287" y="466"/>
                      </a:cubicBezTo>
                      <a:cubicBezTo>
                        <a:pt x="290" y="469"/>
                        <a:pt x="290" y="473"/>
                        <a:pt x="291" y="480"/>
                      </a:cubicBezTo>
                      <a:cubicBezTo>
                        <a:pt x="292" y="486"/>
                        <a:pt x="294" y="485"/>
                        <a:pt x="299" y="488"/>
                      </a:cubicBezTo>
                      <a:cubicBezTo>
                        <a:pt x="304" y="491"/>
                        <a:pt x="315" y="487"/>
                        <a:pt x="318" y="484"/>
                      </a:cubicBezTo>
                      <a:cubicBezTo>
                        <a:pt x="321" y="481"/>
                        <a:pt x="329" y="479"/>
                        <a:pt x="332" y="480"/>
                      </a:cubicBezTo>
                      <a:cubicBezTo>
                        <a:pt x="335" y="481"/>
                        <a:pt x="331" y="483"/>
                        <a:pt x="330" y="487"/>
                      </a:cubicBezTo>
                      <a:cubicBezTo>
                        <a:pt x="328" y="491"/>
                        <a:pt x="333" y="490"/>
                        <a:pt x="339" y="488"/>
                      </a:cubicBezTo>
                      <a:cubicBezTo>
                        <a:pt x="344" y="487"/>
                        <a:pt x="347" y="486"/>
                        <a:pt x="354" y="482"/>
                      </a:cubicBezTo>
                      <a:cubicBezTo>
                        <a:pt x="361" y="478"/>
                        <a:pt x="357" y="482"/>
                        <a:pt x="365" y="483"/>
                      </a:cubicBezTo>
                      <a:cubicBezTo>
                        <a:pt x="373" y="485"/>
                        <a:pt x="372" y="483"/>
                        <a:pt x="375" y="476"/>
                      </a:cubicBezTo>
                      <a:cubicBezTo>
                        <a:pt x="378" y="470"/>
                        <a:pt x="381" y="471"/>
                        <a:pt x="385" y="476"/>
                      </a:cubicBezTo>
                      <a:cubicBezTo>
                        <a:pt x="389" y="481"/>
                        <a:pt x="386" y="483"/>
                        <a:pt x="387" y="490"/>
                      </a:cubicBezTo>
                      <a:cubicBezTo>
                        <a:pt x="389" y="496"/>
                        <a:pt x="387" y="497"/>
                        <a:pt x="389" y="507"/>
                      </a:cubicBezTo>
                      <a:cubicBezTo>
                        <a:pt x="392" y="518"/>
                        <a:pt x="389" y="514"/>
                        <a:pt x="394" y="516"/>
                      </a:cubicBezTo>
                      <a:cubicBezTo>
                        <a:pt x="400" y="518"/>
                        <a:pt x="406" y="511"/>
                        <a:pt x="410" y="507"/>
                      </a:cubicBezTo>
                      <a:cubicBezTo>
                        <a:pt x="415" y="503"/>
                        <a:pt x="416" y="504"/>
                        <a:pt x="422" y="503"/>
                      </a:cubicBezTo>
                      <a:cubicBezTo>
                        <a:pt x="427" y="501"/>
                        <a:pt x="430" y="503"/>
                        <a:pt x="442" y="503"/>
                      </a:cubicBezTo>
                      <a:cubicBezTo>
                        <a:pt x="454" y="502"/>
                        <a:pt x="450" y="499"/>
                        <a:pt x="454" y="493"/>
                      </a:cubicBezTo>
                      <a:cubicBezTo>
                        <a:pt x="457" y="487"/>
                        <a:pt x="459" y="485"/>
                        <a:pt x="464" y="484"/>
                      </a:cubicBezTo>
                      <a:cubicBezTo>
                        <a:pt x="469" y="482"/>
                        <a:pt x="472" y="488"/>
                        <a:pt x="475" y="492"/>
                      </a:cubicBezTo>
                      <a:cubicBezTo>
                        <a:pt x="479" y="497"/>
                        <a:pt x="479" y="496"/>
                        <a:pt x="490" y="496"/>
                      </a:cubicBezTo>
                      <a:cubicBezTo>
                        <a:pt x="500" y="496"/>
                        <a:pt x="499" y="497"/>
                        <a:pt x="501" y="503"/>
                      </a:cubicBezTo>
                      <a:cubicBezTo>
                        <a:pt x="503" y="508"/>
                        <a:pt x="505" y="510"/>
                        <a:pt x="510" y="510"/>
                      </a:cubicBezTo>
                      <a:cubicBezTo>
                        <a:pt x="515" y="511"/>
                        <a:pt x="517" y="509"/>
                        <a:pt x="522" y="505"/>
                      </a:cubicBezTo>
                      <a:cubicBezTo>
                        <a:pt x="527" y="500"/>
                        <a:pt x="529" y="500"/>
                        <a:pt x="531" y="502"/>
                      </a:cubicBezTo>
                      <a:cubicBezTo>
                        <a:pt x="532" y="504"/>
                        <a:pt x="538" y="508"/>
                        <a:pt x="541" y="506"/>
                      </a:cubicBezTo>
                      <a:cubicBezTo>
                        <a:pt x="544" y="504"/>
                        <a:pt x="547" y="505"/>
                        <a:pt x="553" y="510"/>
                      </a:cubicBezTo>
                      <a:cubicBezTo>
                        <a:pt x="558" y="515"/>
                        <a:pt x="556" y="516"/>
                        <a:pt x="555" y="529"/>
                      </a:cubicBezTo>
                      <a:cubicBezTo>
                        <a:pt x="555" y="542"/>
                        <a:pt x="560" y="541"/>
                        <a:pt x="563" y="550"/>
                      </a:cubicBezTo>
                      <a:cubicBezTo>
                        <a:pt x="565" y="559"/>
                        <a:pt x="564" y="559"/>
                        <a:pt x="571" y="554"/>
                      </a:cubicBezTo>
                      <a:cubicBezTo>
                        <a:pt x="579" y="550"/>
                        <a:pt x="588" y="549"/>
                        <a:pt x="596" y="545"/>
                      </a:cubicBezTo>
                      <a:cubicBezTo>
                        <a:pt x="604" y="541"/>
                        <a:pt x="613" y="542"/>
                        <a:pt x="616" y="537"/>
                      </a:cubicBezTo>
                      <a:cubicBezTo>
                        <a:pt x="620" y="531"/>
                        <a:pt x="625" y="531"/>
                        <a:pt x="632" y="528"/>
                      </a:cubicBezTo>
                      <a:cubicBezTo>
                        <a:pt x="639" y="525"/>
                        <a:pt x="642" y="525"/>
                        <a:pt x="643" y="522"/>
                      </a:cubicBezTo>
                      <a:cubicBezTo>
                        <a:pt x="643" y="518"/>
                        <a:pt x="644" y="517"/>
                        <a:pt x="644" y="509"/>
                      </a:cubicBezTo>
                      <a:cubicBezTo>
                        <a:pt x="644" y="502"/>
                        <a:pt x="650" y="503"/>
                        <a:pt x="656" y="498"/>
                      </a:cubicBezTo>
                      <a:cubicBezTo>
                        <a:pt x="662" y="492"/>
                        <a:pt x="660" y="494"/>
                        <a:pt x="658" y="491"/>
                      </a:cubicBezTo>
                      <a:cubicBezTo>
                        <a:pt x="655" y="487"/>
                        <a:pt x="652" y="485"/>
                        <a:pt x="651" y="479"/>
                      </a:cubicBezTo>
                      <a:cubicBezTo>
                        <a:pt x="650" y="473"/>
                        <a:pt x="650" y="473"/>
                        <a:pt x="655" y="474"/>
                      </a:cubicBezTo>
                      <a:cubicBezTo>
                        <a:pt x="661" y="474"/>
                        <a:pt x="662" y="478"/>
                        <a:pt x="666" y="476"/>
                      </a:cubicBezTo>
                      <a:cubicBezTo>
                        <a:pt x="669" y="474"/>
                        <a:pt x="668" y="473"/>
                        <a:pt x="667" y="468"/>
                      </a:cubicBezTo>
                      <a:cubicBezTo>
                        <a:pt x="667" y="464"/>
                        <a:pt x="665" y="464"/>
                        <a:pt x="662" y="461"/>
                      </a:cubicBezTo>
                      <a:cubicBezTo>
                        <a:pt x="660" y="457"/>
                        <a:pt x="663" y="454"/>
                        <a:pt x="666" y="451"/>
                      </a:cubicBezTo>
                      <a:cubicBezTo>
                        <a:pt x="669" y="449"/>
                        <a:pt x="674" y="448"/>
                        <a:pt x="678" y="445"/>
                      </a:cubicBezTo>
                      <a:cubicBezTo>
                        <a:pt x="683" y="442"/>
                        <a:pt x="681" y="443"/>
                        <a:pt x="679" y="440"/>
                      </a:cubicBezTo>
                      <a:cubicBezTo>
                        <a:pt x="676" y="436"/>
                        <a:pt x="673" y="438"/>
                        <a:pt x="670" y="438"/>
                      </a:cubicBezTo>
                      <a:cubicBezTo>
                        <a:pt x="666" y="438"/>
                        <a:pt x="665" y="438"/>
                        <a:pt x="662" y="434"/>
                      </a:cubicBezTo>
                      <a:cubicBezTo>
                        <a:pt x="659" y="431"/>
                        <a:pt x="662" y="430"/>
                        <a:pt x="664" y="428"/>
                      </a:cubicBezTo>
                      <a:cubicBezTo>
                        <a:pt x="666" y="425"/>
                        <a:pt x="668" y="426"/>
                        <a:pt x="669" y="423"/>
                      </a:cubicBezTo>
                      <a:cubicBezTo>
                        <a:pt x="671" y="420"/>
                        <a:pt x="671" y="416"/>
                        <a:pt x="670" y="413"/>
                      </a:cubicBezTo>
                      <a:cubicBezTo>
                        <a:pt x="668" y="410"/>
                        <a:pt x="665" y="412"/>
                        <a:pt x="662" y="410"/>
                      </a:cubicBezTo>
                      <a:cubicBezTo>
                        <a:pt x="659" y="408"/>
                        <a:pt x="661" y="406"/>
                        <a:pt x="668" y="402"/>
                      </a:cubicBezTo>
                      <a:cubicBezTo>
                        <a:pt x="675" y="398"/>
                        <a:pt x="676" y="395"/>
                        <a:pt x="683" y="390"/>
                      </a:cubicBezTo>
                      <a:cubicBezTo>
                        <a:pt x="690" y="386"/>
                        <a:pt x="691" y="387"/>
                        <a:pt x="691" y="382"/>
                      </a:cubicBezTo>
                      <a:cubicBezTo>
                        <a:pt x="691" y="377"/>
                        <a:pt x="689" y="371"/>
                        <a:pt x="696" y="370"/>
                      </a:cubicBezTo>
                      <a:close/>
                      <a:moveTo>
                        <a:pt x="6" y="115"/>
                      </a:moveTo>
                      <a:cubicBezTo>
                        <a:pt x="5" y="119"/>
                        <a:pt x="0" y="123"/>
                        <a:pt x="6" y="127"/>
                      </a:cubicBezTo>
                      <a:cubicBezTo>
                        <a:pt x="12" y="130"/>
                        <a:pt x="15" y="127"/>
                        <a:pt x="18" y="122"/>
                      </a:cubicBezTo>
                      <a:cubicBezTo>
                        <a:pt x="21" y="117"/>
                        <a:pt x="15" y="102"/>
                        <a:pt x="6" y="115"/>
                      </a:cubicBezTo>
                      <a:close/>
                      <a:moveTo>
                        <a:pt x="193" y="126"/>
                      </a:moveTo>
                      <a:cubicBezTo>
                        <a:pt x="198" y="128"/>
                        <a:pt x="204" y="130"/>
                        <a:pt x="207" y="126"/>
                      </a:cubicBezTo>
                      <a:cubicBezTo>
                        <a:pt x="210" y="122"/>
                        <a:pt x="205" y="109"/>
                        <a:pt x="198" y="116"/>
                      </a:cubicBezTo>
                      <a:cubicBezTo>
                        <a:pt x="194" y="122"/>
                        <a:pt x="187" y="124"/>
                        <a:pt x="193" y="126"/>
                      </a:cubicBezTo>
                      <a:close/>
                      <a:moveTo>
                        <a:pt x="155" y="10"/>
                      </a:moveTo>
                      <a:cubicBezTo>
                        <a:pt x="155" y="7"/>
                        <a:pt x="146" y="0"/>
                        <a:pt x="144" y="4"/>
                      </a:cubicBezTo>
                      <a:cubicBezTo>
                        <a:pt x="143" y="10"/>
                        <a:pt x="138" y="13"/>
                        <a:pt x="143" y="14"/>
                      </a:cubicBezTo>
                      <a:cubicBezTo>
                        <a:pt x="148" y="14"/>
                        <a:pt x="155" y="13"/>
                        <a:pt x="155" y="10"/>
                      </a:cubicBezTo>
                      <a:close/>
                      <a:moveTo>
                        <a:pt x="174" y="67"/>
                      </a:moveTo>
                      <a:cubicBezTo>
                        <a:pt x="168" y="58"/>
                        <a:pt x="169" y="57"/>
                        <a:pt x="168" y="51"/>
                      </a:cubicBezTo>
                      <a:cubicBezTo>
                        <a:pt x="167" y="45"/>
                        <a:pt x="159" y="38"/>
                        <a:pt x="155" y="45"/>
                      </a:cubicBezTo>
                      <a:cubicBezTo>
                        <a:pt x="151" y="53"/>
                        <a:pt x="150" y="58"/>
                        <a:pt x="156" y="60"/>
                      </a:cubicBezTo>
                      <a:cubicBezTo>
                        <a:pt x="162" y="63"/>
                        <a:pt x="161" y="70"/>
                        <a:pt x="166" y="71"/>
                      </a:cubicBezTo>
                      <a:cubicBezTo>
                        <a:pt x="170" y="72"/>
                        <a:pt x="179" y="76"/>
                        <a:pt x="174" y="67"/>
                      </a:cubicBezTo>
                      <a:close/>
                      <a:moveTo>
                        <a:pt x="651" y="553"/>
                      </a:moveTo>
                      <a:cubicBezTo>
                        <a:pt x="656" y="553"/>
                        <a:pt x="657" y="555"/>
                        <a:pt x="659" y="545"/>
                      </a:cubicBezTo>
                      <a:cubicBezTo>
                        <a:pt x="661" y="536"/>
                        <a:pt x="667" y="537"/>
                        <a:pt x="667" y="530"/>
                      </a:cubicBezTo>
                      <a:cubicBezTo>
                        <a:pt x="668" y="524"/>
                        <a:pt x="669" y="521"/>
                        <a:pt x="666" y="520"/>
                      </a:cubicBezTo>
                      <a:cubicBezTo>
                        <a:pt x="664" y="518"/>
                        <a:pt x="660" y="513"/>
                        <a:pt x="655" y="516"/>
                      </a:cubicBezTo>
                      <a:cubicBezTo>
                        <a:pt x="652" y="520"/>
                        <a:pt x="649" y="521"/>
                        <a:pt x="650" y="528"/>
                      </a:cubicBezTo>
                      <a:cubicBezTo>
                        <a:pt x="651" y="535"/>
                        <a:pt x="653" y="534"/>
                        <a:pt x="652" y="542"/>
                      </a:cubicBezTo>
                      <a:cubicBezTo>
                        <a:pt x="651" y="550"/>
                        <a:pt x="646" y="553"/>
                        <a:pt x="651" y="553"/>
                      </a:cubicBezTo>
                      <a:close/>
                    </a:path>
                  </a:pathLst>
                </a:custGeom>
                <a:solidFill>
                  <a:srgbClr val="F2F2F2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76" name="Freeform 102"/>
                <p:cNvSpPr/>
                <p:nvPr>
                  <p:custDataLst>
                    <p:tags r:id="rId174"/>
                  </p:custDataLst>
                </p:nvPr>
              </p:nvSpPr>
              <p:spPr bwMode="auto">
                <a:xfrm>
                  <a:off x="4129" y="2569"/>
                  <a:ext cx="36" cy="27"/>
                </a:xfrm>
                <a:custGeom>
                  <a:avLst/>
                  <a:gdLst>
                    <a:gd name="T0" fmla="*/ 77 w 83"/>
                    <a:gd name="T1" fmla="*/ 30 h 65"/>
                    <a:gd name="T2" fmla="*/ 80 w 83"/>
                    <a:gd name="T3" fmla="*/ 21 h 65"/>
                    <a:gd name="T4" fmla="*/ 81 w 83"/>
                    <a:gd name="T5" fmla="*/ 13 h 65"/>
                    <a:gd name="T6" fmla="*/ 74 w 83"/>
                    <a:gd name="T7" fmla="*/ 6 h 65"/>
                    <a:gd name="T8" fmla="*/ 65 w 83"/>
                    <a:gd name="T9" fmla="*/ 3 h 65"/>
                    <a:gd name="T10" fmla="*/ 52 w 83"/>
                    <a:gd name="T11" fmla="*/ 3 h 65"/>
                    <a:gd name="T12" fmla="*/ 36 w 83"/>
                    <a:gd name="T13" fmla="*/ 6 h 65"/>
                    <a:gd name="T14" fmla="*/ 21 w 83"/>
                    <a:gd name="T15" fmla="*/ 17 h 65"/>
                    <a:gd name="T16" fmla="*/ 15 w 83"/>
                    <a:gd name="T17" fmla="*/ 33 h 65"/>
                    <a:gd name="T18" fmla="*/ 9 w 83"/>
                    <a:gd name="T19" fmla="*/ 49 h 65"/>
                    <a:gd name="T20" fmla="*/ 1 w 83"/>
                    <a:gd name="T21" fmla="*/ 61 h 65"/>
                    <a:gd name="T22" fmla="*/ 9 w 83"/>
                    <a:gd name="T23" fmla="*/ 64 h 65"/>
                    <a:gd name="T24" fmla="*/ 25 w 83"/>
                    <a:gd name="T25" fmla="*/ 62 h 65"/>
                    <a:gd name="T26" fmla="*/ 43 w 83"/>
                    <a:gd name="T27" fmla="*/ 61 h 65"/>
                    <a:gd name="T28" fmla="*/ 56 w 83"/>
                    <a:gd name="T29" fmla="*/ 52 h 65"/>
                    <a:gd name="T30" fmla="*/ 65 w 83"/>
                    <a:gd name="T31" fmla="*/ 46 h 65"/>
                    <a:gd name="T32" fmla="*/ 73 w 83"/>
                    <a:gd name="T33" fmla="*/ 38 h 65"/>
                    <a:gd name="T34" fmla="*/ 77 w 83"/>
                    <a:gd name="T35" fmla="*/ 30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83" h="65">
                      <a:moveTo>
                        <a:pt x="77" y="30"/>
                      </a:moveTo>
                      <a:cubicBezTo>
                        <a:pt x="76" y="24"/>
                        <a:pt x="78" y="25"/>
                        <a:pt x="80" y="21"/>
                      </a:cubicBezTo>
                      <a:cubicBezTo>
                        <a:pt x="83" y="18"/>
                        <a:pt x="82" y="16"/>
                        <a:pt x="81" y="13"/>
                      </a:cubicBezTo>
                      <a:cubicBezTo>
                        <a:pt x="80" y="10"/>
                        <a:pt x="78" y="8"/>
                        <a:pt x="74" y="6"/>
                      </a:cubicBezTo>
                      <a:cubicBezTo>
                        <a:pt x="71" y="3"/>
                        <a:pt x="71" y="5"/>
                        <a:pt x="65" y="3"/>
                      </a:cubicBezTo>
                      <a:cubicBezTo>
                        <a:pt x="59" y="0"/>
                        <a:pt x="56" y="3"/>
                        <a:pt x="52" y="3"/>
                      </a:cubicBezTo>
                      <a:cubicBezTo>
                        <a:pt x="48" y="3"/>
                        <a:pt x="42" y="3"/>
                        <a:pt x="36" y="6"/>
                      </a:cubicBezTo>
                      <a:cubicBezTo>
                        <a:pt x="30" y="9"/>
                        <a:pt x="27" y="12"/>
                        <a:pt x="21" y="17"/>
                      </a:cubicBezTo>
                      <a:cubicBezTo>
                        <a:pt x="15" y="22"/>
                        <a:pt x="17" y="27"/>
                        <a:pt x="15" y="33"/>
                      </a:cubicBezTo>
                      <a:cubicBezTo>
                        <a:pt x="14" y="40"/>
                        <a:pt x="11" y="43"/>
                        <a:pt x="9" y="49"/>
                      </a:cubicBezTo>
                      <a:cubicBezTo>
                        <a:pt x="6" y="55"/>
                        <a:pt x="2" y="57"/>
                        <a:pt x="1" y="61"/>
                      </a:cubicBezTo>
                      <a:cubicBezTo>
                        <a:pt x="0" y="65"/>
                        <a:pt x="3" y="65"/>
                        <a:pt x="9" y="64"/>
                      </a:cubicBezTo>
                      <a:cubicBezTo>
                        <a:pt x="14" y="63"/>
                        <a:pt x="18" y="64"/>
                        <a:pt x="25" y="62"/>
                      </a:cubicBezTo>
                      <a:cubicBezTo>
                        <a:pt x="32" y="61"/>
                        <a:pt x="40" y="62"/>
                        <a:pt x="43" y="61"/>
                      </a:cubicBezTo>
                      <a:cubicBezTo>
                        <a:pt x="47" y="59"/>
                        <a:pt x="51" y="57"/>
                        <a:pt x="56" y="52"/>
                      </a:cubicBezTo>
                      <a:cubicBezTo>
                        <a:pt x="60" y="47"/>
                        <a:pt x="65" y="49"/>
                        <a:pt x="65" y="46"/>
                      </a:cubicBezTo>
                      <a:cubicBezTo>
                        <a:pt x="66" y="42"/>
                        <a:pt x="69" y="43"/>
                        <a:pt x="73" y="38"/>
                      </a:cubicBezTo>
                      <a:cubicBezTo>
                        <a:pt x="78" y="34"/>
                        <a:pt x="77" y="35"/>
                        <a:pt x="77" y="30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77" name="Freeform 103"/>
                <p:cNvSpPr/>
                <p:nvPr>
                  <p:custDataLst>
                    <p:tags r:id="rId175"/>
                  </p:custDataLst>
                </p:nvPr>
              </p:nvSpPr>
              <p:spPr bwMode="auto">
                <a:xfrm>
                  <a:off x="4154" y="2591"/>
                  <a:ext cx="8" cy="5"/>
                </a:xfrm>
                <a:custGeom>
                  <a:avLst/>
                  <a:gdLst>
                    <a:gd name="T0" fmla="*/ 5 w 19"/>
                    <a:gd name="T1" fmla="*/ 2 h 11"/>
                    <a:gd name="T2" fmla="*/ 3 w 19"/>
                    <a:gd name="T3" fmla="*/ 7 h 11"/>
                    <a:gd name="T4" fmla="*/ 10 w 19"/>
                    <a:gd name="T5" fmla="*/ 10 h 11"/>
                    <a:gd name="T6" fmla="*/ 16 w 19"/>
                    <a:gd name="T7" fmla="*/ 4 h 11"/>
                    <a:gd name="T8" fmla="*/ 5 w 19"/>
                    <a:gd name="T9" fmla="*/ 2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9" h="11">
                      <a:moveTo>
                        <a:pt x="5" y="2"/>
                      </a:moveTo>
                      <a:cubicBezTo>
                        <a:pt x="3" y="4"/>
                        <a:pt x="0" y="4"/>
                        <a:pt x="3" y="7"/>
                      </a:cubicBezTo>
                      <a:cubicBezTo>
                        <a:pt x="5" y="10"/>
                        <a:pt x="5" y="11"/>
                        <a:pt x="10" y="10"/>
                      </a:cubicBezTo>
                      <a:cubicBezTo>
                        <a:pt x="14" y="9"/>
                        <a:pt x="19" y="6"/>
                        <a:pt x="16" y="4"/>
                      </a:cubicBezTo>
                      <a:cubicBezTo>
                        <a:pt x="13" y="1"/>
                        <a:pt x="11" y="0"/>
                        <a:pt x="5" y="2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78" name="Freeform 104"/>
                <p:cNvSpPr/>
                <p:nvPr>
                  <p:custDataLst>
                    <p:tags r:id="rId176"/>
                  </p:custDataLst>
                </p:nvPr>
              </p:nvSpPr>
              <p:spPr bwMode="auto">
                <a:xfrm>
                  <a:off x="3996" y="2519"/>
                  <a:ext cx="4" cy="10"/>
                </a:xfrm>
                <a:custGeom>
                  <a:avLst/>
                  <a:gdLst>
                    <a:gd name="T0" fmla="*/ 0 w 9"/>
                    <a:gd name="T1" fmla="*/ 7 h 25"/>
                    <a:gd name="T2" fmla="*/ 3 w 9"/>
                    <a:gd name="T3" fmla="*/ 16 h 25"/>
                    <a:gd name="T4" fmla="*/ 6 w 9"/>
                    <a:gd name="T5" fmla="*/ 23 h 25"/>
                    <a:gd name="T6" fmla="*/ 8 w 9"/>
                    <a:gd name="T7" fmla="*/ 11 h 25"/>
                    <a:gd name="T8" fmla="*/ 0 w 9"/>
                    <a:gd name="T9" fmla="*/ 7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25">
                      <a:moveTo>
                        <a:pt x="0" y="7"/>
                      </a:moveTo>
                      <a:cubicBezTo>
                        <a:pt x="0" y="10"/>
                        <a:pt x="2" y="11"/>
                        <a:pt x="3" y="16"/>
                      </a:cubicBezTo>
                      <a:cubicBezTo>
                        <a:pt x="3" y="21"/>
                        <a:pt x="4" y="25"/>
                        <a:pt x="6" y="23"/>
                      </a:cubicBezTo>
                      <a:cubicBezTo>
                        <a:pt x="9" y="22"/>
                        <a:pt x="8" y="14"/>
                        <a:pt x="8" y="11"/>
                      </a:cubicBezTo>
                      <a:cubicBezTo>
                        <a:pt x="7" y="7"/>
                        <a:pt x="1" y="0"/>
                        <a:pt x="0" y="7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79" name="Freeform 105"/>
                <p:cNvSpPr>
                  <a:spLocks noEditPoints="1"/>
                </p:cNvSpPr>
                <p:nvPr>
                  <p:custDataLst>
                    <p:tags r:id="rId177"/>
                  </p:custDataLst>
                </p:nvPr>
              </p:nvSpPr>
              <p:spPr bwMode="auto">
                <a:xfrm>
                  <a:off x="3858" y="2306"/>
                  <a:ext cx="359" cy="309"/>
                </a:xfrm>
                <a:custGeom>
                  <a:avLst/>
                  <a:gdLst>
                    <a:gd name="T0" fmla="*/ 838 w 841"/>
                    <a:gd name="T1" fmla="*/ 722 h 722"/>
                    <a:gd name="T2" fmla="*/ 840 w 841"/>
                    <a:gd name="T3" fmla="*/ 509 h 722"/>
                    <a:gd name="T4" fmla="*/ 745 w 841"/>
                    <a:gd name="T5" fmla="*/ 294 h 722"/>
                    <a:gd name="T6" fmla="*/ 620 w 841"/>
                    <a:gd name="T7" fmla="*/ 265 h 722"/>
                    <a:gd name="T8" fmla="*/ 559 w 841"/>
                    <a:gd name="T9" fmla="*/ 298 h 722"/>
                    <a:gd name="T10" fmla="*/ 478 w 841"/>
                    <a:gd name="T11" fmla="*/ 361 h 722"/>
                    <a:gd name="T12" fmla="*/ 442 w 841"/>
                    <a:gd name="T13" fmla="*/ 330 h 722"/>
                    <a:gd name="T14" fmla="*/ 420 w 841"/>
                    <a:gd name="T15" fmla="*/ 267 h 722"/>
                    <a:gd name="T16" fmla="*/ 414 w 841"/>
                    <a:gd name="T17" fmla="*/ 209 h 722"/>
                    <a:gd name="T18" fmla="*/ 329 w 841"/>
                    <a:gd name="T19" fmla="*/ 181 h 722"/>
                    <a:gd name="T20" fmla="*/ 255 w 841"/>
                    <a:gd name="T21" fmla="*/ 204 h 722"/>
                    <a:gd name="T22" fmla="*/ 231 w 841"/>
                    <a:gd name="T23" fmla="*/ 242 h 722"/>
                    <a:gd name="T24" fmla="*/ 287 w 841"/>
                    <a:gd name="T25" fmla="*/ 275 h 722"/>
                    <a:gd name="T26" fmla="*/ 361 w 841"/>
                    <a:gd name="T27" fmla="*/ 294 h 722"/>
                    <a:gd name="T28" fmla="*/ 402 w 841"/>
                    <a:gd name="T29" fmla="*/ 317 h 722"/>
                    <a:gd name="T30" fmla="*/ 360 w 841"/>
                    <a:gd name="T31" fmla="*/ 311 h 722"/>
                    <a:gd name="T32" fmla="*/ 294 w 841"/>
                    <a:gd name="T33" fmla="*/ 332 h 722"/>
                    <a:gd name="T34" fmla="*/ 338 w 841"/>
                    <a:gd name="T35" fmla="*/ 394 h 722"/>
                    <a:gd name="T36" fmla="*/ 385 w 841"/>
                    <a:gd name="T37" fmla="*/ 363 h 722"/>
                    <a:gd name="T38" fmla="*/ 394 w 841"/>
                    <a:gd name="T39" fmla="*/ 365 h 722"/>
                    <a:gd name="T40" fmla="*/ 429 w 841"/>
                    <a:gd name="T41" fmla="*/ 394 h 722"/>
                    <a:gd name="T42" fmla="*/ 457 w 841"/>
                    <a:gd name="T43" fmla="*/ 410 h 722"/>
                    <a:gd name="T44" fmla="*/ 629 w 841"/>
                    <a:gd name="T45" fmla="*/ 473 h 722"/>
                    <a:gd name="T46" fmla="*/ 684 w 841"/>
                    <a:gd name="T47" fmla="*/ 518 h 722"/>
                    <a:gd name="T48" fmla="*/ 719 w 841"/>
                    <a:gd name="T49" fmla="*/ 577 h 722"/>
                    <a:gd name="T50" fmla="*/ 712 w 841"/>
                    <a:gd name="T51" fmla="*/ 594 h 722"/>
                    <a:gd name="T52" fmla="*/ 708 w 841"/>
                    <a:gd name="T53" fmla="*/ 610 h 722"/>
                    <a:gd name="T54" fmla="*/ 713 w 841"/>
                    <a:gd name="T55" fmla="*/ 659 h 722"/>
                    <a:gd name="T56" fmla="*/ 738 w 841"/>
                    <a:gd name="T57" fmla="*/ 659 h 722"/>
                    <a:gd name="T58" fmla="*/ 790 w 841"/>
                    <a:gd name="T59" fmla="*/ 648 h 722"/>
                    <a:gd name="T60" fmla="*/ 32 w 841"/>
                    <a:gd name="T61" fmla="*/ 24 h 722"/>
                    <a:gd name="T62" fmla="*/ 33 w 841"/>
                    <a:gd name="T63" fmla="*/ 74 h 722"/>
                    <a:gd name="T64" fmla="*/ 15 w 841"/>
                    <a:gd name="T65" fmla="*/ 54 h 722"/>
                    <a:gd name="T66" fmla="*/ 19 w 841"/>
                    <a:gd name="T67" fmla="*/ 94 h 722"/>
                    <a:gd name="T68" fmla="*/ 68 w 841"/>
                    <a:gd name="T69" fmla="*/ 20 h 722"/>
                    <a:gd name="T70" fmla="*/ 37 w 841"/>
                    <a:gd name="T71" fmla="*/ 173 h 722"/>
                    <a:gd name="T72" fmla="*/ 54 w 841"/>
                    <a:gd name="T73" fmla="*/ 134 h 722"/>
                    <a:gd name="T74" fmla="*/ 52 w 841"/>
                    <a:gd name="T75" fmla="*/ 111 h 722"/>
                    <a:gd name="T76" fmla="*/ 81 w 841"/>
                    <a:gd name="T77" fmla="*/ 65 h 722"/>
                    <a:gd name="T78" fmla="*/ 46 w 841"/>
                    <a:gd name="T79" fmla="*/ 89 h 722"/>
                    <a:gd name="T80" fmla="*/ 13 w 841"/>
                    <a:gd name="T81" fmla="*/ 112 h 722"/>
                    <a:gd name="T82" fmla="*/ 20 w 841"/>
                    <a:gd name="T83" fmla="*/ 145 h 722"/>
                    <a:gd name="T84" fmla="*/ 55 w 841"/>
                    <a:gd name="T85" fmla="*/ 205 h 722"/>
                    <a:gd name="T86" fmla="*/ 476 w 841"/>
                    <a:gd name="T87" fmla="*/ 248 h 722"/>
                    <a:gd name="T88" fmla="*/ 465 w 841"/>
                    <a:gd name="T89" fmla="*/ 228 h 722"/>
                    <a:gd name="T90" fmla="*/ 516 w 841"/>
                    <a:gd name="T91" fmla="*/ 259 h 722"/>
                    <a:gd name="T92" fmla="*/ 570 w 841"/>
                    <a:gd name="T93" fmla="*/ 272 h 722"/>
                    <a:gd name="T94" fmla="*/ 547 w 841"/>
                    <a:gd name="T95" fmla="*/ 222 h 722"/>
                    <a:gd name="T96" fmla="*/ 518 w 841"/>
                    <a:gd name="T97" fmla="*/ 208 h 722"/>
                    <a:gd name="T98" fmla="*/ 554 w 841"/>
                    <a:gd name="T99" fmla="*/ 227 h 722"/>
                    <a:gd name="T100" fmla="*/ 127 w 841"/>
                    <a:gd name="T101" fmla="*/ 166 h 722"/>
                    <a:gd name="T102" fmla="*/ 178 w 841"/>
                    <a:gd name="T103" fmla="*/ 280 h 722"/>
                    <a:gd name="T104" fmla="*/ 157 w 841"/>
                    <a:gd name="T105" fmla="*/ 270 h 722"/>
                    <a:gd name="T106" fmla="*/ 154 w 841"/>
                    <a:gd name="T107" fmla="*/ 231 h 722"/>
                    <a:gd name="T108" fmla="*/ 205 w 841"/>
                    <a:gd name="T109" fmla="*/ 222 h 722"/>
                    <a:gd name="T110" fmla="*/ 204 w 841"/>
                    <a:gd name="T111" fmla="*/ 172 h 722"/>
                    <a:gd name="T112" fmla="*/ 204 w 841"/>
                    <a:gd name="T113" fmla="*/ 172 h 722"/>
                    <a:gd name="T114" fmla="*/ 212 w 841"/>
                    <a:gd name="T115" fmla="*/ 166 h 722"/>
                    <a:gd name="T116" fmla="*/ 188 w 841"/>
                    <a:gd name="T117" fmla="*/ 210 h 7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841" h="722">
                      <a:moveTo>
                        <a:pt x="782" y="665"/>
                      </a:moveTo>
                      <a:cubicBezTo>
                        <a:pt x="780" y="669"/>
                        <a:pt x="787" y="672"/>
                        <a:pt x="790" y="677"/>
                      </a:cubicBezTo>
                      <a:cubicBezTo>
                        <a:pt x="793" y="682"/>
                        <a:pt x="805" y="692"/>
                        <a:pt x="813" y="698"/>
                      </a:cubicBezTo>
                      <a:cubicBezTo>
                        <a:pt x="822" y="703"/>
                        <a:pt x="827" y="706"/>
                        <a:pt x="831" y="715"/>
                      </a:cubicBezTo>
                      <a:cubicBezTo>
                        <a:pt x="834" y="719"/>
                        <a:pt x="836" y="721"/>
                        <a:pt x="838" y="722"/>
                      </a:cubicBezTo>
                      <a:cubicBezTo>
                        <a:pt x="839" y="680"/>
                        <a:pt x="840" y="600"/>
                        <a:pt x="839" y="595"/>
                      </a:cubicBezTo>
                      <a:cubicBezTo>
                        <a:pt x="839" y="592"/>
                        <a:pt x="838" y="590"/>
                        <a:pt x="836" y="588"/>
                      </a:cubicBezTo>
                      <a:cubicBezTo>
                        <a:pt x="834" y="584"/>
                        <a:pt x="831" y="579"/>
                        <a:pt x="831" y="570"/>
                      </a:cubicBezTo>
                      <a:cubicBezTo>
                        <a:pt x="830" y="562"/>
                        <a:pt x="832" y="551"/>
                        <a:pt x="835" y="539"/>
                      </a:cubicBezTo>
                      <a:cubicBezTo>
                        <a:pt x="837" y="528"/>
                        <a:pt x="839" y="517"/>
                        <a:pt x="840" y="509"/>
                      </a:cubicBezTo>
                      <a:cubicBezTo>
                        <a:pt x="840" y="493"/>
                        <a:pt x="840" y="367"/>
                        <a:pt x="841" y="317"/>
                      </a:cubicBezTo>
                      <a:cubicBezTo>
                        <a:pt x="838" y="317"/>
                        <a:pt x="835" y="318"/>
                        <a:pt x="829" y="316"/>
                      </a:cubicBezTo>
                      <a:cubicBezTo>
                        <a:pt x="817" y="313"/>
                        <a:pt x="817" y="311"/>
                        <a:pt x="807" y="305"/>
                      </a:cubicBezTo>
                      <a:cubicBezTo>
                        <a:pt x="797" y="300"/>
                        <a:pt x="787" y="299"/>
                        <a:pt x="765" y="301"/>
                      </a:cubicBezTo>
                      <a:cubicBezTo>
                        <a:pt x="743" y="302"/>
                        <a:pt x="757" y="298"/>
                        <a:pt x="745" y="294"/>
                      </a:cubicBezTo>
                      <a:cubicBezTo>
                        <a:pt x="733" y="290"/>
                        <a:pt x="735" y="292"/>
                        <a:pt x="723" y="284"/>
                      </a:cubicBezTo>
                      <a:cubicBezTo>
                        <a:pt x="710" y="275"/>
                        <a:pt x="708" y="278"/>
                        <a:pt x="685" y="267"/>
                      </a:cubicBezTo>
                      <a:cubicBezTo>
                        <a:pt x="663" y="256"/>
                        <a:pt x="677" y="262"/>
                        <a:pt x="669" y="254"/>
                      </a:cubicBezTo>
                      <a:cubicBezTo>
                        <a:pt x="660" y="247"/>
                        <a:pt x="654" y="250"/>
                        <a:pt x="643" y="253"/>
                      </a:cubicBezTo>
                      <a:cubicBezTo>
                        <a:pt x="632" y="257"/>
                        <a:pt x="640" y="265"/>
                        <a:pt x="620" y="265"/>
                      </a:cubicBezTo>
                      <a:cubicBezTo>
                        <a:pt x="600" y="265"/>
                        <a:pt x="610" y="267"/>
                        <a:pt x="609" y="271"/>
                      </a:cubicBezTo>
                      <a:cubicBezTo>
                        <a:pt x="609" y="276"/>
                        <a:pt x="611" y="278"/>
                        <a:pt x="612" y="284"/>
                      </a:cubicBezTo>
                      <a:cubicBezTo>
                        <a:pt x="612" y="289"/>
                        <a:pt x="608" y="289"/>
                        <a:pt x="598" y="289"/>
                      </a:cubicBezTo>
                      <a:cubicBezTo>
                        <a:pt x="588" y="290"/>
                        <a:pt x="591" y="294"/>
                        <a:pt x="580" y="296"/>
                      </a:cubicBezTo>
                      <a:cubicBezTo>
                        <a:pt x="570" y="298"/>
                        <a:pt x="566" y="295"/>
                        <a:pt x="559" y="298"/>
                      </a:cubicBezTo>
                      <a:cubicBezTo>
                        <a:pt x="553" y="301"/>
                        <a:pt x="536" y="315"/>
                        <a:pt x="531" y="325"/>
                      </a:cubicBezTo>
                      <a:cubicBezTo>
                        <a:pt x="527" y="334"/>
                        <a:pt x="530" y="333"/>
                        <a:pt x="523" y="339"/>
                      </a:cubicBezTo>
                      <a:cubicBezTo>
                        <a:pt x="516" y="345"/>
                        <a:pt x="511" y="348"/>
                        <a:pt x="509" y="357"/>
                      </a:cubicBezTo>
                      <a:cubicBezTo>
                        <a:pt x="506" y="366"/>
                        <a:pt x="497" y="361"/>
                        <a:pt x="492" y="363"/>
                      </a:cubicBezTo>
                      <a:cubicBezTo>
                        <a:pt x="488" y="364"/>
                        <a:pt x="483" y="363"/>
                        <a:pt x="478" y="361"/>
                      </a:cubicBezTo>
                      <a:cubicBezTo>
                        <a:pt x="473" y="360"/>
                        <a:pt x="471" y="360"/>
                        <a:pt x="468" y="355"/>
                      </a:cubicBezTo>
                      <a:cubicBezTo>
                        <a:pt x="465" y="349"/>
                        <a:pt x="467" y="345"/>
                        <a:pt x="462" y="341"/>
                      </a:cubicBezTo>
                      <a:cubicBezTo>
                        <a:pt x="458" y="337"/>
                        <a:pt x="457" y="339"/>
                        <a:pt x="455" y="331"/>
                      </a:cubicBezTo>
                      <a:cubicBezTo>
                        <a:pt x="452" y="324"/>
                        <a:pt x="451" y="321"/>
                        <a:pt x="445" y="313"/>
                      </a:cubicBezTo>
                      <a:cubicBezTo>
                        <a:pt x="439" y="306"/>
                        <a:pt x="443" y="318"/>
                        <a:pt x="442" y="330"/>
                      </a:cubicBezTo>
                      <a:cubicBezTo>
                        <a:pt x="441" y="342"/>
                        <a:pt x="437" y="331"/>
                        <a:pt x="434" y="326"/>
                      </a:cubicBezTo>
                      <a:cubicBezTo>
                        <a:pt x="430" y="321"/>
                        <a:pt x="430" y="313"/>
                        <a:pt x="430" y="306"/>
                      </a:cubicBezTo>
                      <a:cubicBezTo>
                        <a:pt x="430" y="298"/>
                        <a:pt x="430" y="297"/>
                        <a:pt x="429" y="289"/>
                      </a:cubicBezTo>
                      <a:cubicBezTo>
                        <a:pt x="428" y="282"/>
                        <a:pt x="425" y="285"/>
                        <a:pt x="423" y="280"/>
                      </a:cubicBezTo>
                      <a:cubicBezTo>
                        <a:pt x="422" y="276"/>
                        <a:pt x="424" y="274"/>
                        <a:pt x="420" y="267"/>
                      </a:cubicBezTo>
                      <a:cubicBezTo>
                        <a:pt x="416" y="260"/>
                        <a:pt x="417" y="264"/>
                        <a:pt x="418" y="255"/>
                      </a:cubicBezTo>
                      <a:cubicBezTo>
                        <a:pt x="418" y="247"/>
                        <a:pt x="422" y="253"/>
                        <a:pt x="425" y="244"/>
                      </a:cubicBezTo>
                      <a:cubicBezTo>
                        <a:pt x="428" y="234"/>
                        <a:pt x="425" y="238"/>
                        <a:pt x="420" y="229"/>
                      </a:cubicBezTo>
                      <a:cubicBezTo>
                        <a:pt x="414" y="219"/>
                        <a:pt x="416" y="227"/>
                        <a:pt x="411" y="219"/>
                      </a:cubicBezTo>
                      <a:cubicBezTo>
                        <a:pt x="407" y="211"/>
                        <a:pt x="414" y="216"/>
                        <a:pt x="414" y="209"/>
                      </a:cubicBezTo>
                      <a:cubicBezTo>
                        <a:pt x="415" y="202"/>
                        <a:pt x="407" y="207"/>
                        <a:pt x="401" y="207"/>
                      </a:cubicBezTo>
                      <a:cubicBezTo>
                        <a:pt x="395" y="206"/>
                        <a:pt x="387" y="207"/>
                        <a:pt x="374" y="205"/>
                      </a:cubicBezTo>
                      <a:cubicBezTo>
                        <a:pt x="361" y="203"/>
                        <a:pt x="365" y="204"/>
                        <a:pt x="350" y="191"/>
                      </a:cubicBezTo>
                      <a:cubicBezTo>
                        <a:pt x="348" y="190"/>
                        <a:pt x="345" y="187"/>
                        <a:pt x="338" y="185"/>
                      </a:cubicBezTo>
                      <a:cubicBezTo>
                        <a:pt x="331" y="183"/>
                        <a:pt x="332" y="185"/>
                        <a:pt x="329" y="181"/>
                      </a:cubicBezTo>
                      <a:cubicBezTo>
                        <a:pt x="326" y="178"/>
                        <a:pt x="323" y="178"/>
                        <a:pt x="317" y="178"/>
                      </a:cubicBezTo>
                      <a:cubicBezTo>
                        <a:pt x="311" y="177"/>
                        <a:pt x="309" y="180"/>
                        <a:pt x="300" y="183"/>
                      </a:cubicBezTo>
                      <a:cubicBezTo>
                        <a:pt x="291" y="186"/>
                        <a:pt x="293" y="190"/>
                        <a:pt x="286" y="194"/>
                      </a:cubicBezTo>
                      <a:cubicBezTo>
                        <a:pt x="280" y="199"/>
                        <a:pt x="278" y="198"/>
                        <a:pt x="272" y="200"/>
                      </a:cubicBezTo>
                      <a:cubicBezTo>
                        <a:pt x="266" y="201"/>
                        <a:pt x="262" y="204"/>
                        <a:pt x="255" y="204"/>
                      </a:cubicBezTo>
                      <a:cubicBezTo>
                        <a:pt x="247" y="205"/>
                        <a:pt x="245" y="205"/>
                        <a:pt x="240" y="207"/>
                      </a:cubicBezTo>
                      <a:cubicBezTo>
                        <a:pt x="235" y="210"/>
                        <a:pt x="239" y="214"/>
                        <a:pt x="239" y="219"/>
                      </a:cubicBezTo>
                      <a:cubicBezTo>
                        <a:pt x="239" y="225"/>
                        <a:pt x="237" y="227"/>
                        <a:pt x="233" y="231"/>
                      </a:cubicBezTo>
                      <a:cubicBezTo>
                        <a:pt x="228" y="235"/>
                        <a:pt x="227" y="235"/>
                        <a:pt x="223" y="239"/>
                      </a:cubicBezTo>
                      <a:cubicBezTo>
                        <a:pt x="220" y="243"/>
                        <a:pt x="224" y="242"/>
                        <a:pt x="231" y="242"/>
                      </a:cubicBezTo>
                      <a:cubicBezTo>
                        <a:pt x="237" y="243"/>
                        <a:pt x="240" y="243"/>
                        <a:pt x="247" y="247"/>
                      </a:cubicBezTo>
                      <a:cubicBezTo>
                        <a:pt x="254" y="251"/>
                        <a:pt x="253" y="248"/>
                        <a:pt x="263" y="247"/>
                      </a:cubicBezTo>
                      <a:cubicBezTo>
                        <a:pt x="273" y="246"/>
                        <a:pt x="275" y="248"/>
                        <a:pt x="281" y="250"/>
                      </a:cubicBezTo>
                      <a:cubicBezTo>
                        <a:pt x="287" y="252"/>
                        <a:pt x="284" y="254"/>
                        <a:pt x="283" y="260"/>
                      </a:cubicBezTo>
                      <a:cubicBezTo>
                        <a:pt x="282" y="266"/>
                        <a:pt x="285" y="268"/>
                        <a:pt x="287" y="275"/>
                      </a:cubicBezTo>
                      <a:cubicBezTo>
                        <a:pt x="289" y="282"/>
                        <a:pt x="295" y="286"/>
                        <a:pt x="301" y="293"/>
                      </a:cubicBezTo>
                      <a:cubicBezTo>
                        <a:pt x="308" y="300"/>
                        <a:pt x="312" y="296"/>
                        <a:pt x="317" y="295"/>
                      </a:cubicBezTo>
                      <a:cubicBezTo>
                        <a:pt x="323" y="293"/>
                        <a:pt x="325" y="295"/>
                        <a:pt x="333" y="291"/>
                      </a:cubicBezTo>
                      <a:cubicBezTo>
                        <a:pt x="342" y="288"/>
                        <a:pt x="343" y="295"/>
                        <a:pt x="348" y="297"/>
                      </a:cubicBezTo>
                      <a:cubicBezTo>
                        <a:pt x="354" y="298"/>
                        <a:pt x="354" y="296"/>
                        <a:pt x="361" y="294"/>
                      </a:cubicBezTo>
                      <a:cubicBezTo>
                        <a:pt x="368" y="291"/>
                        <a:pt x="372" y="294"/>
                        <a:pt x="381" y="292"/>
                      </a:cubicBezTo>
                      <a:cubicBezTo>
                        <a:pt x="389" y="289"/>
                        <a:pt x="393" y="291"/>
                        <a:pt x="397" y="291"/>
                      </a:cubicBezTo>
                      <a:cubicBezTo>
                        <a:pt x="401" y="291"/>
                        <a:pt x="402" y="293"/>
                        <a:pt x="404" y="296"/>
                      </a:cubicBezTo>
                      <a:cubicBezTo>
                        <a:pt x="406" y="300"/>
                        <a:pt x="407" y="303"/>
                        <a:pt x="408" y="307"/>
                      </a:cubicBezTo>
                      <a:cubicBezTo>
                        <a:pt x="409" y="311"/>
                        <a:pt x="405" y="313"/>
                        <a:pt x="402" y="317"/>
                      </a:cubicBezTo>
                      <a:cubicBezTo>
                        <a:pt x="399" y="320"/>
                        <a:pt x="398" y="323"/>
                        <a:pt x="393" y="324"/>
                      </a:cubicBezTo>
                      <a:cubicBezTo>
                        <a:pt x="387" y="325"/>
                        <a:pt x="388" y="320"/>
                        <a:pt x="383" y="319"/>
                      </a:cubicBezTo>
                      <a:cubicBezTo>
                        <a:pt x="378" y="317"/>
                        <a:pt x="379" y="323"/>
                        <a:pt x="374" y="324"/>
                      </a:cubicBezTo>
                      <a:cubicBezTo>
                        <a:pt x="369" y="325"/>
                        <a:pt x="370" y="321"/>
                        <a:pt x="369" y="316"/>
                      </a:cubicBezTo>
                      <a:cubicBezTo>
                        <a:pt x="369" y="311"/>
                        <a:pt x="366" y="312"/>
                        <a:pt x="360" y="311"/>
                      </a:cubicBezTo>
                      <a:cubicBezTo>
                        <a:pt x="353" y="309"/>
                        <a:pt x="351" y="312"/>
                        <a:pt x="346" y="316"/>
                      </a:cubicBezTo>
                      <a:cubicBezTo>
                        <a:pt x="342" y="319"/>
                        <a:pt x="336" y="330"/>
                        <a:pt x="331" y="331"/>
                      </a:cubicBezTo>
                      <a:cubicBezTo>
                        <a:pt x="325" y="333"/>
                        <a:pt x="323" y="329"/>
                        <a:pt x="315" y="324"/>
                      </a:cubicBezTo>
                      <a:cubicBezTo>
                        <a:pt x="308" y="319"/>
                        <a:pt x="309" y="325"/>
                        <a:pt x="302" y="326"/>
                      </a:cubicBezTo>
                      <a:cubicBezTo>
                        <a:pt x="295" y="326"/>
                        <a:pt x="295" y="327"/>
                        <a:pt x="294" y="332"/>
                      </a:cubicBezTo>
                      <a:cubicBezTo>
                        <a:pt x="292" y="337"/>
                        <a:pt x="303" y="337"/>
                        <a:pt x="310" y="340"/>
                      </a:cubicBezTo>
                      <a:cubicBezTo>
                        <a:pt x="317" y="343"/>
                        <a:pt x="318" y="346"/>
                        <a:pt x="320" y="351"/>
                      </a:cubicBezTo>
                      <a:cubicBezTo>
                        <a:pt x="323" y="355"/>
                        <a:pt x="326" y="358"/>
                        <a:pt x="331" y="363"/>
                      </a:cubicBezTo>
                      <a:cubicBezTo>
                        <a:pt x="336" y="367"/>
                        <a:pt x="338" y="368"/>
                        <a:pt x="341" y="375"/>
                      </a:cubicBezTo>
                      <a:cubicBezTo>
                        <a:pt x="345" y="381"/>
                        <a:pt x="342" y="387"/>
                        <a:pt x="338" y="394"/>
                      </a:cubicBezTo>
                      <a:cubicBezTo>
                        <a:pt x="334" y="402"/>
                        <a:pt x="341" y="403"/>
                        <a:pt x="346" y="407"/>
                      </a:cubicBezTo>
                      <a:cubicBezTo>
                        <a:pt x="351" y="411"/>
                        <a:pt x="356" y="407"/>
                        <a:pt x="363" y="405"/>
                      </a:cubicBezTo>
                      <a:cubicBezTo>
                        <a:pt x="369" y="402"/>
                        <a:pt x="371" y="400"/>
                        <a:pt x="372" y="394"/>
                      </a:cubicBezTo>
                      <a:cubicBezTo>
                        <a:pt x="373" y="387"/>
                        <a:pt x="374" y="385"/>
                        <a:pt x="378" y="378"/>
                      </a:cubicBezTo>
                      <a:cubicBezTo>
                        <a:pt x="381" y="371"/>
                        <a:pt x="384" y="372"/>
                        <a:pt x="385" y="363"/>
                      </a:cubicBezTo>
                      <a:cubicBezTo>
                        <a:pt x="386" y="354"/>
                        <a:pt x="387" y="357"/>
                        <a:pt x="392" y="348"/>
                      </a:cubicBezTo>
                      <a:cubicBezTo>
                        <a:pt x="397" y="338"/>
                        <a:pt x="397" y="343"/>
                        <a:pt x="402" y="340"/>
                      </a:cubicBezTo>
                      <a:cubicBezTo>
                        <a:pt x="407" y="338"/>
                        <a:pt x="406" y="343"/>
                        <a:pt x="402" y="346"/>
                      </a:cubicBezTo>
                      <a:cubicBezTo>
                        <a:pt x="399" y="349"/>
                        <a:pt x="398" y="350"/>
                        <a:pt x="397" y="355"/>
                      </a:cubicBezTo>
                      <a:cubicBezTo>
                        <a:pt x="396" y="360"/>
                        <a:pt x="395" y="361"/>
                        <a:pt x="394" y="365"/>
                      </a:cubicBezTo>
                      <a:cubicBezTo>
                        <a:pt x="393" y="369"/>
                        <a:pt x="392" y="371"/>
                        <a:pt x="394" y="374"/>
                      </a:cubicBezTo>
                      <a:cubicBezTo>
                        <a:pt x="397" y="376"/>
                        <a:pt x="398" y="373"/>
                        <a:pt x="401" y="377"/>
                      </a:cubicBezTo>
                      <a:cubicBezTo>
                        <a:pt x="403" y="381"/>
                        <a:pt x="403" y="385"/>
                        <a:pt x="409" y="388"/>
                      </a:cubicBezTo>
                      <a:cubicBezTo>
                        <a:pt x="415" y="392"/>
                        <a:pt x="420" y="387"/>
                        <a:pt x="422" y="389"/>
                      </a:cubicBezTo>
                      <a:cubicBezTo>
                        <a:pt x="424" y="390"/>
                        <a:pt x="423" y="392"/>
                        <a:pt x="429" y="394"/>
                      </a:cubicBezTo>
                      <a:cubicBezTo>
                        <a:pt x="434" y="396"/>
                        <a:pt x="434" y="395"/>
                        <a:pt x="442" y="400"/>
                      </a:cubicBezTo>
                      <a:cubicBezTo>
                        <a:pt x="449" y="404"/>
                        <a:pt x="450" y="401"/>
                        <a:pt x="455" y="398"/>
                      </a:cubicBezTo>
                      <a:cubicBezTo>
                        <a:pt x="461" y="395"/>
                        <a:pt x="463" y="398"/>
                        <a:pt x="466" y="400"/>
                      </a:cubicBezTo>
                      <a:cubicBezTo>
                        <a:pt x="470" y="401"/>
                        <a:pt x="466" y="402"/>
                        <a:pt x="464" y="405"/>
                      </a:cubicBezTo>
                      <a:cubicBezTo>
                        <a:pt x="461" y="407"/>
                        <a:pt x="458" y="407"/>
                        <a:pt x="457" y="410"/>
                      </a:cubicBezTo>
                      <a:cubicBezTo>
                        <a:pt x="455" y="413"/>
                        <a:pt x="459" y="414"/>
                        <a:pt x="466" y="419"/>
                      </a:cubicBezTo>
                      <a:cubicBezTo>
                        <a:pt x="473" y="424"/>
                        <a:pt x="483" y="425"/>
                        <a:pt x="501" y="430"/>
                      </a:cubicBezTo>
                      <a:cubicBezTo>
                        <a:pt x="518" y="436"/>
                        <a:pt x="524" y="438"/>
                        <a:pt x="544" y="444"/>
                      </a:cubicBezTo>
                      <a:cubicBezTo>
                        <a:pt x="565" y="450"/>
                        <a:pt x="592" y="460"/>
                        <a:pt x="600" y="462"/>
                      </a:cubicBezTo>
                      <a:cubicBezTo>
                        <a:pt x="607" y="464"/>
                        <a:pt x="616" y="468"/>
                        <a:pt x="629" y="473"/>
                      </a:cubicBezTo>
                      <a:cubicBezTo>
                        <a:pt x="642" y="478"/>
                        <a:pt x="653" y="481"/>
                        <a:pt x="658" y="487"/>
                      </a:cubicBezTo>
                      <a:cubicBezTo>
                        <a:pt x="663" y="492"/>
                        <a:pt x="660" y="493"/>
                        <a:pt x="661" y="499"/>
                      </a:cubicBezTo>
                      <a:cubicBezTo>
                        <a:pt x="662" y="504"/>
                        <a:pt x="665" y="503"/>
                        <a:pt x="669" y="504"/>
                      </a:cubicBezTo>
                      <a:cubicBezTo>
                        <a:pt x="674" y="506"/>
                        <a:pt x="678" y="506"/>
                        <a:pt x="679" y="509"/>
                      </a:cubicBezTo>
                      <a:cubicBezTo>
                        <a:pt x="681" y="512"/>
                        <a:pt x="682" y="514"/>
                        <a:pt x="684" y="518"/>
                      </a:cubicBezTo>
                      <a:cubicBezTo>
                        <a:pt x="686" y="522"/>
                        <a:pt x="684" y="521"/>
                        <a:pt x="679" y="525"/>
                      </a:cubicBezTo>
                      <a:cubicBezTo>
                        <a:pt x="674" y="529"/>
                        <a:pt x="680" y="532"/>
                        <a:pt x="680" y="538"/>
                      </a:cubicBezTo>
                      <a:cubicBezTo>
                        <a:pt x="680" y="545"/>
                        <a:pt x="685" y="549"/>
                        <a:pt x="689" y="553"/>
                      </a:cubicBezTo>
                      <a:cubicBezTo>
                        <a:pt x="694" y="556"/>
                        <a:pt x="700" y="562"/>
                        <a:pt x="701" y="565"/>
                      </a:cubicBezTo>
                      <a:cubicBezTo>
                        <a:pt x="703" y="568"/>
                        <a:pt x="713" y="574"/>
                        <a:pt x="719" y="577"/>
                      </a:cubicBezTo>
                      <a:cubicBezTo>
                        <a:pt x="724" y="581"/>
                        <a:pt x="728" y="583"/>
                        <a:pt x="732" y="585"/>
                      </a:cubicBezTo>
                      <a:cubicBezTo>
                        <a:pt x="736" y="586"/>
                        <a:pt x="733" y="587"/>
                        <a:pt x="728" y="590"/>
                      </a:cubicBezTo>
                      <a:cubicBezTo>
                        <a:pt x="723" y="593"/>
                        <a:pt x="720" y="587"/>
                        <a:pt x="715" y="585"/>
                      </a:cubicBezTo>
                      <a:cubicBezTo>
                        <a:pt x="710" y="582"/>
                        <a:pt x="705" y="586"/>
                        <a:pt x="702" y="588"/>
                      </a:cubicBezTo>
                      <a:cubicBezTo>
                        <a:pt x="700" y="589"/>
                        <a:pt x="707" y="593"/>
                        <a:pt x="712" y="594"/>
                      </a:cubicBezTo>
                      <a:cubicBezTo>
                        <a:pt x="716" y="596"/>
                        <a:pt x="721" y="599"/>
                        <a:pt x="725" y="599"/>
                      </a:cubicBezTo>
                      <a:cubicBezTo>
                        <a:pt x="729" y="600"/>
                        <a:pt x="733" y="600"/>
                        <a:pt x="736" y="604"/>
                      </a:cubicBezTo>
                      <a:cubicBezTo>
                        <a:pt x="739" y="608"/>
                        <a:pt x="735" y="608"/>
                        <a:pt x="730" y="609"/>
                      </a:cubicBezTo>
                      <a:cubicBezTo>
                        <a:pt x="724" y="610"/>
                        <a:pt x="722" y="609"/>
                        <a:pt x="716" y="606"/>
                      </a:cubicBezTo>
                      <a:cubicBezTo>
                        <a:pt x="710" y="603"/>
                        <a:pt x="710" y="606"/>
                        <a:pt x="708" y="610"/>
                      </a:cubicBezTo>
                      <a:cubicBezTo>
                        <a:pt x="707" y="615"/>
                        <a:pt x="712" y="614"/>
                        <a:pt x="718" y="618"/>
                      </a:cubicBezTo>
                      <a:cubicBezTo>
                        <a:pt x="724" y="622"/>
                        <a:pt x="723" y="622"/>
                        <a:pt x="726" y="625"/>
                      </a:cubicBezTo>
                      <a:cubicBezTo>
                        <a:pt x="729" y="629"/>
                        <a:pt x="728" y="630"/>
                        <a:pt x="723" y="634"/>
                      </a:cubicBezTo>
                      <a:cubicBezTo>
                        <a:pt x="718" y="639"/>
                        <a:pt x="723" y="641"/>
                        <a:pt x="723" y="646"/>
                      </a:cubicBezTo>
                      <a:cubicBezTo>
                        <a:pt x="723" y="651"/>
                        <a:pt x="718" y="656"/>
                        <a:pt x="713" y="659"/>
                      </a:cubicBezTo>
                      <a:cubicBezTo>
                        <a:pt x="709" y="663"/>
                        <a:pt x="712" y="663"/>
                        <a:pt x="716" y="666"/>
                      </a:cubicBezTo>
                      <a:cubicBezTo>
                        <a:pt x="720" y="669"/>
                        <a:pt x="721" y="664"/>
                        <a:pt x="724" y="663"/>
                      </a:cubicBezTo>
                      <a:cubicBezTo>
                        <a:pt x="726" y="661"/>
                        <a:pt x="733" y="661"/>
                        <a:pt x="734" y="659"/>
                      </a:cubicBezTo>
                      <a:cubicBezTo>
                        <a:pt x="735" y="656"/>
                        <a:pt x="734" y="653"/>
                        <a:pt x="734" y="651"/>
                      </a:cubicBezTo>
                      <a:cubicBezTo>
                        <a:pt x="735" y="648"/>
                        <a:pt x="738" y="654"/>
                        <a:pt x="738" y="659"/>
                      </a:cubicBezTo>
                      <a:cubicBezTo>
                        <a:pt x="739" y="663"/>
                        <a:pt x="741" y="663"/>
                        <a:pt x="745" y="665"/>
                      </a:cubicBezTo>
                      <a:cubicBezTo>
                        <a:pt x="749" y="667"/>
                        <a:pt x="752" y="665"/>
                        <a:pt x="757" y="662"/>
                      </a:cubicBezTo>
                      <a:cubicBezTo>
                        <a:pt x="761" y="659"/>
                        <a:pt x="763" y="662"/>
                        <a:pt x="771" y="662"/>
                      </a:cubicBezTo>
                      <a:cubicBezTo>
                        <a:pt x="779" y="663"/>
                        <a:pt x="777" y="657"/>
                        <a:pt x="782" y="651"/>
                      </a:cubicBezTo>
                      <a:cubicBezTo>
                        <a:pt x="787" y="646"/>
                        <a:pt x="786" y="647"/>
                        <a:pt x="790" y="648"/>
                      </a:cubicBezTo>
                      <a:cubicBezTo>
                        <a:pt x="794" y="648"/>
                        <a:pt x="789" y="653"/>
                        <a:pt x="789" y="655"/>
                      </a:cubicBezTo>
                      <a:cubicBezTo>
                        <a:pt x="788" y="657"/>
                        <a:pt x="785" y="660"/>
                        <a:pt x="782" y="665"/>
                      </a:cubicBezTo>
                      <a:close/>
                      <a:moveTo>
                        <a:pt x="39" y="27"/>
                      </a:moveTo>
                      <a:cubicBezTo>
                        <a:pt x="41" y="24"/>
                        <a:pt x="42" y="15"/>
                        <a:pt x="39" y="21"/>
                      </a:cubicBezTo>
                      <a:cubicBezTo>
                        <a:pt x="38" y="24"/>
                        <a:pt x="32" y="21"/>
                        <a:pt x="32" y="24"/>
                      </a:cubicBezTo>
                      <a:cubicBezTo>
                        <a:pt x="31" y="27"/>
                        <a:pt x="31" y="31"/>
                        <a:pt x="34" y="30"/>
                      </a:cubicBezTo>
                      <a:cubicBezTo>
                        <a:pt x="37" y="29"/>
                        <a:pt x="38" y="30"/>
                        <a:pt x="39" y="27"/>
                      </a:cubicBezTo>
                      <a:close/>
                      <a:moveTo>
                        <a:pt x="19" y="94"/>
                      </a:moveTo>
                      <a:cubicBezTo>
                        <a:pt x="24" y="91"/>
                        <a:pt x="25" y="88"/>
                        <a:pt x="27" y="83"/>
                      </a:cubicBezTo>
                      <a:cubicBezTo>
                        <a:pt x="30" y="79"/>
                        <a:pt x="29" y="78"/>
                        <a:pt x="33" y="74"/>
                      </a:cubicBezTo>
                      <a:cubicBezTo>
                        <a:pt x="36" y="71"/>
                        <a:pt x="37" y="70"/>
                        <a:pt x="37" y="64"/>
                      </a:cubicBezTo>
                      <a:cubicBezTo>
                        <a:pt x="37" y="59"/>
                        <a:pt x="36" y="56"/>
                        <a:pt x="33" y="51"/>
                      </a:cubicBezTo>
                      <a:cubicBezTo>
                        <a:pt x="31" y="46"/>
                        <a:pt x="31" y="46"/>
                        <a:pt x="30" y="41"/>
                      </a:cubicBezTo>
                      <a:cubicBezTo>
                        <a:pt x="29" y="35"/>
                        <a:pt x="19" y="38"/>
                        <a:pt x="20" y="43"/>
                      </a:cubicBezTo>
                      <a:cubicBezTo>
                        <a:pt x="19" y="49"/>
                        <a:pt x="19" y="50"/>
                        <a:pt x="15" y="54"/>
                      </a:cubicBezTo>
                      <a:cubicBezTo>
                        <a:pt x="12" y="58"/>
                        <a:pt x="10" y="57"/>
                        <a:pt x="10" y="65"/>
                      </a:cubicBezTo>
                      <a:cubicBezTo>
                        <a:pt x="10" y="72"/>
                        <a:pt x="9" y="72"/>
                        <a:pt x="6" y="76"/>
                      </a:cubicBezTo>
                      <a:cubicBezTo>
                        <a:pt x="2" y="79"/>
                        <a:pt x="0" y="80"/>
                        <a:pt x="3" y="85"/>
                      </a:cubicBezTo>
                      <a:cubicBezTo>
                        <a:pt x="5" y="90"/>
                        <a:pt x="3" y="90"/>
                        <a:pt x="8" y="93"/>
                      </a:cubicBezTo>
                      <a:cubicBezTo>
                        <a:pt x="14" y="96"/>
                        <a:pt x="15" y="98"/>
                        <a:pt x="19" y="94"/>
                      </a:cubicBezTo>
                      <a:close/>
                      <a:moveTo>
                        <a:pt x="64" y="6"/>
                      </a:moveTo>
                      <a:cubicBezTo>
                        <a:pt x="58" y="11"/>
                        <a:pt x="55" y="8"/>
                        <a:pt x="54" y="13"/>
                      </a:cubicBezTo>
                      <a:cubicBezTo>
                        <a:pt x="53" y="18"/>
                        <a:pt x="52" y="18"/>
                        <a:pt x="55" y="24"/>
                      </a:cubicBezTo>
                      <a:cubicBezTo>
                        <a:pt x="57" y="29"/>
                        <a:pt x="57" y="34"/>
                        <a:pt x="61" y="29"/>
                      </a:cubicBezTo>
                      <a:cubicBezTo>
                        <a:pt x="65" y="24"/>
                        <a:pt x="65" y="23"/>
                        <a:pt x="68" y="20"/>
                      </a:cubicBezTo>
                      <a:cubicBezTo>
                        <a:pt x="71" y="16"/>
                        <a:pt x="73" y="22"/>
                        <a:pt x="72" y="12"/>
                      </a:cubicBezTo>
                      <a:cubicBezTo>
                        <a:pt x="71" y="3"/>
                        <a:pt x="69" y="0"/>
                        <a:pt x="64" y="6"/>
                      </a:cubicBezTo>
                      <a:close/>
                      <a:moveTo>
                        <a:pt x="61" y="203"/>
                      </a:moveTo>
                      <a:cubicBezTo>
                        <a:pt x="60" y="199"/>
                        <a:pt x="53" y="193"/>
                        <a:pt x="49" y="189"/>
                      </a:cubicBezTo>
                      <a:cubicBezTo>
                        <a:pt x="46" y="184"/>
                        <a:pt x="39" y="178"/>
                        <a:pt x="37" y="173"/>
                      </a:cubicBezTo>
                      <a:cubicBezTo>
                        <a:pt x="35" y="169"/>
                        <a:pt x="34" y="165"/>
                        <a:pt x="33" y="162"/>
                      </a:cubicBezTo>
                      <a:cubicBezTo>
                        <a:pt x="33" y="159"/>
                        <a:pt x="29" y="156"/>
                        <a:pt x="31" y="153"/>
                      </a:cubicBezTo>
                      <a:cubicBezTo>
                        <a:pt x="33" y="150"/>
                        <a:pt x="34" y="147"/>
                        <a:pt x="34" y="143"/>
                      </a:cubicBezTo>
                      <a:cubicBezTo>
                        <a:pt x="33" y="139"/>
                        <a:pt x="30" y="136"/>
                        <a:pt x="32" y="130"/>
                      </a:cubicBezTo>
                      <a:cubicBezTo>
                        <a:pt x="35" y="128"/>
                        <a:pt x="46" y="133"/>
                        <a:pt x="54" y="134"/>
                      </a:cubicBezTo>
                      <a:cubicBezTo>
                        <a:pt x="61" y="134"/>
                        <a:pt x="72" y="139"/>
                        <a:pt x="77" y="141"/>
                      </a:cubicBezTo>
                      <a:cubicBezTo>
                        <a:pt x="82" y="142"/>
                        <a:pt x="87" y="143"/>
                        <a:pt x="85" y="139"/>
                      </a:cubicBezTo>
                      <a:cubicBezTo>
                        <a:pt x="83" y="136"/>
                        <a:pt x="79" y="135"/>
                        <a:pt x="77" y="130"/>
                      </a:cubicBezTo>
                      <a:cubicBezTo>
                        <a:pt x="75" y="126"/>
                        <a:pt x="70" y="122"/>
                        <a:pt x="66" y="121"/>
                      </a:cubicBezTo>
                      <a:cubicBezTo>
                        <a:pt x="63" y="119"/>
                        <a:pt x="51" y="116"/>
                        <a:pt x="52" y="111"/>
                      </a:cubicBezTo>
                      <a:cubicBezTo>
                        <a:pt x="53" y="106"/>
                        <a:pt x="51" y="102"/>
                        <a:pt x="55" y="101"/>
                      </a:cubicBezTo>
                      <a:cubicBezTo>
                        <a:pt x="60" y="99"/>
                        <a:pt x="61" y="100"/>
                        <a:pt x="67" y="97"/>
                      </a:cubicBezTo>
                      <a:cubicBezTo>
                        <a:pt x="73" y="93"/>
                        <a:pt x="75" y="95"/>
                        <a:pt x="78" y="90"/>
                      </a:cubicBezTo>
                      <a:cubicBezTo>
                        <a:pt x="81" y="85"/>
                        <a:pt x="83" y="86"/>
                        <a:pt x="83" y="78"/>
                      </a:cubicBezTo>
                      <a:cubicBezTo>
                        <a:pt x="82" y="71"/>
                        <a:pt x="85" y="68"/>
                        <a:pt x="81" y="65"/>
                      </a:cubicBezTo>
                      <a:cubicBezTo>
                        <a:pt x="77" y="62"/>
                        <a:pt x="78" y="61"/>
                        <a:pt x="71" y="64"/>
                      </a:cubicBezTo>
                      <a:cubicBezTo>
                        <a:pt x="65" y="67"/>
                        <a:pt x="64" y="64"/>
                        <a:pt x="59" y="67"/>
                      </a:cubicBezTo>
                      <a:cubicBezTo>
                        <a:pt x="55" y="70"/>
                        <a:pt x="53" y="68"/>
                        <a:pt x="52" y="72"/>
                      </a:cubicBezTo>
                      <a:cubicBezTo>
                        <a:pt x="51" y="76"/>
                        <a:pt x="49" y="76"/>
                        <a:pt x="49" y="81"/>
                      </a:cubicBezTo>
                      <a:cubicBezTo>
                        <a:pt x="49" y="86"/>
                        <a:pt x="50" y="87"/>
                        <a:pt x="46" y="89"/>
                      </a:cubicBezTo>
                      <a:cubicBezTo>
                        <a:pt x="42" y="91"/>
                        <a:pt x="40" y="89"/>
                        <a:pt x="38" y="93"/>
                      </a:cubicBezTo>
                      <a:cubicBezTo>
                        <a:pt x="35" y="98"/>
                        <a:pt x="34" y="100"/>
                        <a:pt x="34" y="104"/>
                      </a:cubicBezTo>
                      <a:cubicBezTo>
                        <a:pt x="33" y="108"/>
                        <a:pt x="32" y="109"/>
                        <a:pt x="28" y="108"/>
                      </a:cubicBezTo>
                      <a:cubicBezTo>
                        <a:pt x="24" y="108"/>
                        <a:pt x="23" y="105"/>
                        <a:pt x="20" y="107"/>
                      </a:cubicBezTo>
                      <a:cubicBezTo>
                        <a:pt x="16" y="108"/>
                        <a:pt x="13" y="108"/>
                        <a:pt x="13" y="112"/>
                      </a:cubicBezTo>
                      <a:cubicBezTo>
                        <a:pt x="13" y="116"/>
                        <a:pt x="14" y="114"/>
                        <a:pt x="13" y="118"/>
                      </a:cubicBezTo>
                      <a:cubicBezTo>
                        <a:pt x="11" y="122"/>
                        <a:pt x="9" y="121"/>
                        <a:pt x="12" y="125"/>
                      </a:cubicBezTo>
                      <a:cubicBezTo>
                        <a:pt x="14" y="129"/>
                        <a:pt x="13" y="128"/>
                        <a:pt x="16" y="131"/>
                      </a:cubicBezTo>
                      <a:cubicBezTo>
                        <a:pt x="20" y="133"/>
                        <a:pt x="20" y="130"/>
                        <a:pt x="20" y="135"/>
                      </a:cubicBezTo>
                      <a:cubicBezTo>
                        <a:pt x="20" y="141"/>
                        <a:pt x="20" y="141"/>
                        <a:pt x="20" y="145"/>
                      </a:cubicBezTo>
                      <a:cubicBezTo>
                        <a:pt x="20" y="149"/>
                        <a:pt x="22" y="154"/>
                        <a:pt x="21" y="160"/>
                      </a:cubicBezTo>
                      <a:cubicBezTo>
                        <a:pt x="22" y="167"/>
                        <a:pt x="21" y="166"/>
                        <a:pt x="21" y="171"/>
                      </a:cubicBezTo>
                      <a:cubicBezTo>
                        <a:pt x="21" y="175"/>
                        <a:pt x="23" y="179"/>
                        <a:pt x="26" y="182"/>
                      </a:cubicBezTo>
                      <a:cubicBezTo>
                        <a:pt x="30" y="185"/>
                        <a:pt x="34" y="189"/>
                        <a:pt x="38" y="193"/>
                      </a:cubicBezTo>
                      <a:cubicBezTo>
                        <a:pt x="41" y="197"/>
                        <a:pt x="49" y="202"/>
                        <a:pt x="55" y="205"/>
                      </a:cubicBezTo>
                      <a:cubicBezTo>
                        <a:pt x="61" y="207"/>
                        <a:pt x="62" y="206"/>
                        <a:pt x="61" y="203"/>
                      </a:cubicBezTo>
                      <a:close/>
                      <a:moveTo>
                        <a:pt x="487" y="253"/>
                      </a:moveTo>
                      <a:cubicBezTo>
                        <a:pt x="489" y="253"/>
                        <a:pt x="492" y="252"/>
                        <a:pt x="492" y="249"/>
                      </a:cubicBezTo>
                      <a:cubicBezTo>
                        <a:pt x="492" y="246"/>
                        <a:pt x="489" y="247"/>
                        <a:pt x="486" y="247"/>
                      </a:cubicBezTo>
                      <a:cubicBezTo>
                        <a:pt x="481" y="247"/>
                        <a:pt x="476" y="247"/>
                        <a:pt x="476" y="248"/>
                      </a:cubicBezTo>
                      <a:cubicBezTo>
                        <a:pt x="476" y="249"/>
                        <a:pt x="476" y="250"/>
                        <a:pt x="478" y="251"/>
                      </a:cubicBezTo>
                      <a:cubicBezTo>
                        <a:pt x="480" y="253"/>
                        <a:pt x="486" y="253"/>
                        <a:pt x="487" y="253"/>
                      </a:cubicBezTo>
                      <a:close/>
                      <a:moveTo>
                        <a:pt x="462" y="215"/>
                      </a:moveTo>
                      <a:cubicBezTo>
                        <a:pt x="461" y="217"/>
                        <a:pt x="458" y="217"/>
                        <a:pt x="459" y="221"/>
                      </a:cubicBezTo>
                      <a:cubicBezTo>
                        <a:pt x="461" y="224"/>
                        <a:pt x="462" y="228"/>
                        <a:pt x="465" y="228"/>
                      </a:cubicBezTo>
                      <a:cubicBezTo>
                        <a:pt x="468" y="229"/>
                        <a:pt x="472" y="229"/>
                        <a:pt x="473" y="227"/>
                      </a:cubicBezTo>
                      <a:cubicBezTo>
                        <a:pt x="473" y="225"/>
                        <a:pt x="469" y="223"/>
                        <a:pt x="470" y="221"/>
                      </a:cubicBezTo>
                      <a:cubicBezTo>
                        <a:pt x="470" y="218"/>
                        <a:pt x="466" y="214"/>
                        <a:pt x="462" y="215"/>
                      </a:cubicBezTo>
                      <a:close/>
                      <a:moveTo>
                        <a:pt x="530" y="261"/>
                      </a:moveTo>
                      <a:cubicBezTo>
                        <a:pt x="523" y="259"/>
                        <a:pt x="523" y="259"/>
                        <a:pt x="516" y="259"/>
                      </a:cubicBezTo>
                      <a:cubicBezTo>
                        <a:pt x="510" y="258"/>
                        <a:pt x="513" y="261"/>
                        <a:pt x="515" y="262"/>
                      </a:cubicBezTo>
                      <a:cubicBezTo>
                        <a:pt x="517" y="264"/>
                        <a:pt x="526" y="267"/>
                        <a:pt x="532" y="267"/>
                      </a:cubicBezTo>
                      <a:cubicBezTo>
                        <a:pt x="538" y="268"/>
                        <a:pt x="537" y="270"/>
                        <a:pt x="540" y="274"/>
                      </a:cubicBezTo>
                      <a:cubicBezTo>
                        <a:pt x="543" y="277"/>
                        <a:pt x="551" y="278"/>
                        <a:pt x="555" y="275"/>
                      </a:cubicBezTo>
                      <a:cubicBezTo>
                        <a:pt x="560" y="271"/>
                        <a:pt x="564" y="273"/>
                        <a:pt x="570" y="272"/>
                      </a:cubicBezTo>
                      <a:cubicBezTo>
                        <a:pt x="576" y="272"/>
                        <a:pt x="581" y="271"/>
                        <a:pt x="585" y="269"/>
                      </a:cubicBezTo>
                      <a:cubicBezTo>
                        <a:pt x="588" y="267"/>
                        <a:pt x="580" y="266"/>
                        <a:pt x="572" y="265"/>
                      </a:cubicBezTo>
                      <a:cubicBezTo>
                        <a:pt x="564" y="265"/>
                        <a:pt x="561" y="265"/>
                        <a:pt x="551" y="262"/>
                      </a:cubicBezTo>
                      <a:cubicBezTo>
                        <a:pt x="546" y="261"/>
                        <a:pt x="536" y="262"/>
                        <a:pt x="530" y="261"/>
                      </a:cubicBezTo>
                      <a:close/>
                      <a:moveTo>
                        <a:pt x="547" y="222"/>
                      </a:moveTo>
                      <a:cubicBezTo>
                        <a:pt x="542" y="220"/>
                        <a:pt x="535" y="216"/>
                        <a:pt x="534" y="212"/>
                      </a:cubicBezTo>
                      <a:cubicBezTo>
                        <a:pt x="532" y="209"/>
                        <a:pt x="535" y="208"/>
                        <a:pt x="527" y="206"/>
                      </a:cubicBezTo>
                      <a:cubicBezTo>
                        <a:pt x="519" y="204"/>
                        <a:pt x="517" y="204"/>
                        <a:pt x="514" y="201"/>
                      </a:cubicBezTo>
                      <a:cubicBezTo>
                        <a:pt x="511" y="199"/>
                        <a:pt x="502" y="197"/>
                        <a:pt x="506" y="201"/>
                      </a:cubicBezTo>
                      <a:cubicBezTo>
                        <a:pt x="512" y="206"/>
                        <a:pt x="515" y="205"/>
                        <a:pt x="518" y="208"/>
                      </a:cubicBezTo>
                      <a:cubicBezTo>
                        <a:pt x="522" y="212"/>
                        <a:pt x="522" y="209"/>
                        <a:pt x="523" y="217"/>
                      </a:cubicBezTo>
                      <a:cubicBezTo>
                        <a:pt x="524" y="224"/>
                        <a:pt x="520" y="223"/>
                        <a:pt x="524" y="227"/>
                      </a:cubicBezTo>
                      <a:cubicBezTo>
                        <a:pt x="528" y="232"/>
                        <a:pt x="529" y="233"/>
                        <a:pt x="534" y="233"/>
                      </a:cubicBezTo>
                      <a:cubicBezTo>
                        <a:pt x="538" y="233"/>
                        <a:pt x="541" y="234"/>
                        <a:pt x="544" y="231"/>
                      </a:cubicBezTo>
                      <a:cubicBezTo>
                        <a:pt x="548" y="228"/>
                        <a:pt x="555" y="231"/>
                        <a:pt x="554" y="227"/>
                      </a:cubicBezTo>
                      <a:cubicBezTo>
                        <a:pt x="553" y="223"/>
                        <a:pt x="552" y="223"/>
                        <a:pt x="547" y="222"/>
                      </a:cubicBezTo>
                      <a:close/>
                      <a:moveTo>
                        <a:pt x="129" y="161"/>
                      </a:moveTo>
                      <a:cubicBezTo>
                        <a:pt x="128" y="157"/>
                        <a:pt x="119" y="148"/>
                        <a:pt x="120" y="154"/>
                      </a:cubicBezTo>
                      <a:cubicBezTo>
                        <a:pt x="120" y="158"/>
                        <a:pt x="120" y="156"/>
                        <a:pt x="123" y="160"/>
                      </a:cubicBezTo>
                      <a:cubicBezTo>
                        <a:pt x="126" y="164"/>
                        <a:pt x="123" y="165"/>
                        <a:pt x="127" y="166"/>
                      </a:cubicBezTo>
                      <a:cubicBezTo>
                        <a:pt x="131" y="168"/>
                        <a:pt x="133" y="169"/>
                        <a:pt x="132" y="166"/>
                      </a:cubicBezTo>
                      <a:cubicBezTo>
                        <a:pt x="132" y="163"/>
                        <a:pt x="130" y="164"/>
                        <a:pt x="129" y="161"/>
                      </a:cubicBezTo>
                      <a:close/>
                      <a:moveTo>
                        <a:pt x="162" y="280"/>
                      </a:moveTo>
                      <a:cubicBezTo>
                        <a:pt x="167" y="284"/>
                        <a:pt x="170" y="285"/>
                        <a:pt x="173" y="284"/>
                      </a:cubicBezTo>
                      <a:cubicBezTo>
                        <a:pt x="176" y="284"/>
                        <a:pt x="174" y="281"/>
                        <a:pt x="178" y="280"/>
                      </a:cubicBezTo>
                      <a:cubicBezTo>
                        <a:pt x="181" y="279"/>
                        <a:pt x="184" y="279"/>
                        <a:pt x="185" y="278"/>
                      </a:cubicBezTo>
                      <a:cubicBezTo>
                        <a:pt x="187" y="276"/>
                        <a:pt x="187" y="273"/>
                        <a:pt x="185" y="270"/>
                      </a:cubicBezTo>
                      <a:cubicBezTo>
                        <a:pt x="183" y="267"/>
                        <a:pt x="183" y="265"/>
                        <a:pt x="182" y="264"/>
                      </a:cubicBezTo>
                      <a:cubicBezTo>
                        <a:pt x="180" y="263"/>
                        <a:pt x="172" y="260"/>
                        <a:pt x="170" y="265"/>
                      </a:cubicBezTo>
                      <a:cubicBezTo>
                        <a:pt x="165" y="270"/>
                        <a:pt x="162" y="268"/>
                        <a:pt x="157" y="270"/>
                      </a:cubicBezTo>
                      <a:cubicBezTo>
                        <a:pt x="152" y="271"/>
                        <a:pt x="150" y="273"/>
                        <a:pt x="154" y="276"/>
                      </a:cubicBezTo>
                      <a:cubicBezTo>
                        <a:pt x="157" y="279"/>
                        <a:pt x="157" y="276"/>
                        <a:pt x="162" y="280"/>
                      </a:cubicBezTo>
                      <a:close/>
                      <a:moveTo>
                        <a:pt x="150" y="228"/>
                      </a:moveTo>
                      <a:cubicBezTo>
                        <a:pt x="146" y="230"/>
                        <a:pt x="140" y="234"/>
                        <a:pt x="145" y="234"/>
                      </a:cubicBezTo>
                      <a:cubicBezTo>
                        <a:pt x="149" y="234"/>
                        <a:pt x="152" y="234"/>
                        <a:pt x="154" y="231"/>
                      </a:cubicBezTo>
                      <a:cubicBezTo>
                        <a:pt x="156" y="229"/>
                        <a:pt x="154" y="226"/>
                        <a:pt x="150" y="228"/>
                      </a:cubicBezTo>
                      <a:close/>
                      <a:moveTo>
                        <a:pt x="226" y="221"/>
                      </a:moveTo>
                      <a:cubicBezTo>
                        <a:pt x="225" y="216"/>
                        <a:pt x="224" y="213"/>
                        <a:pt x="219" y="214"/>
                      </a:cubicBezTo>
                      <a:cubicBezTo>
                        <a:pt x="214" y="216"/>
                        <a:pt x="212" y="215"/>
                        <a:pt x="209" y="216"/>
                      </a:cubicBezTo>
                      <a:cubicBezTo>
                        <a:pt x="206" y="216"/>
                        <a:pt x="203" y="217"/>
                        <a:pt x="205" y="222"/>
                      </a:cubicBezTo>
                      <a:cubicBezTo>
                        <a:pt x="207" y="227"/>
                        <a:pt x="208" y="227"/>
                        <a:pt x="209" y="231"/>
                      </a:cubicBezTo>
                      <a:cubicBezTo>
                        <a:pt x="210" y="236"/>
                        <a:pt x="213" y="238"/>
                        <a:pt x="216" y="235"/>
                      </a:cubicBezTo>
                      <a:cubicBezTo>
                        <a:pt x="218" y="233"/>
                        <a:pt x="216" y="230"/>
                        <a:pt x="220" y="228"/>
                      </a:cubicBezTo>
                      <a:cubicBezTo>
                        <a:pt x="224" y="226"/>
                        <a:pt x="226" y="225"/>
                        <a:pt x="226" y="221"/>
                      </a:cubicBezTo>
                      <a:close/>
                      <a:moveTo>
                        <a:pt x="204" y="172"/>
                      </a:moveTo>
                      <a:cubicBezTo>
                        <a:pt x="201" y="168"/>
                        <a:pt x="197" y="164"/>
                        <a:pt x="195" y="163"/>
                      </a:cubicBezTo>
                      <a:cubicBezTo>
                        <a:pt x="193" y="162"/>
                        <a:pt x="189" y="162"/>
                        <a:pt x="187" y="167"/>
                      </a:cubicBezTo>
                      <a:cubicBezTo>
                        <a:pt x="186" y="170"/>
                        <a:pt x="186" y="170"/>
                        <a:pt x="191" y="171"/>
                      </a:cubicBezTo>
                      <a:cubicBezTo>
                        <a:pt x="196" y="172"/>
                        <a:pt x="193" y="174"/>
                        <a:pt x="198" y="175"/>
                      </a:cubicBezTo>
                      <a:cubicBezTo>
                        <a:pt x="202" y="177"/>
                        <a:pt x="207" y="177"/>
                        <a:pt x="204" y="172"/>
                      </a:cubicBezTo>
                      <a:close/>
                      <a:moveTo>
                        <a:pt x="243" y="177"/>
                      </a:moveTo>
                      <a:cubicBezTo>
                        <a:pt x="243" y="173"/>
                        <a:pt x="245" y="173"/>
                        <a:pt x="238" y="170"/>
                      </a:cubicBezTo>
                      <a:cubicBezTo>
                        <a:pt x="231" y="166"/>
                        <a:pt x="229" y="167"/>
                        <a:pt x="226" y="163"/>
                      </a:cubicBezTo>
                      <a:cubicBezTo>
                        <a:pt x="224" y="159"/>
                        <a:pt x="216" y="159"/>
                        <a:pt x="213" y="160"/>
                      </a:cubicBezTo>
                      <a:cubicBezTo>
                        <a:pt x="210" y="163"/>
                        <a:pt x="207" y="163"/>
                        <a:pt x="212" y="166"/>
                      </a:cubicBezTo>
                      <a:cubicBezTo>
                        <a:pt x="216" y="169"/>
                        <a:pt x="217" y="168"/>
                        <a:pt x="220" y="173"/>
                      </a:cubicBezTo>
                      <a:cubicBezTo>
                        <a:pt x="224" y="178"/>
                        <a:pt x="227" y="181"/>
                        <a:pt x="233" y="180"/>
                      </a:cubicBezTo>
                      <a:cubicBezTo>
                        <a:pt x="238" y="180"/>
                        <a:pt x="244" y="180"/>
                        <a:pt x="243" y="177"/>
                      </a:cubicBezTo>
                      <a:close/>
                      <a:moveTo>
                        <a:pt x="191" y="205"/>
                      </a:moveTo>
                      <a:cubicBezTo>
                        <a:pt x="188" y="206"/>
                        <a:pt x="187" y="207"/>
                        <a:pt x="188" y="210"/>
                      </a:cubicBezTo>
                      <a:cubicBezTo>
                        <a:pt x="190" y="212"/>
                        <a:pt x="202" y="209"/>
                        <a:pt x="202" y="206"/>
                      </a:cubicBezTo>
                      <a:cubicBezTo>
                        <a:pt x="202" y="204"/>
                        <a:pt x="195" y="203"/>
                        <a:pt x="191" y="205"/>
                      </a:cubicBezTo>
                      <a:close/>
                    </a:path>
                  </a:pathLst>
                </a:custGeom>
                <a:solidFill>
                  <a:srgbClr val="F2F2F2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80" name="Freeform 106"/>
                <p:cNvSpPr/>
                <p:nvPr>
                  <p:custDataLst>
                    <p:tags r:id="rId178"/>
                  </p:custDataLst>
                </p:nvPr>
              </p:nvSpPr>
              <p:spPr bwMode="auto">
                <a:xfrm>
                  <a:off x="4007" y="2516"/>
                  <a:ext cx="3" cy="7"/>
                </a:xfrm>
                <a:custGeom>
                  <a:avLst/>
                  <a:gdLst>
                    <a:gd name="T0" fmla="*/ 4 w 7"/>
                    <a:gd name="T1" fmla="*/ 2 h 17"/>
                    <a:gd name="T2" fmla="*/ 0 w 7"/>
                    <a:gd name="T3" fmla="*/ 8 h 17"/>
                    <a:gd name="T4" fmla="*/ 3 w 7"/>
                    <a:gd name="T5" fmla="*/ 13 h 17"/>
                    <a:gd name="T6" fmla="*/ 7 w 7"/>
                    <a:gd name="T7" fmla="*/ 4 h 17"/>
                    <a:gd name="T8" fmla="*/ 4 w 7"/>
                    <a:gd name="T9" fmla="*/ 2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" h="17">
                      <a:moveTo>
                        <a:pt x="4" y="2"/>
                      </a:moveTo>
                      <a:cubicBezTo>
                        <a:pt x="0" y="5"/>
                        <a:pt x="1" y="4"/>
                        <a:pt x="0" y="8"/>
                      </a:cubicBezTo>
                      <a:cubicBezTo>
                        <a:pt x="0" y="12"/>
                        <a:pt x="1" y="17"/>
                        <a:pt x="3" y="13"/>
                      </a:cubicBezTo>
                      <a:cubicBezTo>
                        <a:pt x="6" y="8"/>
                        <a:pt x="7" y="7"/>
                        <a:pt x="7" y="4"/>
                      </a:cubicBezTo>
                      <a:cubicBezTo>
                        <a:pt x="7" y="2"/>
                        <a:pt x="7" y="0"/>
                        <a:pt x="4" y="2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81" name="Freeform 107"/>
                <p:cNvSpPr/>
                <p:nvPr>
                  <p:custDataLst>
                    <p:tags r:id="rId179"/>
                  </p:custDataLst>
                </p:nvPr>
              </p:nvSpPr>
              <p:spPr bwMode="auto">
                <a:xfrm>
                  <a:off x="4039" y="2516"/>
                  <a:ext cx="15" cy="26"/>
                </a:xfrm>
                <a:custGeom>
                  <a:avLst/>
                  <a:gdLst>
                    <a:gd name="T0" fmla="*/ 26 w 34"/>
                    <a:gd name="T1" fmla="*/ 58 h 61"/>
                    <a:gd name="T2" fmla="*/ 30 w 34"/>
                    <a:gd name="T3" fmla="*/ 46 h 61"/>
                    <a:gd name="T4" fmla="*/ 31 w 34"/>
                    <a:gd name="T5" fmla="*/ 40 h 61"/>
                    <a:gd name="T6" fmla="*/ 26 w 34"/>
                    <a:gd name="T7" fmla="*/ 32 h 61"/>
                    <a:gd name="T8" fmla="*/ 31 w 34"/>
                    <a:gd name="T9" fmla="*/ 23 h 61"/>
                    <a:gd name="T10" fmla="*/ 27 w 34"/>
                    <a:gd name="T11" fmla="*/ 14 h 61"/>
                    <a:gd name="T12" fmla="*/ 24 w 34"/>
                    <a:gd name="T13" fmla="*/ 9 h 61"/>
                    <a:gd name="T14" fmla="*/ 20 w 34"/>
                    <a:gd name="T15" fmla="*/ 4 h 61"/>
                    <a:gd name="T16" fmla="*/ 13 w 34"/>
                    <a:gd name="T17" fmla="*/ 13 h 61"/>
                    <a:gd name="T18" fmla="*/ 2 w 34"/>
                    <a:gd name="T19" fmla="*/ 17 h 61"/>
                    <a:gd name="T20" fmla="*/ 6 w 34"/>
                    <a:gd name="T21" fmla="*/ 23 h 61"/>
                    <a:gd name="T22" fmla="*/ 9 w 34"/>
                    <a:gd name="T23" fmla="*/ 31 h 61"/>
                    <a:gd name="T24" fmla="*/ 5 w 34"/>
                    <a:gd name="T25" fmla="*/ 36 h 61"/>
                    <a:gd name="T26" fmla="*/ 4 w 34"/>
                    <a:gd name="T27" fmla="*/ 44 h 61"/>
                    <a:gd name="T28" fmla="*/ 12 w 34"/>
                    <a:gd name="T29" fmla="*/ 50 h 61"/>
                    <a:gd name="T30" fmla="*/ 18 w 34"/>
                    <a:gd name="T31" fmla="*/ 58 h 61"/>
                    <a:gd name="T32" fmla="*/ 26 w 34"/>
                    <a:gd name="T33" fmla="*/ 58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34" h="61">
                      <a:moveTo>
                        <a:pt x="26" y="58"/>
                      </a:moveTo>
                      <a:cubicBezTo>
                        <a:pt x="29" y="54"/>
                        <a:pt x="27" y="49"/>
                        <a:pt x="30" y="46"/>
                      </a:cubicBezTo>
                      <a:cubicBezTo>
                        <a:pt x="33" y="44"/>
                        <a:pt x="34" y="43"/>
                        <a:pt x="31" y="40"/>
                      </a:cubicBezTo>
                      <a:cubicBezTo>
                        <a:pt x="27" y="38"/>
                        <a:pt x="23" y="37"/>
                        <a:pt x="26" y="32"/>
                      </a:cubicBezTo>
                      <a:cubicBezTo>
                        <a:pt x="30" y="27"/>
                        <a:pt x="32" y="30"/>
                        <a:pt x="31" y="23"/>
                      </a:cubicBezTo>
                      <a:cubicBezTo>
                        <a:pt x="30" y="17"/>
                        <a:pt x="30" y="16"/>
                        <a:pt x="27" y="14"/>
                      </a:cubicBezTo>
                      <a:cubicBezTo>
                        <a:pt x="24" y="12"/>
                        <a:pt x="24" y="13"/>
                        <a:pt x="24" y="9"/>
                      </a:cubicBezTo>
                      <a:cubicBezTo>
                        <a:pt x="24" y="6"/>
                        <a:pt x="24" y="0"/>
                        <a:pt x="20" y="4"/>
                      </a:cubicBezTo>
                      <a:cubicBezTo>
                        <a:pt x="15" y="8"/>
                        <a:pt x="18" y="11"/>
                        <a:pt x="13" y="13"/>
                      </a:cubicBezTo>
                      <a:cubicBezTo>
                        <a:pt x="8" y="16"/>
                        <a:pt x="3" y="14"/>
                        <a:pt x="2" y="17"/>
                      </a:cubicBezTo>
                      <a:cubicBezTo>
                        <a:pt x="2" y="21"/>
                        <a:pt x="1" y="21"/>
                        <a:pt x="6" y="23"/>
                      </a:cubicBezTo>
                      <a:cubicBezTo>
                        <a:pt x="11" y="26"/>
                        <a:pt x="11" y="27"/>
                        <a:pt x="9" y="31"/>
                      </a:cubicBezTo>
                      <a:cubicBezTo>
                        <a:pt x="8" y="34"/>
                        <a:pt x="7" y="31"/>
                        <a:pt x="5" y="36"/>
                      </a:cubicBezTo>
                      <a:cubicBezTo>
                        <a:pt x="4" y="41"/>
                        <a:pt x="0" y="40"/>
                        <a:pt x="4" y="44"/>
                      </a:cubicBezTo>
                      <a:cubicBezTo>
                        <a:pt x="8" y="49"/>
                        <a:pt x="7" y="46"/>
                        <a:pt x="12" y="50"/>
                      </a:cubicBezTo>
                      <a:cubicBezTo>
                        <a:pt x="16" y="54"/>
                        <a:pt x="16" y="55"/>
                        <a:pt x="18" y="58"/>
                      </a:cubicBezTo>
                      <a:cubicBezTo>
                        <a:pt x="20" y="60"/>
                        <a:pt x="24" y="61"/>
                        <a:pt x="26" y="58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82" name="Freeform 108"/>
                <p:cNvSpPr/>
                <p:nvPr>
                  <p:custDataLst>
                    <p:tags r:id="rId180"/>
                  </p:custDataLst>
                </p:nvPr>
              </p:nvSpPr>
              <p:spPr bwMode="auto">
                <a:xfrm>
                  <a:off x="4033" y="2537"/>
                  <a:ext cx="14" cy="20"/>
                </a:xfrm>
                <a:custGeom>
                  <a:avLst/>
                  <a:gdLst>
                    <a:gd name="T0" fmla="*/ 10 w 31"/>
                    <a:gd name="T1" fmla="*/ 22 h 47"/>
                    <a:gd name="T2" fmla="*/ 3 w 31"/>
                    <a:gd name="T3" fmla="*/ 29 h 47"/>
                    <a:gd name="T4" fmla="*/ 3 w 31"/>
                    <a:gd name="T5" fmla="*/ 38 h 47"/>
                    <a:gd name="T6" fmla="*/ 11 w 31"/>
                    <a:gd name="T7" fmla="*/ 47 h 47"/>
                    <a:gd name="T8" fmla="*/ 17 w 31"/>
                    <a:gd name="T9" fmla="*/ 39 h 47"/>
                    <a:gd name="T10" fmla="*/ 23 w 31"/>
                    <a:gd name="T11" fmla="*/ 33 h 47"/>
                    <a:gd name="T12" fmla="*/ 29 w 31"/>
                    <a:gd name="T13" fmla="*/ 29 h 47"/>
                    <a:gd name="T14" fmla="*/ 25 w 31"/>
                    <a:gd name="T15" fmla="*/ 20 h 47"/>
                    <a:gd name="T16" fmla="*/ 18 w 31"/>
                    <a:gd name="T17" fmla="*/ 14 h 47"/>
                    <a:gd name="T18" fmla="*/ 12 w 31"/>
                    <a:gd name="T19" fmla="*/ 7 h 47"/>
                    <a:gd name="T20" fmla="*/ 8 w 31"/>
                    <a:gd name="T21" fmla="*/ 13 h 47"/>
                    <a:gd name="T22" fmla="*/ 14 w 31"/>
                    <a:gd name="T23" fmla="*/ 18 h 47"/>
                    <a:gd name="T24" fmla="*/ 10 w 31"/>
                    <a:gd name="T25" fmla="*/ 22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1" h="47">
                      <a:moveTo>
                        <a:pt x="10" y="22"/>
                      </a:moveTo>
                      <a:cubicBezTo>
                        <a:pt x="5" y="23"/>
                        <a:pt x="6" y="25"/>
                        <a:pt x="3" y="29"/>
                      </a:cubicBezTo>
                      <a:cubicBezTo>
                        <a:pt x="0" y="33"/>
                        <a:pt x="2" y="34"/>
                        <a:pt x="3" y="38"/>
                      </a:cubicBezTo>
                      <a:cubicBezTo>
                        <a:pt x="4" y="42"/>
                        <a:pt x="8" y="46"/>
                        <a:pt x="11" y="47"/>
                      </a:cubicBezTo>
                      <a:cubicBezTo>
                        <a:pt x="13" y="47"/>
                        <a:pt x="15" y="45"/>
                        <a:pt x="17" y="39"/>
                      </a:cubicBezTo>
                      <a:cubicBezTo>
                        <a:pt x="18" y="32"/>
                        <a:pt x="21" y="34"/>
                        <a:pt x="23" y="33"/>
                      </a:cubicBezTo>
                      <a:cubicBezTo>
                        <a:pt x="25" y="31"/>
                        <a:pt x="27" y="32"/>
                        <a:pt x="29" y="29"/>
                      </a:cubicBezTo>
                      <a:cubicBezTo>
                        <a:pt x="31" y="25"/>
                        <a:pt x="29" y="25"/>
                        <a:pt x="25" y="20"/>
                      </a:cubicBezTo>
                      <a:cubicBezTo>
                        <a:pt x="21" y="14"/>
                        <a:pt x="23" y="17"/>
                        <a:pt x="18" y="14"/>
                      </a:cubicBezTo>
                      <a:cubicBezTo>
                        <a:pt x="14" y="11"/>
                        <a:pt x="15" y="11"/>
                        <a:pt x="12" y="7"/>
                      </a:cubicBezTo>
                      <a:cubicBezTo>
                        <a:pt x="11" y="0"/>
                        <a:pt x="7" y="8"/>
                        <a:pt x="8" y="13"/>
                      </a:cubicBezTo>
                      <a:cubicBezTo>
                        <a:pt x="9" y="18"/>
                        <a:pt x="12" y="16"/>
                        <a:pt x="14" y="18"/>
                      </a:cubicBezTo>
                      <a:cubicBezTo>
                        <a:pt x="16" y="20"/>
                        <a:pt x="14" y="21"/>
                        <a:pt x="10" y="22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83" name="Freeform 109"/>
                <p:cNvSpPr>
                  <a:spLocks noEditPoints="1"/>
                </p:cNvSpPr>
                <p:nvPr>
                  <p:custDataLst>
                    <p:tags r:id="rId181"/>
                  </p:custDataLst>
                </p:nvPr>
              </p:nvSpPr>
              <p:spPr bwMode="auto">
                <a:xfrm>
                  <a:off x="4576" y="2461"/>
                  <a:ext cx="207" cy="228"/>
                </a:xfrm>
                <a:custGeom>
                  <a:avLst/>
                  <a:gdLst>
                    <a:gd name="T0" fmla="*/ 10 w 483"/>
                    <a:gd name="T1" fmla="*/ 11 h 532"/>
                    <a:gd name="T2" fmla="*/ 445 w 483"/>
                    <a:gd name="T3" fmla="*/ 436 h 532"/>
                    <a:gd name="T4" fmla="*/ 437 w 483"/>
                    <a:gd name="T5" fmla="*/ 450 h 532"/>
                    <a:gd name="T6" fmla="*/ 481 w 483"/>
                    <a:gd name="T7" fmla="*/ 465 h 532"/>
                    <a:gd name="T8" fmla="*/ 460 w 483"/>
                    <a:gd name="T9" fmla="*/ 402 h 532"/>
                    <a:gd name="T10" fmla="*/ 460 w 483"/>
                    <a:gd name="T11" fmla="*/ 402 h 532"/>
                    <a:gd name="T12" fmla="*/ 405 w 483"/>
                    <a:gd name="T13" fmla="*/ 345 h 532"/>
                    <a:gd name="T14" fmla="*/ 378 w 483"/>
                    <a:gd name="T15" fmla="*/ 311 h 532"/>
                    <a:gd name="T16" fmla="*/ 391 w 483"/>
                    <a:gd name="T17" fmla="*/ 363 h 532"/>
                    <a:gd name="T18" fmla="*/ 423 w 483"/>
                    <a:gd name="T19" fmla="*/ 383 h 532"/>
                    <a:gd name="T20" fmla="*/ 356 w 483"/>
                    <a:gd name="T21" fmla="*/ 354 h 532"/>
                    <a:gd name="T22" fmla="*/ 355 w 483"/>
                    <a:gd name="T23" fmla="*/ 359 h 532"/>
                    <a:gd name="T24" fmla="*/ 283 w 483"/>
                    <a:gd name="T25" fmla="*/ 361 h 532"/>
                    <a:gd name="T26" fmla="*/ 369 w 483"/>
                    <a:gd name="T27" fmla="*/ 388 h 532"/>
                    <a:gd name="T28" fmla="*/ 329 w 483"/>
                    <a:gd name="T29" fmla="*/ 375 h 532"/>
                    <a:gd name="T30" fmla="*/ 319 w 483"/>
                    <a:gd name="T31" fmla="*/ 392 h 532"/>
                    <a:gd name="T32" fmla="*/ 371 w 483"/>
                    <a:gd name="T33" fmla="*/ 409 h 532"/>
                    <a:gd name="T34" fmla="*/ 369 w 483"/>
                    <a:gd name="T35" fmla="*/ 388 h 532"/>
                    <a:gd name="T36" fmla="*/ 339 w 483"/>
                    <a:gd name="T37" fmla="*/ 510 h 532"/>
                    <a:gd name="T38" fmla="*/ 365 w 483"/>
                    <a:gd name="T39" fmla="*/ 530 h 532"/>
                    <a:gd name="T40" fmla="*/ 330 w 483"/>
                    <a:gd name="T41" fmla="*/ 322 h 532"/>
                    <a:gd name="T42" fmla="*/ 310 w 483"/>
                    <a:gd name="T43" fmla="*/ 294 h 532"/>
                    <a:gd name="T44" fmla="*/ 261 w 483"/>
                    <a:gd name="T45" fmla="*/ 265 h 532"/>
                    <a:gd name="T46" fmla="*/ 236 w 483"/>
                    <a:gd name="T47" fmla="*/ 264 h 532"/>
                    <a:gd name="T48" fmla="*/ 277 w 483"/>
                    <a:gd name="T49" fmla="*/ 294 h 532"/>
                    <a:gd name="T50" fmla="*/ 318 w 483"/>
                    <a:gd name="T51" fmla="*/ 315 h 532"/>
                    <a:gd name="T52" fmla="*/ 211 w 483"/>
                    <a:gd name="T53" fmla="*/ 330 h 532"/>
                    <a:gd name="T54" fmla="*/ 214 w 483"/>
                    <a:gd name="T55" fmla="*/ 324 h 532"/>
                    <a:gd name="T56" fmla="*/ 161 w 483"/>
                    <a:gd name="T57" fmla="*/ 234 h 532"/>
                    <a:gd name="T58" fmla="*/ 126 w 483"/>
                    <a:gd name="T59" fmla="*/ 211 h 532"/>
                    <a:gd name="T60" fmla="*/ 145 w 483"/>
                    <a:gd name="T61" fmla="*/ 238 h 532"/>
                    <a:gd name="T62" fmla="*/ 130 w 483"/>
                    <a:gd name="T63" fmla="*/ 267 h 532"/>
                    <a:gd name="T64" fmla="*/ 139 w 483"/>
                    <a:gd name="T65" fmla="*/ 276 h 532"/>
                    <a:gd name="T66" fmla="*/ 124 w 483"/>
                    <a:gd name="T67" fmla="*/ 295 h 532"/>
                    <a:gd name="T68" fmla="*/ 122 w 483"/>
                    <a:gd name="T69" fmla="*/ 289 h 532"/>
                    <a:gd name="T70" fmla="*/ 167 w 483"/>
                    <a:gd name="T71" fmla="*/ 330 h 532"/>
                    <a:gd name="T72" fmla="*/ 175 w 483"/>
                    <a:gd name="T73" fmla="*/ 324 h 532"/>
                    <a:gd name="T74" fmla="*/ 158 w 483"/>
                    <a:gd name="T75" fmla="*/ 296 h 532"/>
                    <a:gd name="T76" fmla="*/ 154 w 483"/>
                    <a:gd name="T77" fmla="*/ 285 h 532"/>
                    <a:gd name="T78" fmla="*/ 180 w 483"/>
                    <a:gd name="T79" fmla="*/ 292 h 532"/>
                    <a:gd name="T80" fmla="*/ 192 w 483"/>
                    <a:gd name="T81" fmla="*/ 312 h 532"/>
                    <a:gd name="T82" fmla="*/ 200 w 483"/>
                    <a:gd name="T83" fmla="*/ 305 h 532"/>
                    <a:gd name="T84" fmla="*/ 9 w 483"/>
                    <a:gd name="T85" fmla="*/ 121 h 532"/>
                    <a:gd name="T86" fmla="*/ 74 w 483"/>
                    <a:gd name="T87" fmla="*/ 184 h 532"/>
                    <a:gd name="T88" fmla="*/ 31 w 483"/>
                    <a:gd name="T89" fmla="*/ 137 h 532"/>
                    <a:gd name="T90" fmla="*/ 13 w 483"/>
                    <a:gd name="T91" fmla="*/ 162 h 532"/>
                    <a:gd name="T92" fmla="*/ 48 w 483"/>
                    <a:gd name="T93" fmla="*/ 202 h 532"/>
                    <a:gd name="T94" fmla="*/ 80 w 483"/>
                    <a:gd name="T95" fmla="*/ 216 h 5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482" h="532">
                      <a:moveTo>
                        <a:pt x="15" y="9"/>
                      </a:moveTo>
                      <a:cubicBezTo>
                        <a:pt x="16" y="6"/>
                        <a:pt x="13" y="0"/>
                        <a:pt x="10" y="3"/>
                      </a:cubicBezTo>
                      <a:cubicBezTo>
                        <a:pt x="8" y="7"/>
                        <a:pt x="9" y="11"/>
                        <a:pt x="10" y="11"/>
                      </a:cubicBezTo>
                      <a:cubicBezTo>
                        <a:pt x="12" y="12"/>
                        <a:pt x="14" y="11"/>
                        <a:pt x="15" y="9"/>
                      </a:cubicBezTo>
                      <a:close/>
                      <a:moveTo>
                        <a:pt x="461" y="444"/>
                      </a:moveTo>
                      <a:cubicBezTo>
                        <a:pt x="455" y="438"/>
                        <a:pt x="454" y="437"/>
                        <a:pt x="445" y="436"/>
                      </a:cubicBezTo>
                      <a:cubicBezTo>
                        <a:pt x="435" y="435"/>
                        <a:pt x="423" y="427"/>
                        <a:pt x="423" y="430"/>
                      </a:cubicBezTo>
                      <a:cubicBezTo>
                        <a:pt x="422" y="436"/>
                        <a:pt x="422" y="438"/>
                        <a:pt x="427" y="441"/>
                      </a:cubicBezTo>
                      <a:cubicBezTo>
                        <a:pt x="432" y="444"/>
                        <a:pt x="434" y="445"/>
                        <a:pt x="437" y="450"/>
                      </a:cubicBezTo>
                      <a:cubicBezTo>
                        <a:pt x="440" y="455"/>
                        <a:pt x="438" y="455"/>
                        <a:pt x="448" y="459"/>
                      </a:cubicBezTo>
                      <a:cubicBezTo>
                        <a:pt x="458" y="462"/>
                        <a:pt x="458" y="461"/>
                        <a:pt x="464" y="463"/>
                      </a:cubicBezTo>
                      <a:cubicBezTo>
                        <a:pt x="470" y="465"/>
                        <a:pt x="480" y="469"/>
                        <a:pt x="481" y="465"/>
                      </a:cubicBezTo>
                      <a:cubicBezTo>
                        <a:pt x="483" y="462"/>
                        <a:pt x="481" y="462"/>
                        <a:pt x="476" y="455"/>
                      </a:cubicBezTo>
                      <a:cubicBezTo>
                        <a:pt x="471" y="448"/>
                        <a:pt x="467" y="451"/>
                        <a:pt x="461" y="444"/>
                      </a:cubicBezTo>
                      <a:close/>
                      <a:moveTo>
                        <a:pt x="460" y="402"/>
                      </a:moveTo>
                      <a:cubicBezTo>
                        <a:pt x="461" y="397"/>
                        <a:pt x="460" y="390"/>
                        <a:pt x="457" y="393"/>
                      </a:cubicBezTo>
                      <a:cubicBezTo>
                        <a:pt x="454" y="395"/>
                        <a:pt x="452" y="399"/>
                        <a:pt x="454" y="402"/>
                      </a:cubicBezTo>
                      <a:cubicBezTo>
                        <a:pt x="456" y="404"/>
                        <a:pt x="459" y="407"/>
                        <a:pt x="460" y="402"/>
                      </a:cubicBezTo>
                      <a:close/>
                      <a:moveTo>
                        <a:pt x="423" y="383"/>
                      </a:moveTo>
                      <a:cubicBezTo>
                        <a:pt x="419" y="377"/>
                        <a:pt x="416" y="373"/>
                        <a:pt x="416" y="368"/>
                      </a:cubicBezTo>
                      <a:cubicBezTo>
                        <a:pt x="416" y="363"/>
                        <a:pt x="407" y="352"/>
                        <a:pt x="405" y="345"/>
                      </a:cubicBezTo>
                      <a:cubicBezTo>
                        <a:pt x="402" y="338"/>
                        <a:pt x="404" y="338"/>
                        <a:pt x="402" y="332"/>
                      </a:cubicBezTo>
                      <a:cubicBezTo>
                        <a:pt x="399" y="326"/>
                        <a:pt x="398" y="329"/>
                        <a:pt x="393" y="321"/>
                      </a:cubicBezTo>
                      <a:cubicBezTo>
                        <a:pt x="389" y="313"/>
                        <a:pt x="383" y="307"/>
                        <a:pt x="378" y="311"/>
                      </a:cubicBezTo>
                      <a:cubicBezTo>
                        <a:pt x="377" y="318"/>
                        <a:pt x="378" y="320"/>
                        <a:pt x="382" y="328"/>
                      </a:cubicBezTo>
                      <a:cubicBezTo>
                        <a:pt x="385" y="337"/>
                        <a:pt x="386" y="334"/>
                        <a:pt x="386" y="347"/>
                      </a:cubicBezTo>
                      <a:cubicBezTo>
                        <a:pt x="387" y="359"/>
                        <a:pt x="382" y="358"/>
                        <a:pt x="391" y="363"/>
                      </a:cubicBezTo>
                      <a:cubicBezTo>
                        <a:pt x="400" y="367"/>
                        <a:pt x="399" y="362"/>
                        <a:pt x="405" y="370"/>
                      </a:cubicBezTo>
                      <a:cubicBezTo>
                        <a:pt x="410" y="379"/>
                        <a:pt x="410" y="384"/>
                        <a:pt x="417" y="386"/>
                      </a:cubicBezTo>
                      <a:cubicBezTo>
                        <a:pt x="423" y="387"/>
                        <a:pt x="427" y="388"/>
                        <a:pt x="423" y="383"/>
                      </a:cubicBezTo>
                      <a:close/>
                      <a:moveTo>
                        <a:pt x="355" y="359"/>
                      </a:moveTo>
                      <a:cubicBezTo>
                        <a:pt x="357" y="360"/>
                        <a:pt x="362" y="363"/>
                        <a:pt x="363" y="361"/>
                      </a:cubicBezTo>
                      <a:cubicBezTo>
                        <a:pt x="363" y="359"/>
                        <a:pt x="359" y="360"/>
                        <a:pt x="356" y="354"/>
                      </a:cubicBezTo>
                      <a:cubicBezTo>
                        <a:pt x="354" y="349"/>
                        <a:pt x="348" y="348"/>
                        <a:pt x="346" y="352"/>
                      </a:cubicBezTo>
                      <a:cubicBezTo>
                        <a:pt x="346" y="354"/>
                        <a:pt x="347" y="356"/>
                        <a:pt x="350" y="356"/>
                      </a:cubicBezTo>
                      <a:cubicBezTo>
                        <a:pt x="353" y="357"/>
                        <a:pt x="354" y="358"/>
                        <a:pt x="355" y="359"/>
                      </a:cubicBezTo>
                      <a:close/>
                      <a:moveTo>
                        <a:pt x="282" y="354"/>
                      </a:moveTo>
                      <a:cubicBezTo>
                        <a:pt x="280" y="357"/>
                        <a:pt x="278" y="357"/>
                        <a:pt x="279" y="359"/>
                      </a:cubicBezTo>
                      <a:cubicBezTo>
                        <a:pt x="279" y="360"/>
                        <a:pt x="280" y="362"/>
                        <a:pt x="283" y="361"/>
                      </a:cubicBezTo>
                      <a:cubicBezTo>
                        <a:pt x="286" y="360"/>
                        <a:pt x="288" y="361"/>
                        <a:pt x="289" y="357"/>
                      </a:cubicBezTo>
                      <a:cubicBezTo>
                        <a:pt x="291" y="352"/>
                        <a:pt x="286" y="350"/>
                        <a:pt x="282" y="354"/>
                      </a:cubicBezTo>
                      <a:close/>
                      <a:moveTo>
                        <a:pt x="369" y="388"/>
                      </a:moveTo>
                      <a:cubicBezTo>
                        <a:pt x="362" y="384"/>
                        <a:pt x="363" y="383"/>
                        <a:pt x="355" y="381"/>
                      </a:cubicBezTo>
                      <a:cubicBezTo>
                        <a:pt x="348" y="378"/>
                        <a:pt x="348" y="380"/>
                        <a:pt x="339" y="380"/>
                      </a:cubicBezTo>
                      <a:cubicBezTo>
                        <a:pt x="329" y="380"/>
                        <a:pt x="335" y="380"/>
                        <a:pt x="329" y="375"/>
                      </a:cubicBezTo>
                      <a:cubicBezTo>
                        <a:pt x="325" y="372"/>
                        <a:pt x="321" y="371"/>
                        <a:pt x="318" y="372"/>
                      </a:cubicBezTo>
                      <a:cubicBezTo>
                        <a:pt x="315" y="373"/>
                        <a:pt x="314" y="376"/>
                        <a:pt x="313" y="383"/>
                      </a:cubicBezTo>
                      <a:cubicBezTo>
                        <a:pt x="313" y="391"/>
                        <a:pt x="318" y="389"/>
                        <a:pt x="319" y="392"/>
                      </a:cubicBezTo>
                      <a:cubicBezTo>
                        <a:pt x="321" y="396"/>
                        <a:pt x="324" y="397"/>
                        <a:pt x="330" y="402"/>
                      </a:cubicBezTo>
                      <a:cubicBezTo>
                        <a:pt x="336" y="406"/>
                        <a:pt x="343" y="403"/>
                        <a:pt x="349" y="403"/>
                      </a:cubicBezTo>
                      <a:cubicBezTo>
                        <a:pt x="356" y="403"/>
                        <a:pt x="363" y="405"/>
                        <a:pt x="371" y="409"/>
                      </a:cubicBezTo>
                      <a:cubicBezTo>
                        <a:pt x="378" y="413"/>
                        <a:pt x="379" y="408"/>
                        <a:pt x="382" y="405"/>
                      </a:cubicBezTo>
                      <a:cubicBezTo>
                        <a:pt x="385" y="402"/>
                        <a:pt x="384" y="398"/>
                        <a:pt x="381" y="395"/>
                      </a:cubicBezTo>
                      <a:cubicBezTo>
                        <a:pt x="379" y="392"/>
                        <a:pt x="376" y="393"/>
                        <a:pt x="369" y="388"/>
                      </a:cubicBezTo>
                      <a:close/>
                      <a:moveTo>
                        <a:pt x="361" y="519"/>
                      </a:moveTo>
                      <a:cubicBezTo>
                        <a:pt x="358" y="517"/>
                        <a:pt x="352" y="518"/>
                        <a:pt x="350" y="514"/>
                      </a:cubicBezTo>
                      <a:cubicBezTo>
                        <a:pt x="347" y="511"/>
                        <a:pt x="340" y="507"/>
                        <a:pt x="339" y="510"/>
                      </a:cubicBezTo>
                      <a:cubicBezTo>
                        <a:pt x="340" y="516"/>
                        <a:pt x="341" y="517"/>
                        <a:pt x="346" y="519"/>
                      </a:cubicBezTo>
                      <a:cubicBezTo>
                        <a:pt x="350" y="520"/>
                        <a:pt x="353" y="519"/>
                        <a:pt x="357" y="523"/>
                      </a:cubicBezTo>
                      <a:cubicBezTo>
                        <a:pt x="360" y="528"/>
                        <a:pt x="361" y="532"/>
                        <a:pt x="365" y="530"/>
                      </a:cubicBezTo>
                      <a:cubicBezTo>
                        <a:pt x="368" y="528"/>
                        <a:pt x="370" y="528"/>
                        <a:pt x="367" y="524"/>
                      </a:cubicBezTo>
                      <a:cubicBezTo>
                        <a:pt x="364" y="520"/>
                        <a:pt x="364" y="520"/>
                        <a:pt x="361" y="519"/>
                      </a:cubicBezTo>
                      <a:close/>
                      <a:moveTo>
                        <a:pt x="330" y="322"/>
                      </a:moveTo>
                      <a:cubicBezTo>
                        <a:pt x="336" y="322"/>
                        <a:pt x="331" y="321"/>
                        <a:pt x="329" y="316"/>
                      </a:cubicBezTo>
                      <a:cubicBezTo>
                        <a:pt x="327" y="311"/>
                        <a:pt x="325" y="309"/>
                        <a:pt x="318" y="304"/>
                      </a:cubicBezTo>
                      <a:cubicBezTo>
                        <a:pt x="310" y="300"/>
                        <a:pt x="314" y="300"/>
                        <a:pt x="310" y="294"/>
                      </a:cubicBezTo>
                      <a:cubicBezTo>
                        <a:pt x="306" y="289"/>
                        <a:pt x="302" y="288"/>
                        <a:pt x="293" y="287"/>
                      </a:cubicBezTo>
                      <a:cubicBezTo>
                        <a:pt x="285" y="286"/>
                        <a:pt x="286" y="287"/>
                        <a:pt x="278" y="281"/>
                      </a:cubicBezTo>
                      <a:cubicBezTo>
                        <a:pt x="269" y="275"/>
                        <a:pt x="272" y="274"/>
                        <a:pt x="261" y="265"/>
                      </a:cubicBezTo>
                      <a:cubicBezTo>
                        <a:pt x="256" y="260"/>
                        <a:pt x="250" y="263"/>
                        <a:pt x="246" y="263"/>
                      </a:cubicBezTo>
                      <a:cubicBezTo>
                        <a:pt x="242" y="263"/>
                        <a:pt x="240" y="261"/>
                        <a:pt x="235" y="259"/>
                      </a:cubicBezTo>
                      <a:cubicBezTo>
                        <a:pt x="230" y="258"/>
                        <a:pt x="234" y="262"/>
                        <a:pt x="236" y="264"/>
                      </a:cubicBezTo>
                      <a:cubicBezTo>
                        <a:pt x="238" y="267"/>
                        <a:pt x="241" y="266"/>
                        <a:pt x="247" y="271"/>
                      </a:cubicBezTo>
                      <a:cubicBezTo>
                        <a:pt x="254" y="276"/>
                        <a:pt x="258" y="278"/>
                        <a:pt x="265" y="282"/>
                      </a:cubicBezTo>
                      <a:cubicBezTo>
                        <a:pt x="272" y="287"/>
                        <a:pt x="272" y="289"/>
                        <a:pt x="277" y="294"/>
                      </a:cubicBezTo>
                      <a:cubicBezTo>
                        <a:pt x="281" y="299"/>
                        <a:pt x="284" y="296"/>
                        <a:pt x="290" y="299"/>
                      </a:cubicBezTo>
                      <a:cubicBezTo>
                        <a:pt x="295" y="301"/>
                        <a:pt x="298" y="306"/>
                        <a:pt x="307" y="310"/>
                      </a:cubicBezTo>
                      <a:cubicBezTo>
                        <a:pt x="316" y="315"/>
                        <a:pt x="314" y="313"/>
                        <a:pt x="318" y="315"/>
                      </a:cubicBezTo>
                      <a:cubicBezTo>
                        <a:pt x="322" y="318"/>
                        <a:pt x="324" y="321"/>
                        <a:pt x="330" y="322"/>
                      </a:cubicBezTo>
                      <a:close/>
                      <a:moveTo>
                        <a:pt x="214" y="324"/>
                      </a:moveTo>
                      <a:cubicBezTo>
                        <a:pt x="211" y="325"/>
                        <a:pt x="209" y="327"/>
                        <a:pt x="211" y="330"/>
                      </a:cubicBezTo>
                      <a:cubicBezTo>
                        <a:pt x="213" y="333"/>
                        <a:pt x="214" y="335"/>
                        <a:pt x="217" y="333"/>
                      </a:cubicBezTo>
                      <a:cubicBezTo>
                        <a:pt x="219" y="332"/>
                        <a:pt x="219" y="329"/>
                        <a:pt x="222" y="327"/>
                      </a:cubicBezTo>
                      <a:cubicBezTo>
                        <a:pt x="225" y="325"/>
                        <a:pt x="219" y="322"/>
                        <a:pt x="214" y="324"/>
                      </a:cubicBezTo>
                      <a:close/>
                      <a:moveTo>
                        <a:pt x="169" y="248"/>
                      </a:moveTo>
                      <a:cubicBezTo>
                        <a:pt x="181" y="248"/>
                        <a:pt x="176" y="245"/>
                        <a:pt x="172" y="243"/>
                      </a:cubicBezTo>
                      <a:cubicBezTo>
                        <a:pt x="167" y="240"/>
                        <a:pt x="161" y="237"/>
                        <a:pt x="161" y="234"/>
                      </a:cubicBezTo>
                      <a:cubicBezTo>
                        <a:pt x="161" y="231"/>
                        <a:pt x="161" y="228"/>
                        <a:pt x="157" y="225"/>
                      </a:cubicBezTo>
                      <a:cubicBezTo>
                        <a:pt x="152" y="222"/>
                        <a:pt x="148" y="224"/>
                        <a:pt x="144" y="219"/>
                      </a:cubicBezTo>
                      <a:cubicBezTo>
                        <a:pt x="141" y="215"/>
                        <a:pt x="128" y="209"/>
                        <a:pt x="126" y="211"/>
                      </a:cubicBezTo>
                      <a:cubicBezTo>
                        <a:pt x="124" y="216"/>
                        <a:pt x="124" y="218"/>
                        <a:pt x="129" y="220"/>
                      </a:cubicBezTo>
                      <a:cubicBezTo>
                        <a:pt x="133" y="223"/>
                        <a:pt x="136" y="223"/>
                        <a:pt x="139" y="228"/>
                      </a:cubicBezTo>
                      <a:cubicBezTo>
                        <a:pt x="141" y="233"/>
                        <a:pt x="140" y="235"/>
                        <a:pt x="145" y="238"/>
                      </a:cubicBezTo>
                      <a:cubicBezTo>
                        <a:pt x="149" y="242"/>
                        <a:pt x="147" y="244"/>
                        <a:pt x="154" y="246"/>
                      </a:cubicBezTo>
                      <a:cubicBezTo>
                        <a:pt x="160" y="249"/>
                        <a:pt x="157" y="248"/>
                        <a:pt x="169" y="248"/>
                      </a:cubicBezTo>
                      <a:close/>
                      <a:moveTo>
                        <a:pt x="130" y="267"/>
                      </a:moveTo>
                      <a:cubicBezTo>
                        <a:pt x="129" y="270"/>
                        <a:pt x="128" y="270"/>
                        <a:pt x="130" y="273"/>
                      </a:cubicBezTo>
                      <a:cubicBezTo>
                        <a:pt x="132" y="275"/>
                        <a:pt x="131" y="278"/>
                        <a:pt x="133" y="280"/>
                      </a:cubicBezTo>
                      <a:cubicBezTo>
                        <a:pt x="134" y="281"/>
                        <a:pt x="138" y="279"/>
                        <a:pt x="139" y="276"/>
                      </a:cubicBezTo>
                      <a:cubicBezTo>
                        <a:pt x="140" y="272"/>
                        <a:pt x="133" y="263"/>
                        <a:pt x="130" y="267"/>
                      </a:cubicBezTo>
                      <a:close/>
                      <a:moveTo>
                        <a:pt x="122" y="289"/>
                      </a:moveTo>
                      <a:cubicBezTo>
                        <a:pt x="122" y="291"/>
                        <a:pt x="123" y="291"/>
                        <a:pt x="124" y="295"/>
                      </a:cubicBezTo>
                      <a:cubicBezTo>
                        <a:pt x="126" y="300"/>
                        <a:pt x="122" y="304"/>
                        <a:pt x="125" y="304"/>
                      </a:cubicBezTo>
                      <a:cubicBezTo>
                        <a:pt x="128" y="304"/>
                        <a:pt x="129" y="301"/>
                        <a:pt x="129" y="297"/>
                      </a:cubicBezTo>
                      <a:cubicBezTo>
                        <a:pt x="129" y="293"/>
                        <a:pt x="126" y="288"/>
                        <a:pt x="122" y="289"/>
                      </a:cubicBezTo>
                      <a:close/>
                      <a:moveTo>
                        <a:pt x="175" y="324"/>
                      </a:moveTo>
                      <a:cubicBezTo>
                        <a:pt x="174" y="320"/>
                        <a:pt x="169" y="319"/>
                        <a:pt x="167" y="320"/>
                      </a:cubicBezTo>
                      <a:cubicBezTo>
                        <a:pt x="165" y="322"/>
                        <a:pt x="163" y="327"/>
                        <a:pt x="167" y="330"/>
                      </a:cubicBezTo>
                      <a:cubicBezTo>
                        <a:pt x="172" y="333"/>
                        <a:pt x="173" y="335"/>
                        <a:pt x="177" y="336"/>
                      </a:cubicBezTo>
                      <a:cubicBezTo>
                        <a:pt x="181" y="337"/>
                        <a:pt x="179" y="335"/>
                        <a:pt x="178" y="331"/>
                      </a:cubicBezTo>
                      <a:cubicBezTo>
                        <a:pt x="176" y="327"/>
                        <a:pt x="177" y="327"/>
                        <a:pt x="175" y="324"/>
                      </a:cubicBezTo>
                      <a:close/>
                      <a:moveTo>
                        <a:pt x="154" y="285"/>
                      </a:moveTo>
                      <a:cubicBezTo>
                        <a:pt x="154" y="288"/>
                        <a:pt x="155" y="291"/>
                        <a:pt x="157" y="291"/>
                      </a:cubicBezTo>
                      <a:cubicBezTo>
                        <a:pt x="159" y="292"/>
                        <a:pt x="154" y="295"/>
                        <a:pt x="158" y="296"/>
                      </a:cubicBezTo>
                      <a:cubicBezTo>
                        <a:pt x="162" y="297"/>
                        <a:pt x="164" y="295"/>
                        <a:pt x="164" y="292"/>
                      </a:cubicBezTo>
                      <a:cubicBezTo>
                        <a:pt x="164" y="290"/>
                        <a:pt x="163" y="289"/>
                        <a:pt x="162" y="286"/>
                      </a:cubicBezTo>
                      <a:cubicBezTo>
                        <a:pt x="161" y="283"/>
                        <a:pt x="155" y="281"/>
                        <a:pt x="154" y="285"/>
                      </a:cubicBezTo>
                      <a:close/>
                      <a:moveTo>
                        <a:pt x="200" y="305"/>
                      </a:moveTo>
                      <a:cubicBezTo>
                        <a:pt x="195" y="302"/>
                        <a:pt x="196" y="301"/>
                        <a:pt x="190" y="294"/>
                      </a:cubicBezTo>
                      <a:cubicBezTo>
                        <a:pt x="185" y="288"/>
                        <a:pt x="184" y="291"/>
                        <a:pt x="180" y="292"/>
                      </a:cubicBezTo>
                      <a:cubicBezTo>
                        <a:pt x="177" y="292"/>
                        <a:pt x="173" y="299"/>
                        <a:pt x="173" y="303"/>
                      </a:cubicBezTo>
                      <a:cubicBezTo>
                        <a:pt x="174" y="307"/>
                        <a:pt x="177" y="306"/>
                        <a:pt x="183" y="306"/>
                      </a:cubicBezTo>
                      <a:cubicBezTo>
                        <a:pt x="189" y="306"/>
                        <a:pt x="189" y="309"/>
                        <a:pt x="192" y="312"/>
                      </a:cubicBezTo>
                      <a:cubicBezTo>
                        <a:pt x="195" y="316"/>
                        <a:pt x="193" y="318"/>
                        <a:pt x="200" y="321"/>
                      </a:cubicBezTo>
                      <a:cubicBezTo>
                        <a:pt x="206" y="324"/>
                        <a:pt x="205" y="319"/>
                        <a:pt x="204" y="317"/>
                      </a:cubicBezTo>
                      <a:cubicBezTo>
                        <a:pt x="204" y="314"/>
                        <a:pt x="205" y="308"/>
                        <a:pt x="200" y="305"/>
                      </a:cubicBezTo>
                      <a:close/>
                      <a:moveTo>
                        <a:pt x="1" y="106"/>
                      </a:moveTo>
                      <a:cubicBezTo>
                        <a:pt x="0" y="110"/>
                        <a:pt x="2" y="116"/>
                        <a:pt x="3" y="119"/>
                      </a:cubicBezTo>
                      <a:cubicBezTo>
                        <a:pt x="4" y="122"/>
                        <a:pt x="9" y="124"/>
                        <a:pt x="9" y="121"/>
                      </a:cubicBezTo>
                      <a:cubicBezTo>
                        <a:pt x="10" y="118"/>
                        <a:pt x="9" y="117"/>
                        <a:pt x="9" y="109"/>
                      </a:cubicBezTo>
                      <a:cubicBezTo>
                        <a:pt x="9" y="102"/>
                        <a:pt x="3" y="101"/>
                        <a:pt x="1" y="106"/>
                      </a:cubicBezTo>
                      <a:close/>
                      <a:moveTo>
                        <a:pt x="74" y="184"/>
                      </a:moveTo>
                      <a:cubicBezTo>
                        <a:pt x="64" y="177"/>
                        <a:pt x="58" y="179"/>
                        <a:pt x="52" y="170"/>
                      </a:cubicBezTo>
                      <a:cubicBezTo>
                        <a:pt x="47" y="161"/>
                        <a:pt x="41" y="158"/>
                        <a:pt x="38" y="150"/>
                      </a:cubicBezTo>
                      <a:cubicBezTo>
                        <a:pt x="36" y="143"/>
                        <a:pt x="36" y="140"/>
                        <a:pt x="31" y="137"/>
                      </a:cubicBezTo>
                      <a:cubicBezTo>
                        <a:pt x="25" y="134"/>
                        <a:pt x="21" y="130"/>
                        <a:pt x="18" y="133"/>
                      </a:cubicBezTo>
                      <a:cubicBezTo>
                        <a:pt x="15" y="135"/>
                        <a:pt x="14" y="139"/>
                        <a:pt x="12" y="147"/>
                      </a:cubicBezTo>
                      <a:cubicBezTo>
                        <a:pt x="12" y="154"/>
                        <a:pt x="11" y="156"/>
                        <a:pt x="13" y="162"/>
                      </a:cubicBezTo>
                      <a:cubicBezTo>
                        <a:pt x="16" y="167"/>
                        <a:pt x="16" y="166"/>
                        <a:pt x="22" y="173"/>
                      </a:cubicBezTo>
                      <a:cubicBezTo>
                        <a:pt x="28" y="181"/>
                        <a:pt x="30" y="189"/>
                        <a:pt x="34" y="193"/>
                      </a:cubicBezTo>
                      <a:cubicBezTo>
                        <a:pt x="37" y="197"/>
                        <a:pt x="43" y="198"/>
                        <a:pt x="48" y="202"/>
                      </a:cubicBezTo>
                      <a:cubicBezTo>
                        <a:pt x="53" y="206"/>
                        <a:pt x="53" y="209"/>
                        <a:pt x="56" y="212"/>
                      </a:cubicBezTo>
                      <a:cubicBezTo>
                        <a:pt x="59" y="215"/>
                        <a:pt x="59" y="212"/>
                        <a:pt x="65" y="217"/>
                      </a:cubicBezTo>
                      <a:cubicBezTo>
                        <a:pt x="70" y="223"/>
                        <a:pt x="77" y="219"/>
                        <a:pt x="80" y="216"/>
                      </a:cubicBezTo>
                      <a:cubicBezTo>
                        <a:pt x="83" y="212"/>
                        <a:pt x="87" y="209"/>
                        <a:pt x="86" y="203"/>
                      </a:cubicBezTo>
                      <a:cubicBezTo>
                        <a:pt x="84" y="197"/>
                        <a:pt x="84" y="191"/>
                        <a:pt x="74" y="184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84" name="Freeform 110"/>
                <p:cNvSpPr>
                  <a:spLocks noEditPoints="1"/>
                </p:cNvSpPr>
                <p:nvPr>
                  <p:custDataLst>
                    <p:tags r:id="rId182"/>
                  </p:custDataLst>
                </p:nvPr>
              </p:nvSpPr>
              <p:spPr bwMode="auto">
                <a:xfrm>
                  <a:off x="3020" y="2293"/>
                  <a:ext cx="499" cy="313"/>
                </a:xfrm>
                <a:custGeom>
                  <a:avLst/>
                  <a:gdLst>
                    <a:gd name="T0" fmla="*/ 1151 w 1169"/>
                    <a:gd name="T1" fmla="*/ 726 h 731"/>
                    <a:gd name="T2" fmla="*/ 1154 w 1169"/>
                    <a:gd name="T3" fmla="*/ 708 h 731"/>
                    <a:gd name="T4" fmla="*/ 1162 w 1169"/>
                    <a:gd name="T5" fmla="*/ 671 h 731"/>
                    <a:gd name="T6" fmla="*/ 1121 w 1169"/>
                    <a:gd name="T7" fmla="*/ 661 h 731"/>
                    <a:gd name="T8" fmla="*/ 1073 w 1169"/>
                    <a:gd name="T9" fmla="*/ 663 h 731"/>
                    <a:gd name="T10" fmla="*/ 1059 w 1169"/>
                    <a:gd name="T11" fmla="*/ 640 h 731"/>
                    <a:gd name="T12" fmla="*/ 1044 w 1169"/>
                    <a:gd name="T13" fmla="*/ 614 h 731"/>
                    <a:gd name="T14" fmla="*/ 1006 w 1169"/>
                    <a:gd name="T15" fmla="*/ 612 h 731"/>
                    <a:gd name="T16" fmla="*/ 964 w 1169"/>
                    <a:gd name="T17" fmla="*/ 604 h 731"/>
                    <a:gd name="T18" fmla="*/ 936 w 1169"/>
                    <a:gd name="T19" fmla="*/ 585 h 731"/>
                    <a:gd name="T20" fmla="*/ 910 w 1169"/>
                    <a:gd name="T21" fmla="*/ 618 h 731"/>
                    <a:gd name="T22" fmla="*/ 864 w 1169"/>
                    <a:gd name="T23" fmla="*/ 611 h 731"/>
                    <a:gd name="T24" fmla="*/ 807 w 1169"/>
                    <a:gd name="T25" fmla="*/ 609 h 731"/>
                    <a:gd name="T26" fmla="*/ 789 w 1169"/>
                    <a:gd name="T27" fmla="*/ 583 h 731"/>
                    <a:gd name="T28" fmla="*/ 747 w 1169"/>
                    <a:gd name="T29" fmla="*/ 574 h 731"/>
                    <a:gd name="T30" fmla="*/ 718 w 1169"/>
                    <a:gd name="T31" fmla="*/ 563 h 731"/>
                    <a:gd name="T32" fmla="*/ 685 w 1169"/>
                    <a:gd name="T33" fmla="*/ 562 h 731"/>
                    <a:gd name="T34" fmla="*/ 654 w 1169"/>
                    <a:gd name="T35" fmla="*/ 557 h 731"/>
                    <a:gd name="T36" fmla="*/ 627 w 1169"/>
                    <a:gd name="T37" fmla="*/ 574 h 731"/>
                    <a:gd name="T38" fmla="*/ 607 w 1169"/>
                    <a:gd name="T39" fmla="*/ 598 h 731"/>
                    <a:gd name="T40" fmla="*/ 607 w 1169"/>
                    <a:gd name="T41" fmla="*/ 606 h 731"/>
                    <a:gd name="T42" fmla="*/ 659 w 1169"/>
                    <a:gd name="T43" fmla="*/ 620 h 731"/>
                    <a:gd name="T44" fmla="*/ 665 w 1169"/>
                    <a:gd name="T45" fmla="*/ 642 h 731"/>
                    <a:gd name="T46" fmla="*/ 704 w 1169"/>
                    <a:gd name="T47" fmla="*/ 652 h 731"/>
                    <a:gd name="T48" fmla="*/ 777 w 1169"/>
                    <a:gd name="T49" fmla="*/ 669 h 731"/>
                    <a:gd name="T50" fmla="*/ 835 w 1169"/>
                    <a:gd name="T51" fmla="*/ 662 h 731"/>
                    <a:gd name="T52" fmla="*/ 924 w 1169"/>
                    <a:gd name="T53" fmla="*/ 692 h 731"/>
                    <a:gd name="T54" fmla="*/ 974 w 1169"/>
                    <a:gd name="T55" fmla="*/ 703 h 731"/>
                    <a:gd name="T56" fmla="*/ 1028 w 1169"/>
                    <a:gd name="T57" fmla="*/ 703 h 731"/>
                    <a:gd name="T58" fmla="*/ 1093 w 1169"/>
                    <a:gd name="T59" fmla="*/ 704 h 731"/>
                    <a:gd name="T60" fmla="*/ 590 w 1169"/>
                    <a:gd name="T61" fmla="*/ 591 h 731"/>
                    <a:gd name="T62" fmla="*/ 588 w 1169"/>
                    <a:gd name="T63" fmla="*/ 599 h 731"/>
                    <a:gd name="T64" fmla="*/ 268 w 1169"/>
                    <a:gd name="T65" fmla="*/ 347 h 731"/>
                    <a:gd name="T66" fmla="*/ 274 w 1169"/>
                    <a:gd name="T67" fmla="*/ 360 h 731"/>
                    <a:gd name="T68" fmla="*/ 268 w 1169"/>
                    <a:gd name="T69" fmla="*/ 347 h 731"/>
                    <a:gd name="T70" fmla="*/ 241 w 1169"/>
                    <a:gd name="T71" fmla="*/ 318 h 731"/>
                    <a:gd name="T72" fmla="*/ 254 w 1169"/>
                    <a:gd name="T73" fmla="*/ 330 h 731"/>
                    <a:gd name="T74" fmla="*/ 251 w 1169"/>
                    <a:gd name="T75" fmla="*/ 322 h 731"/>
                    <a:gd name="T76" fmla="*/ 291 w 1169"/>
                    <a:gd name="T77" fmla="*/ 375 h 731"/>
                    <a:gd name="T78" fmla="*/ 297 w 1169"/>
                    <a:gd name="T79" fmla="*/ 375 h 731"/>
                    <a:gd name="T80" fmla="*/ 414 w 1169"/>
                    <a:gd name="T81" fmla="*/ 519 h 731"/>
                    <a:gd name="T82" fmla="*/ 405 w 1169"/>
                    <a:gd name="T83" fmla="*/ 525 h 731"/>
                    <a:gd name="T84" fmla="*/ 414 w 1169"/>
                    <a:gd name="T85" fmla="*/ 519 h 731"/>
                    <a:gd name="T86" fmla="*/ 204 w 1169"/>
                    <a:gd name="T87" fmla="*/ 250 h 731"/>
                    <a:gd name="T88" fmla="*/ 185 w 1169"/>
                    <a:gd name="T89" fmla="*/ 270 h 731"/>
                    <a:gd name="T90" fmla="*/ 202 w 1169"/>
                    <a:gd name="T91" fmla="*/ 292 h 731"/>
                    <a:gd name="T92" fmla="*/ 220 w 1169"/>
                    <a:gd name="T93" fmla="*/ 284 h 731"/>
                    <a:gd name="T94" fmla="*/ 175 w 1169"/>
                    <a:gd name="T95" fmla="*/ 205 h 731"/>
                    <a:gd name="T96" fmla="*/ 163 w 1169"/>
                    <a:gd name="T97" fmla="*/ 213 h 731"/>
                    <a:gd name="T98" fmla="*/ 169 w 1169"/>
                    <a:gd name="T99" fmla="*/ 219 h 731"/>
                    <a:gd name="T100" fmla="*/ 175 w 1169"/>
                    <a:gd name="T101" fmla="*/ 205 h 731"/>
                    <a:gd name="T102" fmla="*/ 111 w 1169"/>
                    <a:gd name="T103" fmla="*/ 100 h 731"/>
                    <a:gd name="T104" fmla="*/ 91 w 1169"/>
                    <a:gd name="T105" fmla="*/ 103 h 731"/>
                    <a:gd name="T106" fmla="*/ 111 w 1169"/>
                    <a:gd name="T107" fmla="*/ 126 h 731"/>
                    <a:gd name="T108" fmla="*/ 129 w 1169"/>
                    <a:gd name="T109" fmla="*/ 149 h 731"/>
                    <a:gd name="T110" fmla="*/ 135 w 1169"/>
                    <a:gd name="T111" fmla="*/ 126 h 731"/>
                    <a:gd name="T112" fmla="*/ 104 w 1169"/>
                    <a:gd name="T113" fmla="*/ 59 h 731"/>
                    <a:gd name="T114" fmla="*/ 95 w 1169"/>
                    <a:gd name="T115" fmla="*/ 48 h 731"/>
                    <a:gd name="T116" fmla="*/ 104 w 1169"/>
                    <a:gd name="T117" fmla="*/ 59 h 731"/>
                    <a:gd name="T118" fmla="*/ 6 w 1169"/>
                    <a:gd name="T119" fmla="*/ 7 h 731"/>
                    <a:gd name="T120" fmla="*/ 24 w 1169"/>
                    <a:gd name="T121" fmla="*/ 30 h 731"/>
                    <a:gd name="T122" fmla="*/ 46 w 1169"/>
                    <a:gd name="T123" fmla="*/ 33 h 7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169" h="731">
                      <a:moveTo>
                        <a:pt x="1121" y="714"/>
                      </a:moveTo>
                      <a:cubicBezTo>
                        <a:pt x="1137" y="717"/>
                        <a:pt x="1139" y="720"/>
                        <a:pt x="1151" y="726"/>
                      </a:cubicBezTo>
                      <a:cubicBezTo>
                        <a:pt x="1162" y="731"/>
                        <a:pt x="1167" y="730"/>
                        <a:pt x="1168" y="725"/>
                      </a:cubicBezTo>
                      <a:cubicBezTo>
                        <a:pt x="1169" y="720"/>
                        <a:pt x="1160" y="714"/>
                        <a:pt x="1154" y="708"/>
                      </a:cubicBezTo>
                      <a:cubicBezTo>
                        <a:pt x="1148" y="701"/>
                        <a:pt x="1150" y="694"/>
                        <a:pt x="1152" y="688"/>
                      </a:cubicBezTo>
                      <a:cubicBezTo>
                        <a:pt x="1154" y="681"/>
                        <a:pt x="1160" y="678"/>
                        <a:pt x="1162" y="671"/>
                      </a:cubicBezTo>
                      <a:cubicBezTo>
                        <a:pt x="1163" y="664"/>
                        <a:pt x="1159" y="665"/>
                        <a:pt x="1152" y="662"/>
                      </a:cubicBezTo>
                      <a:cubicBezTo>
                        <a:pt x="1145" y="659"/>
                        <a:pt x="1134" y="657"/>
                        <a:pt x="1121" y="661"/>
                      </a:cubicBezTo>
                      <a:cubicBezTo>
                        <a:pt x="1109" y="664"/>
                        <a:pt x="1112" y="665"/>
                        <a:pt x="1100" y="667"/>
                      </a:cubicBezTo>
                      <a:cubicBezTo>
                        <a:pt x="1094" y="670"/>
                        <a:pt x="1081" y="665"/>
                        <a:pt x="1073" y="663"/>
                      </a:cubicBezTo>
                      <a:cubicBezTo>
                        <a:pt x="1064" y="661"/>
                        <a:pt x="1065" y="661"/>
                        <a:pt x="1062" y="651"/>
                      </a:cubicBezTo>
                      <a:cubicBezTo>
                        <a:pt x="1059" y="642"/>
                        <a:pt x="1063" y="643"/>
                        <a:pt x="1059" y="640"/>
                      </a:cubicBezTo>
                      <a:cubicBezTo>
                        <a:pt x="1054" y="636"/>
                        <a:pt x="1049" y="637"/>
                        <a:pt x="1047" y="629"/>
                      </a:cubicBezTo>
                      <a:cubicBezTo>
                        <a:pt x="1044" y="621"/>
                        <a:pt x="1048" y="621"/>
                        <a:pt x="1044" y="614"/>
                      </a:cubicBezTo>
                      <a:cubicBezTo>
                        <a:pt x="1039" y="607"/>
                        <a:pt x="1036" y="614"/>
                        <a:pt x="1024" y="617"/>
                      </a:cubicBezTo>
                      <a:cubicBezTo>
                        <a:pt x="1012" y="619"/>
                        <a:pt x="1013" y="617"/>
                        <a:pt x="1006" y="612"/>
                      </a:cubicBezTo>
                      <a:cubicBezTo>
                        <a:pt x="999" y="607"/>
                        <a:pt x="996" y="607"/>
                        <a:pt x="985" y="607"/>
                      </a:cubicBezTo>
                      <a:cubicBezTo>
                        <a:pt x="975" y="607"/>
                        <a:pt x="972" y="607"/>
                        <a:pt x="964" y="604"/>
                      </a:cubicBezTo>
                      <a:cubicBezTo>
                        <a:pt x="957" y="602"/>
                        <a:pt x="959" y="593"/>
                        <a:pt x="954" y="587"/>
                      </a:cubicBezTo>
                      <a:cubicBezTo>
                        <a:pt x="949" y="581"/>
                        <a:pt x="943" y="584"/>
                        <a:pt x="936" y="585"/>
                      </a:cubicBezTo>
                      <a:cubicBezTo>
                        <a:pt x="928" y="587"/>
                        <a:pt x="930" y="591"/>
                        <a:pt x="927" y="603"/>
                      </a:cubicBezTo>
                      <a:cubicBezTo>
                        <a:pt x="924" y="615"/>
                        <a:pt x="922" y="615"/>
                        <a:pt x="910" y="618"/>
                      </a:cubicBezTo>
                      <a:cubicBezTo>
                        <a:pt x="898" y="621"/>
                        <a:pt x="895" y="617"/>
                        <a:pt x="888" y="614"/>
                      </a:cubicBezTo>
                      <a:cubicBezTo>
                        <a:pt x="881" y="611"/>
                        <a:pt x="875" y="611"/>
                        <a:pt x="864" y="611"/>
                      </a:cubicBezTo>
                      <a:cubicBezTo>
                        <a:pt x="853" y="611"/>
                        <a:pt x="848" y="613"/>
                        <a:pt x="837" y="611"/>
                      </a:cubicBezTo>
                      <a:cubicBezTo>
                        <a:pt x="827" y="609"/>
                        <a:pt x="822" y="613"/>
                        <a:pt x="807" y="609"/>
                      </a:cubicBezTo>
                      <a:cubicBezTo>
                        <a:pt x="792" y="606"/>
                        <a:pt x="796" y="604"/>
                        <a:pt x="794" y="596"/>
                      </a:cubicBezTo>
                      <a:cubicBezTo>
                        <a:pt x="792" y="588"/>
                        <a:pt x="794" y="590"/>
                        <a:pt x="789" y="583"/>
                      </a:cubicBezTo>
                      <a:cubicBezTo>
                        <a:pt x="784" y="577"/>
                        <a:pt x="781" y="575"/>
                        <a:pt x="768" y="573"/>
                      </a:cubicBezTo>
                      <a:cubicBezTo>
                        <a:pt x="755" y="572"/>
                        <a:pt x="755" y="573"/>
                        <a:pt x="747" y="574"/>
                      </a:cubicBezTo>
                      <a:cubicBezTo>
                        <a:pt x="738" y="574"/>
                        <a:pt x="742" y="575"/>
                        <a:pt x="734" y="574"/>
                      </a:cubicBezTo>
                      <a:cubicBezTo>
                        <a:pt x="727" y="574"/>
                        <a:pt x="726" y="569"/>
                        <a:pt x="718" y="563"/>
                      </a:cubicBezTo>
                      <a:cubicBezTo>
                        <a:pt x="709" y="558"/>
                        <a:pt x="706" y="557"/>
                        <a:pt x="700" y="555"/>
                      </a:cubicBezTo>
                      <a:cubicBezTo>
                        <a:pt x="693" y="554"/>
                        <a:pt x="694" y="557"/>
                        <a:pt x="685" y="562"/>
                      </a:cubicBezTo>
                      <a:cubicBezTo>
                        <a:pt x="676" y="566"/>
                        <a:pt x="679" y="563"/>
                        <a:pt x="667" y="562"/>
                      </a:cubicBezTo>
                      <a:cubicBezTo>
                        <a:pt x="656" y="562"/>
                        <a:pt x="659" y="561"/>
                        <a:pt x="654" y="557"/>
                      </a:cubicBezTo>
                      <a:cubicBezTo>
                        <a:pt x="650" y="552"/>
                        <a:pt x="642" y="555"/>
                        <a:pt x="634" y="557"/>
                      </a:cubicBezTo>
                      <a:cubicBezTo>
                        <a:pt x="626" y="560"/>
                        <a:pt x="630" y="569"/>
                        <a:pt x="627" y="574"/>
                      </a:cubicBezTo>
                      <a:cubicBezTo>
                        <a:pt x="624" y="580"/>
                        <a:pt x="624" y="582"/>
                        <a:pt x="617" y="588"/>
                      </a:cubicBezTo>
                      <a:cubicBezTo>
                        <a:pt x="610" y="595"/>
                        <a:pt x="611" y="597"/>
                        <a:pt x="607" y="598"/>
                      </a:cubicBezTo>
                      <a:cubicBezTo>
                        <a:pt x="603" y="600"/>
                        <a:pt x="598" y="600"/>
                        <a:pt x="596" y="603"/>
                      </a:cubicBezTo>
                      <a:cubicBezTo>
                        <a:pt x="594" y="605"/>
                        <a:pt x="599" y="606"/>
                        <a:pt x="607" y="606"/>
                      </a:cubicBezTo>
                      <a:cubicBezTo>
                        <a:pt x="615" y="606"/>
                        <a:pt x="621" y="608"/>
                        <a:pt x="629" y="611"/>
                      </a:cubicBezTo>
                      <a:cubicBezTo>
                        <a:pt x="636" y="613"/>
                        <a:pt x="648" y="618"/>
                        <a:pt x="659" y="620"/>
                      </a:cubicBezTo>
                      <a:cubicBezTo>
                        <a:pt x="671" y="622"/>
                        <a:pt x="670" y="626"/>
                        <a:pt x="669" y="630"/>
                      </a:cubicBezTo>
                      <a:cubicBezTo>
                        <a:pt x="668" y="634"/>
                        <a:pt x="665" y="637"/>
                        <a:pt x="665" y="642"/>
                      </a:cubicBezTo>
                      <a:cubicBezTo>
                        <a:pt x="665" y="647"/>
                        <a:pt x="670" y="647"/>
                        <a:pt x="676" y="647"/>
                      </a:cubicBezTo>
                      <a:cubicBezTo>
                        <a:pt x="681" y="647"/>
                        <a:pt x="688" y="651"/>
                        <a:pt x="704" y="652"/>
                      </a:cubicBezTo>
                      <a:cubicBezTo>
                        <a:pt x="719" y="653"/>
                        <a:pt x="721" y="652"/>
                        <a:pt x="735" y="654"/>
                      </a:cubicBezTo>
                      <a:cubicBezTo>
                        <a:pt x="748" y="656"/>
                        <a:pt x="758" y="668"/>
                        <a:pt x="777" y="669"/>
                      </a:cubicBezTo>
                      <a:cubicBezTo>
                        <a:pt x="796" y="671"/>
                        <a:pt x="795" y="665"/>
                        <a:pt x="807" y="664"/>
                      </a:cubicBezTo>
                      <a:cubicBezTo>
                        <a:pt x="819" y="663"/>
                        <a:pt x="825" y="663"/>
                        <a:pt x="835" y="662"/>
                      </a:cubicBezTo>
                      <a:cubicBezTo>
                        <a:pt x="845" y="661"/>
                        <a:pt x="869" y="666"/>
                        <a:pt x="891" y="674"/>
                      </a:cubicBezTo>
                      <a:cubicBezTo>
                        <a:pt x="914" y="681"/>
                        <a:pt x="911" y="683"/>
                        <a:pt x="924" y="692"/>
                      </a:cubicBezTo>
                      <a:cubicBezTo>
                        <a:pt x="938" y="701"/>
                        <a:pt x="935" y="695"/>
                        <a:pt x="947" y="695"/>
                      </a:cubicBezTo>
                      <a:cubicBezTo>
                        <a:pt x="959" y="695"/>
                        <a:pt x="959" y="699"/>
                        <a:pt x="974" y="703"/>
                      </a:cubicBezTo>
                      <a:cubicBezTo>
                        <a:pt x="989" y="708"/>
                        <a:pt x="989" y="701"/>
                        <a:pt x="999" y="698"/>
                      </a:cubicBezTo>
                      <a:cubicBezTo>
                        <a:pt x="1009" y="694"/>
                        <a:pt x="1014" y="699"/>
                        <a:pt x="1028" y="703"/>
                      </a:cubicBezTo>
                      <a:cubicBezTo>
                        <a:pt x="1041" y="707"/>
                        <a:pt x="1045" y="707"/>
                        <a:pt x="1058" y="703"/>
                      </a:cubicBezTo>
                      <a:cubicBezTo>
                        <a:pt x="1072" y="699"/>
                        <a:pt x="1077" y="703"/>
                        <a:pt x="1093" y="704"/>
                      </a:cubicBezTo>
                      <a:cubicBezTo>
                        <a:pt x="1108" y="706"/>
                        <a:pt x="1104" y="711"/>
                        <a:pt x="1121" y="714"/>
                      </a:cubicBezTo>
                      <a:close/>
                      <a:moveTo>
                        <a:pt x="590" y="591"/>
                      </a:moveTo>
                      <a:cubicBezTo>
                        <a:pt x="586" y="593"/>
                        <a:pt x="577" y="592"/>
                        <a:pt x="579" y="596"/>
                      </a:cubicBezTo>
                      <a:cubicBezTo>
                        <a:pt x="580" y="600"/>
                        <a:pt x="583" y="601"/>
                        <a:pt x="588" y="599"/>
                      </a:cubicBezTo>
                      <a:cubicBezTo>
                        <a:pt x="593" y="596"/>
                        <a:pt x="597" y="591"/>
                        <a:pt x="590" y="591"/>
                      </a:cubicBezTo>
                      <a:close/>
                      <a:moveTo>
                        <a:pt x="268" y="347"/>
                      </a:moveTo>
                      <a:cubicBezTo>
                        <a:pt x="267" y="352"/>
                        <a:pt x="268" y="355"/>
                        <a:pt x="269" y="358"/>
                      </a:cubicBezTo>
                      <a:cubicBezTo>
                        <a:pt x="270" y="361"/>
                        <a:pt x="272" y="363"/>
                        <a:pt x="274" y="360"/>
                      </a:cubicBezTo>
                      <a:cubicBezTo>
                        <a:pt x="277" y="358"/>
                        <a:pt x="282" y="361"/>
                        <a:pt x="280" y="356"/>
                      </a:cubicBezTo>
                      <a:cubicBezTo>
                        <a:pt x="279" y="351"/>
                        <a:pt x="270" y="341"/>
                        <a:pt x="268" y="347"/>
                      </a:cubicBezTo>
                      <a:close/>
                      <a:moveTo>
                        <a:pt x="251" y="322"/>
                      </a:moveTo>
                      <a:cubicBezTo>
                        <a:pt x="250" y="317"/>
                        <a:pt x="243" y="313"/>
                        <a:pt x="241" y="318"/>
                      </a:cubicBezTo>
                      <a:cubicBezTo>
                        <a:pt x="240" y="322"/>
                        <a:pt x="239" y="323"/>
                        <a:pt x="243" y="326"/>
                      </a:cubicBezTo>
                      <a:cubicBezTo>
                        <a:pt x="247" y="328"/>
                        <a:pt x="251" y="328"/>
                        <a:pt x="254" y="330"/>
                      </a:cubicBezTo>
                      <a:cubicBezTo>
                        <a:pt x="256" y="332"/>
                        <a:pt x="258" y="334"/>
                        <a:pt x="257" y="330"/>
                      </a:cubicBezTo>
                      <a:cubicBezTo>
                        <a:pt x="256" y="326"/>
                        <a:pt x="252" y="326"/>
                        <a:pt x="251" y="322"/>
                      </a:cubicBezTo>
                      <a:close/>
                      <a:moveTo>
                        <a:pt x="289" y="368"/>
                      </a:moveTo>
                      <a:cubicBezTo>
                        <a:pt x="287" y="371"/>
                        <a:pt x="290" y="370"/>
                        <a:pt x="291" y="375"/>
                      </a:cubicBezTo>
                      <a:cubicBezTo>
                        <a:pt x="291" y="380"/>
                        <a:pt x="289" y="383"/>
                        <a:pt x="292" y="382"/>
                      </a:cubicBezTo>
                      <a:cubicBezTo>
                        <a:pt x="295" y="381"/>
                        <a:pt x="297" y="379"/>
                        <a:pt x="297" y="375"/>
                      </a:cubicBezTo>
                      <a:cubicBezTo>
                        <a:pt x="297" y="371"/>
                        <a:pt x="292" y="363"/>
                        <a:pt x="289" y="368"/>
                      </a:cubicBezTo>
                      <a:close/>
                      <a:moveTo>
                        <a:pt x="414" y="519"/>
                      </a:moveTo>
                      <a:cubicBezTo>
                        <a:pt x="411" y="516"/>
                        <a:pt x="402" y="510"/>
                        <a:pt x="400" y="516"/>
                      </a:cubicBezTo>
                      <a:cubicBezTo>
                        <a:pt x="400" y="521"/>
                        <a:pt x="401" y="522"/>
                        <a:pt x="405" y="525"/>
                      </a:cubicBezTo>
                      <a:cubicBezTo>
                        <a:pt x="410" y="528"/>
                        <a:pt x="415" y="533"/>
                        <a:pt x="416" y="528"/>
                      </a:cubicBezTo>
                      <a:cubicBezTo>
                        <a:pt x="417" y="523"/>
                        <a:pt x="417" y="521"/>
                        <a:pt x="414" y="519"/>
                      </a:cubicBezTo>
                      <a:close/>
                      <a:moveTo>
                        <a:pt x="213" y="266"/>
                      </a:moveTo>
                      <a:cubicBezTo>
                        <a:pt x="210" y="258"/>
                        <a:pt x="205" y="255"/>
                        <a:pt x="204" y="250"/>
                      </a:cubicBezTo>
                      <a:cubicBezTo>
                        <a:pt x="203" y="244"/>
                        <a:pt x="186" y="243"/>
                        <a:pt x="185" y="255"/>
                      </a:cubicBezTo>
                      <a:cubicBezTo>
                        <a:pt x="185" y="260"/>
                        <a:pt x="183" y="264"/>
                        <a:pt x="185" y="270"/>
                      </a:cubicBezTo>
                      <a:cubicBezTo>
                        <a:pt x="186" y="276"/>
                        <a:pt x="188" y="279"/>
                        <a:pt x="193" y="283"/>
                      </a:cubicBezTo>
                      <a:cubicBezTo>
                        <a:pt x="198" y="288"/>
                        <a:pt x="194" y="288"/>
                        <a:pt x="202" y="292"/>
                      </a:cubicBezTo>
                      <a:cubicBezTo>
                        <a:pt x="211" y="296"/>
                        <a:pt x="214" y="301"/>
                        <a:pt x="217" y="296"/>
                      </a:cubicBezTo>
                      <a:cubicBezTo>
                        <a:pt x="221" y="291"/>
                        <a:pt x="221" y="291"/>
                        <a:pt x="220" y="284"/>
                      </a:cubicBezTo>
                      <a:cubicBezTo>
                        <a:pt x="219" y="277"/>
                        <a:pt x="217" y="275"/>
                        <a:pt x="213" y="266"/>
                      </a:cubicBezTo>
                      <a:close/>
                      <a:moveTo>
                        <a:pt x="175" y="205"/>
                      </a:moveTo>
                      <a:cubicBezTo>
                        <a:pt x="171" y="202"/>
                        <a:pt x="166" y="199"/>
                        <a:pt x="166" y="203"/>
                      </a:cubicBezTo>
                      <a:cubicBezTo>
                        <a:pt x="166" y="209"/>
                        <a:pt x="165" y="212"/>
                        <a:pt x="163" y="213"/>
                      </a:cubicBezTo>
                      <a:cubicBezTo>
                        <a:pt x="160" y="215"/>
                        <a:pt x="157" y="218"/>
                        <a:pt x="160" y="219"/>
                      </a:cubicBezTo>
                      <a:cubicBezTo>
                        <a:pt x="163" y="220"/>
                        <a:pt x="166" y="224"/>
                        <a:pt x="169" y="219"/>
                      </a:cubicBezTo>
                      <a:cubicBezTo>
                        <a:pt x="172" y="215"/>
                        <a:pt x="176" y="216"/>
                        <a:pt x="176" y="213"/>
                      </a:cubicBezTo>
                      <a:cubicBezTo>
                        <a:pt x="176" y="209"/>
                        <a:pt x="179" y="208"/>
                        <a:pt x="175" y="205"/>
                      </a:cubicBezTo>
                      <a:close/>
                      <a:moveTo>
                        <a:pt x="124" y="111"/>
                      </a:moveTo>
                      <a:cubicBezTo>
                        <a:pt x="116" y="104"/>
                        <a:pt x="115" y="102"/>
                        <a:pt x="111" y="100"/>
                      </a:cubicBezTo>
                      <a:cubicBezTo>
                        <a:pt x="107" y="98"/>
                        <a:pt x="101" y="97"/>
                        <a:pt x="95" y="97"/>
                      </a:cubicBezTo>
                      <a:cubicBezTo>
                        <a:pt x="91" y="97"/>
                        <a:pt x="89" y="98"/>
                        <a:pt x="91" y="103"/>
                      </a:cubicBezTo>
                      <a:cubicBezTo>
                        <a:pt x="92" y="107"/>
                        <a:pt x="97" y="107"/>
                        <a:pt x="101" y="113"/>
                      </a:cubicBezTo>
                      <a:cubicBezTo>
                        <a:pt x="106" y="119"/>
                        <a:pt x="106" y="118"/>
                        <a:pt x="111" y="126"/>
                      </a:cubicBezTo>
                      <a:cubicBezTo>
                        <a:pt x="116" y="133"/>
                        <a:pt x="117" y="131"/>
                        <a:pt x="120" y="138"/>
                      </a:cubicBezTo>
                      <a:cubicBezTo>
                        <a:pt x="123" y="144"/>
                        <a:pt x="126" y="150"/>
                        <a:pt x="129" y="149"/>
                      </a:cubicBezTo>
                      <a:cubicBezTo>
                        <a:pt x="133" y="147"/>
                        <a:pt x="135" y="144"/>
                        <a:pt x="135" y="138"/>
                      </a:cubicBezTo>
                      <a:cubicBezTo>
                        <a:pt x="135" y="132"/>
                        <a:pt x="138" y="134"/>
                        <a:pt x="135" y="126"/>
                      </a:cubicBezTo>
                      <a:cubicBezTo>
                        <a:pt x="133" y="119"/>
                        <a:pt x="131" y="118"/>
                        <a:pt x="124" y="111"/>
                      </a:cubicBezTo>
                      <a:close/>
                      <a:moveTo>
                        <a:pt x="104" y="59"/>
                      </a:moveTo>
                      <a:cubicBezTo>
                        <a:pt x="105" y="56"/>
                        <a:pt x="106" y="55"/>
                        <a:pt x="105" y="51"/>
                      </a:cubicBezTo>
                      <a:cubicBezTo>
                        <a:pt x="104" y="48"/>
                        <a:pt x="97" y="42"/>
                        <a:pt x="95" y="48"/>
                      </a:cubicBezTo>
                      <a:cubicBezTo>
                        <a:pt x="93" y="51"/>
                        <a:pt x="93" y="52"/>
                        <a:pt x="97" y="55"/>
                      </a:cubicBezTo>
                      <a:cubicBezTo>
                        <a:pt x="100" y="58"/>
                        <a:pt x="103" y="62"/>
                        <a:pt x="104" y="59"/>
                      </a:cubicBezTo>
                      <a:close/>
                      <a:moveTo>
                        <a:pt x="31" y="18"/>
                      </a:moveTo>
                      <a:cubicBezTo>
                        <a:pt x="24" y="13"/>
                        <a:pt x="8" y="0"/>
                        <a:pt x="6" y="7"/>
                      </a:cubicBezTo>
                      <a:cubicBezTo>
                        <a:pt x="4" y="12"/>
                        <a:pt x="0" y="10"/>
                        <a:pt x="6" y="18"/>
                      </a:cubicBezTo>
                      <a:cubicBezTo>
                        <a:pt x="12" y="25"/>
                        <a:pt x="13" y="24"/>
                        <a:pt x="24" y="30"/>
                      </a:cubicBezTo>
                      <a:cubicBezTo>
                        <a:pt x="34" y="37"/>
                        <a:pt x="40" y="42"/>
                        <a:pt x="43" y="40"/>
                      </a:cubicBezTo>
                      <a:cubicBezTo>
                        <a:pt x="46" y="39"/>
                        <a:pt x="54" y="41"/>
                        <a:pt x="46" y="33"/>
                      </a:cubicBezTo>
                      <a:cubicBezTo>
                        <a:pt x="39" y="26"/>
                        <a:pt x="39" y="24"/>
                        <a:pt x="31" y="18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85" name="Freeform 111"/>
                <p:cNvSpPr>
                  <a:spLocks noEditPoints="1"/>
                </p:cNvSpPr>
                <p:nvPr>
                  <p:custDataLst>
                    <p:tags r:id="rId183"/>
                  </p:custDataLst>
                </p:nvPr>
              </p:nvSpPr>
              <p:spPr bwMode="auto">
                <a:xfrm>
                  <a:off x="3477" y="2656"/>
                  <a:ext cx="1075" cy="948"/>
                </a:xfrm>
                <a:custGeom>
                  <a:avLst/>
                  <a:gdLst>
                    <a:gd name="T0" fmla="*/ 2464 w 2515"/>
                    <a:gd name="T1" fmla="*/ 934 h 2217"/>
                    <a:gd name="T2" fmla="*/ 2339 w 2515"/>
                    <a:gd name="T3" fmla="*/ 763 h 2217"/>
                    <a:gd name="T4" fmla="*/ 2252 w 2515"/>
                    <a:gd name="T5" fmla="*/ 690 h 2217"/>
                    <a:gd name="T6" fmla="*/ 2134 w 2515"/>
                    <a:gd name="T7" fmla="*/ 552 h 2217"/>
                    <a:gd name="T8" fmla="*/ 2022 w 2515"/>
                    <a:gd name="T9" fmla="*/ 381 h 2217"/>
                    <a:gd name="T10" fmla="*/ 1902 w 2515"/>
                    <a:gd name="T11" fmla="*/ 211 h 2217"/>
                    <a:gd name="T12" fmla="*/ 1842 w 2515"/>
                    <a:gd name="T13" fmla="*/ 42 h 2217"/>
                    <a:gd name="T14" fmla="*/ 1790 w 2515"/>
                    <a:gd name="T15" fmla="*/ 142 h 2217"/>
                    <a:gd name="T16" fmla="*/ 1724 w 2515"/>
                    <a:gd name="T17" fmla="*/ 425 h 2217"/>
                    <a:gd name="T18" fmla="*/ 1418 w 2515"/>
                    <a:gd name="T19" fmla="*/ 291 h 2217"/>
                    <a:gd name="T20" fmla="*/ 1454 w 2515"/>
                    <a:gd name="T21" fmla="*/ 155 h 2217"/>
                    <a:gd name="T22" fmla="*/ 1446 w 2515"/>
                    <a:gd name="T23" fmla="*/ 89 h 2217"/>
                    <a:gd name="T24" fmla="*/ 1357 w 2515"/>
                    <a:gd name="T25" fmla="*/ 86 h 2217"/>
                    <a:gd name="T26" fmla="*/ 1215 w 2515"/>
                    <a:gd name="T27" fmla="*/ 46 h 2217"/>
                    <a:gd name="T28" fmla="*/ 1217 w 2515"/>
                    <a:gd name="T29" fmla="*/ 69 h 2217"/>
                    <a:gd name="T30" fmla="*/ 1115 w 2515"/>
                    <a:gd name="T31" fmla="*/ 113 h 2217"/>
                    <a:gd name="T32" fmla="*/ 1057 w 2515"/>
                    <a:gd name="T33" fmla="*/ 178 h 2217"/>
                    <a:gd name="T34" fmla="*/ 1036 w 2515"/>
                    <a:gd name="T35" fmla="*/ 280 h 2217"/>
                    <a:gd name="T36" fmla="*/ 947 w 2515"/>
                    <a:gd name="T37" fmla="*/ 287 h 2217"/>
                    <a:gd name="T38" fmla="*/ 900 w 2515"/>
                    <a:gd name="T39" fmla="*/ 212 h 2217"/>
                    <a:gd name="T40" fmla="*/ 796 w 2515"/>
                    <a:gd name="T41" fmla="*/ 245 h 2217"/>
                    <a:gd name="T42" fmla="*/ 752 w 2515"/>
                    <a:gd name="T43" fmla="*/ 299 h 2217"/>
                    <a:gd name="T44" fmla="*/ 708 w 2515"/>
                    <a:gd name="T45" fmla="*/ 350 h 2217"/>
                    <a:gd name="T46" fmla="*/ 669 w 2515"/>
                    <a:gd name="T47" fmla="*/ 386 h 2217"/>
                    <a:gd name="T48" fmla="*/ 618 w 2515"/>
                    <a:gd name="T49" fmla="*/ 368 h 2217"/>
                    <a:gd name="T50" fmla="*/ 476 w 2515"/>
                    <a:gd name="T51" fmla="*/ 578 h 2217"/>
                    <a:gd name="T52" fmla="*/ 106 w 2515"/>
                    <a:gd name="T53" fmla="*/ 711 h 2217"/>
                    <a:gd name="T54" fmla="*/ 27 w 2515"/>
                    <a:gd name="T55" fmla="*/ 870 h 2217"/>
                    <a:gd name="T56" fmla="*/ 43 w 2515"/>
                    <a:gd name="T57" fmla="*/ 1024 h 2217"/>
                    <a:gd name="T58" fmla="*/ 76 w 2515"/>
                    <a:gd name="T59" fmla="*/ 1127 h 2217"/>
                    <a:gd name="T60" fmla="*/ 166 w 2515"/>
                    <a:gd name="T61" fmla="*/ 1479 h 2217"/>
                    <a:gd name="T62" fmla="*/ 345 w 2515"/>
                    <a:gd name="T63" fmla="*/ 1579 h 2217"/>
                    <a:gd name="T64" fmla="*/ 656 w 2515"/>
                    <a:gd name="T65" fmla="*/ 1513 h 2217"/>
                    <a:gd name="T66" fmla="*/ 1106 w 2515"/>
                    <a:gd name="T67" fmla="*/ 1361 h 2217"/>
                    <a:gd name="T68" fmla="*/ 1313 w 2515"/>
                    <a:gd name="T69" fmla="*/ 1438 h 2217"/>
                    <a:gd name="T70" fmla="*/ 1406 w 2515"/>
                    <a:gd name="T71" fmla="*/ 1587 h 2217"/>
                    <a:gd name="T72" fmla="*/ 1541 w 2515"/>
                    <a:gd name="T73" fmla="*/ 1438 h 2217"/>
                    <a:gd name="T74" fmla="*/ 1510 w 2515"/>
                    <a:gd name="T75" fmla="*/ 1603 h 2217"/>
                    <a:gd name="T76" fmla="*/ 1612 w 2515"/>
                    <a:gd name="T77" fmla="*/ 1629 h 2217"/>
                    <a:gd name="T78" fmla="*/ 1739 w 2515"/>
                    <a:gd name="T79" fmla="*/ 1811 h 2217"/>
                    <a:gd name="T80" fmla="*/ 1952 w 2515"/>
                    <a:gd name="T81" fmla="*/ 1809 h 2217"/>
                    <a:gd name="T82" fmla="*/ 2038 w 2515"/>
                    <a:gd name="T83" fmla="*/ 1869 h 2217"/>
                    <a:gd name="T84" fmla="*/ 2257 w 2515"/>
                    <a:gd name="T85" fmla="*/ 1784 h 2217"/>
                    <a:gd name="T86" fmla="*/ 2363 w 2515"/>
                    <a:gd name="T87" fmla="*/ 1526 h 2217"/>
                    <a:gd name="T88" fmla="*/ 2474 w 2515"/>
                    <a:gd name="T89" fmla="*/ 1328 h 2217"/>
                    <a:gd name="T90" fmla="*/ 1448 w 2515"/>
                    <a:gd name="T91" fmla="*/ 218 h 2217"/>
                    <a:gd name="T92" fmla="*/ 1462 w 2515"/>
                    <a:gd name="T93" fmla="*/ 38 h 2217"/>
                    <a:gd name="T94" fmla="*/ 1072 w 2515"/>
                    <a:gd name="T95" fmla="*/ 70 h 2217"/>
                    <a:gd name="T96" fmla="*/ 1090 w 2515"/>
                    <a:gd name="T97" fmla="*/ 44 h 2217"/>
                    <a:gd name="T98" fmla="*/ 1631 w 2515"/>
                    <a:gd name="T99" fmla="*/ 380 h 2217"/>
                    <a:gd name="T100" fmla="*/ 2318 w 2515"/>
                    <a:gd name="T101" fmla="*/ 743 h 2217"/>
                    <a:gd name="T102" fmla="*/ 1968 w 2515"/>
                    <a:gd name="T103" fmla="*/ 1981 h 2217"/>
                    <a:gd name="T104" fmla="*/ 1374 w 2515"/>
                    <a:gd name="T105" fmla="*/ 1560 h 2217"/>
                    <a:gd name="T106" fmla="*/ 2066 w 2515"/>
                    <a:gd name="T107" fmla="*/ 2039 h 2217"/>
                    <a:gd name="T108" fmla="*/ 2004 w 2515"/>
                    <a:gd name="T109" fmla="*/ 2131 h 2217"/>
                    <a:gd name="T110" fmla="*/ 2108 w 2515"/>
                    <a:gd name="T111" fmla="*/ 2183 h 2217"/>
                    <a:gd name="T112" fmla="*/ 2173 w 2515"/>
                    <a:gd name="T113" fmla="*/ 2146 h 2217"/>
                    <a:gd name="T114" fmla="*/ 1550 w 2515"/>
                    <a:gd name="T115" fmla="*/ 1647 h 2217"/>
                    <a:gd name="T116" fmla="*/ 1548 w 2515"/>
                    <a:gd name="T117" fmla="*/ 1656 h 22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515" h="2217">
                      <a:moveTo>
                        <a:pt x="2511" y="1123"/>
                      </a:moveTo>
                      <a:cubicBezTo>
                        <a:pt x="2511" y="1119"/>
                        <a:pt x="2504" y="1106"/>
                        <a:pt x="2503" y="1099"/>
                      </a:cubicBezTo>
                      <a:cubicBezTo>
                        <a:pt x="2503" y="1093"/>
                        <a:pt x="2506" y="1093"/>
                        <a:pt x="2505" y="1091"/>
                      </a:cubicBezTo>
                      <a:cubicBezTo>
                        <a:pt x="2504" y="1089"/>
                        <a:pt x="2500" y="1091"/>
                        <a:pt x="2495" y="1091"/>
                      </a:cubicBezTo>
                      <a:cubicBezTo>
                        <a:pt x="2490" y="1091"/>
                        <a:pt x="2491" y="1086"/>
                        <a:pt x="2486" y="1077"/>
                      </a:cubicBezTo>
                      <a:cubicBezTo>
                        <a:pt x="2481" y="1068"/>
                        <a:pt x="2483" y="1065"/>
                        <a:pt x="2484" y="1061"/>
                      </a:cubicBezTo>
                      <a:cubicBezTo>
                        <a:pt x="2485" y="1057"/>
                        <a:pt x="2490" y="1059"/>
                        <a:pt x="2492" y="1053"/>
                      </a:cubicBezTo>
                      <a:cubicBezTo>
                        <a:pt x="2495" y="1047"/>
                        <a:pt x="2493" y="1035"/>
                        <a:pt x="2492" y="1032"/>
                      </a:cubicBezTo>
                      <a:cubicBezTo>
                        <a:pt x="2491" y="1029"/>
                        <a:pt x="2484" y="1015"/>
                        <a:pt x="2483" y="1007"/>
                      </a:cubicBezTo>
                      <a:cubicBezTo>
                        <a:pt x="2483" y="998"/>
                        <a:pt x="2487" y="995"/>
                        <a:pt x="2488" y="990"/>
                      </a:cubicBezTo>
                      <a:cubicBezTo>
                        <a:pt x="2489" y="985"/>
                        <a:pt x="2488" y="981"/>
                        <a:pt x="2485" y="978"/>
                      </a:cubicBezTo>
                      <a:cubicBezTo>
                        <a:pt x="2482" y="975"/>
                        <a:pt x="2480" y="976"/>
                        <a:pt x="2474" y="969"/>
                      </a:cubicBezTo>
                      <a:cubicBezTo>
                        <a:pt x="2468" y="962"/>
                        <a:pt x="2469" y="961"/>
                        <a:pt x="2469" y="950"/>
                      </a:cubicBezTo>
                      <a:cubicBezTo>
                        <a:pt x="2468" y="938"/>
                        <a:pt x="2468" y="939"/>
                        <a:pt x="2464" y="934"/>
                      </a:cubicBezTo>
                      <a:cubicBezTo>
                        <a:pt x="2459" y="929"/>
                        <a:pt x="2454" y="929"/>
                        <a:pt x="2452" y="926"/>
                      </a:cubicBezTo>
                      <a:cubicBezTo>
                        <a:pt x="2450" y="924"/>
                        <a:pt x="2449" y="917"/>
                        <a:pt x="2447" y="912"/>
                      </a:cubicBezTo>
                      <a:cubicBezTo>
                        <a:pt x="2446" y="908"/>
                        <a:pt x="2442" y="904"/>
                        <a:pt x="2435" y="899"/>
                      </a:cubicBezTo>
                      <a:cubicBezTo>
                        <a:pt x="2429" y="894"/>
                        <a:pt x="2426" y="893"/>
                        <a:pt x="2419" y="885"/>
                      </a:cubicBezTo>
                      <a:cubicBezTo>
                        <a:pt x="2412" y="878"/>
                        <a:pt x="2411" y="873"/>
                        <a:pt x="2408" y="867"/>
                      </a:cubicBezTo>
                      <a:cubicBezTo>
                        <a:pt x="2406" y="861"/>
                        <a:pt x="2403" y="858"/>
                        <a:pt x="2400" y="857"/>
                      </a:cubicBezTo>
                      <a:cubicBezTo>
                        <a:pt x="2396" y="856"/>
                        <a:pt x="2388" y="856"/>
                        <a:pt x="2383" y="851"/>
                      </a:cubicBezTo>
                      <a:cubicBezTo>
                        <a:pt x="2377" y="847"/>
                        <a:pt x="2373" y="847"/>
                        <a:pt x="2370" y="840"/>
                      </a:cubicBezTo>
                      <a:cubicBezTo>
                        <a:pt x="2366" y="833"/>
                        <a:pt x="2363" y="834"/>
                        <a:pt x="2356" y="830"/>
                      </a:cubicBezTo>
                      <a:cubicBezTo>
                        <a:pt x="2349" y="826"/>
                        <a:pt x="2345" y="825"/>
                        <a:pt x="2341" y="821"/>
                      </a:cubicBezTo>
                      <a:cubicBezTo>
                        <a:pt x="2337" y="817"/>
                        <a:pt x="2342" y="812"/>
                        <a:pt x="2341" y="804"/>
                      </a:cubicBezTo>
                      <a:cubicBezTo>
                        <a:pt x="2340" y="796"/>
                        <a:pt x="2337" y="791"/>
                        <a:pt x="2336" y="789"/>
                      </a:cubicBezTo>
                      <a:cubicBezTo>
                        <a:pt x="2335" y="786"/>
                        <a:pt x="2337" y="776"/>
                        <a:pt x="2339" y="774"/>
                      </a:cubicBezTo>
                      <a:cubicBezTo>
                        <a:pt x="2341" y="771"/>
                        <a:pt x="2341" y="768"/>
                        <a:pt x="2339" y="763"/>
                      </a:cubicBezTo>
                      <a:cubicBezTo>
                        <a:pt x="2338" y="758"/>
                        <a:pt x="2337" y="759"/>
                        <a:pt x="2336" y="754"/>
                      </a:cubicBezTo>
                      <a:cubicBezTo>
                        <a:pt x="2335" y="749"/>
                        <a:pt x="2331" y="749"/>
                        <a:pt x="2329" y="752"/>
                      </a:cubicBezTo>
                      <a:cubicBezTo>
                        <a:pt x="2328" y="754"/>
                        <a:pt x="2329" y="757"/>
                        <a:pt x="2325" y="760"/>
                      </a:cubicBezTo>
                      <a:cubicBezTo>
                        <a:pt x="2321" y="763"/>
                        <a:pt x="2321" y="758"/>
                        <a:pt x="2317" y="756"/>
                      </a:cubicBezTo>
                      <a:cubicBezTo>
                        <a:pt x="2313" y="754"/>
                        <a:pt x="2309" y="753"/>
                        <a:pt x="2306" y="747"/>
                      </a:cubicBezTo>
                      <a:cubicBezTo>
                        <a:pt x="2303" y="741"/>
                        <a:pt x="2300" y="740"/>
                        <a:pt x="2297" y="739"/>
                      </a:cubicBezTo>
                      <a:cubicBezTo>
                        <a:pt x="2294" y="739"/>
                        <a:pt x="2294" y="741"/>
                        <a:pt x="2294" y="744"/>
                      </a:cubicBezTo>
                      <a:cubicBezTo>
                        <a:pt x="2295" y="747"/>
                        <a:pt x="2295" y="753"/>
                        <a:pt x="2292" y="755"/>
                      </a:cubicBezTo>
                      <a:cubicBezTo>
                        <a:pt x="2290" y="757"/>
                        <a:pt x="2289" y="756"/>
                        <a:pt x="2286" y="753"/>
                      </a:cubicBezTo>
                      <a:cubicBezTo>
                        <a:pt x="2283" y="751"/>
                        <a:pt x="2279" y="752"/>
                        <a:pt x="2275" y="751"/>
                      </a:cubicBezTo>
                      <a:cubicBezTo>
                        <a:pt x="2271" y="750"/>
                        <a:pt x="2270" y="748"/>
                        <a:pt x="2269" y="743"/>
                      </a:cubicBezTo>
                      <a:cubicBezTo>
                        <a:pt x="2268" y="739"/>
                        <a:pt x="2267" y="733"/>
                        <a:pt x="2265" y="722"/>
                      </a:cubicBezTo>
                      <a:cubicBezTo>
                        <a:pt x="2263" y="711"/>
                        <a:pt x="2262" y="707"/>
                        <a:pt x="2261" y="703"/>
                      </a:cubicBezTo>
                      <a:cubicBezTo>
                        <a:pt x="2260" y="700"/>
                        <a:pt x="2258" y="696"/>
                        <a:pt x="2252" y="690"/>
                      </a:cubicBezTo>
                      <a:cubicBezTo>
                        <a:pt x="2247" y="683"/>
                        <a:pt x="2248" y="681"/>
                        <a:pt x="2246" y="676"/>
                      </a:cubicBezTo>
                      <a:cubicBezTo>
                        <a:pt x="2245" y="670"/>
                        <a:pt x="2247" y="667"/>
                        <a:pt x="2243" y="661"/>
                      </a:cubicBezTo>
                      <a:cubicBezTo>
                        <a:pt x="2239" y="656"/>
                        <a:pt x="2232" y="653"/>
                        <a:pt x="2229" y="650"/>
                      </a:cubicBezTo>
                      <a:cubicBezTo>
                        <a:pt x="2226" y="647"/>
                        <a:pt x="2214" y="641"/>
                        <a:pt x="2213" y="636"/>
                      </a:cubicBezTo>
                      <a:cubicBezTo>
                        <a:pt x="2213" y="631"/>
                        <a:pt x="2218" y="630"/>
                        <a:pt x="2220" y="623"/>
                      </a:cubicBezTo>
                      <a:cubicBezTo>
                        <a:pt x="2223" y="615"/>
                        <a:pt x="2218" y="618"/>
                        <a:pt x="2216" y="614"/>
                      </a:cubicBezTo>
                      <a:cubicBezTo>
                        <a:pt x="2214" y="610"/>
                        <a:pt x="2210" y="606"/>
                        <a:pt x="2206" y="602"/>
                      </a:cubicBezTo>
                      <a:cubicBezTo>
                        <a:pt x="2203" y="598"/>
                        <a:pt x="2199" y="600"/>
                        <a:pt x="2196" y="601"/>
                      </a:cubicBezTo>
                      <a:cubicBezTo>
                        <a:pt x="2192" y="602"/>
                        <a:pt x="2188" y="600"/>
                        <a:pt x="2185" y="596"/>
                      </a:cubicBezTo>
                      <a:cubicBezTo>
                        <a:pt x="2181" y="591"/>
                        <a:pt x="2177" y="589"/>
                        <a:pt x="2173" y="584"/>
                      </a:cubicBezTo>
                      <a:cubicBezTo>
                        <a:pt x="2168" y="579"/>
                        <a:pt x="2164" y="578"/>
                        <a:pt x="2157" y="577"/>
                      </a:cubicBezTo>
                      <a:cubicBezTo>
                        <a:pt x="2151" y="576"/>
                        <a:pt x="2151" y="579"/>
                        <a:pt x="2145" y="576"/>
                      </a:cubicBezTo>
                      <a:cubicBezTo>
                        <a:pt x="2139" y="573"/>
                        <a:pt x="2142" y="571"/>
                        <a:pt x="2140" y="564"/>
                      </a:cubicBezTo>
                      <a:cubicBezTo>
                        <a:pt x="2138" y="556"/>
                        <a:pt x="2137" y="554"/>
                        <a:pt x="2134" y="552"/>
                      </a:cubicBezTo>
                      <a:cubicBezTo>
                        <a:pt x="2132" y="550"/>
                        <a:pt x="2126" y="552"/>
                        <a:pt x="2120" y="552"/>
                      </a:cubicBezTo>
                      <a:cubicBezTo>
                        <a:pt x="2115" y="552"/>
                        <a:pt x="2113" y="548"/>
                        <a:pt x="2110" y="546"/>
                      </a:cubicBezTo>
                      <a:cubicBezTo>
                        <a:pt x="2107" y="543"/>
                        <a:pt x="2102" y="544"/>
                        <a:pt x="2096" y="544"/>
                      </a:cubicBezTo>
                      <a:cubicBezTo>
                        <a:pt x="2090" y="544"/>
                        <a:pt x="2087" y="541"/>
                        <a:pt x="2081" y="538"/>
                      </a:cubicBezTo>
                      <a:cubicBezTo>
                        <a:pt x="2075" y="535"/>
                        <a:pt x="2068" y="529"/>
                        <a:pt x="2064" y="524"/>
                      </a:cubicBezTo>
                      <a:cubicBezTo>
                        <a:pt x="2060" y="518"/>
                        <a:pt x="2064" y="514"/>
                        <a:pt x="2065" y="510"/>
                      </a:cubicBezTo>
                      <a:cubicBezTo>
                        <a:pt x="2067" y="505"/>
                        <a:pt x="2067" y="501"/>
                        <a:pt x="2063" y="498"/>
                      </a:cubicBezTo>
                      <a:cubicBezTo>
                        <a:pt x="2060" y="494"/>
                        <a:pt x="2057" y="492"/>
                        <a:pt x="2053" y="488"/>
                      </a:cubicBezTo>
                      <a:cubicBezTo>
                        <a:pt x="2050" y="484"/>
                        <a:pt x="2050" y="480"/>
                        <a:pt x="2050" y="474"/>
                      </a:cubicBezTo>
                      <a:cubicBezTo>
                        <a:pt x="2050" y="467"/>
                        <a:pt x="2051" y="462"/>
                        <a:pt x="2050" y="453"/>
                      </a:cubicBezTo>
                      <a:cubicBezTo>
                        <a:pt x="2050" y="444"/>
                        <a:pt x="2048" y="441"/>
                        <a:pt x="2047" y="434"/>
                      </a:cubicBezTo>
                      <a:cubicBezTo>
                        <a:pt x="2047" y="426"/>
                        <a:pt x="2047" y="415"/>
                        <a:pt x="2045" y="410"/>
                      </a:cubicBezTo>
                      <a:cubicBezTo>
                        <a:pt x="2043" y="404"/>
                        <a:pt x="2039" y="397"/>
                        <a:pt x="2031" y="394"/>
                      </a:cubicBezTo>
                      <a:cubicBezTo>
                        <a:pt x="2023" y="391"/>
                        <a:pt x="2028" y="392"/>
                        <a:pt x="2022" y="381"/>
                      </a:cubicBezTo>
                      <a:cubicBezTo>
                        <a:pt x="2015" y="370"/>
                        <a:pt x="2011" y="367"/>
                        <a:pt x="2009" y="362"/>
                      </a:cubicBezTo>
                      <a:cubicBezTo>
                        <a:pt x="2006" y="356"/>
                        <a:pt x="2007" y="347"/>
                        <a:pt x="2007" y="337"/>
                      </a:cubicBezTo>
                      <a:cubicBezTo>
                        <a:pt x="2006" y="327"/>
                        <a:pt x="2007" y="317"/>
                        <a:pt x="2004" y="312"/>
                      </a:cubicBezTo>
                      <a:cubicBezTo>
                        <a:pt x="2000" y="306"/>
                        <a:pt x="1999" y="300"/>
                        <a:pt x="1999" y="297"/>
                      </a:cubicBezTo>
                      <a:cubicBezTo>
                        <a:pt x="1999" y="295"/>
                        <a:pt x="2003" y="292"/>
                        <a:pt x="2003" y="287"/>
                      </a:cubicBezTo>
                      <a:cubicBezTo>
                        <a:pt x="2004" y="282"/>
                        <a:pt x="2000" y="282"/>
                        <a:pt x="1999" y="278"/>
                      </a:cubicBezTo>
                      <a:cubicBezTo>
                        <a:pt x="1998" y="274"/>
                        <a:pt x="2002" y="273"/>
                        <a:pt x="2001" y="270"/>
                      </a:cubicBezTo>
                      <a:cubicBezTo>
                        <a:pt x="2000" y="267"/>
                        <a:pt x="1991" y="263"/>
                        <a:pt x="1979" y="256"/>
                      </a:cubicBezTo>
                      <a:cubicBezTo>
                        <a:pt x="1966" y="249"/>
                        <a:pt x="1964" y="248"/>
                        <a:pt x="1954" y="237"/>
                      </a:cubicBezTo>
                      <a:cubicBezTo>
                        <a:pt x="1944" y="226"/>
                        <a:pt x="1949" y="226"/>
                        <a:pt x="1946" y="225"/>
                      </a:cubicBezTo>
                      <a:cubicBezTo>
                        <a:pt x="1942" y="224"/>
                        <a:pt x="1926" y="223"/>
                        <a:pt x="1922" y="231"/>
                      </a:cubicBezTo>
                      <a:cubicBezTo>
                        <a:pt x="1919" y="239"/>
                        <a:pt x="1916" y="244"/>
                        <a:pt x="1910" y="244"/>
                      </a:cubicBezTo>
                      <a:cubicBezTo>
                        <a:pt x="1904" y="243"/>
                        <a:pt x="1905" y="237"/>
                        <a:pt x="1904" y="231"/>
                      </a:cubicBezTo>
                      <a:cubicBezTo>
                        <a:pt x="1903" y="225"/>
                        <a:pt x="1902" y="218"/>
                        <a:pt x="1902" y="211"/>
                      </a:cubicBezTo>
                      <a:cubicBezTo>
                        <a:pt x="1902" y="203"/>
                        <a:pt x="1900" y="196"/>
                        <a:pt x="1898" y="188"/>
                      </a:cubicBezTo>
                      <a:cubicBezTo>
                        <a:pt x="1895" y="180"/>
                        <a:pt x="1890" y="172"/>
                        <a:pt x="1890" y="167"/>
                      </a:cubicBezTo>
                      <a:cubicBezTo>
                        <a:pt x="1890" y="162"/>
                        <a:pt x="1890" y="152"/>
                        <a:pt x="1889" y="148"/>
                      </a:cubicBezTo>
                      <a:cubicBezTo>
                        <a:pt x="1887" y="144"/>
                        <a:pt x="1884" y="141"/>
                        <a:pt x="1881" y="139"/>
                      </a:cubicBezTo>
                      <a:cubicBezTo>
                        <a:pt x="1878" y="136"/>
                        <a:pt x="1880" y="135"/>
                        <a:pt x="1880" y="133"/>
                      </a:cubicBezTo>
                      <a:cubicBezTo>
                        <a:pt x="1880" y="130"/>
                        <a:pt x="1882" y="127"/>
                        <a:pt x="1881" y="122"/>
                      </a:cubicBezTo>
                      <a:cubicBezTo>
                        <a:pt x="1880" y="117"/>
                        <a:pt x="1874" y="119"/>
                        <a:pt x="1872" y="117"/>
                      </a:cubicBezTo>
                      <a:cubicBezTo>
                        <a:pt x="1870" y="116"/>
                        <a:pt x="1868" y="112"/>
                        <a:pt x="1865" y="108"/>
                      </a:cubicBezTo>
                      <a:cubicBezTo>
                        <a:pt x="1863" y="103"/>
                        <a:pt x="1863" y="102"/>
                        <a:pt x="1865" y="98"/>
                      </a:cubicBezTo>
                      <a:cubicBezTo>
                        <a:pt x="1866" y="94"/>
                        <a:pt x="1871" y="90"/>
                        <a:pt x="1873" y="86"/>
                      </a:cubicBezTo>
                      <a:cubicBezTo>
                        <a:pt x="1874" y="82"/>
                        <a:pt x="1871" y="80"/>
                        <a:pt x="1868" y="79"/>
                      </a:cubicBezTo>
                      <a:cubicBezTo>
                        <a:pt x="1864" y="78"/>
                        <a:pt x="1858" y="78"/>
                        <a:pt x="1851" y="75"/>
                      </a:cubicBezTo>
                      <a:cubicBezTo>
                        <a:pt x="1845" y="72"/>
                        <a:pt x="1850" y="67"/>
                        <a:pt x="1846" y="61"/>
                      </a:cubicBezTo>
                      <a:cubicBezTo>
                        <a:pt x="1842" y="56"/>
                        <a:pt x="1842" y="51"/>
                        <a:pt x="1842" y="42"/>
                      </a:cubicBezTo>
                      <a:cubicBezTo>
                        <a:pt x="1842" y="34"/>
                        <a:pt x="1842" y="27"/>
                        <a:pt x="1840" y="22"/>
                      </a:cubicBezTo>
                      <a:cubicBezTo>
                        <a:pt x="1838" y="17"/>
                        <a:pt x="1834" y="20"/>
                        <a:pt x="1832" y="18"/>
                      </a:cubicBezTo>
                      <a:cubicBezTo>
                        <a:pt x="1830" y="16"/>
                        <a:pt x="1835" y="11"/>
                        <a:pt x="1835" y="6"/>
                      </a:cubicBezTo>
                      <a:cubicBezTo>
                        <a:pt x="1835" y="0"/>
                        <a:pt x="1829" y="5"/>
                        <a:pt x="1821" y="9"/>
                      </a:cubicBezTo>
                      <a:cubicBezTo>
                        <a:pt x="1812" y="14"/>
                        <a:pt x="1811" y="12"/>
                        <a:pt x="1805" y="16"/>
                      </a:cubicBezTo>
                      <a:cubicBezTo>
                        <a:pt x="1799" y="19"/>
                        <a:pt x="1798" y="34"/>
                        <a:pt x="1796" y="44"/>
                      </a:cubicBezTo>
                      <a:cubicBezTo>
                        <a:pt x="1793" y="54"/>
                        <a:pt x="1794" y="61"/>
                        <a:pt x="1794" y="70"/>
                      </a:cubicBezTo>
                      <a:cubicBezTo>
                        <a:pt x="1793" y="79"/>
                        <a:pt x="1791" y="82"/>
                        <a:pt x="1786" y="91"/>
                      </a:cubicBezTo>
                      <a:cubicBezTo>
                        <a:pt x="1780" y="99"/>
                        <a:pt x="1782" y="103"/>
                        <a:pt x="1779" y="106"/>
                      </a:cubicBezTo>
                      <a:cubicBezTo>
                        <a:pt x="1775" y="109"/>
                        <a:pt x="1770" y="115"/>
                        <a:pt x="1773" y="116"/>
                      </a:cubicBezTo>
                      <a:cubicBezTo>
                        <a:pt x="1776" y="117"/>
                        <a:pt x="1777" y="114"/>
                        <a:pt x="1782" y="114"/>
                      </a:cubicBezTo>
                      <a:cubicBezTo>
                        <a:pt x="1786" y="115"/>
                        <a:pt x="1789" y="117"/>
                        <a:pt x="1794" y="120"/>
                      </a:cubicBezTo>
                      <a:cubicBezTo>
                        <a:pt x="1800" y="124"/>
                        <a:pt x="1796" y="130"/>
                        <a:pt x="1797" y="135"/>
                      </a:cubicBezTo>
                      <a:cubicBezTo>
                        <a:pt x="1797" y="140"/>
                        <a:pt x="1794" y="142"/>
                        <a:pt x="1790" y="142"/>
                      </a:cubicBezTo>
                      <a:cubicBezTo>
                        <a:pt x="1785" y="142"/>
                        <a:pt x="1788" y="137"/>
                        <a:pt x="1787" y="133"/>
                      </a:cubicBezTo>
                      <a:cubicBezTo>
                        <a:pt x="1787" y="130"/>
                        <a:pt x="1782" y="131"/>
                        <a:pt x="1778" y="133"/>
                      </a:cubicBezTo>
                      <a:cubicBezTo>
                        <a:pt x="1774" y="135"/>
                        <a:pt x="1773" y="144"/>
                        <a:pt x="1774" y="153"/>
                      </a:cubicBezTo>
                      <a:cubicBezTo>
                        <a:pt x="1774" y="161"/>
                        <a:pt x="1775" y="164"/>
                        <a:pt x="1773" y="171"/>
                      </a:cubicBezTo>
                      <a:cubicBezTo>
                        <a:pt x="1772" y="178"/>
                        <a:pt x="1769" y="183"/>
                        <a:pt x="1766" y="188"/>
                      </a:cubicBezTo>
                      <a:cubicBezTo>
                        <a:pt x="1762" y="193"/>
                        <a:pt x="1760" y="199"/>
                        <a:pt x="1765" y="207"/>
                      </a:cubicBezTo>
                      <a:cubicBezTo>
                        <a:pt x="1770" y="214"/>
                        <a:pt x="1770" y="220"/>
                        <a:pt x="1770" y="231"/>
                      </a:cubicBezTo>
                      <a:cubicBezTo>
                        <a:pt x="1770" y="237"/>
                        <a:pt x="1768" y="243"/>
                        <a:pt x="1768" y="247"/>
                      </a:cubicBezTo>
                      <a:cubicBezTo>
                        <a:pt x="1768" y="251"/>
                        <a:pt x="1770" y="255"/>
                        <a:pt x="1772" y="263"/>
                      </a:cubicBezTo>
                      <a:cubicBezTo>
                        <a:pt x="1775" y="271"/>
                        <a:pt x="1774" y="276"/>
                        <a:pt x="1773" y="290"/>
                      </a:cubicBezTo>
                      <a:cubicBezTo>
                        <a:pt x="1772" y="304"/>
                        <a:pt x="1765" y="327"/>
                        <a:pt x="1763" y="334"/>
                      </a:cubicBezTo>
                      <a:cubicBezTo>
                        <a:pt x="1762" y="341"/>
                        <a:pt x="1756" y="350"/>
                        <a:pt x="1751" y="362"/>
                      </a:cubicBezTo>
                      <a:cubicBezTo>
                        <a:pt x="1747" y="374"/>
                        <a:pt x="1743" y="381"/>
                        <a:pt x="1738" y="399"/>
                      </a:cubicBezTo>
                      <a:cubicBezTo>
                        <a:pt x="1733" y="417"/>
                        <a:pt x="1730" y="415"/>
                        <a:pt x="1724" y="425"/>
                      </a:cubicBezTo>
                      <a:cubicBezTo>
                        <a:pt x="1718" y="436"/>
                        <a:pt x="1704" y="436"/>
                        <a:pt x="1696" y="438"/>
                      </a:cubicBezTo>
                      <a:cubicBezTo>
                        <a:pt x="1689" y="440"/>
                        <a:pt x="1678" y="442"/>
                        <a:pt x="1671" y="442"/>
                      </a:cubicBezTo>
                      <a:cubicBezTo>
                        <a:pt x="1665" y="441"/>
                        <a:pt x="1661" y="439"/>
                        <a:pt x="1653" y="432"/>
                      </a:cubicBezTo>
                      <a:cubicBezTo>
                        <a:pt x="1644" y="425"/>
                        <a:pt x="1640" y="423"/>
                        <a:pt x="1629" y="416"/>
                      </a:cubicBezTo>
                      <a:cubicBezTo>
                        <a:pt x="1619" y="408"/>
                        <a:pt x="1618" y="403"/>
                        <a:pt x="1609" y="396"/>
                      </a:cubicBezTo>
                      <a:cubicBezTo>
                        <a:pt x="1601" y="389"/>
                        <a:pt x="1598" y="391"/>
                        <a:pt x="1587" y="386"/>
                      </a:cubicBezTo>
                      <a:cubicBezTo>
                        <a:pt x="1576" y="381"/>
                        <a:pt x="1568" y="379"/>
                        <a:pt x="1556" y="373"/>
                      </a:cubicBezTo>
                      <a:cubicBezTo>
                        <a:pt x="1544" y="367"/>
                        <a:pt x="1544" y="371"/>
                        <a:pt x="1527" y="360"/>
                      </a:cubicBezTo>
                      <a:cubicBezTo>
                        <a:pt x="1510" y="348"/>
                        <a:pt x="1499" y="341"/>
                        <a:pt x="1493" y="337"/>
                      </a:cubicBezTo>
                      <a:cubicBezTo>
                        <a:pt x="1486" y="333"/>
                        <a:pt x="1482" y="332"/>
                        <a:pt x="1475" y="331"/>
                      </a:cubicBezTo>
                      <a:cubicBezTo>
                        <a:pt x="1469" y="330"/>
                        <a:pt x="1462" y="330"/>
                        <a:pt x="1458" y="326"/>
                      </a:cubicBezTo>
                      <a:cubicBezTo>
                        <a:pt x="1454" y="323"/>
                        <a:pt x="1451" y="318"/>
                        <a:pt x="1447" y="314"/>
                      </a:cubicBezTo>
                      <a:cubicBezTo>
                        <a:pt x="1443" y="311"/>
                        <a:pt x="1438" y="307"/>
                        <a:pt x="1430" y="303"/>
                      </a:cubicBezTo>
                      <a:cubicBezTo>
                        <a:pt x="1422" y="299"/>
                        <a:pt x="1422" y="295"/>
                        <a:pt x="1418" y="291"/>
                      </a:cubicBezTo>
                      <a:cubicBezTo>
                        <a:pt x="1415" y="287"/>
                        <a:pt x="1409" y="282"/>
                        <a:pt x="1403" y="279"/>
                      </a:cubicBezTo>
                      <a:cubicBezTo>
                        <a:pt x="1397" y="275"/>
                        <a:pt x="1393" y="267"/>
                        <a:pt x="1392" y="263"/>
                      </a:cubicBezTo>
                      <a:cubicBezTo>
                        <a:pt x="1390" y="258"/>
                        <a:pt x="1392" y="254"/>
                        <a:pt x="1398" y="250"/>
                      </a:cubicBezTo>
                      <a:cubicBezTo>
                        <a:pt x="1404" y="245"/>
                        <a:pt x="1404" y="236"/>
                        <a:pt x="1405" y="234"/>
                      </a:cubicBezTo>
                      <a:cubicBezTo>
                        <a:pt x="1406" y="232"/>
                        <a:pt x="1412" y="227"/>
                        <a:pt x="1415" y="224"/>
                      </a:cubicBezTo>
                      <a:cubicBezTo>
                        <a:pt x="1418" y="221"/>
                        <a:pt x="1418" y="217"/>
                        <a:pt x="1418" y="214"/>
                      </a:cubicBezTo>
                      <a:cubicBezTo>
                        <a:pt x="1419" y="211"/>
                        <a:pt x="1421" y="205"/>
                        <a:pt x="1423" y="204"/>
                      </a:cubicBezTo>
                      <a:cubicBezTo>
                        <a:pt x="1424" y="202"/>
                        <a:pt x="1426" y="195"/>
                        <a:pt x="1425" y="194"/>
                      </a:cubicBezTo>
                      <a:cubicBezTo>
                        <a:pt x="1424" y="193"/>
                        <a:pt x="1419" y="191"/>
                        <a:pt x="1418" y="188"/>
                      </a:cubicBezTo>
                      <a:cubicBezTo>
                        <a:pt x="1417" y="186"/>
                        <a:pt x="1419" y="182"/>
                        <a:pt x="1419" y="177"/>
                      </a:cubicBezTo>
                      <a:cubicBezTo>
                        <a:pt x="1419" y="172"/>
                        <a:pt x="1422" y="166"/>
                        <a:pt x="1423" y="164"/>
                      </a:cubicBezTo>
                      <a:cubicBezTo>
                        <a:pt x="1424" y="163"/>
                        <a:pt x="1433" y="159"/>
                        <a:pt x="1436" y="159"/>
                      </a:cubicBezTo>
                      <a:cubicBezTo>
                        <a:pt x="1439" y="159"/>
                        <a:pt x="1443" y="159"/>
                        <a:pt x="1445" y="159"/>
                      </a:cubicBezTo>
                      <a:cubicBezTo>
                        <a:pt x="1447" y="159"/>
                        <a:pt x="1453" y="157"/>
                        <a:pt x="1454" y="155"/>
                      </a:cubicBezTo>
                      <a:cubicBezTo>
                        <a:pt x="1455" y="152"/>
                        <a:pt x="1456" y="149"/>
                        <a:pt x="1456" y="148"/>
                      </a:cubicBezTo>
                      <a:cubicBezTo>
                        <a:pt x="1456" y="147"/>
                        <a:pt x="1460" y="146"/>
                        <a:pt x="1460" y="145"/>
                      </a:cubicBezTo>
                      <a:cubicBezTo>
                        <a:pt x="1460" y="144"/>
                        <a:pt x="1459" y="141"/>
                        <a:pt x="1458" y="140"/>
                      </a:cubicBezTo>
                      <a:cubicBezTo>
                        <a:pt x="1457" y="139"/>
                        <a:pt x="1457" y="137"/>
                        <a:pt x="1457" y="135"/>
                      </a:cubicBezTo>
                      <a:cubicBezTo>
                        <a:pt x="1458" y="133"/>
                        <a:pt x="1461" y="131"/>
                        <a:pt x="1463" y="130"/>
                      </a:cubicBezTo>
                      <a:cubicBezTo>
                        <a:pt x="1465" y="129"/>
                        <a:pt x="1469" y="126"/>
                        <a:pt x="1469" y="123"/>
                      </a:cubicBezTo>
                      <a:cubicBezTo>
                        <a:pt x="1469" y="121"/>
                        <a:pt x="1471" y="117"/>
                        <a:pt x="1472" y="114"/>
                      </a:cubicBezTo>
                      <a:cubicBezTo>
                        <a:pt x="1473" y="111"/>
                        <a:pt x="1478" y="109"/>
                        <a:pt x="1481" y="107"/>
                      </a:cubicBezTo>
                      <a:cubicBezTo>
                        <a:pt x="1484" y="106"/>
                        <a:pt x="1482" y="105"/>
                        <a:pt x="1481" y="103"/>
                      </a:cubicBezTo>
                      <a:cubicBezTo>
                        <a:pt x="1480" y="102"/>
                        <a:pt x="1479" y="101"/>
                        <a:pt x="1476" y="101"/>
                      </a:cubicBezTo>
                      <a:cubicBezTo>
                        <a:pt x="1474" y="101"/>
                        <a:pt x="1472" y="101"/>
                        <a:pt x="1467" y="101"/>
                      </a:cubicBezTo>
                      <a:cubicBezTo>
                        <a:pt x="1463" y="101"/>
                        <a:pt x="1464" y="98"/>
                        <a:pt x="1463" y="96"/>
                      </a:cubicBezTo>
                      <a:cubicBezTo>
                        <a:pt x="1462" y="94"/>
                        <a:pt x="1461" y="90"/>
                        <a:pt x="1457" y="88"/>
                      </a:cubicBezTo>
                      <a:cubicBezTo>
                        <a:pt x="1453" y="87"/>
                        <a:pt x="1448" y="88"/>
                        <a:pt x="1446" y="89"/>
                      </a:cubicBezTo>
                      <a:cubicBezTo>
                        <a:pt x="1444" y="90"/>
                        <a:pt x="1443" y="94"/>
                        <a:pt x="1444" y="96"/>
                      </a:cubicBezTo>
                      <a:cubicBezTo>
                        <a:pt x="1445" y="98"/>
                        <a:pt x="1447" y="99"/>
                        <a:pt x="1448" y="100"/>
                      </a:cubicBezTo>
                      <a:cubicBezTo>
                        <a:pt x="1449" y="102"/>
                        <a:pt x="1447" y="105"/>
                        <a:pt x="1445" y="107"/>
                      </a:cubicBezTo>
                      <a:cubicBezTo>
                        <a:pt x="1444" y="110"/>
                        <a:pt x="1438" y="110"/>
                        <a:pt x="1436" y="110"/>
                      </a:cubicBezTo>
                      <a:cubicBezTo>
                        <a:pt x="1433" y="110"/>
                        <a:pt x="1431" y="107"/>
                        <a:pt x="1431" y="106"/>
                      </a:cubicBezTo>
                      <a:cubicBezTo>
                        <a:pt x="1430" y="104"/>
                        <a:pt x="1427" y="101"/>
                        <a:pt x="1425" y="99"/>
                      </a:cubicBezTo>
                      <a:cubicBezTo>
                        <a:pt x="1423" y="97"/>
                        <a:pt x="1419" y="98"/>
                        <a:pt x="1418" y="99"/>
                      </a:cubicBezTo>
                      <a:cubicBezTo>
                        <a:pt x="1416" y="99"/>
                        <a:pt x="1412" y="101"/>
                        <a:pt x="1409" y="100"/>
                      </a:cubicBezTo>
                      <a:cubicBezTo>
                        <a:pt x="1406" y="100"/>
                        <a:pt x="1406" y="97"/>
                        <a:pt x="1405" y="94"/>
                      </a:cubicBezTo>
                      <a:cubicBezTo>
                        <a:pt x="1404" y="91"/>
                        <a:pt x="1401" y="91"/>
                        <a:pt x="1398" y="90"/>
                      </a:cubicBezTo>
                      <a:cubicBezTo>
                        <a:pt x="1395" y="90"/>
                        <a:pt x="1390" y="97"/>
                        <a:pt x="1386" y="100"/>
                      </a:cubicBezTo>
                      <a:cubicBezTo>
                        <a:pt x="1381" y="102"/>
                        <a:pt x="1375" y="100"/>
                        <a:pt x="1373" y="98"/>
                      </a:cubicBezTo>
                      <a:cubicBezTo>
                        <a:pt x="1370" y="97"/>
                        <a:pt x="1365" y="94"/>
                        <a:pt x="1362" y="93"/>
                      </a:cubicBezTo>
                      <a:cubicBezTo>
                        <a:pt x="1359" y="91"/>
                        <a:pt x="1359" y="88"/>
                        <a:pt x="1357" y="86"/>
                      </a:cubicBezTo>
                      <a:cubicBezTo>
                        <a:pt x="1355" y="85"/>
                        <a:pt x="1347" y="83"/>
                        <a:pt x="1345" y="85"/>
                      </a:cubicBezTo>
                      <a:cubicBezTo>
                        <a:pt x="1343" y="86"/>
                        <a:pt x="1341" y="88"/>
                        <a:pt x="1339" y="90"/>
                      </a:cubicBezTo>
                      <a:cubicBezTo>
                        <a:pt x="1336" y="92"/>
                        <a:pt x="1330" y="91"/>
                        <a:pt x="1327" y="91"/>
                      </a:cubicBezTo>
                      <a:cubicBezTo>
                        <a:pt x="1324" y="91"/>
                        <a:pt x="1317" y="90"/>
                        <a:pt x="1314" y="87"/>
                      </a:cubicBezTo>
                      <a:cubicBezTo>
                        <a:pt x="1311" y="84"/>
                        <a:pt x="1313" y="80"/>
                        <a:pt x="1310" y="78"/>
                      </a:cubicBezTo>
                      <a:cubicBezTo>
                        <a:pt x="1307" y="75"/>
                        <a:pt x="1300" y="73"/>
                        <a:pt x="1296" y="71"/>
                      </a:cubicBezTo>
                      <a:cubicBezTo>
                        <a:pt x="1292" y="69"/>
                        <a:pt x="1284" y="74"/>
                        <a:pt x="1279" y="75"/>
                      </a:cubicBezTo>
                      <a:cubicBezTo>
                        <a:pt x="1274" y="77"/>
                        <a:pt x="1273" y="74"/>
                        <a:pt x="1272" y="73"/>
                      </a:cubicBezTo>
                      <a:cubicBezTo>
                        <a:pt x="1271" y="71"/>
                        <a:pt x="1267" y="68"/>
                        <a:pt x="1264" y="65"/>
                      </a:cubicBezTo>
                      <a:cubicBezTo>
                        <a:pt x="1261" y="63"/>
                        <a:pt x="1253" y="62"/>
                        <a:pt x="1249" y="60"/>
                      </a:cubicBezTo>
                      <a:cubicBezTo>
                        <a:pt x="1244" y="58"/>
                        <a:pt x="1245" y="56"/>
                        <a:pt x="1243" y="53"/>
                      </a:cubicBezTo>
                      <a:cubicBezTo>
                        <a:pt x="1241" y="51"/>
                        <a:pt x="1235" y="51"/>
                        <a:pt x="1229" y="51"/>
                      </a:cubicBezTo>
                      <a:cubicBezTo>
                        <a:pt x="1224" y="51"/>
                        <a:pt x="1226" y="50"/>
                        <a:pt x="1225" y="48"/>
                      </a:cubicBezTo>
                      <a:cubicBezTo>
                        <a:pt x="1224" y="47"/>
                        <a:pt x="1218" y="47"/>
                        <a:pt x="1215" y="46"/>
                      </a:cubicBezTo>
                      <a:cubicBezTo>
                        <a:pt x="1211" y="45"/>
                        <a:pt x="1211" y="43"/>
                        <a:pt x="1210" y="41"/>
                      </a:cubicBezTo>
                      <a:cubicBezTo>
                        <a:pt x="1208" y="39"/>
                        <a:pt x="1205" y="38"/>
                        <a:pt x="1202" y="37"/>
                      </a:cubicBezTo>
                      <a:cubicBezTo>
                        <a:pt x="1198" y="36"/>
                        <a:pt x="1197" y="38"/>
                        <a:pt x="1195" y="41"/>
                      </a:cubicBezTo>
                      <a:cubicBezTo>
                        <a:pt x="1193" y="43"/>
                        <a:pt x="1188" y="43"/>
                        <a:pt x="1185" y="41"/>
                      </a:cubicBezTo>
                      <a:cubicBezTo>
                        <a:pt x="1181" y="40"/>
                        <a:pt x="1182" y="36"/>
                        <a:pt x="1180" y="33"/>
                      </a:cubicBezTo>
                      <a:cubicBezTo>
                        <a:pt x="1178" y="30"/>
                        <a:pt x="1173" y="32"/>
                        <a:pt x="1172" y="33"/>
                      </a:cubicBezTo>
                      <a:cubicBezTo>
                        <a:pt x="1171" y="35"/>
                        <a:pt x="1172" y="39"/>
                        <a:pt x="1173" y="41"/>
                      </a:cubicBezTo>
                      <a:cubicBezTo>
                        <a:pt x="1174" y="44"/>
                        <a:pt x="1177" y="45"/>
                        <a:pt x="1177" y="48"/>
                      </a:cubicBezTo>
                      <a:cubicBezTo>
                        <a:pt x="1177" y="50"/>
                        <a:pt x="1182" y="53"/>
                        <a:pt x="1186" y="54"/>
                      </a:cubicBezTo>
                      <a:cubicBezTo>
                        <a:pt x="1189" y="55"/>
                        <a:pt x="1193" y="53"/>
                        <a:pt x="1197" y="51"/>
                      </a:cubicBezTo>
                      <a:cubicBezTo>
                        <a:pt x="1200" y="50"/>
                        <a:pt x="1202" y="51"/>
                        <a:pt x="1206" y="51"/>
                      </a:cubicBezTo>
                      <a:cubicBezTo>
                        <a:pt x="1210" y="51"/>
                        <a:pt x="1213" y="54"/>
                        <a:pt x="1214" y="55"/>
                      </a:cubicBezTo>
                      <a:cubicBezTo>
                        <a:pt x="1215" y="57"/>
                        <a:pt x="1213" y="62"/>
                        <a:pt x="1213" y="64"/>
                      </a:cubicBezTo>
                      <a:cubicBezTo>
                        <a:pt x="1213" y="65"/>
                        <a:pt x="1216" y="67"/>
                        <a:pt x="1217" y="69"/>
                      </a:cubicBezTo>
                      <a:cubicBezTo>
                        <a:pt x="1219" y="71"/>
                        <a:pt x="1216" y="77"/>
                        <a:pt x="1216" y="81"/>
                      </a:cubicBezTo>
                      <a:cubicBezTo>
                        <a:pt x="1216" y="85"/>
                        <a:pt x="1220" y="88"/>
                        <a:pt x="1223" y="91"/>
                      </a:cubicBezTo>
                      <a:cubicBezTo>
                        <a:pt x="1226" y="93"/>
                        <a:pt x="1221" y="96"/>
                        <a:pt x="1217" y="100"/>
                      </a:cubicBezTo>
                      <a:cubicBezTo>
                        <a:pt x="1214" y="103"/>
                        <a:pt x="1207" y="108"/>
                        <a:pt x="1202" y="107"/>
                      </a:cubicBezTo>
                      <a:cubicBezTo>
                        <a:pt x="1198" y="107"/>
                        <a:pt x="1201" y="101"/>
                        <a:pt x="1198" y="100"/>
                      </a:cubicBezTo>
                      <a:cubicBezTo>
                        <a:pt x="1195" y="98"/>
                        <a:pt x="1187" y="103"/>
                        <a:pt x="1183" y="105"/>
                      </a:cubicBezTo>
                      <a:cubicBezTo>
                        <a:pt x="1179" y="106"/>
                        <a:pt x="1177" y="103"/>
                        <a:pt x="1174" y="102"/>
                      </a:cubicBezTo>
                      <a:cubicBezTo>
                        <a:pt x="1172" y="101"/>
                        <a:pt x="1165" y="102"/>
                        <a:pt x="1161" y="102"/>
                      </a:cubicBezTo>
                      <a:cubicBezTo>
                        <a:pt x="1157" y="102"/>
                        <a:pt x="1149" y="101"/>
                        <a:pt x="1144" y="99"/>
                      </a:cubicBezTo>
                      <a:cubicBezTo>
                        <a:pt x="1139" y="97"/>
                        <a:pt x="1135" y="96"/>
                        <a:pt x="1131" y="96"/>
                      </a:cubicBezTo>
                      <a:cubicBezTo>
                        <a:pt x="1128" y="95"/>
                        <a:pt x="1124" y="94"/>
                        <a:pt x="1121" y="95"/>
                      </a:cubicBezTo>
                      <a:cubicBezTo>
                        <a:pt x="1118" y="96"/>
                        <a:pt x="1120" y="100"/>
                        <a:pt x="1119" y="103"/>
                      </a:cubicBezTo>
                      <a:cubicBezTo>
                        <a:pt x="1118" y="106"/>
                        <a:pt x="1117" y="106"/>
                        <a:pt x="1114" y="107"/>
                      </a:cubicBezTo>
                      <a:cubicBezTo>
                        <a:pt x="1111" y="108"/>
                        <a:pt x="1113" y="110"/>
                        <a:pt x="1115" y="113"/>
                      </a:cubicBezTo>
                      <a:cubicBezTo>
                        <a:pt x="1116" y="116"/>
                        <a:pt x="1116" y="120"/>
                        <a:pt x="1112" y="121"/>
                      </a:cubicBezTo>
                      <a:cubicBezTo>
                        <a:pt x="1109" y="122"/>
                        <a:pt x="1106" y="119"/>
                        <a:pt x="1104" y="115"/>
                      </a:cubicBezTo>
                      <a:cubicBezTo>
                        <a:pt x="1101" y="112"/>
                        <a:pt x="1096" y="109"/>
                        <a:pt x="1093" y="110"/>
                      </a:cubicBezTo>
                      <a:cubicBezTo>
                        <a:pt x="1091" y="110"/>
                        <a:pt x="1090" y="115"/>
                        <a:pt x="1092" y="118"/>
                      </a:cubicBezTo>
                      <a:cubicBezTo>
                        <a:pt x="1093" y="122"/>
                        <a:pt x="1096" y="124"/>
                        <a:pt x="1095" y="127"/>
                      </a:cubicBezTo>
                      <a:cubicBezTo>
                        <a:pt x="1094" y="129"/>
                        <a:pt x="1092" y="126"/>
                        <a:pt x="1087" y="124"/>
                      </a:cubicBezTo>
                      <a:cubicBezTo>
                        <a:pt x="1082" y="122"/>
                        <a:pt x="1083" y="128"/>
                        <a:pt x="1075" y="130"/>
                      </a:cubicBezTo>
                      <a:cubicBezTo>
                        <a:pt x="1067" y="133"/>
                        <a:pt x="1065" y="142"/>
                        <a:pt x="1064" y="144"/>
                      </a:cubicBezTo>
                      <a:cubicBezTo>
                        <a:pt x="1063" y="146"/>
                        <a:pt x="1063" y="147"/>
                        <a:pt x="1064" y="151"/>
                      </a:cubicBezTo>
                      <a:cubicBezTo>
                        <a:pt x="1064" y="155"/>
                        <a:pt x="1066" y="157"/>
                        <a:pt x="1069" y="161"/>
                      </a:cubicBezTo>
                      <a:cubicBezTo>
                        <a:pt x="1072" y="165"/>
                        <a:pt x="1074" y="163"/>
                        <a:pt x="1074" y="166"/>
                      </a:cubicBezTo>
                      <a:cubicBezTo>
                        <a:pt x="1074" y="169"/>
                        <a:pt x="1073" y="170"/>
                        <a:pt x="1070" y="170"/>
                      </a:cubicBezTo>
                      <a:cubicBezTo>
                        <a:pt x="1067" y="171"/>
                        <a:pt x="1067" y="172"/>
                        <a:pt x="1064" y="175"/>
                      </a:cubicBezTo>
                      <a:cubicBezTo>
                        <a:pt x="1061" y="178"/>
                        <a:pt x="1061" y="178"/>
                        <a:pt x="1057" y="178"/>
                      </a:cubicBezTo>
                      <a:cubicBezTo>
                        <a:pt x="1054" y="178"/>
                        <a:pt x="1052" y="175"/>
                        <a:pt x="1048" y="177"/>
                      </a:cubicBezTo>
                      <a:cubicBezTo>
                        <a:pt x="1043" y="178"/>
                        <a:pt x="1044" y="181"/>
                        <a:pt x="1043" y="185"/>
                      </a:cubicBezTo>
                      <a:cubicBezTo>
                        <a:pt x="1041" y="190"/>
                        <a:pt x="1045" y="191"/>
                        <a:pt x="1042" y="197"/>
                      </a:cubicBezTo>
                      <a:cubicBezTo>
                        <a:pt x="1038" y="204"/>
                        <a:pt x="1036" y="207"/>
                        <a:pt x="1032" y="208"/>
                      </a:cubicBezTo>
                      <a:cubicBezTo>
                        <a:pt x="1028" y="209"/>
                        <a:pt x="1024" y="210"/>
                        <a:pt x="1019" y="215"/>
                      </a:cubicBezTo>
                      <a:cubicBezTo>
                        <a:pt x="1014" y="219"/>
                        <a:pt x="1015" y="220"/>
                        <a:pt x="1014" y="226"/>
                      </a:cubicBezTo>
                      <a:cubicBezTo>
                        <a:pt x="1012" y="233"/>
                        <a:pt x="1015" y="232"/>
                        <a:pt x="1018" y="236"/>
                      </a:cubicBezTo>
                      <a:cubicBezTo>
                        <a:pt x="1020" y="240"/>
                        <a:pt x="1024" y="243"/>
                        <a:pt x="1025" y="246"/>
                      </a:cubicBezTo>
                      <a:cubicBezTo>
                        <a:pt x="1027" y="249"/>
                        <a:pt x="1029" y="252"/>
                        <a:pt x="1033" y="256"/>
                      </a:cubicBezTo>
                      <a:cubicBezTo>
                        <a:pt x="1038" y="259"/>
                        <a:pt x="1039" y="257"/>
                        <a:pt x="1043" y="257"/>
                      </a:cubicBezTo>
                      <a:cubicBezTo>
                        <a:pt x="1048" y="257"/>
                        <a:pt x="1049" y="257"/>
                        <a:pt x="1051" y="260"/>
                      </a:cubicBezTo>
                      <a:cubicBezTo>
                        <a:pt x="1052" y="264"/>
                        <a:pt x="1045" y="264"/>
                        <a:pt x="1042" y="265"/>
                      </a:cubicBezTo>
                      <a:cubicBezTo>
                        <a:pt x="1038" y="265"/>
                        <a:pt x="1036" y="268"/>
                        <a:pt x="1034" y="271"/>
                      </a:cubicBezTo>
                      <a:cubicBezTo>
                        <a:pt x="1031" y="273"/>
                        <a:pt x="1035" y="274"/>
                        <a:pt x="1036" y="280"/>
                      </a:cubicBezTo>
                      <a:cubicBezTo>
                        <a:pt x="1038" y="285"/>
                        <a:pt x="1035" y="285"/>
                        <a:pt x="1030" y="285"/>
                      </a:cubicBezTo>
                      <a:cubicBezTo>
                        <a:pt x="1025" y="285"/>
                        <a:pt x="1024" y="279"/>
                        <a:pt x="1022" y="277"/>
                      </a:cubicBezTo>
                      <a:cubicBezTo>
                        <a:pt x="1020" y="275"/>
                        <a:pt x="1014" y="274"/>
                        <a:pt x="1010" y="276"/>
                      </a:cubicBezTo>
                      <a:cubicBezTo>
                        <a:pt x="1007" y="278"/>
                        <a:pt x="1007" y="284"/>
                        <a:pt x="1005" y="288"/>
                      </a:cubicBezTo>
                      <a:cubicBezTo>
                        <a:pt x="1003" y="292"/>
                        <a:pt x="1002" y="288"/>
                        <a:pt x="1002" y="284"/>
                      </a:cubicBezTo>
                      <a:cubicBezTo>
                        <a:pt x="1002" y="280"/>
                        <a:pt x="1002" y="276"/>
                        <a:pt x="1000" y="271"/>
                      </a:cubicBezTo>
                      <a:cubicBezTo>
                        <a:pt x="998" y="266"/>
                        <a:pt x="992" y="267"/>
                        <a:pt x="986" y="267"/>
                      </a:cubicBezTo>
                      <a:cubicBezTo>
                        <a:pt x="981" y="267"/>
                        <a:pt x="978" y="265"/>
                        <a:pt x="972" y="263"/>
                      </a:cubicBezTo>
                      <a:cubicBezTo>
                        <a:pt x="966" y="262"/>
                        <a:pt x="966" y="264"/>
                        <a:pt x="964" y="264"/>
                      </a:cubicBezTo>
                      <a:cubicBezTo>
                        <a:pt x="961" y="264"/>
                        <a:pt x="959" y="266"/>
                        <a:pt x="958" y="268"/>
                      </a:cubicBezTo>
                      <a:cubicBezTo>
                        <a:pt x="957" y="270"/>
                        <a:pt x="960" y="273"/>
                        <a:pt x="959" y="275"/>
                      </a:cubicBezTo>
                      <a:cubicBezTo>
                        <a:pt x="959" y="277"/>
                        <a:pt x="955" y="276"/>
                        <a:pt x="953" y="276"/>
                      </a:cubicBezTo>
                      <a:cubicBezTo>
                        <a:pt x="951" y="275"/>
                        <a:pt x="947" y="276"/>
                        <a:pt x="946" y="277"/>
                      </a:cubicBezTo>
                      <a:cubicBezTo>
                        <a:pt x="945" y="278"/>
                        <a:pt x="945" y="283"/>
                        <a:pt x="947" y="287"/>
                      </a:cubicBezTo>
                      <a:cubicBezTo>
                        <a:pt x="948" y="291"/>
                        <a:pt x="951" y="292"/>
                        <a:pt x="951" y="294"/>
                      </a:cubicBezTo>
                      <a:cubicBezTo>
                        <a:pt x="952" y="297"/>
                        <a:pt x="951" y="299"/>
                        <a:pt x="950" y="300"/>
                      </a:cubicBezTo>
                      <a:cubicBezTo>
                        <a:pt x="948" y="302"/>
                        <a:pt x="945" y="300"/>
                        <a:pt x="941" y="300"/>
                      </a:cubicBezTo>
                      <a:cubicBezTo>
                        <a:pt x="937" y="300"/>
                        <a:pt x="938" y="303"/>
                        <a:pt x="936" y="306"/>
                      </a:cubicBezTo>
                      <a:cubicBezTo>
                        <a:pt x="934" y="308"/>
                        <a:pt x="930" y="308"/>
                        <a:pt x="929" y="306"/>
                      </a:cubicBezTo>
                      <a:cubicBezTo>
                        <a:pt x="929" y="304"/>
                        <a:pt x="931" y="298"/>
                        <a:pt x="933" y="295"/>
                      </a:cubicBezTo>
                      <a:cubicBezTo>
                        <a:pt x="935" y="292"/>
                        <a:pt x="935" y="290"/>
                        <a:pt x="935" y="288"/>
                      </a:cubicBezTo>
                      <a:cubicBezTo>
                        <a:pt x="936" y="287"/>
                        <a:pt x="937" y="279"/>
                        <a:pt x="936" y="278"/>
                      </a:cubicBezTo>
                      <a:cubicBezTo>
                        <a:pt x="936" y="276"/>
                        <a:pt x="938" y="269"/>
                        <a:pt x="939" y="266"/>
                      </a:cubicBezTo>
                      <a:cubicBezTo>
                        <a:pt x="941" y="262"/>
                        <a:pt x="942" y="259"/>
                        <a:pt x="942" y="256"/>
                      </a:cubicBezTo>
                      <a:cubicBezTo>
                        <a:pt x="942" y="252"/>
                        <a:pt x="939" y="251"/>
                        <a:pt x="936" y="246"/>
                      </a:cubicBezTo>
                      <a:cubicBezTo>
                        <a:pt x="934" y="242"/>
                        <a:pt x="930" y="240"/>
                        <a:pt x="919" y="234"/>
                      </a:cubicBezTo>
                      <a:cubicBezTo>
                        <a:pt x="909" y="227"/>
                        <a:pt x="909" y="224"/>
                        <a:pt x="907" y="222"/>
                      </a:cubicBezTo>
                      <a:cubicBezTo>
                        <a:pt x="904" y="220"/>
                        <a:pt x="902" y="216"/>
                        <a:pt x="900" y="212"/>
                      </a:cubicBezTo>
                      <a:cubicBezTo>
                        <a:pt x="898" y="208"/>
                        <a:pt x="892" y="209"/>
                        <a:pt x="888" y="208"/>
                      </a:cubicBezTo>
                      <a:cubicBezTo>
                        <a:pt x="885" y="208"/>
                        <a:pt x="881" y="208"/>
                        <a:pt x="876" y="208"/>
                      </a:cubicBezTo>
                      <a:cubicBezTo>
                        <a:pt x="872" y="208"/>
                        <a:pt x="873" y="206"/>
                        <a:pt x="871" y="203"/>
                      </a:cubicBezTo>
                      <a:cubicBezTo>
                        <a:pt x="869" y="199"/>
                        <a:pt x="866" y="198"/>
                        <a:pt x="862" y="200"/>
                      </a:cubicBezTo>
                      <a:cubicBezTo>
                        <a:pt x="859" y="202"/>
                        <a:pt x="859" y="206"/>
                        <a:pt x="856" y="208"/>
                      </a:cubicBezTo>
                      <a:cubicBezTo>
                        <a:pt x="854" y="210"/>
                        <a:pt x="852" y="214"/>
                        <a:pt x="851" y="217"/>
                      </a:cubicBezTo>
                      <a:cubicBezTo>
                        <a:pt x="850" y="219"/>
                        <a:pt x="847" y="222"/>
                        <a:pt x="845" y="223"/>
                      </a:cubicBezTo>
                      <a:cubicBezTo>
                        <a:pt x="842" y="224"/>
                        <a:pt x="842" y="222"/>
                        <a:pt x="840" y="219"/>
                      </a:cubicBezTo>
                      <a:cubicBezTo>
                        <a:pt x="838" y="216"/>
                        <a:pt x="837" y="215"/>
                        <a:pt x="834" y="212"/>
                      </a:cubicBezTo>
                      <a:cubicBezTo>
                        <a:pt x="831" y="210"/>
                        <a:pt x="829" y="212"/>
                        <a:pt x="825" y="216"/>
                      </a:cubicBezTo>
                      <a:cubicBezTo>
                        <a:pt x="821" y="221"/>
                        <a:pt x="821" y="218"/>
                        <a:pt x="817" y="221"/>
                      </a:cubicBezTo>
                      <a:cubicBezTo>
                        <a:pt x="813" y="223"/>
                        <a:pt x="813" y="226"/>
                        <a:pt x="811" y="231"/>
                      </a:cubicBezTo>
                      <a:cubicBezTo>
                        <a:pt x="809" y="237"/>
                        <a:pt x="808" y="241"/>
                        <a:pt x="806" y="243"/>
                      </a:cubicBezTo>
                      <a:cubicBezTo>
                        <a:pt x="803" y="245"/>
                        <a:pt x="800" y="245"/>
                        <a:pt x="796" y="245"/>
                      </a:cubicBezTo>
                      <a:cubicBezTo>
                        <a:pt x="793" y="244"/>
                        <a:pt x="792" y="240"/>
                        <a:pt x="788" y="239"/>
                      </a:cubicBezTo>
                      <a:cubicBezTo>
                        <a:pt x="785" y="238"/>
                        <a:pt x="783" y="240"/>
                        <a:pt x="781" y="242"/>
                      </a:cubicBezTo>
                      <a:cubicBezTo>
                        <a:pt x="779" y="243"/>
                        <a:pt x="778" y="244"/>
                        <a:pt x="774" y="246"/>
                      </a:cubicBezTo>
                      <a:cubicBezTo>
                        <a:pt x="770" y="248"/>
                        <a:pt x="769" y="247"/>
                        <a:pt x="763" y="247"/>
                      </a:cubicBezTo>
                      <a:cubicBezTo>
                        <a:pt x="758" y="247"/>
                        <a:pt x="758" y="250"/>
                        <a:pt x="756" y="254"/>
                      </a:cubicBezTo>
                      <a:cubicBezTo>
                        <a:pt x="755" y="259"/>
                        <a:pt x="759" y="261"/>
                        <a:pt x="762" y="263"/>
                      </a:cubicBezTo>
                      <a:cubicBezTo>
                        <a:pt x="764" y="265"/>
                        <a:pt x="765" y="267"/>
                        <a:pt x="767" y="269"/>
                      </a:cubicBezTo>
                      <a:cubicBezTo>
                        <a:pt x="769" y="272"/>
                        <a:pt x="774" y="275"/>
                        <a:pt x="772" y="280"/>
                      </a:cubicBezTo>
                      <a:cubicBezTo>
                        <a:pt x="771" y="284"/>
                        <a:pt x="767" y="281"/>
                        <a:pt x="762" y="280"/>
                      </a:cubicBezTo>
                      <a:cubicBezTo>
                        <a:pt x="758" y="280"/>
                        <a:pt x="758" y="278"/>
                        <a:pt x="757" y="276"/>
                      </a:cubicBezTo>
                      <a:cubicBezTo>
                        <a:pt x="755" y="273"/>
                        <a:pt x="749" y="273"/>
                        <a:pt x="746" y="275"/>
                      </a:cubicBezTo>
                      <a:cubicBezTo>
                        <a:pt x="743" y="277"/>
                        <a:pt x="746" y="279"/>
                        <a:pt x="744" y="285"/>
                      </a:cubicBezTo>
                      <a:cubicBezTo>
                        <a:pt x="743" y="291"/>
                        <a:pt x="745" y="291"/>
                        <a:pt x="745" y="292"/>
                      </a:cubicBezTo>
                      <a:cubicBezTo>
                        <a:pt x="745" y="293"/>
                        <a:pt x="748" y="297"/>
                        <a:pt x="752" y="299"/>
                      </a:cubicBezTo>
                      <a:cubicBezTo>
                        <a:pt x="755" y="301"/>
                        <a:pt x="754" y="303"/>
                        <a:pt x="753" y="306"/>
                      </a:cubicBezTo>
                      <a:cubicBezTo>
                        <a:pt x="753" y="309"/>
                        <a:pt x="747" y="306"/>
                        <a:pt x="743" y="305"/>
                      </a:cubicBezTo>
                      <a:cubicBezTo>
                        <a:pt x="739" y="305"/>
                        <a:pt x="738" y="304"/>
                        <a:pt x="737" y="300"/>
                      </a:cubicBezTo>
                      <a:cubicBezTo>
                        <a:pt x="735" y="297"/>
                        <a:pt x="731" y="296"/>
                        <a:pt x="728" y="295"/>
                      </a:cubicBezTo>
                      <a:cubicBezTo>
                        <a:pt x="725" y="295"/>
                        <a:pt x="724" y="297"/>
                        <a:pt x="722" y="300"/>
                      </a:cubicBezTo>
                      <a:cubicBezTo>
                        <a:pt x="720" y="303"/>
                        <a:pt x="718" y="303"/>
                        <a:pt x="714" y="304"/>
                      </a:cubicBezTo>
                      <a:cubicBezTo>
                        <a:pt x="710" y="306"/>
                        <a:pt x="709" y="308"/>
                        <a:pt x="709" y="313"/>
                      </a:cubicBezTo>
                      <a:cubicBezTo>
                        <a:pt x="710" y="319"/>
                        <a:pt x="709" y="320"/>
                        <a:pt x="709" y="326"/>
                      </a:cubicBezTo>
                      <a:cubicBezTo>
                        <a:pt x="709" y="333"/>
                        <a:pt x="712" y="330"/>
                        <a:pt x="716" y="329"/>
                      </a:cubicBezTo>
                      <a:cubicBezTo>
                        <a:pt x="720" y="328"/>
                        <a:pt x="721" y="325"/>
                        <a:pt x="722" y="323"/>
                      </a:cubicBezTo>
                      <a:cubicBezTo>
                        <a:pt x="724" y="320"/>
                        <a:pt x="726" y="319"/>
                        <a:pt x="728" y="322"/>
                      </a:cubicBezTo>
                      <a:cubicBezTo>
                        <a:pt x="729" y="325"/>
                        <a:pt x="725" y="331"/>
                        <a:pt x="724" y="335"/>
                      </a:cubicBezTo>
                      <a:cubicBezTo>
                        <a:pt x="723" y="339"/>
                        <a:pt x="721" y="341"/>
                        <a:pt x="715" y="344"/>
                      </a:cubicBezTo>
                      <a:cubicBezTo>
                        <a:pt x="710" y="347"/>
                        <a:pt x="709" y="347"/>
                        <a:pt x="708" y="350"/>
                      </a:cubicBezTo>
                      <a:cubicBezTo>
                        <a:pt x="708" y="354"/>
                        <a:pt x="711" y="356"/>
                        <a:pt x="723" y="357"/>
                      </a:cubicBezTo>
                      <a:cubicBezTo>
                        <a:pt x="735" y="358"/>
                        <a:pt x="733" y="357"/>
                        <a:pt x="736" y="358"/>
                      </a:cubicBezTo>
                      <a:cubicBezTo>
                        <a:pt x="738" y="358"/>
                        <a:pt x="736" y="364"/>
                        <a:pt x="732" y="364"/>
                      </a:cubicBezTo>
                      <a:cubicBezTo>
                        <a:pt x="727" y="364"/>
                        <a:pt x="719" y="364"/>
                        <a:pt x="713" y="365"/>
                      </a:cubicBezTo>
                      <a:cubicBezTo>
                        <a:pt x="708" y="366"/>
                        <a:pt x="702" y="365"/>
                        <a:pt x="697" y="365"/>
                      </a:cubicBezTo>
                      <a:cubicBezTo>
                        <a:pt x="693" y="365"/>
                        <a:pt x="693" y="358"/>
                        <a:pt x="691" y="356"/>
                      </a:cubicBezTo>
                      <a:cubicBezTo>
                        <a:pt x="688" y="353"/>
                        <a:pt x="684" y="353"/>
                        <a:pt x="682" y="360"/>
                      </a:cubicBezTo>
                      <a:cubicBezTo>
                        <a:pt x="680" y="367"/>
                        <a:pt x="675" y="361"/>
                        <a:pt x="671" y="358"/>
                      </a:cubicBezTo>
                      <a:cubicBezTo>
                        <a:pt x="667" y="355"/>
                        <a:pt x="669" y="350"/>
                        <a:pt x="668" y="347"/>
                      </a:cubicBezTo>
                      <a:cubicBezTo>
                        <a:pt x="667" y="344"/>
                        <a:pt x="662" y="348"/>
                        <a:pt x="662" y="350"/>
                      </a:cubicBezTo>
                      <a:cubicBezTo>
                        <a:pt x="661" y="352"/>
                        <a:pt x="666" y="359"/>
                        <a:pt x="662" y="362"/>
                      </a:cubicBezTo>
                      <a:cubicBezTo>
                        <a:pt x="659" y="365"/>
                        <a:pt x="653" y="363"/>
                        <a:pt x="651" y="368"/>
                      </a:cubicBezTo>
                      <a:cubicBezTo>
                        <a:pt x="650" y="373"/>
                        <a:pt x="657" y="371"/>
                        <a:pt x="658" y="373"/>
                      </a:cubicBezTo>
                      <a:cubicBezTo>
                        <a:pt x="659" y="375"/>
                        <a:pt x="664" y="383"/>
                        <a:pt x="669" y="386"/>
                      </a:cubicBezTo>
                      <a:cubicBezTo>
                        <a:pt x="674" y="389"/>
                        <a:pt x="674" y="385"/>
                        <a:pt x="677" y="384"/>
                      </a:cubicBezTo>
                      <a:cubicBezTo>
                        <a:pt x="680" y="383"/>
                        <a:pt x="680" y="389"/>
                        <a:pt x="679" y="394"/>
                      </a:cubicBezTo>
                      <a:cubicBezTo>
                        <a:pt x="677" y="399"/>
                        <a:pt x="677" y="399"/>
                        <a:pt x="677" y="403"/>
                      </a:cubicBezTo>
                      <a:cubicBezTo>
                        <a:pt x="678" y="407"/>
                        <a:pt x="683" y="409"/>
                        <a:pt x="683" y="412"/>
                      </a:cubicBezTo>
                      <a:cubicBezTo>
                        <a:pt x="683" y="416"/>
                        <a:pt x="678" y="414"/>
                        <a:pt x="673" y="413"/>
                      </a:cubicBezTo>
                      <a:cubicBezTo>
                        <a:pt x="668" y="412"/>
                        <a:pt x="669" y="408"/>
                        <a:pt x="666" y="404"/>
                      </a:cubicBezTo>
                      <a:cubicBezTo>
                        <a:pt x="662" y="401"/>
                        <a:pt x="661" y="405"/>
                        <a:pt x="660" y="410"/>
                      </a:cubicBezTo>
                      <a:cubicBezTo>
                        <a:pt x="659" y="415"/>
                        <a:pt x="660" y="423"/>
                        <a:pt x="660" y="430"/>
                      </a:cubicBezTo>
                      <a:cubicBezTo>
                        <a:pt x="661" y="438"/>
                        <a:pt x="656" y="438"/>
                        <a:pt x="653" y="435"/>
                      </a:cubicBezTo>
                      <a:cubicBezTo>
                        <a:pt x="650" y="432"/>
                        <a:pt x="647" y="423"/>
                        <a:pt x="644" y="419"/>
                      </a:cubicBezTo>
                      <a:cubicBezTo>
                        <a:pt x="642" y="415"/>
                        <a:pt x="638" y="410"/>
                        <a:pt x="635" y="403"/>
                      </a:cubicBezTo>
                      <a:cubicBezTo>
                        <a:pt x="631" y="396"/>
                        <a:pt x="633" y="395"/>
                        <a:pt x="632" y="389"/>
                      </a:cubicBezTo>
                      <a:cubicBezTo>
                        <a:pt x="631" y="384"/>
                        <a:pt x="626" y="381"/>
                        <a:pt x="623" y="377"/>
                      </a:cubicBezTo>
                      <a:cubicBezTo>
                        <a:pt x="621" y="373"/>
                        <a:pt x="620" y="366"/>
                        <a:pt x="618" y="368"/>
                      </a:cubicBezTo>
                      <a:cubicBezTo>
                        <a:pt x="616" y="371"/>
                        <a:pt x="614" y="379"/>
                        <a:pt x="611" y="384"/>
                      </a:cubicBezTo>
                      <a:cubicBezTo>
                        <a:pt x="607" y="388"/>
                        <a:pt x="604" y="386"/>
                        <a:pt x="598" y="389"/>
                      </a:cubicBezTo>
                      <a:cubicBezTo>
                        <a:pt x="593" y="392"/>
                        <a:pt x="593" y="393"/>
                        <a:pt x="589" y="395"/>
                      </a:cubicBezTo>
                      <a:cubicBezTo>
                        <a:pt x="585" y="397"/>
                        <a:pt x="577" y="403"/>
                        <a:pt x="575" y="410"/>
                      </a:cubicBezTo>
                      <a:cubicBezTo>
                        <a:pt x="573" y="418"/>
                        <a:pt x="571" y="417"/>
                        <a:pt x="570" y="431"/>
                      </a:cubicBezTo>
                      <a:cubicBezTo>
                        <a:pt x="568" y="445"/>
                        <a:pt x="568" y="441"/>
                        <a:pt x="568" y="446"/>
                      </a:cubicBezTo>
                      <a:cubicBezTo>
                        <a:pt x="568" y="450"/>
                        <a:pt x="572" y="457"/>
                        <a:pt x="573" y="460"/>
                      </a:cubicBezTo>
                      <a:cubicBezTo>
                        <a:pt x="575" y="464"/>
                        <a:pt x="582" y="462"/>
                        <a:pt x="583" y="467"/>
                      </a:cubicBezTo>
                      <a:cubicBezTo>
                        <a:pt x="584" y="472"/>
                        <a:pt x="581" y="472"/>
                        <a:pt x="573" y="476"/>
                      </a:cubicBezTo>
                      <a:cubicBezTo>
                        <a:pt x="565" y="480"/>
                        <a:pt x="563" y="484"/>
                        <a:pt x="557" y="489"/>
                      </a:cubicBezTo>
                      <a:cubicBezTo>
                        <a:pt x="550" y="494"/>
                        <a:pt x="544" y="502"/>
                        <a:pt x="539" y="509"/>
                      </a:cubicBezTo>
                      <a:cubicBezTo>
                        <a:pt x="534" y="516"/>
                        <a:pt x="524" y="528"/>
                        <a:pt x="521" y="540"/>
                      </a:cubicBezTo>
                      <a:cubicBezTo>
                        <a:pt x="517" y="553"/>
                        <a:pt x="503" y="557"/>
                        <a:pt x="494" y="565"/>
                      </a:cubicBezTo>
                      <a:cubicBezTo>
                        <a:pt x="486" y="572"/>
                        <a:pt x="482" y="575"/>
                        <a:pt x="476" y="578"/>
                      </a:cubicBezTo>
                      <a:cubicBezTo>
                        <a:pt x="469" y="580"/>
                        <a:pt x="461" y="583"/>
                        <a:pt x="448" y="585"/>
                      </a:cubicBezTo>
                      <a:cubicBezTo>
                        <a:pt x="435" y="586"/>
                        <a:pt x="436" y="590"/>
                        <a:pt x="423" y="594"/>
                      </a:cubicBezTo>
                      <a:cubicBezTo>
                        <a:pt x="411" y="598"/>
                        <a:pt x="408" y="596"/>
                        <a:pt x="398" y="594"/>
                      </a:cubicBezTo>
                      <a:cubicBezTo>
                        <a:pt x="387" y="592"/>
                        <a:pt x="387" y="594"/>
                        <a:pt x="377" y="599"/>
                      </a:cubicBezTo>
                      <a:cubicBezTo>
                        <a:pt x="367" y="604"/>
                        <a:pt x="365" y="609"/>
                        <a:pt x="345" y="612"/>
                      </a:cubicBezTo>
                      <a:cubicBezTo>
                        <a:pt x="324" y="615"/>
                        <a:pt x="325" y="614"/>
                        <a:pt x="320" y="618"/>
                      </a:cubicBezTo>
                      <a:cubicBezTo>
                        <a:pt x="316" y="621"/>
                        <a:pt x="293" y="636"/>
                        <a:pt x="283" y="637"/>
                      </a:cubicBezTo>
                      <a:cubicBezTo>
                        <a:pt x="274" y="638"/>
                        <a:pt x="271" y="636"/>
                        <a:pt x="262" y="635"/>
                      </a:cubicBezTo>
                      <a:cubicBezTo>
                        <a:pt x="253" y="633"/>
                        <a:pt x="249" y="636"/>
                        <a:pt x="241" y="635"/>
                      </a:cubicBezTo>
                      <a:cubicBezTo>
                        <a:pt x="234" y="635"/>
                        <a:pt x="238" y="632"/>
                        <a:pt x="232" y="631"/>
                      </a:cubicBezTo>
                      <a:cubicBezTo>
                        <a:pt x="225" y="629"/>
                        <a:pt x="222" y="636"/>
                        <a:pt x="212" y="644"/>
                      </a:cubicBezTo>
                      <a:cubicBezTo>
                        <a:pt x="201" y="652"/>
                        <a:pt x="191" y="665"/>
                        <a:pt x="175" y="672"/>
                      </a:cubicBezTo>
                      <a:cubicBezTo>
                        <a:pt x="159" y="679"/>
                        <a:pt x="152" y="687"/>
                        <a:pt x="137" y="694"/>
                      </a:cubicBezTo>
                      <a:cubicBezTo>
                        <a:pt x="122" y="701"/>
                        <a:pt x="113" y="708"/>
                        <a:pt x="106" y="711"/>
                      </a:cubicBezTo>
                      <a:cubicBezTo>
                        <a:pt x="99" y="714"/>
                        <a:pt x="100" y="718"/>
                        <a:pt x="97" y="726"/>
                      </a:cubicBezTo>
                      <a:cubicBezTo>
                        <a:pt x="94" y="734"/>
                        <a:pt x="91" y="738"/>
                        <a:pt x="89" y="746"/>
                      </a:cubicBezTo>
                      <a:cubicBezTo>
                        <a:pt x="87" y="754"/>
                        <a:pt x="81" y="755"/>
                        <a:pt x="76" y="755"/>
                      </a:cubicBezTo>
                      <a:cubicBezTo>
                        <a:pt x="71" y="755"/>
                        <a:pt x="71" y="751"/>
                        <a:pt x="69" y="745"/>
                      </a:cubicBezTo>
                      <a:cubicBezTo>
                        <a:pt x="68" y="739"/>
                        <a:pt x="67" y="740"/>
                        <a:pt x="67" y="734"/>
                      </a:cubicBezTo>
                      <a:cubicBezTo>
                        <a:pt x="67" y="727"/>
                        <a:pt x="66" y="718"/>
                        <a:pt x="62" y="723"/>
                      </a:cubicBezTo>
                      <a:cubicBezTo>
                        <a:pt x="59" y="727"/>
                        <a:pt x="57" y="733"/>
                        <a:pt x="53" y="741"/>
                      </a:cubicBezTo>
                      <a:cubicBezTo>
                        <a:pt x="48" y="748"/>
                        <a:pt x="45" y="751"/>
                        <a:pt x="45" y="755"/>
                      </a:cubicBezTo>
                      <a:cubicBezTo>
                        <a:pt x="46" y="760"/>
                        <a:pt x="51" y="767"/>
                        <a:pt x="53" y="775"/>
                      </a:cubicBezTo>
                      <a:cubicBezTo>
                        <a:pt x="54" y="783"/>
                        <a:pt x="51" y="781"/>
                        <a:pt x="51" y="790"/>
                      </a:cubicBezTo>
                      <a:cubicBezTo>
                        <a:pt x="51" y="798"/>
                        <a:pt x="54" y="806"/>
                        <a:pt x="53" y="811"/>
                      </a:cubicBezTo>
                      <a:cubicBezTo>
                        <a:pt x="52" y="816"/>
                        <a:pt x="47" y="821"/>
                        <a:pt x="43" y="823"/>
                      </a:cubicBezTo>
                      <a:cubicBezTo>
                        <a:pt x="39" y="826"/>
                        <a:pt x="34" y="838"/>
                        <a:pt x="29" y="848"/>
                      </a:cubicBezTo>
                      <a:cubicBezTo>
                        <a:pt x="25" y="857"/>
                        <a:pt x="27" y="860"/>
                        <a:pt x="27" y="870"/>
                      </a:cubicBezTo>
                      <a:cubicBezTo>
                        <a:pt x="28" y="881"/>
                        <a:pt x="37" y="890"/>
                        <a:pt x="38" y="896"/>
                      </a:cubicBezTo>
                      <a:cubicBezTo>
                        <a:pt x="39" y="903"/>
                        <a:pt x="45" y="915"/>
                        <a:pt x="47" y="920"/>
                      </a:cubicBezTo>
                      <a:cubicBezTo>
                        <a:pt x="50" y="925"/>
                        <a:pt x="58" y="941"/>
                        <a:pt x="62" y="951"/>
                      </a:cubicBezTo>
                      <a:cubicBezTo>
                        <a:pt x="66" y="960"/>
                        <a:pt x="74" y="966"/>
                        <a:pt x="77" y="970"/>
                      </a:cubicBezTo>
                      <a:cubicBezTo>
                        <a:pt x="81" y="974"/>
                        <a:pt x="79" y="976"/>
                        <a:pt x="76" y="982"/>
                      </a:cubicBezTo>
                      <a:cubicBezTo>
                        <a:pt x="74" y="987"/>
                        <a:pt x="75" y="990"/>
                        <a:pt x="76" y="996"/>
                      </a:cubicBezTo>
                      <a:cubicBezTo>
                        <a:pt x="77" y="1003"/>
                        <a:pt x="71" y="1004"/>
                        <a:pt x="68" y="1006"/>
                      </a:cubicBezTo>
                      <a:cubicBezTo>
                        <a:pt x="64" y="1007"/>
                        <a:pt x="61" y="1002"/>
                        <a:pt x="59" y="999"/>
                      </a:cubicBezTo>
                      <a:cubicBezTo>
                        <a:pt x="56" y="996"/>
                        <a:pt x="59" y="990"/>
                        <a:pt x="57" y="986"/>
                      </a:cubicBezTo>
                      <a:cubicBezTo>
                        <a:pt x="56" y="982"/>
                        <a:pt x="49" y="983"/>
                        <a:pt x="47" y="986"/>
                      </a:cubicBezTo>
                      <a:cubicBezTo>
                        <a:pt x="44" y="988"/>
                        <a:pt x="45" y="994"/>
                        <a:pt x="47" y="996"/>
                      </a:cubicBezTo>
                      <a:cubicBezTo>
                        <a:pt x="49" y="998"/>
                        <a:pt x="54" y="1000"/>
                        <a:pt x="55" y="1005"/>
                      </a:cubicBezTo>
                      <a:cubicBezTo>
                        <a:pt x="56" y="1009"/>
                        <a:pt x="55" y="1019"/>
                        <a:pt x="53" y="1024"/>
                      </a:cubicBezTo>
                      <a:cubicBezTo>
                        <a:pt x="51" y="1028"/>
                        <a:pt x="47" y="1026"/>
                        <a:pt x="43" y="1024"/>
                      </a:cubicBezTo>
                      <a:cubicBezTo>
                        <a:pt x="39" y="1023"/>
                        <a:pt x="41" y="1019"/>
                        <a:pt x="39" y="1015"/>
                      </a:cubicBezTo>
                      <a:cubicBezTo>
                        <a:pt x="38" y="1011"/>
                        <a:pt x="36" y="1013"/>
                        <a:pt x="31" y="1007"/>
                      </a:cubicBezTo>
                      <a:cubicBezTo>
                        <a:pt x="25" y="1001"/>
                        <a:pt x="29" y="1000"/>
                        <a:pt x="29" y="995"/>
                      </a:cubicBezTo>
                      <a:cubicBezTo>
                        <a:pt x="29" y="991"/>
                        <a:pt x="25" y="987"/>
                        <a:pt x="21" y="986"/>
                      </a:cubicBezTo>
                      <a:cubicBezTo>
                        <a:pt x="18" y="985"/>
                        <a:pt x="15" y="984"/>
                        <a:pt x="12" y="978"/>
                      </a:cubicBezTo>
                      <a:cubicBezTo>
                        <a:pt x="10" y="973"/>
                        <a:pt x="7" y="964"/>
                        <a:pt x="7" y="959"/>
                      </a:cubicBezTo>
                      <a:cubicBezTo>
                        <a:pt x="6" y="954"/>
                        <a:pt x="3" y="951"/>
                        <a:pt x="2" y="956"/>
                      </a:cubicBezTo>
                      <a:cubicBezTo>
                        <a:pt x="0" y="962"/>
                        <a:pt x="4" y="969"/>
                        <a:pt x="5" y="975"/>
                      </a:cubicBezTo>
                      <a:cubicBezTo>
                        <a:pt x="7" y="980"/>
                        <a:pt x="12" y="983"/>
                        <a:pt x="12" y="988"/>
                      </a:cubicBezTo>
                      <a:cubicBezTo>
                        <a:pt x="12" y="993"/>
                        <a:pt x="13" y="996"/>
                        <a:pt x="15" y="1002"/>
                      </a:cubicBezTo>
                      <a:cubicBezTo>
                        <a:pt x="18" y="1008"/>
                        <a:pt x="22" y="1015"/>
                        <a:pt x="42" y="1037"/>
                      </a:cubicBezTo>
                      <a:cubicBezTo>
                        <a:pt x="62" y="1059"/>
                        <a:pt x="55" y="1054"/>
                        <a:pt x="61" y="1064"/>
                      </a:cubicBezTo>
                      <a:cubicBezTo>
                        <a:pt x="66" y="1074"/>
                        <a:pt x="66" y="1089"/>
                        <a:pt x="66" y="1094"/>
                      </a:cubicBezTo>
                      <a:cubicBezTo>
                        <a:pt x="66" y="1099"/>
                        <a:pt x="71" y="1119"/>
                        <a:pt x="76" y="1127"/>
                      </a:cubicBezTo>
                      <a:cubicBezTo>
                        <a:pt x="82" y="1135"/>
                        <a:pt x="92" y="1148"/>
                        <a:pt x="101" y="1159"/>
                      </a:cubicBezTo>
                      <a:cubicBezTo>
                        <a:pt x="110" y="1171"/>
                        <a:pt x="116" y="1187"/>
                        <a:pt x="117" y="1199"/>
                      </a:cubicBezTo>
                      <a:cubicBezTo>
                        <a:pt x="118" y="1212"/>
                        <a:pt x="122" y="1234"/>
                        <a:pt x="122" y="1244"/>
                      </a:cubicBezTo>
                      <a:cubicBezTo>
                        <a:pt x="122" y="1255"/>
                        <a:pt x="124" y="1258"/>
                        <a:pt x="126" y="1268"/>
                      </a:cubicBezTo>
                      <a:cubicBezTo>
                        <a:pt x="129" y="1278"/>
                        <a:pt x="137" y="1303"/>
                        <a:pt x="145" y="1317"/>
                      </a:cubicBezTo>
                      <a:cubicBezTo>
                        <a:pt x="154" y="1332"/>
                        <a:pt x="154" y="1334"/>
                        <a:pt x="156" y="1345"/>
                      </a:cubicBezTo>
                      <a:cubicBezTo>
                        <a:pt x="159" y="1356"/>
                        <a:pt x="163" y="1365"/>
                        <a:pt x="167" y="1372"/>
                      </a:cubicBezTo>
                      <a:cubicBezTo>
                        <a:pt x="170" y="1379"/>
                        <a:pt x="168" y="1384"/>
                        <a:pt x="168" y="1391"/>
                      </a:cubicBezTo>
                      <a:cubicBezTo>
                        <a:pt x="169" y="1398"/>
                        <a:pt x="173" y="1405"/>
                        <a:pt x="174" y="1414"/>
                      </a:cubicBezTo>
                      <a:cubicBezTo>
                        <a:pt x="174" y="1422"/>
                        <a:pt x="173" y="1429"/>
                        <a:pt x="170" y="1431"/>
                      </a:cubicBezTo>
                      <a:cubicBezTo>
                        <a:pt x="167" y="1433"/>
                        <a:pt x="165" y="1429"/>
                        <a:pt x="164" y="1432"/>
                      </a:cubicBezTo>
                      <a:cubicBezTo>
                        <a:pt x="162" y="1435"/>
                        <a:pt x="166" y="1439"/>
                        <a:pt x="167" y="1447"/>
                      </a:cubicBezTo>
                      <a:cubicBezTo>
                        <a:pt x="168" y="1454"/>
                        <a:pt x="164" y="1456"/>
                        <a:pt x="167" y="1464"/>
                      </a:cubicBezTo>
                      <a:cubicBezTo>
                        <a:pt x="169" y="1472"/>
                        <a:pt x="169" y="1476"/>
                        <a:pt x="166" y="1479"/>
                      </a:cubicBezTo>
                      <a:cubicBezTo>
                        <a:pt x="163" y="1482"/>
                        <a:pt x="156" y="1485"/>
                        <a:pt x="152" y="1489"/>
                      </a:cubicBezTo>
                      <a:cubicBezTo>
                        <a:pt x="147" y="1492"/>
                        <a:pt x="139" y="1496"/>
                        <a:pt x="136" y="1496"/>
                      </a:cubicBezTo>
                      <a:cubicBezTo>
                        <a:pt x="133" y="1496"/>
                        <a:pt x="127" y="1494"/>
                        <a:pt x="126" y="1496"/>
                      </a:cubicBezTo>
                      <a:cubicBezTo>
                        <a:pt x="125" y="1498"/>
                        <a:pt x="124" y="1506"/>
                        <a:pt x="121" y="1511"/>
                      </a:cubicBezTo>
                      <a:cubicBezTo>
                        <a:pt x="118" y="1515"/>
                        <a:pt x="123" y="1516"/>
                        <a:pt x="125" y="1521"/>
                      </a:cubicBezTo>
                      <a:cubicBezTo>
                        <a:pt x="127" y="1525"/>
                        <a:pt x="126" y="1530"/>
                        <a:pt x="127" y="1537"/>
                      </a:cubicBezTo>
                      <a:cubicBezTo>
                        <a:pt x="127" y="1545"/>
                        <a:pt x="130" y="1545"/>
                        <a:pt x="141" y="1550"/>
                      </a:cubicBezTo>
                      <a:cubicBezTo>
                        <a:pt x="153" y="1556"/>
                        <a:pt x="166" y="1561"/>
                        <a:pt x="173" y="1567"/>
                      </a:cubicBezTo>
                      <a:cubicBezTo>
                        <a:pt x="180" y="1573"/>
                        <a:pt x="185" y="1581"/>
                        <a:pt x="194" y="1588"/>
                      </a:cubicBezTo>
                      <a:cubicBezTo>
                        <a:pt x="203" y="1596"/>
                        <a:pt x="216" y="1598"/>
                        <a:pt x="222" y="1598"/>
                      </a:cubicBezTo>
                      <a:cubicBezTo>
                        <a:pt x="229" y="1598"/>
                        <a:pt x="243" y="1594"/>
                        <a:pt x="251" y="1594"/>
                      </a:cubicBezTo>
                      <a:cubicBezTo>
                        <a:pt x="260" y="1594"/>
                        <a:pt x="278" y="1597"/>
                        <a:pt x="288" y="1599"/>
                      </a:cubicBezTo>
                      <a:cubicBezTo>
                        <a:pt x="298" y="1601"/>
                        <a:pt x="306" y="1601"/>
                        <a:pt x="315" y="1599"/>
                      </a:cubicBezTo>
                      <a:cubicBezTo>
                        <a:pt x="323" y="1597"/>
                        <a:pt x="334" y="1590"/>
                        <a:pt x="345" y="1579"/>
                      </a:cubicBezTo>
                      <a:cubicBezTo>
                        <a:pt x="355" y="1569"/>
                        <a:pt x="358" y="1568"/>
                        <a:pt x="363" y="1563"/>
                      </a:cubicBezTo>
                      <a:cubicBezTo>
                        <a:pt x="369" y="1559"/>
                        <a:pt x="382" y="1558"/>
                        <a:pt x="384" y="1559"/>
                      </a:cubicBezTo>
                      <a:cubicBezTo>
                        <a:pt x="387" y="1560"/>
                        <a:pt x="397" y="1556"/>
                        <a:pt x="402" y="1551"/>
                      </a:cubicBezTo>
                      <a:cubicBezTo>
                        <a:pt x="406" y="1546"/>
                        <a:pt x="407" y="1534"/>
                        <a:pt x="417" y="1528"/>
                      </a:cubicBezTo>
                      <a:cubicBezTo>
                        <a:pt x="427" y="1522"/>
                        <a:pt x="433" y="1526"/>
                        <a:pt x="443" y="1527"/>
                      </a:cubicBezTo>
                      <a:cubicBezTo>
                        <a:pt x="453" y="1527"/>
                        <a:pt x="461" y="1524"/>
                        <a:pt x="469" y="1521"/>
                      </a:cubicBezTo>
                      <a:cubicBezTo>
                        <a:pt x="476" y="1519"/>
                        <a:pt x="486" y="1516"/>
                        <a:pt x="492" y="1516"/>
                      </a:cubicBezTo>
                      <a:cubicBezTo>
                        <a:pt x="499" y="1516"/>
                        <a:pt x="511" y="1519"/>
                        <a:pt x="517" y="1517"/>
                      </a:cubicBezTo>
                      <a:cubicBezTo>
                        <a:pt x="522" y="1514"/>
                        <a:pt x="552" y="1513"/>
                        <a:pt x="560" y="1514"/>
                      </a:cubicBezTo>
                      <a:cubicBezTo>
                        <a:pt x="567" y="1516"/>
                        <a:pt x="562" y="1523"/>
                        <a:pt x="566" y="1526"/>
                      </a:cubicBezTo>
                      <a:cubicBezTo>
                        <a:pt x="570" y="1529"/>
                        <a:pt x="577" y="1527"/>
                        <a:pt x="584" y="1523"/>
                      </a:cubicBezTo>
                      <a:cubicBezTo>
                        <a:pt x="591" y="1520"/>
                        <a:pt x="613" y="1515"/>
                        <a:pt x="619" y="1515"/>
                      </a:cubicBezTo>
                      <a:cubicBezTo>
                        <a:pt x="625" y="1515"/>
                        <a:pt x="626" y="1522"/>
                        <a:pt x="631" y="1524"/>
                      </a:cubicBezTo>
                      <a:cubicBezTo>
                        <a:pt x="637" y="1526"/>
                        <a:pt x="653" y="1521"/>
                        <a:pt x="656" y="1513"/>
                      </a:cubicBezTo>
                      <a:cubicBezTo>
                        <a:pt x="659" y="1506"/>
                        <a:pt x="672" y="1498"/>
                        <a:pt x="675" y="1494"/>
                      </a:cubicBezTo>
                      <a:cubicBezTo>
                        <a:pt x="678" y="1489"/>
                        <a:pt x="686" y="1476"/>
                        <a:pt x="689" y="1466"/>
                      </a:cubicBezTo>
                      <a:cubicBezTo>
                        <a:pt x="692" y="1456"/>
                        <a:pt x="703" y="1453"/>
                        <a:pt x="712" y="1449"/>
                      </a:cubicBezTo>
                      <a:cubicBezTo>
                        <a:pt x="721" y="1446"/>
                        <a:pt x="742" y="1440"/>
                        <a:pt x="753" y="1433"/>
                      </a:cubicBezTo>
                      <a:cubicBezTo>
                        <a:pt x="765" y="1426"/>
                        <a:pt x="777" y="1423"/>
                        <a:pt x="791" y="1413"/>
                      </a:cubicBezTo>
                      <a:cubicBezTo>
                        <a:pt x="805" y="1403"/>
                        <a:pt x="811" y="1406"/>
                        <a:pt x="816" y="1406"/>
                      </a:cubicBezTo>
                      <a:cubicBezTo>
                        <a:pt x="821" y="1406"/>
                        <a:pt x="850" y="1408"/>
                        <a:pt x="863" y="1408"/>
                      </a:cubicBezTo>
                      <a:cubicBezTo>
                        <a:pt x="875" y="1409"/>
                        <a:pt x="897" y="1409"/>
                        <a:pt x="906" y="1407"/>
                      </a:cubicBezTo>
                      <a:cubicBezTo>
                        <a:pt x="915" y="1404"/>
                        <a:pt x="928" y="1395"/>
                        <a:pt x="938" y="1389"/>
                      </a:cubicBezTo>
                      <a:cubicBezTo>
                        <a:pt x="948" y="1382"/>
                        <a:pt x="973" y="1378"/>
                        <a:pt x="978" y="1375"/>
                      </a:cubicBezTo>
                      <a:cubicBezTo>
                        <a:pt x="984" y="1371"/>
                        <a:pt x="994" y="1369"/>
                        <a:pt x="1002" y="1367"/>
                      </a:cubicBezTo>
                      <a:cubicBezTo>
                        <a:pt x="1010" y="1365"/>
                        <a:pt x="1029" y="1367"/>
                        <a:pt x="1038" y="1365"/>
                      </a:cubicBezTo>
                      <a:cubicBezTo>
                        <a:pt x="1048" y="1363"/>
                        <a:pt x="1059" y="1365"/>
                        <a:pt x="1067" y="1365"/>
                      </a:cubicBezTo>
                      <a:cubicBezTo>
                        <a:pt x="1075" y="1365"/>
                        <a:pt x="1095" y="1365"/>
                        <a:pt x="1106" y="1361"/>
                      </a:cubicBezTo>
                      <a:cubicBezTo>
                        <a:pt x="1117" y="1357"/>
                        <a:pt x="1114" y="1359"/>
                        <a:pt x="1118" y="1355"/>
                      </a:cubicBezTo>
                      <a:cubicBezTo>
                        <a:pt x="1121" y="1351"/>
                        <a:pt x="1129" y="1351"/>
                        <a:pt x="1130" y="1353"/>
                      </a:cubicBezTo>
                      <a:cubicBezTo>
                        <a:pt x="1131" y="1355"/>
                        <a:pt x="1147" y="1366"/>
                        <a:pt x="1162" y="1371"/>
                      </a:cubicBezTo>
                      <a:cubicBezTo>
                        <a:pt x="1177" y="1377"/>
                        <a:pt x="1171" y="1380"/>
                        <a:pt x="1179" y="1385"/>
                      </a:cubicBezTo>
                      <a:cubicBezTo>
                        <a:pt x="1187" y="1391"/>
                        <a:pt x="1190" y="1388"/>
                        <a:pt x="1202" y="1385"/>
                      </a:cubicBezTo>
                      <a:cubicBezTo>
                        <a:pt x="1215" y="1382"/>
                        <a:pt x="1222" y="1384"/>
                        <a:pt x="1231" y="1386"/>
                      </a:cubicBezTo>
                      <a:cubicBezTo>
                        <a:pt x="1241" y="1389"/>
                        <a:pt x="1251" y="1395"/>
                        <a:pt x="1256" y="1398"/>
                      </a:cubicBezTo>
                      <a:cubicBezTo>
                        <a:pt x="1261" y="1400"/>
                        <a:pt x="1264" y="1399"/>
                        <a:pt x="1271" y="1395"/>
                      </a:cubicBezTo>
                      <a:cubicBezTo>
                        <a:pt x="1277" y="1390"/>
                        <a:pt x="1283" y="1394"/>
                        <a:pt x="1283" y="1399"/>
                      </a:cubicBezTo>
                      <a:cubicBezTo>
                        <a:pt x="1284" y="1404"/>
                        <a:pt x="1285" y="1405"/>
                        <a:pt x="1289" y="1407"/>
                      </a:cubicBezTo>
                      <a:cubicBezTo>
                        <a:pt x="1294" y="1409"/>
                        <a:pt x="1292" y="1409"/>
                        <a:pt x="1291" y="1415"/>
                      </a:cubicBezTo>
                      <a:cubicBezTo>
                        <a:pt x="1291" y="1421"/>
                        <a:pt x="1295" y="1421"/>
                        <a:pt x="1302" y="1423"/>
                      </a:cubicBezTo>
                      <a:cubicBezTo>
                        <a:pt x="1309" y="1425"/>
                        <a:pt x="1312" y="1423"/>
                        <a:pt x="1315" y="1429"/>
                      </a:cubicBezTo>
                      <a:cubicBezTo>
                        <a:pt x="1317" y="1434"/>
                        <a:pt x="1315" y="1438"/>
                        <a:pt x="1313" y="1438"/>
                      </a:cubicBezTo>
                      <a:cubicBezTo>
                        <a:pt x="1310" y="1439"/>
                        <a:pt x="1307" y="1442"/>
                        <a:pt x="1307" y="1447"/>
                      </a:cubicBezTo>
                      <a:cubicBezTo>
                        <a:pt x="1307" y="1453"/>
                        <a:pt x="1313" y="1457"/>
                        <a:pt x="1317" y="1463"/>
                      </a:cubicBezTo>
                      <a:cubicBezTo>
                        <a:pt x="1322" y="1469"/>
                        <a:pt x="1323" y="1469"/>
                        <a:pt x="1328" y="1470"/>
                      </a:cubicBezTo>
                      <a:cubicBezTo>
                        <a:pt x="1332" y="1471"/>
                        <a:pt x="1341" y="1470"/>
                        <a:pt x="1341" y="1472"/>
                      </a:cubicBezTo>
                      <a:cubicBezTo>
                        <a:pt x="1342" y="1474"/>
                        <a:pt x="1346" y="1478"/>
                        <a:pt x="1348" y="1483"/>
                      </a:cubicBezTo>
                      <a:cubicBezTo>
                        <a:pt x="1351" y="1488"/>
                        <a:pt x="1349" y="1487"/>
                        <a:pt x="1349" y="1492"/>
                      </a:cubicBezTo>
                      <a:cubicBezTo>
                        <a:pt x="1349" y="1496"/>
                        <a:pt x="1355" y="1504"/>
                        <a:pt x="1358" y="1507"/>
                      </a:cubicBezTo>
                      <a:cubicBezTo>
                        <a:pt x="1361" y="1511"/>
                        <a:pt x="1369" y="1511"/>
                        <a:pt x="1374" y="1517"/>
                      </a:cubicBezTo>
                      <a:cubicBezTo>
                        <a:pt x="1379" y="1523"/>
                        <a:pt x="1377" y="1522"/>
                        <a:pt x="1379" y="1531"/>
                      </a:cubicBezTo>
                      <a:cubicBezTo>
                        <a:pt x="1382" y="1540"/>
                        <a:pt x="1382" y="1539"/>
                        <a:pt x="1383" y="1544"/>
                      </a:cubicBezTo>
                      <a:cubicBezTo>
                        <a:pt x="1383" y="1550"/>
                        <a:pt x="1386" y="1550"/>
                        <a:pt x="1388" y="1553"/>
                      </a:cubicBezTo>
                      <a:cubicBezTo>
                        <a:pt x="1391" y="1556"/>
                        <a:pt x="1394" y="1565"/>
                        <a:pt x="1393" y="1571"/>
                      </a:cubicBezTo>
                      <a:cubicBezTo>
                        <a:pt x="1391" y="1576"/>
                        <a:pt x="1394" y="1577"/>
                        <a:pt x="1396" y="1580"/>
                      </a:cubicBezTo>
                      <a:cubicBezTo>
                        <a:pt x="1398" y="1584"/>
                        <a:pt x="1402" y="1586"/>
                        <a:pt x="1406" y="1587"/>
                      </a:cubicBezTo>
                      <a:cubicBezTo>
                        <a:pt x="1409" y="1587"/>
                        <a:pt x="1415" y="1586"/>
                        <a:pt x="1420" y="1589"/>
                      </a:cubicBezTo>
                      <a:cubicBezTo>
                        <a:pt x="1425" y="1591"/>
                        <a:pt x="1426" y="1593"/>
                        <a:pt x="1428" y="1592"/>
                      </a:cubicBezTo>
                      <a:cubicBezTo>
                        <a:pt x="1429" y="1591"/>
                        <a:pt x="1426" y="1587"/>
                        <a:pt x="1423" y="1583"/>
                      </a:cubicBezTo>
                      <a:cubicBezTo>
                        <a:pt x="1421" y="1580"/>
                        <a:pt x="1422" y="1576"/>
                        <a:pt x="1423" y="1570"/>
                      </a:cubicBezTo>
                      <a:cubicBezTo>
                        <a:pt x="1423" y="1563"/>
                        <a:pt x="1428" y="1557"/>
                        <a:pt x="1430" y="1551"/>
                      </a:cubicBezTo>
                      <a:cubicBezTo>
                        <a:pt x="1431" y="1545"/>
                        <a:pt x="1443" y="1537"/>
                        <a:pt x="1448" y="1530"/>
                      </a:cubicBezTo>
                      <a:cubicBezTo>
                        <a:pt x="1453" y="1524"/>
                        <a:pt x="1470" y="1515"/>
                        <a:pt x="1477" y="1510"/>
                      </a:cubicBezTo>
                      <a:cubicBezTo>
                        <a:pt x="1484" y="1505"/>
                        <a:pt x="1494" y="1503"/>
                        <a:pt x="1498" y="1502"/>
                      </a:cubicBezTo>
                      <a:cubicBezTo>
                        <a:pt x="1503" y="1500"/>
                        <a:pt x="1507" y="1486"/>
                        <a:pt x="1508" y="1481"/>
                      </a:cubicBezTo>
                      <a:cubicBezTo>
                        <a:pt x="1510" y="1476"/>
                        <a:pt x="1512" y="1474"/>
                        <a:pt x="1515" y="1469"/>
                      </a:cubicBezTo>
                      <a:cubicBezTo>
                        <a:pt x="1518" y="1463"/>
                        <a:pt x="1524" y="1456"/>
                        <a:pt x="1529" y="1450"/>
                      </a:cubicBezTo>
                      <a:cubicBezTo>
                        <a:pt x="1533" y="1443"/>
                        <a:pt x="1533" y="1442"/>
                        <a:pt x="1533" y="1436"/>
                      </a:cubicBezTo>
                      <a:cubicBezTo>
                        <a:pt x="1533" y="1430"/>
                        <a:pt x="1532" y="1426"/>
                        <a:pt x="1534" y="1422"/>
                      </a:cubicBezTo>
                      <a:cubicBezTo>
                        <a:pt x="1535" y="1418"/>
                        <a:pt x="1541" y="1433"/>
                        <a:pt x="1541" y="1438"/>
                      </a:cubicBezTo>
                      <a:cubicBezTo>
                        <a:pt x="1541" y="1443"/>
                        <a:pt x="1544" y="1445"/>
                        <a:pt x="1549" y="1451"/>
                      </a:cubicBezTo>
                      <a:cubicBezTo>
                        <a:pt x="1554" y="1458"/>
                        <a:pt x="1551" y="1459"/>
                        <a:pt x="1548" y="1463"/>
                      </a:cubicBezTo>
                      <a:cubicBezTo>
                        <a:pt x="1546" y="1466"/>
                        <a:pt x="1543" y="1468"/>
                        <a:pt x="1540" y="1472"/>
                      </a:cubicBezTo>
                      <a:cubicBezTo>
                        <a:pt x="1538" y="1476"/>
                        <a:pt x="1541" y="1477"/>
                        <a:pt x="1543" y="1482"/>
                      </a:cubicBezTo>
                      <a:cubicBezTo>
                        <a:pt x="1544" y="1487"/>
                        <a:pt x="1542" y="1490"/>
                        <a:pt x="1540" y="1497"/>
                      </a:cubicBezTo>
                      <a:cubicBezTo>
                        <a:pt x="1538" y="1504"/>
                        <a:pt x="1532" y="1513"/>
                        <a:pt x="1527" y="1518"/>
                      </a:cubicBezTo>
                      <a:cubicBezTo>
                        <a:pt x="1522" y="1524"/>
                        <a:pt x="1521" y="1535"/>
                        <a:pt x="1519" y="1541"/>
                      </a:cubicBezTo>
                      <a:cubicBezTo>
                        <a:pt x="1517" y="1547"/>
                        <a:pt x="1518" y="1554"/>
                        <a:pt x="1518" y="1559"/>
                      </a:cubicBezTo>
                      <a:cubicBezTo>
                        <a:pt x="1518" y="1563"/>
                        <a:pt x="1518" y="1572"/>
                        <a:pt x="1518" y="1578"/>
                      </a:cubicBezTo>
                      <a:cubicBezTo>
                        <a:pt x="1518" y="1584"/>
                        <a:pt x="1514" y="1587"/>
                        <a:pt x="1509" y="1590"/>
                      </a:cubicBezTo>
                      <a:cubicBezTo>
                        <a:pt x="1504" y="1594"/>
                        <a:pt x="1499" y="1591"/>
                        <a:pt x="1493" y="1593"/>
                      </a:cubicBezTo>
                      <a:cubicBezTo>
                        <a:pt x="1486" y="1594"/>
                        <a:pt x="1485" y="1598"/>
                        <a:pt x="1482" y="1607"/>
                      </a:cubicBezTo>
                      <a:cubicBezTo>
                        <a:pt x="1479" y="1615"/>
                        <a:pt x="1482" y="1608"/>
                        <a:pt x="1494" y="1610"/>
                      </a:cubicBezTo>
                      <a:cubicBezTo>
                        <a:pt x="1505" y="1611"/>
                        <a:pt x="1503" y="1606"/>
                        <a:pt x="1510" y="1603"/>
                      </a:cubicBezTo>
                      <a:cubicBezTo>
                        <a:pt x="1517" y="1599"/>
                        <a:pt x="1519" y="1602"/>
                        <a:pt x="1524" y="1603"/>
                      </a:cubicBezTo>
                      <a:cubicBezTo>
                        <a:pt x="1529" y="1604"/>
                        <a:pt x="1531" y="1600"/>
                        <a:pt x="1533" y="1595"/>
                      </a:cubicBezTo>
                      <a:cubicBezTo>
                        <a:pt x="1536" y="1589"/>
                        <a:pt x="1537" y="1585"/>
                        <a:pt x="1538" y="1572"/>
                      </a:cubicBezTo>
                      <a:cubicBezTo>
                        <a:pt x="1539" y="1559"/>
                        <a:pt x="1543" y="1560"/>
                        <a:pt x="1547" y="1551"/>
                      </a:cubicBezTo>
                      <a:cubicBezTo>
                        <a:pt x="1551" y="1542"/>
                        <a:pt x="1553" y="1538"/>
                        <a:pt x="1559" y="1540"/>
                      </a:cubicBezTo>
                      <a:cubicBezTo>
                        <a:pt x="1564" y="1542"/>
                        <a:pt x="1566" y="1550"/>
                        <a:pt x="1567" y="1556"/>
                      </a:cubicBezTo>
                      <a:cubicBezTo>
                        <a:pt x="1568" y="1562"/>
                        <a:pt x="1571" y="1566"/>
                        <a:pt x="1573" y="1568"/>
                      </a:cubicBezTo>
                      <a:cubicBezTo>
                        <a:pt x="1575" y="1571"/>
                        <a:pt x="1584" y="1579"/>
                        <a:pt x="1583" y="1584"/>
                      </a:cubicBezTo>
                      <a:cubicBezTo>
                        <a:pt x="1581" y="1589"/>
                        <a:pt x="1583" y="1591"/>
                        <a:pt x="1583" y="1599"/>
                      </a:cubicBezTo>
                      <a:cubicBezTo>
                        <a:pt x="1583" y="1608"/>
                        <a:pt x="1580" y="1616"/>
                        <a:pt x="1575" y="1624"/>
                      </a:cubicBezTo>
                      <a:cubicBezTo>
                        <a:pt x="1569" y="1631"/>
                        <a:pt x="1564" y="1631"/>
                        <a:pt x="1564" y="1635"/>
                      </a:cubicBezTo>
                      <a:cubicBezTo>
                        <a:pt x="1564" y="1639"/>
                        <a:pt x="1573" y="1639"/>
                        <a:pt x="1578" y="1640"/>
                      </a:cubicBezTo>
                      <a:cubicBezTo>
                        <a:pt x="1584" y="1640"/>
                        <a:pt x="1588" y="1635"/>
                        <a:pt x="1593" y="1632"/>
                      </a:cubicBezTo>
                      <a:cubicBezTo>
                        <a:pt x="1597" y="1630"/>
                        <a:pt x="1603" y="1633"/>
                        <a:pt x="1612" y="1629"/>
                      </a:cubicBezTo>
                      <a:cubicBezTo>
                        <a:pt x="1620" y="1625"/>
                        <a:pt x="1620" y="1620"/>
                        <a:pt x="1625" y="1619"/>
                      </a:cubicBezTo>
                      <a:cubicBezTo>
                        <a:pt x="1629" y="1619"/>
                        <a:pt x="1628" y="1624"/>
                        <a:pt x="1628" y="1628"/>
                      </a:cubicBezTo>
                      <a:cubicBezTo>
                        <a:pt x="1629" y="1632"/>
                        <a:pt x="1628" y="1641"/>
                        <a:pt x="1629" y="1645"/>
                      </a:cubicBezTo>
                      <a:cubicBezTo>
                        <a:pt x="1629" y="1650"/>
                        <a:pt x="1637" y="1652"/>
                        <a:pt x="1640" y="1655"/>
                      </a:cubicBezTo>
                      <a:cubicBezTo>
                        <a:pt x="1642" y="1659"/>
                        <a:pt x="1643" y="1664"/>
                        <a:pt x="1641" y="1664"/>
                      </a:cubicBezTo>
                      <a:cubicBezTo>
                        <a:pt x="1638" y="1663"/>
                        <a:pt x="1634" y="1666"/>
                        <a:pt x="1636" y="1669"/>
                      </a:cubicBezTo>
                      <a:cubicBezTo>
                        <a:pt x="1637" y="1672"/>
                        <a:pt x="1647" y="1678"/>
                        <a:pt x="1651" y="1685"/>
                      </a:cubicBezTo>
                      <a:cubicBezTo>
                        <a:pt x="1656" y="1692"/>
                        <a:pt x="1661" y="1698"/>
                        <a:pt x="1664" y="1706"/>
                      </a:cubicBezTo>
                      <a:cubicBezTo>
                        <a:pt x="1667" y="1714"/>
                        <a:pt x="1661" y="1727"/>
                        <a:pt x="1658" y="1737"/>
                      </a:cubicBezTo>
                      <a:cubicBezTo>
                        <a:pt x="1655" y="1746"/>
                        <a:pt x="1661" y="1752"/>
                        <a:pt x="1666" y="1760"/>
                      </a:cubicBezTo>
                      <a:cubicBezTo>
                        <a:pt x="1671" y="1767"/>
                        <a:pt x="1676" y="1768"/>
                        <a:pt x="1683" y="1774"/>
                      </a:cubicBezTo>
                      <a:cubicBezTo>
                        <a:pt x="1690" y="1781"/>
                        <a:pt x="1693" y="1791"/>
                        <a:pt x="1696" y="1797"/>
                      </a:cubicBezTo>
                      <a:cubicBezTo>
                        <a:pt x="1699" y="1803"/>
                        <a:pt x="1707" y="1804"/>
                        <a:pt x="1715" y="1806"/>
                      </a:cubicBezTo>
                      <a:cubicBezTo>
                        <a:pt x="1724" y="1808"/>
                        <a:pt x="1736" y="1811"/>
                        <a:pt x="1739" y="1811"/>
                      </a:cubicBezTo>
                      <a:cubicBezTo>
                        <a:pt x="1741" y="1811"/>
                        <a:pt x="1748" y="1818"/>
                        <a:pt x="1755" y="1825"/>
                      </a:cubicBezTo>
                      <a:cubicBezTo>
                        <a:pt x="1761" y="1831"/>
                        <a:pt x="1768" y="1830"/>
                        <a:pt x="1774" y="1828"/>
                      </a:cubicBezTo>
                      <a:cubicBezTo>
                        <a:pt x="1780" y="1826"/>
                        <a:pt x="1789" y="1820"/>
                        <a:pt x="1797" y="1826"/>
                      </a:cubicBezTo>
                      <a:cubicBezTo>
                        <a:pt x="1805" y="1832"/>
                        <a:pt x="1809" y="1832"/>
                        <a:pt x="1817" y="1832"/>
                      </a:cubicBezTo>
                      <a:cubicBezTo>
                        <a:pt x="1825" y="1833"/>
                        <a:pt x="1824" y="1831"/>
                        <a:pt x="1830" y="1834"/>
                      </a:cubicBezTo>
                      <a:cubicBezTo>
                        <a:pt x="1836" y="1836"/>
                        <a:pt x="1837" y="1839"/>
                        <a:pt x="1847" y="1845"/>
                      </a:cubicBezTo>
                      <a:cubicBezTo>
                        <a:pt x="1856" y="1852"/>
                        <a:pt x="1862" y="1851"/>
                        <a:pt x="1874" y="1857"/>
                      </a:cubicBezTo>
                      <a:cubicBezTo>
                        <a:pt x="1886" y="1864"/>
                        <a:pt x="1890" y="1868"/>
                        <a:pt x="1898" y="1862"/>
                      </a:cubicBezTo>
                      <a:cubicBezTo>
                        <a:pt x="1905" y="1857"/>
                        <a:pt x="1915" y="1849"/>
                        <a:pt x="1924" y="1840"/>
                      </a:cubicBezTo>
                      <a:cubicBezTo>
                        <a:pt x="1933" y="1830"/>
                        <a:pt x="1938" y="1831"/>
                        <a:pt x="1946" y="1830"/>
                      </a:cubicBezTo>
                      <a:cubicBezTo>
                        <a:pt x="1953" y="1829"/>
                        <a:pt x="1956" y="1827"/>
                        <a:pt x="1956" y="1825"/>
                      </a:cubicBezTo>
                      <a:cubicBezTo>
                        <a:pt x="1957" y="1824"/>
                        <a:pt x="1952" y="1822"/>
                        <a:pt x="1947" y="1822"/>
                      </a:cubicBezTo>
                      <a:cubicBezTo>
                        <a:pt x="1943" y="1822"/>
                        <a:pt x="1943" y="1820"/>
                        <a:pt x="1942" y="1815"/>
                      </a:cubicBezTo>
                      <a:cubicBezTo>
                        <a:pt x="1941" y="1810"/>
                        <a:pt x="1947" y="1811"/>
                        <a:pt x="1952" y="1809"/>
                      </a:cubicBezTo>
                      <a:cubicBezTo>
                        <a:pt x="1957" y="1808"/>
                        <a:pt x="1961" y="1808"/>
                        <a:pt x="1962" y="1803"/>
                      </a:cubicBezTo>
                      <a:cubicBezTo>
                        <a:pt x="1964" y="1798"/>
                        <a:pt x="1974" y="1796"/>
                        <a:pt x="1978" y="1799"/>
                      </a:cubicBezTo>
                      <a:cubicBezTo>
                        <a:pt x="1982" y="1803"/>
                        <a:pt x="1980" y="1804"/>
                        <a:pt x="1986" y="1806"/>
                      </a:cubicBezTo>
                      <a:cubicBezTo>
                        <a:pt x="1991" y="1809"/>
                        <a:pt x="1995" y="1816"/>
                        <a:pt x="1994" y="1820"/>
                      </a:cubicBezTo>
                      <a:cubicBezTo>
                        <a:pt x="1994" y="1824"/>
                        <a:pt x="1987" y="1830"/>
                        <a:pt x="1983" y="1832"/>
                      </a:cubicBezTo>
                      <a:cubicBezTo>
                        <a:pt x="1979" y="1834"/>
                        <a:pt x="1978" y="1834"/>
                        <a:pt x="1977" y="1834"/>
                      </a:cubicBezTo>
                      <a:cubicBezTo>
                        <a:pt x="1975" y="1835"/>
                        <a:pt x="1975" y="1836"/>
                        <a:pt x="1976" y="1839"/>
                      </a:cubicBezTo>
                      <a:cubicBezTo>
                        <a:pt x="1978" y="1842"/>
                        <a:pt x="1985" y="1838"/>
                        <a:pt x="1989" y="1836"/>
                      </a:cubicBezTo>
                      <a:cubicBezTo>
                        <a:pt x="1994" y="1834"/>
                        <a:pt x="1998" y="1831"/>
                        <a:pt x="2001" y="1828"/>
                      </a:cubicBezTo>
                      <a:cubicBezTo>
                        <a:pt x="2005" y="1826"/>
                        <a:pt x="2008" y="1824"/>
                        <a:pt x="2011" y="1824"/>
                      </a:cubicBezTo>
                      <a:cubicBezTo>
                        <a:pt x="2015" y="1824"/>
                        <a:pt x="2017" y="1828"/>
                        <a:pt x="2018" y="1833"/>
                      </a:cubicBezTo>
                      <a:cubicBezTo>
                        <a:pt x="2018" y="1838"/>
                        <a:pt x="2014" y="1839"/>
                        <a:pt x="2013" y="1843"/>
                      </a:cubicBezTo>
                      <a:cubicBezTo>
                        <a:pt x="2013" y="1847"/>
                        <a:pt x="2017" y="1852"/>
                        <a:pt x="2025" y="1859"/>
                      </a:cubicBezTo>
                      <a:cubicBezTo>
                        <a:pt x="2032" y="1867"/>
                        <a:pt x="2034" y="1867"/>
                        <a:pt x="2038" y="1869"/>
                      </a:cubicBezTo>
                      <a:cubicBezTo>
                        <a:pt x="2043" y="1871"/>
                        <a:pt x="2047" y="1867"/>
                        <a:pt x="2051" y="1869"/>
                      </a:cubicBezTo>
                      <a:cubicBezTo>
                        <a:pt x="2056" y="1871"/>
                        <a:pt x="2057" y="1874"/>
                        <a:pt x="2059" y="1879"/>
                      </a:cubicBezTo>
                      <a:cubicBezTo>
                        <a:pt x="2060" y="1883"/>
                        <a:pt x="2063" y="1887"/>
                        <a:pt x="2064" y="1889"/>
                      </a:cubicBezTo>
                      <a:cubicBezTo>
                        <a:pt x="2066" y="1891"/>
                        <a:pt x="2067" y="1886"/>
                        <a:pt x="2068" y="1881"/>
                      </a:cubicBezTo>
                      <a:cubicBezTo>
                        <a:pt x="2068" y="1877"/>
                        <a:pt x="2066" y="1875"/>
                        <a:pt x="2062" y="1871"/>
                      </a:cubicBezTo>
                      <a:cubicBezTo>
                        <a:pt x="2058" y="1866"/>
                        <a:pt x="2060" y="1865"/>
                        <a:pt x="2061" y="1862"/>
                      </a:cubicBezTo>
                      <a:cubicBezTo>
                        <a:pt x="2061" y="1860"/>
                        <a:pt x="2058" y="1855"/>
                        <a:pt x="2067" y="1856"/>
                      </a:cubicBezTo>
                      <a:cubicBezTo>
                        <a:pt x="2075" y="1857"/>
                        <a:pt x="2086" y="1857"/>
                        <a:pt x="2091" y="1855"/>
                      </a:cubicBezTo>
                      <a:cubicBezTo>
                        <a:pt x="2096" y="1853"/>
                        <a:pt x="2112" y="1838"/>
                        <a:pt x="2118" y="1832"/>
                      </a:cubicBezTo>
                      <a:cubicBezTo>
                        <a:pt x="2125" y="1827"/>
                        <a:pt x="2139" y="1813"/>
                        <a:pt x="2145" y="1807"/>
                      </a:cubicBezTo>
                      <a:cubicBezTo>
                        <a:pt x="2152" y="1802"/>
                        <a:pt x="2168" y="1794"/>
                        <a:pt x="2174" y="1792"/>
                      </a:cubicBezTo>
                      <a:cubicBezTo>
                        <a:pt x="2180" y="1791"/>
                        <a:pt x="2197" y="1793"/>
                        <a:pt x="2206" y="1794"/>
                      </a:cubicBezTo>
                      <a:cubicBezTo>
                        <a:pt x="2215" y="1795"/>
                        <a:pt x="2231" y="1792"/>
                        <a:pt x="2240" y="1792"/>
                      </a:cubicBezTo>
                      <a:cubicBezTo>
                        <a:pt x="2248" y="1792"/>
                        <a:pt x="2254" y="1787"/>
                        <a:pt x="2257" y="1784"/>
                      </a:cubicBezTo>
                      <a:cubicBezTo>
                        <a:pt x="2260" y="1781"/>
                        <a:pt x="2262" y="1779"/>
                        <a:pt x="2265" y="1776"/>
                      </a:cubicBezTo>
                      <a:cubicBezTo>
                        <a:pt x="2268" y="1772"/>
                        <a:pt x="2286" y="1773"/>
                        <a:pt x="2287" y="1771"/>
                      </a:cubicBezTo>
                      <a:cubicBezTo>
                        <a:pt x="2289" y="1769"/>
                        <a:pt x="2290" y="1759"/>
                        <a:pt x="2288" y="1755"/>
                      </a:cubicBezTo>
                      <a:cubicBezTo>
                        <a:pt x="2285" y="1752"/>
                        <a:pt x="2283" y="1749"/>
                        <a:pt x="2283" y="1746"/>
                      </a:cubicBezTo>
                      <a:cubicBezTo>
                        <a:pt x="2282" y="1744"/>
                        <a:pt x="2285" y="1733"/>
                        <a:pt x="2285" y="1728"/>
                      </a:cubicBezTo>
                      <a:cubicBezTo>
                        <a:pt x="2286" y="1724"/>
                        <a:pt x="2291" y="1708"/>
                        <a:pt x="2294" y="1693"/>
                      </a:cubicBezTo>
                      <a:cubicBezTo>
                        <a:pt x="2297" y="1678"/>
                        <a:pt x="2301" y="1651"/>
                        <a:pt x="2309" y="1638"/>
                      </a:cubicBezTo>
                      <a:cubicBezTo>
                        <a:pt x="2317" y="1624"/>
                        <a:pt x="2330" y="1602"/>
                        <a:pt x="2331" y="1599"/>
                      </a:cubicBezTo>
                      <a:cubicBezTo>
                        <a:pt x="2332" y="1596"/>
                        <a:pt x="2338" y="1593"/>
                        <a:pt x="2337" y="1589"/>
                      </a:cubicBezTo>
                      <a:cubicBezTo>
                        <a:pt x="2335" y="1585"/>
                        <a:pt x="2335" y="1581"/>
                        <a:pt x="2338" y="1578"/>
                      </a:cubicBezTo>
                      <a:cubicBezTo>
                        <a:pt x="2341" y="1575"/>
                        <a:pt x="2343" y="1573"/>
                        <a:pt x="2342" y="1570"/>
                      </a:cubicBezTo>
                      <a:cubicBezTo>
                        <a:pt x="2342" y="1567"/>
                        <a:pt x="2338" y="1566"/>
                        <a:pt x="2339" y="1560"/>
                      </a:cubicBezTo>
                      <a:cubicBezTo>
                        <a:pt x="2340" y="1553"/>
                        <a:pt x="2349" y="1549"/>
                        <a:pt x="2353" y="1540"/>
                      </a:cubicBezTo>
                      <a:cubicBezTo>
                        <a:pt x="2356" y="1532"/>
                        <a:pt x="2360" y="1529"/>
                        <a:pt x="2363" y="1526"/>
                      </a:cubicBezTo>
                      <a:cubicBezTo>
                        <a:pt x="2366" y="1522"/>
                        <a:pt x="2372" y="1515"/>
                        <a:pt x="2372" y="1509"/>
                      </a:cubicBezTo>
                      <a:cubicBezTo>
                        <a:pt x="2373" y="1503"/>
                        <a:pt x="2368" y="1498"/>
                        <a:pt x="2366" y="1493"/>
                      </a:cubicBezTo>
                      <a:cubicBezTo>
                        <a:pt x="2365" y="1489"/>
                        <a:pt x="2368" y="1486"/>
                        <a:pt x="2371" y="1482"/>
                      </a:cubicBezTo>
                      <a:cubicBezTo>
                        <a:pt x="2375" y="1478"/>
                        <a:pt x="2385" y="1473"/>
                        <a:pt x="2388" y="1468"/>
                      </a:cubicBezTo>
                      <a:cubicBezTo>
                        <a:pt x="2392" y="1463"/>
                        <a:pt x="2391" y="1462"/>
                        <a:pt x="2395" y="1455"/>
                      </a:cubicBezTo>
                      <a:cubicBezTo>
                        <a:pt x="2399" y="1448"/>
                        <a:pt x="2403" y="1445"/>
                        <a:pt x="2404" y="1444"/>
                      </a:cubicBezTo>
                      <a:cubicBezTo>
                        <a:pt x="2406" y="1442"/>
                        <a:pt x="2414" y="1442"/>
                        <a:pt x="2418" y="1440"/>
                      </a:cubicBezTo>
                      <a:cubicBezTo>
                        <a:pt x="2422" y="1438"/>
                        <a:pt x="2422" y="1435"/>
                        <a:pt x="2423" y="1432"/>
                      </a:cubicBezTo>
                      <a:cubicBezTo>
                        <a:pt x="2424" y="1428"/>
                        <a:pt x="2434" y="1427"/>
                        <a:pt x="2437" y="1425"/>
                      </a:cubicBezTo>
                      <a:cubicBezTo>
                        <a:pt x="2441" y="1422"/>
                        <a:pt x="2449" y="1418"/>
                        <a:pt x="2449" y="1414"/>
                      </a:cubicBezTo>
                      <a:cubicBezTo>
                        <a:pt x="2448" y="1410"/>
                        <a:pt x="2446" y="1399"/>
                        <a:pt x="2447" y="1393"/>
                      </a:cubicBezTo>
                      <a:cubicBezTo>
                        <a:pt x="2447" y="1387"/>
                        <a:pt x="2454" y="1383"/>
                        <a:pt x="2458" y="1378"/>
                      </a:cubicBezTo>
                      <a:cubicBezTo>
                        <a:pt x="2463" y="1372"/>
                        <a:pt x="2468" y="1362"/>
                        <a:pt x="2470" y="1355"/>
                      </a:cubicBezTo>
                      <a:cubicBezTo>
                        <a:pt x="2472" y="1349"/>
                        <a:pt x="2473" y="1337"/>
                        <a:pt x="2474" y="1328"/>
                      </a:cubicBezTo>
                      <a:cubicBezTo>
                        <a:pt x="2475" y="1320"/>
                        <a:pt x="2475" y="1296"/>
                        <a:pt x="2477" y="1284"/>
                      </a:cubicBezTo>
                      <a:cubicBezTo>
                        <a:pt x="2479" y="1272"/>
                        <a:pt x="2487" y="1270"/>
                        <a:pt x="2489" y="1260"/>
                      </a:cubicBezTo>
                      <a:cubicBezTo>
                        <a:pt x="2491" y="1251"/>
                        <a:pt x="2495" y="1247"/>
                        <a:pt x="2498" y="1239"/>
                      </a:cubicBezTo>
                      <a:cubicBezTo>
                        <a:pt x="2501" y="1232"/>
                        <a:pt x="2496" y="1226"/>
                        <a:pt x="2496" y="1212"/>
                      </a:cubicBezTo>
                      <a:cubicBezTo>
                        <a:pt x="2496" y="1199"/>
                        <a:pt x="2500" y="1195"/>
                        <a:pt x="2502" y="1187"/>
                      </a:cubicBezTo>
                      <a:cubicBezTo>
                        <a:pt x="2504" y="1179"/>
                        <a:pt x="2514" y="1173"/>
                        <a:pt x="2514" y="1166"/>
                      </a:cubicBezTo>
                      <a:cubicBezTo>
                        <a:pt x="2515" y="1159"/>
                        <a:pt x="2512" y="1155"/>
                        <a:pt x="2512" y="1143"/>
                      </a:cubicBezTo>
                      <a:cubicBezTo>
                        <a:pt x="2512" y="1131"/>
                        <a:pt x="2512" y="1127"/>
                        <a:pt x="2511" y="1123"/>
                      </a:cubicBezTo>
                      <a:close/>
                      <a:moveTo>
                        <a:pt x="1478" y="196"/>
                      </a:moveTo>
                      <a:cubicBezTo>
                        <a:pt x="1474" y="196"/>
                        <a:pt x="1473" y="192"/>
                        <a:pt x="1472" y="190"/>
                      </a:cubicBezTo>
                      <a:cubicBezTo>
                        <a:pt x="1470" y="188"/>
                        <a:pt x="1463" y="186"/>
                        <a:pt x="1463" y="191"/>
                      </a:cubicBezTo>
                      <a:cubicBezTo>
                        <a:pt x="1460" y="197"/>
                        <a:pt x="1460" y="197"/>
                        <a:pt x="1456" y="199"/>
                      </a:cubicBezTo>
                      <a:cubicBezTo>
                        <a:pt x="1451" y="201"/>
                        <a:pt x="1450" y="198"/>
                        <a:pt x="1449" y="205"/>
                      </a:cubicBezTo>
                      <a:cubicBezTo>
                        <a:pt x="1448" y="213"/>
                        <a:pt x="1445" y="214"/>
                        <a:pt x="1448" y="218"/>
                      </a:cubicBezTo>
                      <a:cubicBezTo>
                        <a:pt x="1451" y="223"/>
                        <a:pt x="1450" y="224"/>
                        <a:pt x="1455" y="223"/>
                      </a:cubicBezTo>
                      <a:cubicBezTo>
                        <a:pt x="1461" y="223"/>
                        <a:pt x="1460" y="226"/>
                        <a:pt x="1465" y="223"/>
                      </a:cubicBezTo>
                      <a:cubicBezTo>
                        <a:pt x="1470" y="220"/>
                        <a:pt x="1470" y="221"/>
                        <a:pt x="1470" y="216"/>
                      </a:cubicBezTo>
                      <a:cubicBezTo>
                        <a:pt x="1471" y="211"/>
                        <a:pt x="1470" y="210"/>
                        <a:pt x="1474" y="207"/>
                      </a:cubicBezTo>
                      <a:cubicBezTo>
                        <a:pt x="1479" y="204"/>
                        <a:pt x="1484" y="199"/>
                        <a:pt x="1483" y="197"/>
                      </a:cubicBezTo>
                      <a:cubicBezTo>
                        <a:pt x="1481" y="195"/>
                        <a:pt x="1482" y="196"/>
                        <a:pt x="1478" y="196"/>
                      </a:cubicBezTo>
                      <a:close/>
                      <a:moveTo>
                        <a:pt x="1414" y="70"/>
                      </a:moveTo>
                      <a:cubicBezTo>
                        <a:pt x="1410" y="74"/>
                        <a:pt x="1405" y="74"/>
                        <a:pt x="1405" y="77"/>
                      </a:cubicBezTo>
                      <a:cubicBezTo>
                        <a:pt x="1404" y="81"/>
                        <a:pt x="1401" y="83"/>
                        <a:pt x="1407" y="85"/>
                      </a:cubicBezTo>
                      <a:cubicBezTo>
                        <a:pt x="1412" y="87"/>
                        <a:pt x="1417" y="90"/>
                        <a:pt x="1417" y="84"/>
                      </a:cubicBezTo>
                      <a:cubicBezTo>
                        <a:pt x="1416" y="78"/>
                        <a:pt x="1417" y="79"/>
                        <a:pt x="1418" y="75"/>
                      </a:cubicBezTo>
                      <a:cubicBezTo>
                        <a:pt x="1419" y="71"/>
                        <a:pt x="1417" y="67"/>
                        <a:pt x="1414" y="70"/>
                      </a:cubicBezTo>
                      <a:close/>
                      <a:moveTo>
                        <a:pt x="1467" y="27"/>
                      </a:moveTo>
                      <a:cubicBezTo>
                        <a:pt x="1464" y="34"/>
                        <a:pt x="1465" y="34"/>
                        <a:pt x="1462" y="38"/>
                      </a:cubicBezTo>
                      <a:cubicBezTo>
                        <a:pt x="1459" y="43"/>
                        <a:pt x="1458" y="47"/>
                        <a:pt x="1452" y="50"/>
                      </a:cubicBezTo>
                      <a:cubicBezTo>
                        <a:pt x="1446" y="52"/>
                        <a:pt x="1440" y="55"/>
                        <a:pt x="1442" y="57"/>
                      </a:cubicBezTo>
                      <a:cubicBezTo>
                        <a:pt x="1444" y="59"/>
                        <a:pt x="1446" y="62"/>
                        <a:pt x="1450" y="57"/>
                      </a:cubicBezTo>
                      <a:cubicBezTo>
                        <a:pt x="1454" y="52"/>
                        <a:pt x="1457" y="47"/>
                        <a:pt x="1462" y="45"/>
                      </a:cubicBezTo>
                      <a:cubicBezTo>
                        <a:pt x="1467" y="42"/>
                        <a:pt x="1469" y="40"/>
                        <a:pt x="1470" y="35"/>
                      </a:cubicBezTo>
                      <a:cubicBezTo>
                        <a:pt x="1471" y="30"/>
                        <a:pt x="1472" y="18"/>
                        <a:pt x="1467" y="27"/>
                      </a:cubicBezTo>
                      <a:close/>
                      <a:moveTo>
                        <a:pt x="1072" y="70"/>
                      </a:moveTo>
                      <a:cubicBezTo>
                        <a:pt x="1077" y="71"/>
                        <a:pt x="1081" y="72"/>
                        <a:pt x="1083" y="70"/>
                      </a:cubicBezTo>
                      <a:cubicBezTo>
                        <a:pt x="1085" y="69"/>
                        <a:pt x="1081" y="64"/>
                        <a:pt x="1077" y="61"/>
                      </a:cubicBezTo>
                      <a:cubicBezTo>
                        <a:pt x="1074" y="58"/>
                        <a:pt x="1077" y="57"/>
                        <a:pt x="1075" y="52"/>
                      </a:cubicBezTo>
                      <a:cubicBezTo>
                        <a:pt x="1072" y="46"/>
                        <a:pt x="1074" y="48"/>
                        <a:pt x="1067" y="48"/>
                      </a:cubicBezTo>
                      <a:cubicBezTo>
                        <a:pt x="1063" y="49"/>
                        <a:pt x="1065" y="57"/>
                        <a:pt x="1064" y="61"/>
                      </a:cubicBezTo>
                      <a:cubicBezTo>
                        <a:pt x="1062" y="64"/>
                        <a:pt x="1057" y="64"/>
                        <a:pt x="1057" y="69"/>
                      </a:cubicBezTo>
                      <a:cubicBezTo>
                        <a:pt x="1057" y="75"/>
                        <a:pt x="1067" y="69"/>
                        <a:pt x="1072" y="70"/>
                      </a:cubicBezTo>
                      <a:close/>
                      <a:moveTo>
                        <a:pt x="1093" y="63"/>
                      </a:moveTo>
                      <a:cubicBezTo>
                        <a:pt x="1095" y="67"/>
                        <a:pt x="1099" y="64"/>
                        <a:pt x="1103" y="67"/>
                      </a:cubicBezTo>
                      <a:cubicBezTo>
                        <a:pt x="1107" y="70"/>
                        <a:pt x="1107" y="73"/>
                        <a:pt x="1111" y="77"/>
                      </a:cubicBezTo>
                      <a:cubicBezTo>
                        <a:pt x="1114" y="82"/>
                        <a:pt x="1116" y="78"/>
                        <a:pt x="1119" y="72"/>
                      </a:cubicBezTo>
                      <a:cubicBezTo>
                        <a:pt x="1123" y="67"/>
                        <a:pt x="1131" y="65"/>
                        <a:pt x="1136" y="61"/>
                      </a:cubicBezTo>
                      <a:cubicBezTo>
                        <a:pt x="1141" y="57"/>
                        <a:pt x="1146" y="57"/>
                        <a:pt x="1149" y="55"/>
                      </a:cubicBezTo>
                      <a:cubicBezTo>
                        <a:pt x="1151" y="54"/>
                        <a:pt x="1150" y="52"/>
                        <a:pt x="1146" y="47"/>
                      </a:cubicBezTo>
                      <a:cubicBezTo>
                        <a:pt x="1141" y="42"/>
                        <a:pt x="1142" y="46"/>
                        <a:pt x="1140" y="42"/>
                      </a:cubicBezTo>
                      <a:cubicBezTo>
                        <a:pt x="1139" y="38"/>
                        <a:pt x="1139" y="37"/>
                        <a:pt x="1135" y="38"/>
                      </a:cubicBezTo>
                      <a:cubicBezTo>
                        <a:pt x="1132" y="38"/>
                        <a:pt x="1132" y="42"/>
                        <a:pt x="1128" y="43"/>
                      </a:cubicBezTo>
                      <a:cubicBezTo>
                        <a:pt x="1124" y="45"/>
                        <a:pt x="1127" y="41"/>
                        <a:pt x="1123" y="37"/>
                      </a:cubicBezTo>
                      <a:cubicBezTo>
                        <a:pt x="1119" y="32"/>
                        <a:pt x="1118" y="37"/>
                        <a:pt x="1113" y="40"/>
                      </a:cubicBezTo>
                      <a:cubicBezTo>
                        <a:pt x="1107" y="43"/>
                        <a:pt x="1107" y="42"/>
                        <a:pt x="1101" y="45"/>
                      </a:cubicBezTo>
                      <a:cubicBezTo>
                        <a:pt x="1092" y="45"/>
                        <a:pt x="1094" y="45"/>
                        <a:pt x="1090" y="44"/>
                      </a:cubicBezTo>
                      <a:cubicBezTo>
                        <a:pt x="1087" y="44"/>
                        <a:pt x="1089" y="41"/>
                        <a:pt x="1083" y="38"/>
                      </a:cubicBezTo>
                      <a:cubicBezTo>
                        <a:pt x="1078" y="35"/>
                        <a:pt x="1081" y="41"/>
                        <a:pt x="1082" y="44"/>
                      </a:cubicBezTo>
                      <a:cubicBezTo>
                        <a:pt x="1083" y="47"/>
                        <a:pt x="1084" y="50"/>
                        <a:pt x="1087" y="55"/>
                      </a:cubicBezTo>
                      <a:cubicBezTo>
                        <a:pt x="1090" y="61"/>
                        <a:pt x="1092" y="59"/>
                        <a:pt x="1093" y="63"/>
                      </a:cubicBezTo>
                      <a:close/>
                      <a:moveTo>
                        <a:pt x="2289" y="348"/>
                      </a:moveTo>
                      <a:cubicBezTo>
                        <a:pt x="2284" y="351"/>
                        <a:pt x="2281" y="354"/>
                        <a:pt x="2284" y="357"/>
                      </a:cubicBezTo>
                      <a:cubicBezTo>
                        <a:pt x="2288" y="360"/>
                        <a:pt x="2294" y="362"/>
                        <a:pt x="2296" y="359"/>
                      </a:cubicBezTo>
                      <a:cubicBezTo>
                        <a:pt x="2298" y="355"/>
                        <a:pt x="2296" y="347"/>
                        <a:pt x="2289" y="348"/>
                      </a:cubicBezTo>
                      <a:close/>
                      <a:moveTo>
                        <a:pt x="1658" y="368"/>
                      </a:moveTo>
                      <a:cubicBezTo>
                        <a:pt x="1655" y="364"/>
                        <a:pt x="1652" y="365"/>
                        <a:pt x="1649" y="365"/>
                      </a:cubicBezTo>
                      <a:cubicBezTo>
                        <a:pt x="1645" y="365"/>
                        <a:pt x="1639" y="363"/>
                        <a:pt x="1634" y="363"/>
                      </a:cubicBezTo>
                      <a:cubicBezTo>
                        <a:pt x="1629" y="364"/>
                        <a:pt x="1628" y="363"/>
                        <a:pt x="1625" y="368"/>
                      </a:cubicBezTo>
                      <a:cubicBezTo>
                        <a:pt x="1622" y="373"/>
                        <a:pt x="1620" y="375"/>
                        <a:pt x="1623" y="378"/>
                      </a:cubicBezTo>
                      <a:cubicBezTo>
                        <a:pt x="1627" y="381"/>
                        <a:pt x="1629" y="385"/>
                        <a:pt x="1631" y="380"/>
                      </a:cubicBezTo>
                      <a:cubicBezTo>
                        <a:pt x="1634" y="375"/>
                        <a:pt x="1633" y="375"/>
                        <a:pt x="1637" y="373"/>
                      </a:cubicBezTo>
                      <a:cubicBezTo>
                        <a:pt x="1641" y="371"/>
                        <a:pt x="1642" y="369"/>
                        <a:pt x="1648" y="370"/>
                      </a:cubicBezTo>
                      <a:cubicBezTo>
                        <a:pt x="1653" y="370"/>
                        <a:pt x="1660" y="371"/>
                        <a:pt x="1658" y="368"/>
                      </a:cubicBezTo>
                      <a:close/>
                      <a:moveTo>
                        <a:pt x="1642" y="401"/>
                      </a:moveTo>
                      <a:cubicBezTo>
                        <a:pt x="1639" y="404"/>
                        <a:pt x="1637" y="403"/>
                        <a:pt x="1638" y="406"/>
                      </a:cubicBezTo>
                      <a:cubicBezTo>
                        <a:pt x="1639" y="409"/>
                        <a:pt x="1639" y="411"/>
                        <a:pt x="1643" y="410"/>
                      </a:cubicBezTo>
                      <a:cubicBezTo>
                        <a:pt x="1647" y="408"/>
                        <a:pt x="1651" y="407"/>
                        <a:pt x="1650" y="404"/>
                      </a:cubicBezTo>
                      <a:cubicBezTo>
                        <a:pt x="1649" y="401"/>
                        <a:pt x="1646" y="399"/>
                        <a:pt x="1642" y="401"/>
                      </a:cubicBezTo>
                      <a:close/>
                      <a:moveTo>
                        <a:pt x="2226" y="613"/>
                      </a:moveTo>
                      <a:cubicBezTo>
                        <a:pt x="2230" y="614"/>
                        <a:pt x="2233" y="617"/>
                        <a:pt x="2233" y="612"/>
                      </a:cubicBezTo>
                      <a:cubicBezTo>
                        <a:pt x="2233" y="607"/>
                        <a:pt x="2227" y="588"/>
                        <a:pt x="2223" y="598"/>
                      </a:cubicBezTo>
                      <a:cubicBezTo>
                        <a:pt x="2226" y="606"/>
                        <a:pt x="2222" y="612"/>
                        <a:pt x="2226" y="613"/>
                      </a:cubicBezTo>
                      <a:close/>
                      <a:moveTo>
                        <a:pt x="2319" y="732"/>
                      </a:moveTo>
                      <a:cubicBezTo>
                        <a:pt x="2318" y="738"/>
                        <a:pt x="2314" y="743"/>
                        <a:pt x="2318" y="743"/>
                      </a:cubicBezTo>
                      <a:cubicBezTo>
                        <a:pt x="2322" y="743"/>
                        <a:pt x="2325" y="744"/>
                        <a:pt x="2326" y="739"/>
                      </a:cubicBezTo>
                      <a:cubicBezTo>
                        <a:pt x="2326" y="734"/>
                        <a:pt x="2324" y="726"/>
                        <a:pt x="2319" y="732"/>
                      </a:cubicBezTo>
                      <a:close/>
                      <a:moveTo>
                        <a:pt x="2481" y="955"/>
                      </a:moveTo>
                      <a:cubicBezTo>
                        <a:pt x="2485" y="954"/>
                        <a:pt x="2490" y="951"/>
                        <a:pt x="2490" y="941"/>
                      </a:cubicBezTo>
                      <a:cubicBezTo>
                        <a:pt x="2490" y="932"/>
                        <a:pt x="2493" y="934"/>
                        <a:pt x="2496" y="923"/>
                      </a:cubicBezTo>
                      <a:cubicBezTo>
                        <a:pt x="2499" y="912"/>
                        <a:pt x="2494" y="913"/>
                        <a:pt x="2494" y="908"/>
                      </a:cubicBezTo>
                      <a:cubicBezTo>
                        <a:pt x="2494" y="902"/>
                        <a:pt x="2487" y="892"/>
                        <a:pt x="2487" y="905"/>
                      </a:cubicBezTo>
                      <a:cubicBezTo>
                        <a:pt x="2486" y="916"/>
                        <a:pt x="2489" y="922"/>
                        <a:pt x="2486" y="925"/>
                      </a:cubicBezTo>
                      <a:cubicBezTo>
                        <a:pt x="2483" y="927"/>
                        <a:pt x="2480" y="926"/>
                        <a:pt x="2480" y="932"/>
                      </a:cubicBezTo>
                      <a:cubicBezTo>
                        <a:pt x="2479" y="939"/>
                        <a:pt x="2480" y="937"/>
                        <a:pt x="2480" y="944"/>
                      </a:cubicBezTo>
                      <a:cubicBezTo>
                        <a:pt x="2479" y="950"/>
                        <a:pt x="2476" y="957"/>
                        <a:pt x="2481" y="955"/>
                      </a:cubicBezTo>
                      <a:close/>
                      <a:moveTo>
                        <a:pt x="1981" y="1986"/>
                      </a:moveTo>
                      <a:cubicBezTo>
                        <a:pt x="1985" y="1984"/>
                        <a:pt x="1984" y="1983"/>
                        <a:pt x="1982" y="1979"/>
                      </a:cubicBezTo>
                      <a:cubicBezTo>
                        <a:pt x="1980" y="1976"/>
                        <a:pt x="1974" y="1980"/>
                        <a:pt x="1968" y="1981"/>
                      </a:cubicBezTo>
                      <a:cubicBezTo>
                        <a:pt x="1961" y="1986"/>
                        <a:pt x="1977" y="1988"/>
                        <a:pt x="1981" y="1986"/>
                      </a:cubicBezTo>
                      <a:close/>
                      <a:moveTo>
                        <a:pt x="2183" y="1968"/>
                      </a:moveTo>
                      <a:cubicBezTo>
                        <a:pt x="2187" y="1966"/>
                        <a:pt x="2191" y="1964"/>
                        <a:pt x="2186" y="1958"/>
                      </a:cubicBezTo>
                      <a:cubicBezTo>
                        <a:pt x="2181" y="1951"/>
                        <a:pt x="2181" y="1949"/>
                        <a:pt x="2177" y="1944"/>
                      </a:cubicBezTo>
                      <a:cubicBezTo>
                        <a:pt x="2173" y="1938"/>
                        <a:pt x="2169" y="1930"/>
                        <a:pt x="2162" y="1934"/>
                      </a:cubicBezTo>
                      <a:cubicBezTo>
                        <a:pt x="2158" y="1938"/>
                        <a:pt x="2151" y="1934"/>
                        <a:pt x="2154" y="1943"/>
                      </a:cubicBezTo>
                      <a:cubicBezTo>
                        <a:pt x="2157" y="1952"/>
                        <a:pt x="2160" y="1955"/>
                        <a:pt x="2166" y="1962"/>
                      </a:cubicBezTo>
                      <a:cubicBezTo>
                        <a:pt x="2173" y="1968"/>
                        <a:pt x="2178" y="1970"/>
                        <a:pt x="2183" y="1968"/>
                      </a:cubicBezTo>
                      <a:close/>
                      <a:moveTo>
                        <a:pt x="1329" y="1505"/>
                      </a:moveTo>
                      <a:cubicBezTo>
                        <a:pt x="1328" y="1507"/>
                        <a:pt x="1325" y="1504"/>
                        <a:pt x="1326" y="1508"/>
                      </a:cubicBezTo>
                      <a:cubicBezTo>
                        <a:pt x="1327" y="1513"/>
                        <a:pt x="1329" y="1514"/>
                        <a:pt x="1329" y="1512"/>
                      </a:cubicBezTo>
                      <a:cubicBezTo>
                        <a:pt x="1330" y="1510"/>
                        <a:pt x="1333" y="1510"/>
                        <a:pt x="1335" y="1507"/>
                      </a:cubicBezTo>
                      <a:cubicBezTo>
                        <a:pt x="1337" y="1504"/>
                        <a:pt x="1333" y="1502"/>
                        <a:pt x="1329" y="1505"/>
                      </a:cubicBezTo>
                      <a:close/>
                      <a:moveTo>
                        <a:pt x="1374" y="1560"/>
                      </a:moveTo>
                      <a:cubicBezTo>
                        <a:pt x="1372" y="1564"/>
                        <a:pt x="1369" y="1567"/>
                        <a:pt x="1373" y="1569"/>
                      </a:cubicBezTo>
                      <a:cubicBezTo>
                        <a:pt x="1377" y="1571"/>
                        <a:pt x="1381" y="1571"/>
                        <a:pt x="1381" y="1569"/>
                      </a:cubicBezTo>
                      <a:cubicBezTo>
                        <a:pt x="1381" y="1567"/>
                        <a:pt x="1382" y="1563"/>
                        <a:pt x="1381" y="1561"/>
                      </a:cubicBezTo>
                      <a:cubicBezTo>
                        <a:pt x="1381" y="1559"/>
                        <a:pt x="1375" y="1557"/>
                        <a:pt x="1374" y="1560"/>
                      </a:cubicBezTo>
                      <a:close/>
                      <a:moveTo>
                        <a:pt x="2180" y="2071"/>
                      </a:moveTo>
                      <a:cubicBezTo>
                        <a:pt x="2177" y="2061"/>
                        <a:pt x="2181" y="2048"/>
                        <a:pt x="2181" y="2033"/>
                      </a:cubicBezTo>
                      <a:cubicBezTo>
                        <a:pt x="2182" y="2019"/>
                        <a:pt x="2181" y="2025"/>
                        <a:pt x="2175" y="2016"/>
                      </a:cubicBezTo>
                      <a:cubicBezTo>
                        <a:pt x="2169" y="2008"/>
                        <a:pt x="2172" y="2008"/>
                        <a:pt x="2165" y="2005"/>
                      </a:cubicBezTo>
                      <a:cubicBezTo>
                        <a:pt x="2159" y="2003"/>
                        <a:pt x="2155" y="2013"/>
                        <a:pt x="2144" y="2020"/>
                      </a:cubicBezTo>
                      <a:cubicBezTo>
                        <a:pt x="2132" y="2026"/>
                        <a:pt x="2130" y="2025"/>
                        <a:pt x="2116" y="2026"/>
                      </a:cubicBezTo>
                      <a:cubicBezTo>
                        <a:pt x="2110" y="2026"/>
                        <a:pt x="2108" y="2029"/>
                        <a:pt x="2104" y="2031"/>
                      </a:cubicBezTo>
                      <a:cubicBezTo>
                        <a:pt x="2101" y="2033"/>
                        <a:pt x="2104" y="2033"/>
                        <a:pt x="2103" y="2039"/>
                      </a:cubicBezTo>
                      <a:cubicBezTo>
                        <a:pt x="2101" y="2045"/>
                        <a:pt x="2094" y="2038"/>
                        <a:pt x="2084" y="2035"/>
                      </a:cubicBezTo>
                      <a:cubicBezTo>
                        <a:pt x="2074" y="2032"/>
                        <a:pt x="2074" y="2037"/>
                        <a:pt x="2066" y="2039"/>
                      </a:cubicBezTo>
                      <a:cubicBezTo>
                        <a:pt x="2058" y="2041"/>
                        <a:pt x="2057" y="2036"/>
                        <a:pt x="2048" y="2035"/>
                      </a:cubicBezTo>
                      <a:cubicBezTo>
                        <a:pt x="2040" y="2033"/>
                        <a:pt x="2032" y="2030"/>
                        <a:pt x="2023" y="2023"/>
                      </a:cubicBezTo>
                      <a:cubicBezTo>
                        <a:pt x="2014" y="2015"/>
                        <a:pt x="2008" y="2017"/>
                        <a:pt x="2000" y="2015"/>
                      </a:cubicBezTo>
                      <a:cubicBezTo>
                        <a:pt x="1992" y="2014"/>
                        <a:pt x="1988" y="2013"/>
                        <a:pt x="1979" y="2003"/>
                      </a:cubicBezTo>
                      <a:cubicBezTo>
                        <a:pt x="1969" y="1994"/>
                        <a:pt x="1970" y="2000"/>
                        <a:pt x="1965" y="2003"/>
                      </a:cubicBezTo>
                      <a:cubicBezTo>
                        <a:pt x="1961" y="2006"/>
                        <a:pt x="1963" y="2008"/>
                        <a:pt x="1960" y="2012"/>
                      </a:cubicBezTo>
                      <a:cubicBezTo>
                        <a:pt x="1957" y="2017"/>
                        <a:pt x="1956" y="2023"/>
                        <a:pt x="1959" y="2030"/>
                      </a:cubicBezTo>
                      <a:cubicBezTo>
                        <a:pt x="1961" y="2037"/>
                        <a:pt x="1965" y="2042"/>
                        <a:pt x="1968" y="2050"/>
                      </a:cubicBezTo>
                      <a:cubicBezTo>
                        <a:pt x="1970" y="2057"/>
                        <a:pt x="1971" y="2064"/>
                        <a:pt x="1977" y="2072"/>
                      </a:cubicBezTo>
                      <a:cubicBezTo>
                        <a:pt x="1982" y="2080"/>
                        <a:pt x="1985" y="2081"/>
                        <a:pt x="1993" y="2088"/>
                      </a:cubicBezTo>
                      <a:cubicBezTo>
                        <a:pt x="2001" y="2095"/>
                        <a:pt x="2000" y="2098"/>
                        <a:pt x="2000" y="2104"/>
                      </a:cubicBezTo>
                      <a:cubicBezTo>
                        <a:pt x="2000" y="2111"/>
                        <a:pt x="2005" y="2113"/>
                        <a:pt x="2009" y="2119"/>
                      </a:cubicBezTo>
                      <a:cubicBezTo>
                        <a:pt x="2013" y="2125"/>
                        <a:pt x="2017" y="2126"/>
                        <a:pt x="2015" y="2131"/>
                      </a:cubicBezTo>
                      <a:cubicBezTo>
                        <a:pt x="2013" y="2136"/>
                        <a:pt x="2011" y="2136"/>
                        <a:pt x="2004" y="2131"/>
                      </a:cubicBezTo>
                      <a:cubicBezTo>
                        <a:pt x="1997" y="2126"/>
                        <a:pt x="1995" y="2128"/>
                        <a:pt x="1995" y="2134"/>
                      </a:cubicBezTo>
                      <a:cubicBezTo>
                        <a:pt x="1995" y="2139"/>
                        <a:pt x="2002" y="2151"/>
                        <a:pt x="2007" y="2158"/>
                      </a:cubicBezTo>
                      <a:cubicBezTo>
                        <a:pt x="2013" y="2165"/>
                        <a:pt x="2014" y="2174"/>
                        <a:pt x="2020" y="2177"/>
                      </a:cubicBezTo>
                      <a:cubicBezTo>
                        <a:pt x="2026" y="2180"/>
                        <a:pt x="2028" y="2187"/>
                        <a:pt x="2032" y="2193"/>
                      </a:cubicBezTo>
                      <a:cubicBezTo>
                        <a:pt x="2036" y="2198"/>
                        <a:pt x="2040" y="2193"/>
                        <a:pt x="2048" y="2193"/>
                      </a:cubicBezTo>
                      <a:cubicBezTo>
                        <a:pt x="2055" y="2193"/>
                        <a:pt x="2056" y="2195"/>
                        <a:pt x="2055" y="2200"/>
                      </a:cubicBezTo>
                      <a:cubicBezTo>
                        <a:pt x="2054" y="2205"/>
                        <a:pt x="2049" y="2206"/>
                        <a:pt x="2050" y="2210"/>
                      </a:cubicBezTo>
                      <a:cubicBezTo>
                        <a:pt x="2052" y="2215"/>
                        <a:pt x="2060" y="2210"/>
                        <a:pt x="2066" y="2208"/>
                      </a:cubicBezTo>
                      <a:cubicBezTo>
                        <a:pt x="2071" y="2205"/>
                        <a:pt x="2080" y="2208"/>
                        <a:pt x="2084" y="2210"/>
                      </a:cubicBezTo>
                      <a:cubicBezTo>
                        <a:pt x="2087" y="2212"/>
                        <a:pt x="2092" y="2217"/>
                        <a:pt x="2097" y="2216"/>
                      </a:cubicBezTo>
                      <a:cubicBezTo>
                        <a:pt x="2101" y="2215"/>
                        <a:pt x="2097" y="2211"/>
                        <a:pt x="2097" y="2206"/>
                      </a:cubicBezTo>
                      <a:cubicBezTo>
                        <a:pt x="2097" y="2201"/>
                        <a:pt x="2107" y="2200"/>
                        <a:pt x="2107" y="2195"/>
                      </a:cubicBezTo>
                      <a:cubicBezTo>
                        <a:pt x="2108" y="2189"/>
                        <a:pt x="2105" y="2192"/>
                        <a:pt x="2100" y="2188"/>
                      </a:cubicBezTo>
                      <a:cubicBezTo>
                        <a:pt x="2096" y="2183"/>
                        <a:pt x="2105" y="2183"/>
                        <a:pt x="2108" y="2183"/>
                      </a:cubicBezTo>
                      <a:cubicBezTo>
                        <a:pt x="2111" y="2183"/>
                        <a:pt x="2117" y="2186"/>
                        <a:pt x="2118" y="2183"/>
                      </a:cubicBezTo>
                      <a:cubicBezTo>
                        <a:pt x="2120" y="2181"/>
                        <a:pt x="2122" y="2179"/>
                        <a:pt x="2121" y="2174"/>
                      </a:cubicBezTo>
                      <a:cubicBezTo>
                        <a:pt x="2120" y="2170"/>
                        <a:pt x="2120" y="2162"/>
                        <a:pt x="2121" y="2157"/>
                      </a:cubicBezTo>
                      <a:cubicBezTo>
                        <a:pt x="2123" y="2152"/>
                        <a:pt x="2128" y="2168"/>
                        <a:pt x="2131" y="2171"/>
                      </a:cubicBezTo>
                      <a:cubicBezTo>
                        <a:pt x="2135" y="2175"/>
                        <a:pt x="2137" y="2169"/>
                        <a:pt x="2138" y="2161"/>
                      </a:cubicBezTo>
                      <a:cubicBezTo>
                        <a:pt x="2138" y="2152"/>
                        <a:pt x="2149" y="2165"/>
                        <a:pt x="2154" y="2168"/>
                      </a:cubicBezTo>
                      <a:cubicBezTo>
                        <a:pt x="2159" y="2171"/>
                        <a:pt x="2157" y="2174"/>
                        <a:pt x="2156" y="2177"/>
                      </a:cubicBezTo>
                      <a:cubicBezTo>
                        <a:pt x="2156" y="2180"/>
                        <a:pt x="2154" y="2183"/>
                        <a:pt x="2156" y="2186"/>
                      </a:cubicBezTo>
                      <a:cubicBezTo>
                        <a:pt x="2157" y="2188"/>
                        <a:pt x="2165" y="2189"/>
                        <a:pt x="2166" y="2188"/>
                      </a:cubicBezTo>
                      <a:cubicBezTo>
                        <a:pt x="2167" y="2186"/>
                        <a:pt x="2165" y="2180"/>
                        <a:pt x="2164" y="2176"/>
                      </a:cubicBezTo>
                      <a:cubicBezTo>
                        <a:pt x="2162" y="2171"/>
                        <a:pt x="2163" y="2168"/>
                        <a:pt x="2163" y="2163"/>
                      </a:cubicBezTo>
                      <a:cubicBezTo>
                        <a:pt x="2163" y="2158"/>
                        <a:pt x="2165" y="2156"/>
                        <a:pt x="2168" y="2153"/>
                      </a:cubicBezTo>
                      <a:cubicBezTo>
                        <a:pt x="2170" y="2151"/>
                        <a:pt x="2179" y="2150"/>
                        <a:pt x="2179" y="2146"/>
                      </a:cubicBezTo>
                      <a:cubicBezTo>
                        <a:pt x="2179" y="2142"/>
                        <a:pt x="2177" y="2141"/>
                        <a:pt x="2173" y="2146"/>
                      </a:cubicBezTo>
                      <a:cubicBezTo>
                        <a:pt x="2169" y="2150"/>
                        <a:pt x="2167" y="2145"/>
                        <a:pt x="2165" y="2141"/>
                      </a:cubicBezTo>
                      <a:cubicBezTo>
                        <a:pt x="2163" y="2137"/>
                        <a:pt x="2167" y="2129"/>
                        <a:pt x="2168" y="2116"/>
                      </a:cubicBezTo>
                      <a:cubicBezTo>
                        <a:pt x="2169" y="2103"/>
                        <a:pt x="2172" y="2101"/>
                        <a:pt x="2176" y="2098"/>
                      </a:cubicBezTo>
                      <a:cubicBezTo>
                        <a:pt x="2181" y="2095"/>
                        <a:pt x="2182" y="2107"/>
                        <a:pt x="2188" y="2107"/>
                      </a:cubicBezTo>
                      <a:cubicBezTo>
                        <a:pt x="2195" y="2106"/>
                        <a:pt x="2191" y="2100"/>
                        <a:pt x="2186" y="2092"/>
                      </a:cubicBezTo>
                      <a:cubicBezTo>
                        <a:pt x="2181" y="2084"/>
                        <a:pt x="2183" y="2080"/>
                        <a:pt x="2180" y="2071"/>
                      </a:cubicBezTo>
                      <a:close/>
                      <a:moveTo>
                        <a:pt x="1913" y="1928"/>
                      </a:moveTo>
                      <a:cubicBezTo>
                        <a:pt x="1910" y="1932"/>
                        <a:pt x="1909" y="1937"/>
                        <a:pt x="1911" y="1940"/>
                      </a:cubicBezTo>
                      <a:cubicBezTo>
                        <a:pt x="1913" y="1943"/>
                        <a:pt x="1911" y="1951"/>
                        <a:pt x="1913" y="1954"/>
                      </a:cubicBezTo>
                      <a:cubicBezTo>
                        <a:pt x="1914" y="1957"/>
                        <a:pt x="1920" y="1959"/>
                        <a:pt x="1922" y="1956"/>
                      </a:cubicBezTo>
                      <a:cubicBezTo>
                        <a:pt x="1923" y="1953"/>
                        <a:pt x="1923" y="1948"/>
                        <a:pt x="1923" y="1942"/>
                      </a:cubicBezTo>
                      <a:cubicBezTo>
                        <a:pt x="1923" y="1935"/>
                        <a:pt x="1926" y="1934"/>
                        <a:pt x="1925" y="1929"/>
                      </a:cubicBezTo>
                      <a:cubicBezTo>
                        <a:pt x="1924" y="1924"/>
                        <a:pt x="1918" y="1921"/>
                        <a:pt x="1913" y="1928"/>
                      </a:cubicBezTo>
                      <a:close/>
                      <a:moveTo>
                        <a:pt x="1550" y="1647"/>
                      </a:moveTo>
                      <a:cubicBezTo>
                        <a:pt x="1547" y="1646"/>
                        <a:pt x="1542" y="1649"/>
                        <a:pt x="1539" y="1649"/>
                      </a:cubicBezTo>
                      <a:cubicBezTo>
                        <a:pt x="1537" y="1649"/>
                        <a:pt x="1531" y="1642"/>
                        <a:pt x="1529" y="1639"/>
                      </a:cubicBezTo>
                      <a:cubicBezTo>
                        <a:pt x="1530" y="1636"/>
                        <a:pt x="1526" y="1636"/>
                        <a:pt x="1520" y="1637"/>
                      </a:cubicBezTo>
                      <a:cubicBezTo>
                        <a:pt x="1514" y="1639"/>
                        <a:pt x="1508" y="1641"/>
                        <a:pt x="1501" y="1644"/>
                      </a:cubicBezTo>
                      <a:cubicBezTo>
                        <a:pt x="1495" y="1646"/>
                        <a:pt x="1491" y="1645"/>
                        <a:pt x="1482" y="1645"/>
                      </a:cubicBezTo>
                      <a:cubicBezTo>
                        <a:pt x="1474" y="1643"/>
                        <a:pt x="1464" y="1647"/>
                        <a:pt x="1461" y="1651"/>
                      </a:cubicBezTo>
                      <a:cubicBezTo>
                        <a:pt x="1459" y="1655"/>
                        <a:pt x="1463" y="1658"/>
                        <a:pt x="1464" y="1661"/>
                      </a:cubicBezTo>
                      <a:cubicBezTo>
                        <a:pt x="1466" y="1664"/>
                        <a:pt x="1469" y="1666"/>
                        <a:pt x="1474" y="1666"/>
                      </a:cubicBezTo>
                      <a:cubicBezTo>
                        <a:pt x="1479" y="1667"/>
                        <a:pt x="1487" y="1666"/>
                        <a:pt x="1491" y="1663"/>
                      </a:cubicBezTo>
                      <a:cubicBezTo>
                        <a:pt x="1495" y="1661"/>
                        <a:pt x="1503" y="1663"/>
                        <a:pt x="1505" y="1664"/>
                      </a:cubicBezTo>
                      <a:cubicBezTo>
                        <a:pt x="1506" y="1665"/>
                        <a:pt x="1512" y="1669"/>
                        <a:pt x="1516" y="1669"/>
                      </a:cubicBezTo>
                      <a:cubicBezTo>
                        <a:pt x="1519" y="1670"/>
                        <a:pt x="1523" y="1666"/>
                        <a:pt x="1525" y="1661"/>
                      </a:cubicBezTo>
                      <a:cubicBezTo>
                        <a:pt x="1526" y="1657"/>
                        <a:pt x="1531" y="1656"/>
                        <a:pt x="1534" y="1655"/>
                      </a:cubicBezTo>
                      <a:cubicBezTo>
                        <a:pt x="1537" y="1653"/>
                        <a:pt x="1544" y="1654"/>
                        <a:pt x="1548" y="1656"/>
                      </a:cubicBezTo>
                      <a:cubicBezTo>
                        <a:pt x="1552" y="1658"/>
                        <a:pt x="1556" y="1656"/>
                        <a:pt x="1555" y="1653"/>
                      </a:cubicBezTo>
                      <a:cubicBezTo>
                        <a:pt x="1555" y="1650"/>
                        <a:pt x="1552" y="1647"/>
                        <a:pt x="1550" y="1647"/>
                      </a:cubicBezTo>
                      <a:close/>
                      <a:moveTo>
                        <a:pt x="2183" y="1981"/>
                      </a:moveTo>
                      <a:cubicBezTo>
                        <a:pt x="2177" y="1984"/>
                        <a:pt x="2176" y="1987"/>
                        <a:pt x="2180" y="1989"/>
                      </a:cubicBezTo>
                      <a:cubicBezTo>
                        <a:pt x="2183" y="1991"/>
                        <a:pt x="2191" y="1989"/>
                        <a:pt x="2193" y="1987"/>
                      </a:cubicBezTo>
                      <a:cubicBezTo>
                        <a:pt x="2195" y="1985"/>
                        <a:pt x="2193" y="1976"/>
                        <a:pt x="2183" y="1981"/>
                      </a:cubicBezTo>
                      <a:close/>
                    </a:path>
                  </a:pathLst>
                </a:custGeom>
                <a:solidFill>
                  <a:srgbClr val="BFAAD4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86" name="Freeform 112"/>
                <p:cNvSpPr>
                  <a:spLocks noEditPoints="1"/>
                </p:cNvSpPr>
                <p:nvPr>
                  <p:custDataLst>
                    <p:tags r:id="rId184"/>
                  </p:custDataLst>
                </p:nvPr>
              </p:nvSpPr>
              <p:spPr bwMode="auto">
                <a:xfrm>
                  <a:off x="4871" y="2654"/>
                  <a:ext cx="111" cy="264"/>
                </a:xfrm>
                <a:custGeom>
                  <a:avLst/>
                  <a:gdLst>
                    <a:gd name="T0" fmla="*/ 70 w 260"/>
                    <a:gd name="T1" fmla="*/ 73 h 618"/>
                    <a:gd name="T2" fmla="*/ 65 w 260"/>
                    <a:gd name="T3" fmla="*/ 58 h 618"/>
                    <a:gd name="T4" fmla="*/ 54 w 260"/>
                    <a:gd name="T5" fmla="*/ 158 h 618"/>
                    <a:gd name="T6" fmla="*/ 49 w 260"/>
                    <a:gd name="T7" fmla="*/ 163 h 618"/>
                    <a:gd name="T8" fmla="*/ 10 w 260"/>
                    <a:gd name="T9" fmla="*/ 8 h 618"/>
                    <a:gd name="T10" fmla="*/ 19 w 260"/>
                    <a:gd name="T11" fmla="*/ 14 h 618"/>
                    <a:gd name="T12" fmla="*/ 10 w 260"/>
                    <a:gd name="T13" fmla="*/ 8 h 618"/>
                    <a:gd name="T14" fmla="*/ 111 w 260"/>
                    <a:gd name="T15" fmla="*/ 238 h 618"/>
                    <a:gd name="T16" fmla="*/ 108 w 260"/>
                    <a:gd name="T17" fmla="*/ 226 h 618"/>
                    <a:gd name="T18" fmla="*/ 94 w 260"/>
                    <a:gd name="T19" fmla="*/ 337 h 618"/>
                    <a:gd name="T20" fmla="*/ 103 w 260"/>
                    <a:gd name="T21" fmla="*/ 355 h 618"/>
                    <a:gd name="T22" fmla="*/ 115 w 260"/>
                    <a:gd name="T23" fmla="*/ 377 h 618"/>
                    <a:gd name="T24" fmla="*/ 121 w 260"/>
                    <a:gd name="T25" fmla="*/ 356 h 618"/>
                    <a:gd name="T26" fmla="*/ 94 w 260"/>
                    <a:gd name="T27" fmla="*/ 337 h 618"/>
                    <a:gd name="T28" fmla="*/ 109 w 260"/>
                    <a:gd name="T29" fmla="*/ 197 h 618"/>
                    <a:gd name="T30" fmla="*/ 115 w 260"/>
                    <a:gd name="T31" fmla="*/ 210 h 618"/>
                    <a:gd name="T32" fmla="*/ 126 w 260"/>
                    <a:gd name="T33" fmla="*/ 193 h 618"/>
                    <a:gd name="T34" fmla="*/ 134 w 260"/>
                    <a:gd name="T35" fmla="*/ 300 h 618"/>
                    <a:gd name="T36" fmla="*/ 127 w 260"/>
                    <a:gd name="T37" fmla="*/ 309 h 618"/>
                    <a:gd name="T38" fmla="*/ 139 w 260"/>
                    <a:gd name="T39" fmla="*/ 302 h 618"/>
                    <a:gd name="T40" fmla="*/ 252 w 260"/>
                    <a:gd name="T41" fmla="*/ 610 h 618"/>
                    <a:gd name="T42" fmla="*/ 256 w 260"/>
                    <a:gd name="T43" fmla="*/ 606 h 618"/>
                    <a:gd name="T44" fmla="*/ 252 w 260"/>
                    <a:gd name="T45" fmla="*/ 610 h 618"/>
                    <a:gd name="T46" fmla="*/ 206 w 260"/>
                    <a:gd name="T47" fmla="*/ 509 h 618"/>
                    <a:gd name="T48" fmla="*/ 219 w 260"/>
                    <a:gd name="T49" fmla="*/ 527 h 618"/>
                    <a:gd name="T50" fmla="*/ 219 w 260"/>
                    <a:gd name="T51" fmla="*/ 516 h 618"/>
                    <a:gd name="T52" fmla="*/ 224 w 260"/>
                    <a:gd name="T53" fmla="*/ 574 h 618"/>
                    <a:gd name="T54" fmla="*/ 232 w 260"/>
                    <a:gd name="T55" fmla="*/ 564 h 618"/>
                    <a:gd name="T56" fmla="*/ 160 w 260"/>
                    <a:gd name="T57" fmla="*/ 443 h 618"/>
                    <a:gd name="T58" fmla="*/ 165 w 260"/>
                    <a:gd name="T59" fmla="*/ 457 h 618"/>
                    <a:gd name="T60" fmla="*/ 173 w 260"/>
                    <a:gd name="T61" fmla="*/ 446 h 618"/>
                    <a:gd name="T62" fmla="*/ 54 w 260"/>
                    <a:gd name="T63" fmla="*/ 267 h 618"/>
                    <a:gd name="T64" fmla="*/ 61 w 260"/>
                    <a:gd name="T65" fmla="*/ 310 h 618"/>
                    <a:gd name="T66" fmla="*/ 84 w 260"/>
                    <a:gd name="T67" fmla="*/ 317 h 618"/>
                    <a:gd name="T68" fmla="*/ 91 w 260"/>
                    <a:gd name="T69" fmla="*/ 300 h 618"/>
                    <a:gd name="T70" fmla="*/ 81 w 260"/>
                    <a:gd name="T71" fmla="*/ 275 h 618"/>
                    <a:gd name="T72" fmla="*/ 68 w 260"/>
                    <a:gd name="T73" fmla="*/ 277 h 618"/>
                    <a:gd name="T74" fmla="*/ 54 w 260"/>
                    <a:gd name="T75" fmla="*/ 267 h 618"/>
                    <a:gd name="T76" fmla="*/ 148 w 260"/>
                    <a:gd name="T77" fmla="*/ 288 h 618"/>
                    <a:gd name="T78" fmla="*/ 152 w 260"/>
                    <a:gd name="T79" fmla="*/ 289 h 618"/>
                    <a:gd name="T80" fmla="*/ 153 w 260"/>
                    <a:gd name="T81" fmla="*/ 310 h 618"/>
                    <a:gd name="T82" fmla="*/ 153 w 260"/>
                    <a:gd name="T83" fmla="*/ 327 h 618"/>
                    <a:gd name="T84" fmla="*/ 157 w 260"/>
                    <a:gd name="T85" fmla="*/ 333 h 618"/>
                    <a:gd name="T86" fmla="*/ 153 w 260"/>
                    <a:gd name="T87" fmla="*/ 316 h 618"/>
                    <a:gd name="T88" fmla="*/ 142 w 260"/>
                    <a:gd name="T89" fmla="*/ 356 h 618"/>
                    <a:gd name="T90" fmla="*/ 160 w 260"/>
                    <a:gd name="T91" fmla="*/ 361 h 618"/>
                    <a:gd name="T92" fmla="*/ 146 w 260"/>
                    <a:gd name="T93" fmla="*/ 350 h 618"/>
                    <a:gd name="T94" fmla="*/ 171 w 260"/>
                    <a:gd name="T95" fmla="*/ 390 h 618"/>
                    <a:gd name="T96" fmla="*/ 152 w 260"/>
                    <a:gd name="T97" fmla="*/ 381 h 618"/>
                    <a:gd name="T98" fmla="*/ 157 w 260"/>
                    <a:gd name="T99" fmla="*/ 395 h 618"/>
                    <a:gd name="T100" fmla="*/ 171 w 260"/>
                    <a:gd name="T101" fmla="*/ 390 h 6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260" h="618">
                      <a:moveTo>
                        <a:pt x="65" y="58"/>
                      </a:moveTo>
                      <a:cubicBezTo>
                        <a:pt x="64" y="64"/>
                        <a:pt x="67" y="71"/>
                        <a:pt x="70" y="73"/>
                      </a:cubicBezTo>
                      <a:cubicBezTo>
                        <a:pt x="73" y="74"/>
                        <a:pt x="78" y="77"/>
                        <a:pt x="80" y="71"/>
                      </a:cubicBezTo>
                      <a:cubicBezTo>
                        <a:pt x="82" y="65"/>
                        <a:pt x="67" y="48"/>
                        <a:pt x="65" y="58"/>
                      </a:cubicBezTo>
                      <a:close/>
                      <a:moveTo>
                        <a:pt x="55" y="166"/>
                      </a:moveTo>
                      <a:cubicBezTo>
                        <a:pt x="56" y="163"/>
                        <a:pt x="54" y="162"/>
                        <a:pt x="54" y="158"/>
                      </a:cubicBezTo>
                      <a:cubicBezTo>
                        <a:pt x="54" y="154"/>
                        <a:pt x="52" y="153"/>
                        <a:pt x="49" y="156"/>
                      </a:cubicBezTo>
                      <a:cubicBezTo>
                        <a:pt x="49" y="158"/>
                        <a:pt x="47" y="160"/>
                        <a:pt x="49" y="163"/>
                      </a:cubicBezTo>
                      <a:cubicBezTo>
                        <a:pt x="52" y="166"/>
                        <a:pt x="54" y="169"/>
                        <a:pt x="55" y="166"/>
                      </a:cubicBezTo>
                      <a:close/>
                      <a:moveTo>
                        <a:pt x="10" y="8"/>
                      </a:moveTo>
                      <a:cubicBezTo>
                        <a:pt x="4" y="16"/>
                        <a:pt x="0" y="21"/>
                        <a:pt x="5" y="21"/>
                      </a:cubicBezTo>
                      <a:cubicBezTo>
                        <a:pt x="10" y="21"/>
                        <a:pt x="13" y="17"/>
                        <a:pt x="19" y="14"/>
                      </a:cubicBezTo>
                      <a:cubicBezTo>
                        <a:pt x="25" y="11"/>
                        <a:pt x="30" y="18"/>
                        <a:pt x="30" y="9"/>
                      </a:cubicBezTo>
                      <a:cubicBezTo>
                        <a:pt x="29" y="0"/>
                        <a:pt x="17" y="3"/>
                        <a:pt x="10" y="8"/>
                      </a:cubicBezTo>
                      <a:close/>
                      <a:moveTo>
                        <a:pt x="104" y="234"/>
                      </a:moveTo>
                      <a:cubicBezTo>
                        <a:pt x="105" y="238"/>
                        <a:pt x="107" y="241"/>
                        <a:pt x="111" y="238"/>
                      </a:cubicBezTo>
                      <a:cubicBezTo>
                        <a:pt x="116" y="236"/>
                        <a:pt x="121" y="235"/>
                        <a:pt x="120" y="229"/>
                      </a:cubicBezTo>
                      <a:cubicBezTo>
                        <a:pt x="118" y="224"/>
                        <a:pt x="110" y="223"/>
                        <a:pt x="108" y="226"/>
                      </a:cubicBezTo>
                      <a:cubicBezTo>
                        <a:pt x="107" y="230"/>
                        <a:pt x="102" y="229"/>
                        <a:pt x="104" y="234"/>
                      </a:cubicBezTo>
                      <a:close/>
                      <a:moveTo>
                        <a:pt x="94" y="337"/>
                      </a:moveTo>
                      <a:cubicBezTo>
                        <a:pt x="90" y="343"/>
                        <a:pt x="84" y="344"/>
                        <a:pt x="91" y="350"/>
                      </a:cubicBezTo>
                      <a:cubicBezTo>
                        <a:pt x="99" y="355"/>
                        <a:pt x="101" y="349"/>
                        <a:pt x="103" y="355"/>
                      </a:cubicBezTo>
                      <a:cubicBezTo>
                        <a:pt x="106" y="361"/>
                        <a:pt x="104" y="359"/>
                        <a:pt x="106" y="367"/>
                      </a:cubicBezTo>
                      <a:cubicBezTo>
                        <a:pt x="108" y="375"/>
                        <a:pt x="108" y="380"/>
                        <a:pt x="115" y="377"/>
                      </a:cubicBezTo>
                      <a:cubicBezTo>
                        <a:pt x="122" y="375"/>
                        <a:pt x="126" y="378"/>
                        <a:pt x="126" y="370"/>
                      </a:cubicBezTo>
                      <a:cubicBezTo>
                        <a:pt x="126" y="363"/>
                        <a:pt x="129" y="361"/>
                        <a:pt x="121" y="356"/>
                      </a:cubicBezTo>
                      <a:cubicBezTo>
                        <a:pt x="113" y="351"/>
                        <a:pt x="111" y="351"/>
                        <a:pt x="108" y="346"/>
                      </a:cubicBezTo>
                      <a:cubicBezTo>
                        <a:pt x="104" y="340"/>
                        <a:pt x="99" y="333"/>
                        <a:pt x="94" y="337"/>
                      </a:cubicBezTo>
                      <a:close/>
                      <a:moveTo>
                        <a:pt x="116" y="196"/>
                      </a:moveTo>
                      <a:cubicBezTo>
                        <a:pt x="113" y="198"/>
                        <a:pt x="110" y="192"/>
                        <a:pt x="109" y="197"/>
                      </a:cubicBezTo>
                      <a:cubicBezTo>
                        <a:pt x="108" y="203"/>
                        <a:pt x="108" y="209"/>
                        <a:pt x="109" y="211"/>
                      </a:cubicBezTo>
                      <a:cubicBezTo>
                        <a:pt x="111" y="214"/>
                        <a:pt x="115" y="216"/>
                        <a:pt x="115" y="210"/>
                      </a:cubicBezTo>
                      <a:cubicBezTo>
                        <a:pt x="116" y="205"/>
                        <a:pt x="113" y="205"/>
                        <a:pt x="119" y="201"/>
                      </a:cubicBezTo>
                      <a:cubicBezTo>
                        <a:pt x="124" y="197"/>
                        <a:pt x="128" y="194"/>
                        <a:pt x="126" y="193"/>
                      </a:cubicBezTo>
                      <a:cubicBezTo>
                        <a:pt x="124" y="193"/>
                        <a:pt x="120" y="194"/>
                        <a:pt x="116" y="196"/>
                      </a:cubicBezTo>
                      <a:close/>
                      <a:moveTo>
                        <a:pt x="134" y="300"/>
                      </a:moveTo>
                      <a:cubicBezTo>
                        <a:pt x="130" y="301"/>
                        <a:pt x="127" y="300"/>
                        <a:pt x="126" y="302"/>
                      </a:cubicBezTo>
                      <a:cubicBezTo>
                        <a:pt x="124" y="305"/>
                        <a:pt x="124" y="308"/>
                        <a:pt x="127" y="309"/>
                      </a:cubicBezTo>
                      <a:cubicBezTo>
                        <a:pt x="130" y="309"/>
                        <a:pt x="132" y="312"/>
                        <a:pt x="135" y="309"/>
                      </a:cubicBezTo>
                      <a:cubicBezTo>
                        <a:pt x="137" y="305"/>
                        <a:pt x="138" y="306"/>
                        <a:pt x="139" y="302"/>
                      </a:cubicBezTo>
                      <a:cubicBezTo>
                        <a:pt x="141" y="298"/>
                        <a:pt x="138" y="299"/>
                        <a:pt x="134" y="300"/>
                      </a:cubicBezTo>
                      <a:close/>
                      <a:moveTo>
                        <a:pt x="252" y="610"/>
                      </a:moveTo>
                      <a:cubicBezTo>
                        <a:pt x="254" y="613"/>
                        <a:pt x="257" y="618"/>
                        <a:pt x="259" y="614"/>
                      </a:cubicBezTo>
                      <a:cubicBezTo>
                        <a:pt x="260" y="610"/>
                        <a:pt x="258" y="610"/>
                        <a:pt x="256" y="606"/>
                      </a:cubicBezTo>
                      <a:cubicBezTo>
                        <a:pt x="255" y="602"/>
                        <a:pt x="250" y="599"/>
                        <a:pt x="249" y="604"/>
                      </a:cubicBezTo>
                      <a:cubicBezTo>
                        <a:pt x="247" y="607"/>
                        <a:pt x="250" y="608"/>
                        <a:pt x="252" y="610"/>
                      </a:cubicBezTo>
                      <a:close/>
                      <a:moveTo>
                        <a:pt x="219" y="516"/>
                      </a:moveTo>
                      <a:cubicBezTo>
                        <a:pt x="218" y="509"/>
                        <a:pt x="208" y="504"/>
                        <a:pt x="206" y="509"/>
                      </a:cubicBezTo>
                      <a:cubicBezTo>
                        <a:pt x="203" y="514"/>
                        <a:pt x="201" y="517"/>
                        <a:pt x="203" y="520"/>
                      </a:cubicBezTo>
                      <a:cubicBezTo>
                        <a:pt x="206" y="524"/>
                        <a:pt x="214" y="526"/>
                        <a:pt x="219" y="527"/>
                      </a:cubicBezTo>
                      <a:cubicBezTo>
                        <a:pt x="224" y="528"/>
                        <a:pt x="229" y="531"/>
                        <a:pt x="227" y="526"/>
                      </a:cubicBezTo>
                      <a:cubicBezTo>
                        <a:pt x="225" y="522"/>
                        <a:pt x="220" y="524"/>
                        <a:pt x="219" y="516"/>
                      </a:cubicBezTo>
                      <a:close/>
                      <a:moveTo>
                        <a:pt x="219" y="558"/>
                      </a:moveTo>
                      <a:cubicBezTo>
                        <a:pt x="223" y="569"/>
                        <a:pt x="219" y="572"/>
                        <a:pt x="224" y="574"/>
                      </a:cubicBezTo>
                      <a:cubicBezTo>
                        <a:pt x="229" y="577"/>
                        <a:pt x="235" y="577"/>
                        <a:pt x="235" y="573"/>
                      </a:cubicBezTo>
                      <a:cubicBezTo>
                        <a:pt x="236" y="568"/>
                        <a:pt x="235" y="570"/>
                        <a:pt x="232" y="564"/>
                      </a:cubicBezTo>
                      <a:cubicBezTo>
                        <a:pt x="228" y="559"/>
                        <a:pt x="214" y="545"/>
                        <a:pt x="219" y="558"/>
                      </a:cubicBezTo>
                      <a:close/>
                      <a:moveTo>
                        <a:pt x="160" y="443"/>
                      </a:moveTo>
                      <a:cubicBezTo>
                        <a:pt x="154" y="447"/>
                        <a:pt x="150" y="448"/>
                        <a:pt x="153" y="451"/>
                      </a:cubicBezTo>
                      <a:cubicBezTo>
                        <a:pt x="156" y="454"/>
                        <a:pt x="161" y="457"/>
                        <a:pt x="165" y="457"/>
                      </a:cubicBezTo>
                      <a:cubicBezTo>
                        <a:pt x="169" y="457"/>
                        <a:pt x="175" y="458"/>
                        <a:pt x="176" y="454"/>
                      </a:cubicBezTo>
                      <a:cubicBezTo>
                        <a:pt x="176" y="450"/>
                        <a:pt x="173" y="450"/>
                        <a:pt x="173" y="446"/>
                      </a:cubicBezTo>
                      <a:cubicBezTo>
                        <a:pt x="172" y="441"/>
                        <a:pt x="165" y="439"/>
                        <a:pt x="160" y="443"/>
                      </a:cubicBezTo>
                      <a:close/>
                      <a:moveTo>
                        <a:pt x="54" y="267"/>
                      </a:moveTo>
                      <a:cubicBezTo>
                        <a:pt x="56" y="279"/>
                        <a:pt x="54" y="279"/>
                        <a:pt x="54" y="290"/>
                      </a:cubicBezTo>
                      <a:cubicBezTo>
                        <a:pt x="54" y="300"/>
                        <a:pt x="58" y="302"/>
                        <a:pt x="61" y="310"/>
                      </a:cubicBezTo>
                      <a:cubicBezTo>
                        <a:pt x="64" y="317"/>
                        <a:pt x="66" y="320"/>
                        <a:pt x="71" y="318"/>
                      </a:cubicBezTo>
                      <a:cubicBezTo>
                        <a:pt x="77" y="317"/>
                        <a:pt x="78" y="313"/>
                        <a:pt x="84" y="317"/>
                      </a:cubicBezTo>
                      <a:cubicBezTo>
                        <a:pt x="89" y="321"/>
                        <a:pt x="98" y="324"/>
                        <a:pt x="96" y="317"/>
                      </a:cubicBezTo>
                      <a:cubicBezTo>
                        <a:pt x="93" y="309"/>
                        <a:pt x="90" y="306"/>
                        <a:pt x="91" y="300"/>
                      </a:cubicBezTo>
                      <a:cubicBezTo>
                        <a:pt x="92" y="294"/>
                        <a:pt x="91" y="295"/>
                        <a:pt x="87" y="286"/>
                      </a:cubicBezTo>
                      <a:cubicBezTo>
                        <a:pt x="83" y="277"/>
                        <a:pt x="86" y="270"/>
                        <a:pt x="81" y="275"/>
                      </a:cubicBezTo>
                      <a:cubicBezTo>
                        <a:pt x="76" y="281"/>
                        <a:pt x="77" y="293"/>
                        <a:pt x="73" y="288"/>
                      </a:cubicBezTo>
                      <a:cubicBezTo>
                        <a:pt x="69" y="283"/>
                        <a:pt x="67" y="283"/>
                        <a:pt x="68" y="277"/>
                      </a:cubicBezTo>
                      <a:cubicBezTo>
                        <a:pt x="69" y="271"/>
                        <a:pt x="70" y="270"/>
                        <a:pt x="66" y="265"/>
                      </a:cubicBezTo>
                      <a:cubicBezTo>
                        <a:pt x="62" y="260"/>
                        <a:pt x="49" y="251"/>
                        <a:pt x="54" y="267"/>
                      </a:cubicBezTo>
                      <a:close/>
                      <a:moveTo>
                        <a:pt x="149" y="276"/>
                      </a:moveTo>
                      <a:cubicBezTo>
                        <a:pt x="148" y="282"/>
                        <a:pt x="149" y="282"/>
                        <a:pt x="148" y="288"/>
                      </a:cubicBezTo>
                      <a:cubicBezTo>
                        <a:pt x="148" y="294"/>
                        <a:pt x="148" y="298"/>
                        <a:pt x="150" y="297"/>
                      </a:cubicBezTo>
                      <a:cubicBezTo>
                        <a:pt x="152" y="296"/>
                        <a:pt x="153" y="294"/>
                        <a:pt x="152" y="289"/>
                      </a:cubicBezTo>
                      <a:cubicBezTo>
                        <a:pt x="151" y="285"/>
                        <a:pt x="150" y="268"/>
                        <a:pt x="149" y="276"/>
                      </a:cubicBezTo>
                      <a:close/>
                      <a:moveTo>
                        <a:pt x="153" y="310"/>
                      </a:moveTo>
                      <a:cubicBezTo>
                        <a:pt x="152" y="313"/>
                        <a:pt x="148" y="313"/>
                        <a:pt x="150" y="319"/>
                      </a:cubicBezTo>
                      <a:cubicBezTo>
                        <a:pt x="153" y="325"/>
                        <a:pt x="154" y="323"/>
                        <a:pt x="153" y="327"/>
                      </a:cubicBezTo>
                      <a:cubicBezTo>
                        <a:pt x="153" y="332"/>
                        <a:pt x="153" y="340"/>
                        <a:pt x="155" y="339"/>
                      </a:cubicBezTo>
                      <a:cubicBezTo>
                        <a:pt x="157" y="338"/>
                        <a:pt x="158" y="337"/>
                        <a:pt x="157" y="333"/>
                      </a:cubicBezTo>
                      <a:cubicBezTo>
                        <a:pt x="156" y="330"/>
                        <a:pt x="156" y="326"/>
                        <a:pt x="157" y="324"/>
                      </a:cubicBezTo>
                      <a:cubicBezTo>
                        <a:pt x="157" y="322"/>
                        <a:pt x="153" y="319"/>
                        <a:pt x="153" y="316"/>
                      </a:cubicBezTo>
                      <a:cubicBezTo>
                        <a:pt x="154" y="314"/>
                        <a:pt x="158" y="307"/>
                        <a:pt x="153" y="310"/>
                      </a:cubicBezTo>
                      <a:close/>
                      <a:moveTo>
                        <a:pt x="142" y="356"/>
                      </a:moveTo>
                      <a:cubicBezTo>
                        <a:pt x="146" y="361"/>
                        <a:pt x="149" y="362"/>
                        <a:pt x="153" y="362"/>
                      </a:cubicBezTo>
                      <a:cubicBezTo>
                        <a:pt x="157" y="362"/>
                        <a:pt x="160" y="366"/>
                        <a:pt x="160" y="361"/>
                      </a:cubicBezTo>
                      <a:cubicBezTo>
                        <a:pt x="160" y="355"/>
                        <a:pt x="158" y="356"/>
                        <a:pt x="156" y="353"/>
                      </a:cubicBezTo>
                      <a:cubicBezTo>
                        <a:pt x="155" y="349"/>
                        <a:pt x="151" y="347"/>
                        <a:pt x="146" y="350"/>
                      </a:cubicBezTo>
                      <a:cubicBezTo>
                        <a:pt x="143" y="353"/>
                        <a:pt x="139" y="352"/>
                        <a:pt x="142" y="356"/>
                      </a:cubicBezTo>
                      <a:close/>
                      <a:moveTo>
                        <a:pt x="171" y="390"/>
                      </a:moveTo>
                      <a:cubicBezTo>
                        <a:pt x="165" y="387"/>
                        <a:pt x="163" y="388"/>
                        <a:pt x="162" y="384"/>
                      </a:cubicBezTo>
                      <a:cubicBezTo>
                        <a:pt x="160" y="381"/>
                        <a:pt x="153" y="376"/>
                        <a:pt x="152" y="381"/>
                      </a:cubicBezTo>
                      <a:cubicBezTo>
                        <a:pt x="150" y="388"/>
                        <a:pt x="147" y="388"/>
                        <a:pt x="149" y="391"/>
                      </a:cubicBezTo>
                      <a:cubicBezTo>
                        <a:pt x="151" y="393"/>
                        <a:pt x="153" y="395"/>
                        <a:pt x="157" y="395"/>
                      </a:cubicBezTo>
                      <a:cubicBezTo>
                        <a:pt x="162" y="394"/>
                        <a:pt x="162" y="395"/>
                        <a:pt x="167" y="395"/>
                      </a:cubicBezTo>
                      <a:cubicBezTo>
                        <a:pt x="172" y="395"/>
                        <a:pt x="176" y="394"/>
                        <a:pt x="171" y="390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87" name="Freeform 113"/>
                <p:cNvSpPr/>
                <p:nvPr>
                  <p:custDataLst>
                    <p:tags r:id="rId185"/>
                  </p:custDataLst>
                </p:nvPr>
              </p:nvSpPr>
              <p:spPr bwMode="auto">
                <a:xfrm>
                  <a:off x="4888" y="3674"/>
                  <a:ext cx="6" cy="7"/>
                </a:xfrm>
                <a:custGeom>
                  <a:avLst/>
                  <a:gdLst>
                    <a:gd name="T0" fmla="*/ 3 w 13"/>
                    <a:gd name="T1" fmla="*/ 7 h 16"/>
                    <a:gd name="T2" fmla="*/ 5 w 13"/>
                    <a:gd name="T3" fmla="*/ 15 h 16"/>
                    <a:gd name="T4" fmla="*/ 13 w 13"/>
                    <a:gd name="T5" fmla="*/ 12 h 16"/>
                    <a:gd name="T6" fmla="*/ 3 w 13"/>
                    <a:gd name="T7" fmla="*/ 7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3" h="16">
                      <a:moveTo>
                        <a:pt x="3" y="7"/>
                      </a:moveTo>
                      <a:cubicBezTo>
                        <a:pt x="3" y="12"/>
                        <a:pt x="0" y="14"/>
                        <a:pt x="5" y="15"/>
                      </a:cubicBezTo>
                      <a:cubicBezTo>
                        <a:pt x="11" y="16"/>
                        <a:pt x="13" y="16"/>
                        <a:pt x="13" y="12"/>
                      </a:cubicBezTo>
                      <a:cubicBezTo>
                        <a:pt x="13" y="8"/>
                        <a:pt x="5" y="0"/>
                        <a:pt x="3" y="7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88" name="Freeform 114"/>
                <p:cNvSpPr/>
                <p:nvPr>
                  <p:custDataLst>
                    <p:tags r:id="rId186"/>
                  </p:custDataLst>
                </p:nvPr>
              </p:nvSpPr>
              <p:spPr bwMode="auto">
                <a:xfrm>
                  <a:off x="4670" y="2187"/>
                  <a:ext cx="8" cy="9"/>
                </a:xfrm>
                <a:custGeom>
                  <a:avLst/>
                  <a:gdLst>
                    <a:gd name="T0" fmla="*/ 16 w 18"/>
                    <a:gd name="T1" fmla="*/ 14 h 21"/>
                    <a:gd name="T2" fmla="*/ 6 w 18"/>
                    <a:gd name="T3" fmla="*/ 4 h 21"/>
                    <a:gd name="T4" fmla="*/ 6 w 18"/>
                    <a:gd name="T5" fmla="*/ 18 h 21"/>
                    <a:gd name="T6" fmla="*/ 16 w 18"/>
                    <a:gd name="T7" fmla="*/ 14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8" h="21">
                      <a:moveTo>
                        <a:pt x="16" y="14"/>
                      </a:moveTo>
                      <a:cubicBezTo>
                        <a:pt x="18" y="9"/>
                        <a:pt x="8" y="0"/>
                        <a:pt x="6" y="4"/>
                      </a:cubicBezTo>
                      <a:cubicBezTo>
                        <a:pt x="5" y="14"/>
                        <a:pt x="0" y="16"/>
                        <a:pt x="6" y="18"/>
                      </a:cubicBezTo>
                      <a:cubicBezTo>
                        <a:pt x="12" y="21"/>
                        <a:pt x="15" y="19"/>
                        <a:pt x="16" y="14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89" name="Freeform 115"/>
                <p:cNvSpPr>
                  <a:spLocks noEditPoints="1"/>
                </p:cNvSpPr>
                <p:nvPr>
                  <p:custDataLst>
                    <p:tags r:id="rId187"/>
                  </p:custDataLst>
                </p:nvPr>
              </p:nvSpPr>
              <p:spPr bwMode="auto">
                <a:xfrm>
                  <a:off x="4815" y="2897"/>
                  <a:ext cx="122" cy="86"/>
                </a:xfrm>
                <a:custGeom>
                  <a:avLst/>
                  <a:gdLst>
                    <a:gd name="T0" fmla="*/ 207 w 286"/>
                    <a:gd name="T1" fmla="*/ 169 h 200"/>
                    <a:gd name="T2" fmla="*/ 187 w 286"/>
                    <a:gd name="T3" fmla="*/ 149 h 200"/>
                    <a:gd name="T4" fmla="*/ 157 w 286"/>
                    <a:gd name="T5" fmla="*/ 125 h 200"/>
                    <a:gd name="T6" fmla="*/ 134 w 286"/>
                    <a:gd name="T7" fmla="*/ 108 h 200"/>
                    <a:gd name="T8" fmla="*/ 109 w 286"/>
                    <a:gd name="T9" fmla="*/ 80 h 200"/>
                    <a:gd name="T10" fmla="*/ 82 w 286"/>
                    <a:gd name="T11" fmla="*/ 62 h 200"/>
                    <a:gd name="T12" fmla="*/ 56 w 286"/>
                    <a:gd name="T13" fmla="*/ 47 h 200"/>
                    <a:gd name="T14" fmla="*/ 44 w 286"/>
                    <a:gd name="T15" fmla="*/ 40 h 200"/>
                    <a:gd name="T16" fmla="*/ 37 w 286"/>
                    <a:gd name="T17" fmla="*/ 37 h 200"/>
                    <a:gd name="T18" fmla="*/ 30 w 286"/>
                    <a:gd name="T19" fmla="*/ 35 h 200"/>
                    <a:gd name="T20" fmla="*/ 29 w 286"/>
                    <a:gd name="T21" fmla="*/ 40 h 200"/>
                    <a:gd name="T22" fmla="*/ 35 w 286"/>
                    <a:gd name="T23" fmla="*/ 52 h 200"/>
                    <a:gd name="T24" fmla="*/ 49 w 286"/>
                    <a:gd name="T25" fmla="*/ 76 h 200"/>
                    <a:gd name="T26" fmla="*/ 76 w 286"/>
                    <a:gd name="T27" fmla="*/ 96 h 200"/>
                    <a:gd name="T28" fmla="*/ 98 w 286"/>
                    <a:gd name="T29" fmla="*/ 120 h 200"/>
                    <a:gd name="T30" fmla="*/ 124 w 286"/>
                    <a:gd name="T31" fmla="*/ 134 h 200"/>
                    <a:gd name="T32" fmla="*/ 157 w 286"/>
                    <a:gd name="T33" fmla="*/ 158 h 200"/>
                    <a:gd name="T34" fmla="*/ 188 w 286"/>
                    <a:gd name="T35" fmla="*/ 175 h 200"/>
                    <a:gd name="T36" fmla="*/ 207 w 286"/>
                    <a:gd name="T37" fmla="*/ 169 h 200"/>
                    <a:gd name="T38" fmla="*/ 264 w 286"/>
                    <a:gd name="T39" fmla="*/ 115 h 200"/>
                    <a:gd name="T40" fmla="*/ 262 w 286"/>
                    <a:gd name="T41" fmla="*/ 128 h 200"/>
                    <a:gd name="T42" fmla="*/ 271 w 286"/>
                    <a:gd name="T43" fmla="*/ 134 h 200"/>
                    <a:gd name="T44" fmla="*/ 277 w 286"/>
                    <a:gd name="T45" fmla="*/ 127 h 200"/>
                    <a:gd name="T46" fmla="*/ 282 w 286"/>
                    <a:gd name="T47" fmla="*/ 119 h 200"/>
                    <a:gd name="T48" fmla="*/ 264 w 286"/>
                    <a:gd name="T49" fmla="*/ 115 h 200"/>
                    <a:gd name="T50" fmla="*/ 180 w 286"/>
                    <a:gd name="T51" fmla="*/ 73 h 200"/>
                    <a:gd name="T52" fmla="*/ 188 w 286"/>
                    <a:gd name="T53" fmla="*/ 67 h 200"/>
                    <a:gd name="T54" fmla="*/ 195 w 286"/>
                    <a:gd name="T55" fmla="*/ 57 h 200"/>
                    <a:gd name="T56" fmla="*/ 184 w 286"/>
                    <a:gd name="T57" fmla="*/ 51 h 200"/>
                    <a:gd name="T58" fmla="*/ 182 w 286"/>
                    <a:gd name="T59" fmla="*/ 61 h 200"/>
                    <a:gd name="T60" fmla="*/ 180 w 286"/>
                    <a:gd name="T61" fmla="*/ 73 h 200"/>
                    <a:gd name="T62" fmla="*/ 235 w 286"/>
                    <a:gd name="T63" fmla="*/ 90 h 200"/>
                    <a:gd name="T64" fmla="*/ 229 w 286"/>
                    <a:gd name="T65" fmla="*/ 77 h 200"/>
                    <a:gd name="T66" fmla="*/ 218 w 286"/>
                    <a:gd name="T67" fmla="*/ 81 h 200"/>
                    <a:gd name="T68" fmla="*/ 217 w 286"/>
                    <a:gd name="T69" fmla="*/ 89 h 200"/>
                    <a:gd name="T70" fmla="*/ 224 w 286"/>
                    <a:gd name="T71" fmla="*/ 98 h 200"/>
                    <a:gd name="T72" fmla="*/ 236 w 286"/>
                    <a:gd name="T73" fmla="*/ 101 h 200"/>
                    <a:gd name="T74" fmla="*/ 235 w 286"/>
                    <a:gd name="T75" fmla="*/ 90 h 200"/>
                    <a:gd name="T76" fmla="*/ 242 w 286"/>
                    <a:gd name="T77" fmla="*/ 198 h 200"/>
                    <a:gd name="T78" fmla="*/ 245 w 286"/>
                    <a:gd name="T79" fmla="*/ 193 h 200"/>
                    <a:gd name="T80" fmla="*/ 236 w 286"/>
                    <a:gd name="T81" fmla="*/ 192 h 200"/>
                    <a:gd name="T82" fmla="*/ 242 w 286"/>
                    <a:gd name="T83" fmla="*/ 198 h 200"/>
                    <a:gd name="T84" fmla="*/ 1 w 286"/>
                    <a:gd name="T85" fmla="*/ 3 h 200"/>
                    <a:gd name="T86" fmla="*/ 3 w 286"/>
                    <a:gd name="T87" fmla="*/ 12 h 200"/>
                    <a:gd name="T88" fmla="*/ 8 w 286"/>
                    <a:gd name="T89" fmla="*/ 14 h 200"/>
                    <a:gd name="T90" fmla="*/ 7 w 286"/>
                    <a:gd name="T91" fmla="*/ 6 h 200"/>
                    <a:gd name="T92" fmla="*/ 1 w 286"/>
                    <a:gd name="T93" fmla="*/ 3 h 200"/>
                    <a:gd name="T94" fmla="*/ 127 w 286"/>
                    <a:gd name="T95" fmla="*/ 16 h 200"/>
                    <a:gd name="T96" fmla="*/ 119 w 286"/>
                    <a:gd name="T97" fmla="*/ 11 h 200"/>
                    <a:gd name="T98" fmla="*/ 119 w 286"/>
                    <a:gd name="T99" fmla="*/ 18 h 200"/>
                    <a:gd name="T100" fmla="*/ 127 w 286"/>
                    <a:gd name="T101" fmla="*/ 16 h 2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286" h="200">
                      <a:moveTo>
                        <a:pt x="207" y="169"/>
                      </a:moveTo>
                      <a:cubicBezTo>
                        <a:pt x="208" y="162"/>
                        <a:pt x="196" y="152"/>
                        <a:pt x="187" y="149"/>
                      </a:cubicBezTo>
                      <a:cubicBezTo>
                        <a:pt x="178" y="146"/>
                        <a:pt x="163" y="133"/>
                        <a:pt x="157" y="125"/>
                      </a:cubicBezTo>
                      <a:cubicBezTo>
                        <a:pt x="152" y="118"/>
                        <a:pt x="146" y="118"/>
                        <a:pt x="134" y="108"/>
                      </a:cubicBezTo>
                      <a:cubicBezTo>
                        <a:pt x="122" y="98"/>
                        <a:pt x="115" y="89"/>
                        <a:pt x="109" y="80"/>
                      </a:cubicBezTo>
                      <a:cubicBezTo>
                        <a:pt x="103" y="71"/>
                        <a:pt x="89" y="66"/>
                        <a:pt x="82" y="62"/>
                      </a:cubicBezTo>
                      <a:cubicBezTo>
                        <a:pt x="74" y="58"/>
                        <a:pt x="62" y="50"/>
                        <a:pt x="56" y="47"/>
                      </a:cubicBezTo>
                      <a:cubicBezTo>
                        <a:pt x="50" y="44"/>
                        <a:pt x="47" y="42"/>
                        <a:pt x="44" y="40"/>
                      </a:cubicBezTo>
                      <a:cubicBezTo>
                        <a:pt x="40" y="37"/>
                        <a:pt x="41" y="37"/>
                        <a:pt x="37" y="37"/>
                      </a:cubicBezTo>
                      <a:cubicBezTo>
                        <a:pt x="34" y="37"/>
                        <a:pt x="32" y="34"/>
                        <a:pt x="30" y="35"/>
                      </a:cubicBezTo>
                      <a:cubicBezTo>
                        <a:pt x="27" y="36"/>
                        <a:pt x="26" y="38"/>
                        <a:pt x="29" y="40"/>
                      </a:cubicBezTo>
                      <a:cubicBezTo>
                        <a:pt x="31" y="43"/>
                        <a:pt x="32" y="47"/>
                        <a:pt x="35" y="52"/>
                      </a:cubicBezTo>
                      <a:cubicBezTo>
                        <a:pt x="43" y="61"/>
                        <a:pt x="41" y="67"/>
                        <a:pt x="49" y="76"/>
                      </a:cubicBezTo>
                      <a:cubicBezTo>
                        <a:pt x="58" y="86"/>
                        <a:pt x="68" y="85"/>
                        <a:pt x="76" y="96"/>
                      </a:cubicBezTo>
                      <a:cubicBezTo>
                        <a:pt x="85" y="106"/>
                        <a:pt x="86" y="110"/>
                        <a:pt x="98" y="120"/>
                      </a:cubicBezTo>
                      <a:cubicBezTo>
                        <a:pt x="110" y="130"/>
                        <a:pt x="112" y="133"/>
                        <a:pt x="124" y="134"/>
                      </a:cubicBezTo>
                      <a:cubicBezTo>
                        <a:pt x="135" y="135"/>
                        <a:pt x="148" y="148"/>
                        <a:pt x="157" y="158"/>
                      </a:cubicBezTo>
                      <a:cubicBezTo>
                        <a:pt x="165" y="168"/>
                        <a:pt x="175" y="172"/>
                        <a:pt x="188" y="175"/>
                      </a:cubicBezTo>
                      <a:cubicBezTo>
                        <a:pt x="201" y="178"/>
                        <a:pt x="206" y="177"/>
                        <a:pt x="207" y="169"/>
                      </a:cubicBezTo>
                      <a:close/>
                      <a:moveTo>
                        <a:pt x="264" y="115"/>
                      </a:moveTo>
                      <a:cubicBezTo>
                        <a:pt x="261" y="121"/>
                        <a:pt x="259" y="124"/>
                        <a:pt x="262" y="128"/>
                      </a:cubicBezTo>
                      <a:cubicBezTo>
                        <a:pt x="266" y="133"/>
                        <a:pt x="269" y="135"/>
                        <a:pt x="271" y="134"/>
                      </a:cubicBezTo>
                      <a:cubicBezTo>
                        <a:pt x="274" y="133"/>
                        <a:pt x="273" y="130"/>
                        <a:pt x="277" y="127"/>
                      </a:cubicBezTo>
                      <a:cubicBezTo>
                        <a:pt x="281" y="123"/>
                        <a:pt x="286" y="125"/>
                        <a:pt x="282" y="119"/>
                      </a:cubicBezTo>
                      <a:cubicBezTo>
                        <a:pt x="278" y="113"/>
                        <a:pt x="268" y="108"/>
                        <a:pt x="264" y="115"/>
                      </a:cubicBezTo>
                      <a:close/>
                      <a:moveTo>
                        <a:pt x="180" y="73"/>
                      </a:moveTo>
                      <a:cubicBezTo>
                        <a:pt x="183" y="74"/>
                        <a:pt x="187" y="70"/>
                        <a:pt x="188" y="67"/>
                      </a:cubicBezTo>
                      <a:cubicBezTo>
                        <a:pt x="189" y="64"/>
                        <a:pt x="196" y="62"/>
                        <a:pt x="195" y="57"/>
                      </a:cubicBezTo>
                      <a:cubicBezTo>
                        <a:pt x="195" y="52"/>
                        <a:pt x="186" y="47"/>
                        <a:pt x="184" y="51"/>
                      </a:cubicBezTo>
                      <a:cubicBezTo>
                        <a:pt x="182" y="56"/>
                        <a:pt x="184" y="56"/>
                        <a:pt x="182" y="61"/>
                      </a:cubicBezTo>
                      <a:cubicBezTo>
                        <a:pt x="180" y="66"/>
                        <a:pt x="176" y="72"/>
                        <a:pt x="180" y="73"/>
                      </a:cubicBezTo>
                      <a:close/>
                      <a:moveTo>
                        <a:pt x="235" y="90"/>
                      </a:moveTo>
                      <a:cubicBezTo>
                        <a:pt x="232" y="82"/>
                        <a:pt x="233" y="79"/>
                        <a:pt x="229" y="77"/>
                      </a:cubicBezTo>
                      <a:cubicBezTo>
                        <a:pt x="225" y="75"/>
                        <a:pt x="218" y="74"/>
                        <a:pt x="218" y="81"/>
                      </a:cubicBezTo>
                      <a:cubicBezTo>
                        <a:pt x="218" y="85"/>
                        <a:pt x="216" y="85"/>
                        <a:pt x="217" y="89"/>
                      </a:cubicBezTo>
                      <a:cubicBezTo>
                        <a:pt x="217" y="92"/>
                        <a:pt x="218" y="95"/>
                        <a:pt x="224" y="98"/>
                      </a:cubicBezTo>
                      <a:cubicBezTo>
                        <a:pt x="230" y="101"/>
                        <a:pt x="235" y="105"/>
                        <a:pt x="236" y="101"/>
                      </a:cubicBezTo>
                      <a:cubicBezTo>
                        <a:pt x="238" y="98"/>
                        <a:pt x="238" y="98"/>
                        <a:pt x="235" y="90"/>
                      </a:cubicBezTo>
                      <a:close/>
                      <a:moveTo>
                        <a:pt x="242" y="198"/>
                      </a:moveTo>
                      <a:cubicBezTo>
                        <a:pt x="245" y="197"/>
                        <a:pt x="248" y="195"/>
                        <a:pt x="245" y="193"/>
                      </a:cubicBezTo>
                      <a:cubicBezTo>
                        <a:pt x="243" y="191"/>
                        <a:pt x="234" y="184"/>
                        <a:pt x="236" y="192"/>
                      </a:cubicBezTo>
                      <a:cubicBezTo>
                        <a:pt x="238" y="196"/>
                        <a:pt x="239" y="200"/>
                        <a:pt x="242" y="198"/>
                      </a:cubicBezTo>
                      <a:close/>
                      <a:moveTo>
                        <a:pt x="1" y="3"/>
                      </a:moveTo>
                      <a:cubicBezTo>
                        <a:pt x="0" y="6"/>
                        <a:pt x="1" y="9"/>
                        <a:pt x="3" y="12"/>
                      </a:cubicBezTo>
                      <a:cubicBezTo>
                        <a:pt x="5" y="14"/>
                        <a:pt x="6" y="16"/>
                        <a:pt x="8" y="14"/>
                      </a:cubicBezTo>
                      <a:cubicBezTo>
                        <a:pt x="9" y="11"/>
                        <a:pt x="7" y="10"/>
                        <a:pt x="7" y="6"/>
                      </a:cubicBezTo>
                      <a:cubicBezTo>
                        <a:pt x="7" y="2"/>
                        <a:pt x="3" y="0"/>
                        <a:pt x="1" y="3"/>
                      </a:cubicBezTo>
                      <a:close/>
                      <a:moveTo>
                        <a:pt x="127" y="16"/>
                      </a:moveTo>
                      <a:cubicBezTo>
                        <a:pt x="128" y="12"/>
                        <a:pt x="122" y="7"/>
                        <a:pt x="119" y="11"/>
                      </a:cubicBezTo>
                      <a:cubicBezTo>
                        <a:pt x="118" y="13"/>
                        <a:pt x="114" y="16"/>
                        <a:pt x="119" y="18"/>
                      </a:cubicBezTo>
                      <a:cubicBezTo>
                        <a:pt x="124" y="19"/>
                        <a:pt x="127" y="19"/>
                        <a:pt x="127" y="16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90" name="Freeform 116"/>
                <p:cNvSpPr/>
                <p:nvPr>
                  <p:custDataLst>
                    <p:tags r:id="rId188"/>
                  </p:custDataLst>
                </p:nvPr>
              </p:nvSpPr>
              <p:spPr bwMode="auto">
                <a:xfrm>
                  <a:off x="4680" y="3229"/>
                  <a:ext cx="12" cy="10"/>
                </a:xfrm>
                <a:custGeom>
                  <a:avLst/>
                  <a:gdLst>
                    <a:gd name="T0" fmla="*/ 14 w 29"/>
                    <a:gd name="T1" fmla="*/ 5 h 23"/>
                    <a:gd name="T2" fmla="*/ 6 w 29"/>
                    <a:gd name="T3" fmla="*/ 17 h 23"/>
                    <a:gd name="T4" fmla="*/ 26 w 29"/>
                    <a:gd name="T5" fmla="*/ 18 h 23"/>
                    <a:gd name="T6" fmla="*/ 14 w 29"/>
                    <a:gd name="T7" fmla="*/ 5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8" h="23">
                      <a:moveTo>
                        <a:pt x="14" y="5"/>
                      </a:moveTo>
                      <a:cubicBezTo>
                        <a:pt x="7" y="11"/>
                        <a:pt x="0" y="14"/>
                        <a:pt x="6" y="17"/>
                      </a:cubicBezTo>
                      <a:cubicBezTo>
                        <a:pt x="13" y="19"/>
                        <a:pt x="23" y="23"/>
                        <a:pt x="26" y="18"/>
                      </a:cubicBezTo>
                      <a:cubicBezTo>
                        <a:pt x="29" y="13"/>
                        <a:pt x="25" y="0"/>
                        <a:pt x="14" y="5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91" name="Freeform 117"/>
                <p:cNvSpPr/>
                <p:nvPr>
                  <p:custDataLst>
                    <p:tags r:id="rId189"/>
                  </p:custDataLst>
                </p:nvPr>
              </p:nvSpPr>
              <p:spPr bwMode="auto">
                <a:xfrm>
                  <a:off x="4796" y="2230"/>
                  <a:ext cx="8" cy="6"/>
                </a:xfrm>
                <a:custGeom>
                  <a:avLst/>
                  <a:gdLst>
                    <a:gd name="T0" fmla="*/ 8 w 18"/>
                    <a:gd name="T1" fmla="*/ 1 h 14"/>
                    <a:gd name="T2" fmla="*/ 6 w 18"/>
                    <a:gd name="T3" fmla="*/ 11 h 14"/>
                    <a:gd name="T4" fmla="*/ 17 w 18"/>
                    <a:gd name="T5" fmla="*/ 8 h 14"/>
                    <a:gd name="T6" fmla="*/ 8 w 18"/>
                    <a:gd name="T7" fmla="*/ 1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8" h="14">
                      <a:moveTo>
                        <a:pt x="8" y="1"/>
                      </a:moveTo>
                      <a:cubicBezTo>
                        <a:pt x="5" y="7"/>
                        <a:pt x="0" y="8"/>
                        <a:pt x="6" y="11"/>
                      </a:cubicBezTo>
                      <a:cubicBezTo>
                        <a:pt x="11" y="14"/>
                        <a:pt x="15" y="12"/>
                        <a:pt x="17" y="8"/>
                      </a:cubicBezTo>
                      <a:cubicBezTo>
                        <a:pt x="18" y="5"/>
                        <a:pt x="11" y="0"/>
                        <a:pt x="8" y="1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92" name="Freeform 118"/>
                <p:cNvSpPr>
                  <a:spLocks noEditPoints="1"/>
                </p:cNvSpPr>
                <p:nvPr>
                  <p:custDataLst>
                    <p:tags r:id="rId190"/>
                  </p:custDataLst>
                </p:nvPr>
              </p:nvSpPr>
              <p:spPr bwMode="auto">
                <a:xfrm>
                  <a:off x="2413" y="2192"/>
                  <a:ext cx="23" cy="202"/>
                </a:xfrm>
                <a:custGeom>
                  <a:avLst/>
                  <a:gdLst>
                    <a:gd name="T0" fmla="*/ 37 w 54"/>
                    <a:gd name="T1" fmla="*/ 396 h 474"/>
                    <a:gd name="T2" fmla="*/ 31 w 54"/>
                    <a:gd name="T3" fmla="*/ 390 h 474"/>
                    <a:gd name="T4" fmla="*/ 28 w 54"/>
                    <a:gd name="T5" fmla="*/ 395 h 474"/>
                    <a:gd name="T6" fmla="*/ 33 w 54"/>
                    <a:gd name="T7" fmla="*/ 399 h 474"/>
                    <a:gd name="T8" fmla="*/ 37 w 54"/>
                    <a:gd name="T9" fmla="*/ 396 h 474"/>
                    <a:gd name="T10" fmla="*/ 11 w 54"/>
                    <a:gd name="T11" fmla="*/ 190 h 474"/>
                    <a:gd name="T12" fmla="*/ 1 w 54"/>
                    <a:gd name="T13" fmla="*/ 186 h 474"/>
                    <a:gd name="T14" fmla="*/ 4 w 54"/>
                    <a:gd name="T15" fmla="*/ 193 h 474"/>
                    <a:gd name="T16" fmla="*/ 11 w 54"/>
                    <a:gd name="T17" fmla="*/ 190 h 474"/>
                    <a:gd name="T18" fmla="*/ 26 w 54"/>
                    <a:gd name="T19" fmla="*/ 11 h 474"/>
                    <a:gd name="T20" fmla="*/ 16 w 54"/>
                    <a:gd name="T21" fmla="*/ 7 h 474"/>
                    <a:gd name="T22" fmla="*/ 19 w 54"/>
                    <a:gd name="T23" fmla="*/ 14 h 474"/>
                    <a:gd name="T24" fmla="*/ 26 w 54"/>
                    <a:gd name="T25" fmla="*/ 11 h 474"/>
                    <a:gd name="T26" fmla="*/ 12 w 54"/>
                    <a:gd name="T27" fmla="*/ 67 h 474"/>
                    <a:gd name="T28" fmla="*/ 17 w 54"/>
                    <a:gd name="T29" fmla="*/ 72 h 474"/>
                    <a:gd name="T30" fmla="*/ 25 w 54"/>
                    <a:gd name="T31" fmla="*/ 55 h 474"/>
                    <a:gd name="T32" fmla="*/ 29 w 54"/>
                    <a:gd name="T33" fmla="*/ 48 h 474"/>
                    <a:gd name="T34" fmla="*/ 21 w 54"/>
                    <a:gd name="T35" fmla="*/ 56 h 474"/>
                    <a:gd name="T36" fmla="*/ 12 w 54"/>
                    <a:gd name="T37" fmla="*/ 67 h 474"/>
                    <a:gd name="T38" fmla="*/ 25 w 54"/>
                    <a:gd name="T39" fmla="*/ 277 h 474"/>
                    <a:gd name="T40" fmla="*/ 28 w 54"/>
                    <a:gd name="T41" fmla="*/ 282 h 474"/>
                    <a:gd name="T42" fmla="*/ 31 w 54"/>
                    <a:gd name="T43" fmla="*/ 275 h 474"/>
                    <a:gd name="T44" fmla="*/ 25 w 54"/>
                    <a:gd name="T45" fmla="*/ 277 h 474"/>
                    <a:gd name="T46" fmla="*/ 41 w 54"/>
                    <a:gd name="T47" fmla="*/ 316 h 474"/>
                    <a:gd name="T48" fmla="*/ 47 w 54"/>
                    <a:gd name="T49" fmla="*/ 312 h 474"/>
                    <a:gd name="T50" fmla="*/ 40 w 54"/>
                    <a:gd name="T51" fmla="*/ 310 h 474"/>
                    <a:gd name="T52" fmla="*/ 41 w 54"/>
                    <a:gd name="T53" fmla="*/ 316 h 474"/>
                    <a:gd name="T54" fmla="*/ 44 w 54"/>
                    <a:gd name="T55" fmla="*/ 239 h 474"/>
                    <a:gd name="T56" fmla="*/ 44 w 54"/>
                    <a:gd name="T57" fmla="*/ 247 h 474"/>
                    <a:gd name="T58" fmla="*/ 48 w 54"/>
                    <a:gd name="T59" fmla="*/ 241 h 474"/>
                    <a:gd name="T60" fmla="*/ 44 w 54"/>
                    <a:gd name="T61" fmla="*/ 239 h 474"/>
                    <a:gd name="T62" fmla="*/ 53 w 54"/>
                    <a:gd name="T63" fmla="*/ 170 h 474"/>
                    <a:gd name="T64" fmla="*/ 49 w 54"/>
                    <a:gd name="T65" fmla="*/ 163 h 474"/>
                    <a:gd name="T66" fmla="*/ 44 w 54"/>
                    <a:gd name="T67" fmla="*/ 162 h 474"/>
                    <a:gd name="T68" fmla="*/ 42 w 54"/>
                    <a:gd name="T69" fmla="*/ 169 h 474"/>
                    <a:gd name="T70" fmla="*/ 40 w 54"/>
                    <a:gd name="T71" fmla="*/ 173 h 474"/>
                    <a:gd name="T72" fmla="*/ 49 w 54"/>
                    <a:gd name="T73" fmla="*/ 173 h 474"/>
                    <a:gd name="T74" fmla="*/ 53 w 54"/>
                    <a:gd name="T75" fmla="*/ 170 h 474"/>
                    <a:gd name="T76" fmla="*/ 17 w 54"/>
                    <a:gd name="T77" fmla="*/ 99 h 474"/>
                    <a:gd name="T78" fmla="*/ 11 w 54"/>
                    <a:gd name="T79" fmla="*/ 104 h 474"/>
                    <a:gd name="T80" fmla="*/ 18 w 54"/>
                    <a:gd name="T81" fmla="*/ 107 h 474"/>
                    <a:gd name="T82" fmla="*/ 17 w 54"/>
                    <a:gd name="T83" fmla="*/ 99 h 474"/>
                    <a:gd name="T84" fmla="*/ 9 w 54"/>
                    <a:gd name="T85" fmla="*/ 243 h 474"/>
                    <a:gd name="T86" fmla="*/ 10 w 54"/>
                    <a:gd name="T87" fmla="*/ 250 h 474"/>
                    <a:gd name="T88" fmla="*/ 13 w 54"/>
                    <a:gd name="T89" fmla="*/ 242 h 474"/>
                    <a:gd name="T90" fmla="*/ 9 w 54"/>
                    <a:gd name="T91" fmla="*/ 243 h 474"/>
                    <a:gd name="T92" fmla="*/ 23 w 54"/>
                    <a:gd name="T93" fmla="*/ 462 h 474"/>
                    <a:gd name="T94" fmla="*/ 26 w 54"/>
                    <a:gd name="T95" fmla="*/ 467 h 474"/>
                    <a:gd name="T96" fmla="*/ 29 w 54"/>
                    <a:gd name="T97" fmla="*/ 472 h 474"/>
                    <a:gd name="T98" fmla="*/ 31 w 54"/>
                    <a:gd name="T99" fmla="*/ 465 h 474"/>
                    <a:gd name="T100" fmla="*/ 23 w 54"/>
                    <a:gd name="T101" fmla="*/ 462 h 4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54" h="472">
                      <a:moveTo>
                        <a:pt x="37" y="396"/>
                      </a:moveTo>
                      <a:cubicBezTo>
                        <a:pt x="37" y="393"/>
                        <a:pt x="36" y="389"/>
                        <a:pt x="31" y="390"/>
                      </a:cubicBezTo>
                      <a:cubicBezTo>
                        <a:pt x="29" y="392"/>
                        <a:pt x="26" y="393"/>
                        <a:pt x="28" y="395"/>
                      </a:cubicBezTo>
                      <a:cubicBezTo>
                        <a:pt x="29" y="397"/>
                        <a:pt x="31" y="400"/>
                        <a:pt x="33" y="399"/>
                      </a:cubicBezTo>
                      <a:cubicBezTo>
                        <a:pt x="34" y="398"/>
                        <a:pt x="36" y="398"/>
                        <a:pt x="37" y="396"/>
                      </a:cubicBezTo>
                      <a:close/>
                      <a:moveTo>
                        <a:pt x="11" y="190"/>
                      </a:moveTo>
                      <a:cubicBezTo>
                        <a:pt x="11" y="189"/>
                        <a:pt x="1" y="178"/>
                        <a:pt x="1" y="186"/>
                      </a:cubicBezTo>
                      <a:cubicBezTo>
                        <a:pt x="0" y="188"/>
                        <a:pt x="2" y="193"/>
                        <a:pt x="4" y="193"/>
                      </a:cubicBezTo>
                      <a:cubicBezTo>
                        <a:pt x="7" y="193"/>
                        <a:pt x="12" y="192"/>
                        <a:pt x="11" y="190"/>
                      </a:cubicBezTo>
                      <a:close/>
                      <a:moveTo>
                        <a:pt x="26" y="11"/>
                      </a:moveTo>
                      <a:cubicBezTo>
                        <a:pt x="27" y="7"/>
                        <a:pt x="18" y="0"/>
                        <a:pt x="16" y="7"/>
                      </a:cubicBezTo>
                      <a:cubicBezTo>
                        <a:pt x="16" y="11"/>
                        <a:pt x="16" y="10"/>
                        <a:pt x="19" y="14"/>
                      </a:cubicBezTo>
                      <a:cubicBezTo>
                        <a:pt x="22" y="18"/>
                        <a:pt x="26" y="15"/>
                        <a:pt x="26" y="11"/>
                      </a:cubicBezTo>
                      <a:close/>
                      <a:moveTo>
                        <a:pt x="12" y="67"/>
                      </a:moveTo>
                      <a:cubicBezTo>
                        <a:pt x="10" y="72"/>
                        <a:pt x="16" y="76"/>
                        <a:pt x="17" y="72"/>
                      </a:cubicBezTo>
                      <a:cubicBezTo>
                        <a:pt x="18" y="67"/>
                        <a:pt x="23" y="61"/>
                        <a:pt x="25" y="55"/>
                      </a:cubicBezTo>
                      <a:cubicBezTo>
                        <a:pt x="26" y="49"/>
                        <a:pt x="29" y="52"/>
                        <a:pt x="29" y="48"/>
                      </a:cubicBezTo>
                      <a:cubicBezTo>
                        <a:pt x="28" y="43"/>
                        <a:pt x="23" y="50"/>
                        <a:pt x="21" y="56"/>
                      </a:cubicBezTo>
                      <a:cubicBezTo>
                        <a:pt x="18" y="62"/>
                        <a:pt x="13" y="64"/>
                        <a:pt x="12" y="67"/>
                      </a:cubicBezTo>
                      <a:close/>
                      <a:moveTo>
                        <a:pt x="25" y="277"/>
                      </a:moveTo>
                      <a:cubicBezTo>
                        <a:pt x="25" y="280"/>
                        <a:pt x="25" y="283"/>
                        <a:pt x="28" y="282"/>
                      </a:cubicBezTo>
                      <a:cubicBezTo>
                        <a:pt x="30" y="280"/>
                        <a:pt x="31" y="278"/>
                        <a:pt x="31" y="275"/>
                      </a:cubicBezTo>
                      <a:cubicBezTo>
                        <a:pt x="30" y="271"/>
                        <a:pt x="24" y="270"/>
                        <a:pt x="25" y="277"/>
                      </a:cubicBezTo>
                      <a:close/>
                      <a:moveTo>
                        <a:pt x="41" y="316"/>
                      </a:moveTo>
                      <a:cubicBezTo>
                        <a:pt x="44" y="317"/>
                        <a:pt x="47" y="316"/>
                        <a:pt x="47" y="312"/>
                      </a:cubicBezTo>
                      <a:cubicBezTo>
                        <a:pt x="47" y="307"/>
                        <a:pt x="41" y="305"/>
                        <a:pt x="40" y="310"/>
                      </a:cubicBezTo>
                      <a:cubicBezTo>
                        <a:pt x="39" y="313"/>
                        <a:pt x="38" y="315"/>
                        <a:pt x="41" y="316"/>
                      </a:cubicBezTo>
                      <a:close/>
                      <a:moveTo>
                        <a:pt x="44" y="239"/>
                      </a:moveTo>
                      <a:cubicBezTo>
                        <a:pt x="40" y="240"/>
                        <a:pt x="41" y="247"/>
                        <a:pt x="44" y="247"/>
                      </a:cubicBezTo>
                      <a:cubicBezTo>
                        <a:pt x="46" y="246"/>
                        <a:pt x="48" y="243"/>
                        <a:pt x="48" y="241"/>
                      </a:cubicBezTo>
                      <a:cubicBezTo>
                        <a:pt x="48" y="239"/>
                        <a:pt x="47" y="238"/>
                        <a:pt x="44" y="239"/>
                      </a:cubicBezTo>
                      <a:close/>
                      <a:moveTo>
                        <a:pt x="53" y="170"/>
                      </a:moveTo>
                      <a:cubicBezTo>
                        <a:pt x="52" y="168"/>
                        <a:pt x="49" y="165"/>
                        <a:pt x="49" y="163"/>
                      </a:cubicBezTo>
                      <a:cubicBezTo>
                        <a:pt x="49" y="161"/>
                        <a:pt x="45" y="162"/>
                        <a:pt x="44" y="162"/>
                      </a:cubicBezTo>
                      <a:cubicBezTo>
                        <a:pt x="42" y="162"/>
                        <a:pt x="42" y="166"/>
                        <a:pt x="42" y="169"/>
                      </a:cubicBezTo>
                      <a:cubicBezTo>
                        <a:pt x="41" y="171"/>
                        <a:pt x="40" y="170"/>
                        <a:pt x="40" y="173"/>
                      </a:cubicBezTo>
                      <a:cubicBezTo>
                        <a:pt x="41" y="175"/>
                        <a:pt x="47" y="173"/>
                        <a:pt x="49" y="173"/>
                      </a:cubicBezTo>
                      <a:cubicBezTo>
                        <a:pt x="52" y="172"/>
                        <a:pt x="54" y="171"/>
                        <a:pt x="53" y="170"/>
                      </a:cubicBezTo>
                      <a:close/>
                      <a:moveTo>
                        <a:pt x="17" y="99"/>
                      </a:moveTo>
                      <a:cubicBezTo>
                        <a:pt x="15" y="99"/>
                        <a:pt x="13" y="98"/>
                        <a:pt x="11" y="104"/>
                      </a:cubicBezTo>
                      <a:cubicBezTo>
                        <a:pt x="11" y="108"/>
                        <a:pt x="14" y="110"/>
                        <a:pt x="18" y="107"/>
                      </a:cubicBezTo>
                      <a:cubicBezTo>
                        <a:pt x="20" y="103"/>
                        <a:pt x="20" y="99"/>
                        <a:pt x="17" y="99"/>
                      </a:cubicBezTo>
                      <a:close/>
                      <a:moveTo>
                        <a:pt x="9" y="243"/>
                      </a:moveTo>
                      <a:cubicBezTo>
                        <a:pt x="8" y="247"/>
                        <a:pt x="8" y="250"/>
                        <a:pt x="10" y="250"/>
                      </a:cubicBezTo>
                      <a:cubicBezTo>
                        <a:pt x="12" y="250"/>
                        <a:pt x="13" y="245"/>
                        <a:pt x="13" y="242"/>
                      </a:cubicBezTo>
                      <a:cubicBezTo>
                        <a:pt x="12" y="238"/>
                        <a:pt x="8" y="239"/>
                        <a:pt x="9" y="243"/>
                      </a:cubicBezTo>
                      <a:close/>
                      <a:moveTo>
                        <a:pt x="23" y="462"/>
                      </a:moveTo>
                      <a:cubicBezTo>
                        <a:pt x="23" y="464"/>
                        <a:pt x="24" y="462"/>
                        <a:pt x="26" y="467"/>
                      </a:cubicBezTo>
                      <a:cubicBezTo>
                        <a:pt x="27" y="472"/>
                        <a:pt x="27" y="474"/>
                        <a:pt x="29" y="472"/>
                      </a:cubicBezTo>
                      <a:cubicBezTo>
                        <a:pt x="32" y="470"/>
                        <a:pt x="31" y="469"/>
                        <a:pt x="31" y="465"/>
                      </a:cubicBezTo>
                      <a:cubicBezTo>
                        <a:pt x="31" y="461"/>
                        <a:pt x="20" y="453"/>
                        <a:pt x="23" y="462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93" name="Freeform 119"/>
                <p:cNvSpPr/>
                <p:nvPr>
                  <p:custDataLst>
                    <p:tags r:id="rId191"/>
                  </p:custDataLst>
                </p:nvPr>
              </p:nvSpPr>
              <p:spPr bwMode="auto">
                <a:xfrm>
                  <a:off x="2417" y="2068"/>
                  <a:ext cx="2" cy="5"/>
                </a:xfrm>
                <a:custGeom>
                  <a:avLst/>
                  <a:gdLst>
                    <a:gd name="T0" fmla="*/ 0 w 6"/>
                    <a:gd name="T1" fmla="*/ 4 h 12"/>
                    <a:gd name="T2" fmla="*/ 5 w 6"/>
                    <a:gd name="T3" fmla="*/ 8 h 12"/>
                    <a:gd name="T4" fmla="*/ 5 w 6"/>
                    <a:gd name="T5" fmla="*/ 1 h 12"/>
                    <a:gd name="T6" fmla="*/ 0 w 6"/>
                    <a:gd name="T7" fmla="*/ 4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12">
                      <a:moveTo>
                        <a:pt x="0" y="4"/>
                      </a:moveTo>
                      <a:cubicBezTo>
                        <a:pt x="1" y="8"/>
                        <a:pt x="5" y="12"/>
                        <a:pt x="5" y="8"/>
                      </a:cubicBezTo>
                      <a:cubicBezTo>
                        <a:pt x="6" y="4"/>
                        <a:pt x="6" y="2"/>
                        <a:pt x="5" y="1"/>
                      </a:cubicBezTo>
                      <a:cubicBezTo>
                        <a:pt x="4" y="0"/>
                        <a:pt x="0" y="1"/>
                        <a:pt x="0" y="4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94" name="Freeform 120"/>
                <p:cNvSpPr/>
                <p:nvPr>
                  <p:custDataLst>
                    <p:tags r:id="rId192"/>
                  </p:custDataLst>
                </p:nvPr>
              </p:nvSpPr>
              <p:spPr bwMode="auto">
                <a:xfrm>
                  <a:off x="2821" y="1659"/>
                  <a:ext cx="117" cy="146"/>
                </a:xfrm>
                <a:custGeom>
                  <a:avLst/>
                  <a:gdLst>
                    <a:gd name="T0" fmla="*/ 268 w 273"/>
                    <a:gd name="T1" fmla="*/ 326 h 340"/>
                    <a:gd name="T2" fmla="*/ 273 w 273"/>
                    <a:gd name="T3" fmla="*/ 324 h 340"/>
                    <a:gd name="T4" fmla="*/ 271 w 273"/>
                    <a:gd name="T5" fmla="*/ 282 h 340"/>
                    <a:gd name="T6" fmla="*/ 265 w 273"/>
                    <a:gd name="T7" fmla="*/ 245 h 340"/>
                    <a:gd name="T8" fmla="*/ 254 w 273"/>
                    <a:gd name="T9" fmla="*/ 200 h 340"/>
                    <a:gd name="T10" fmla="*/ 247 w 273"/>
                    <a:gd name="T11" fmla="*/ 179 h 340"/>
                    <a:gd name="T12" fmla="*/ 241 w 273"/>
                    <a:gd name="T13" fmla="*/ 181 h 340"/>
                    <a:gd name="T14" fmla="*/ 233 w 273"/>
                    <a:gd name="T15" fmla="*/ 211 h 340"/>
                    <a:gd name="T16" fmla="*/ 203 w 273"/>
                    <a:gd name="T17" fmla="*/ 219 h 340"/>
                    <a:gd name="T18" fmla="*/ 184 w 273"/>
                    <a:gd name="T19" fmla="*/ 183 h 340"/>
                    <a:gd name="T20" fmla="*/ 196 w 273"/>
                    <a:gd name="T21" fmla="*/ 151 h 340"/>
                    <a:gd name="T22" fmla="*/ 216 w 273"/>
                    <a:gd name="T23" fmla="*/ 144 h 340"/>
                    <a:gd name="T24" fmla="*/ 228 w 273"/>
                    <a:gd name="T25" fmla="*/ 138 h 340"/>
                    <a:gd name="T26" fmla="*/ 245 w 273"/>
                    <a:gd name="T27" fmla="*/ 119 h 340"/>
                    <a:gd name="T28" fmla="*/ 256 w 273"/>
                    <a:gd name="T29" fmla="*/ 103 h 340"/>
                    <a:gd name="T30" fmla="*/ 257 w 273"/>
                    <a:gd name="T31" fmla="*/ 94 h 340"/>
                    <a:gd name="T32" fmla="*/ 254 w 273"/>
                    <a:gd name="T33" fmla="*/ 92 h 340"/>
                    <a:gd name="T34" fmla="*/ 213 w 273"/>
                    <a:gd name="T35" fmla="*/ 87 h 340"/>
                    <a:gd name="T36" fmla="*/ 186 w 273"/>
                    <a:gd name="T37" fmla="*/ 86 h 340"/>
                    <a:gd name="T38" fmla="*/ 134 w 273"/>
                    <a:gd name="T39" fmla="*/ 83 h 340"/>
                    <a:gd name="T40" fmla="*/ 101 w 273"/>
                    <a:gd name="T41" fmla="*/ 73 h 340"/>
                    <a:gd name="T42" fmla="*/ 100 w 273"/>
                    <a:gd name="T43" fmla="*/ 32 h 340"/>
                    <a:gd name="T44" fmla="*/ 99 w 273"/>
                    <a:gd name="T45" fmla="*/ 20 h 340"/>
                    <a:gd name="T46" fmla="*/ 97 w 273"/>
                    <a:gd name="T47" fmla="*/ 18 h 340"/>
                    <a:gd name="T48" fmla="*/ 82 w 273"/>
                    <a:gd name="T49" fmla="*/ 29 h 340"/>
                    <a:gd name="T50" fmla="*/ 61 w 273"/>
                    <a:gd name="T51" fmla="*/ 12 h 340"/>
                    <a:gd name="T52" fmla="*/ 58 w 273"/>
                    <a:gd name="T53" fmla="*/ 9 h 340"/>
                    <a:gd name="T54" fmla="*/ 55 w 273"/>
                    <a:gd name="T55" fmla="*/ 8 h 340"/>
                    <a:gd name="T56" fmla="*/ 54 w 273"/>
                    <a:gd name="T57" fmla="*/ 10 h 340"/>
                    <a:gd name="T58" fmla="*/ 25 w 273"/>
                    <a:gd name="T59" fmla="*/ 0 h 340"/>
                    <a:gd name="T60" fmla="*/ 13 w 273"/>
                    <a:gd name="T61" fmla="*/ 17 h 340"/>
                    <a:gd name="T62" fmla="*/ 6 w 273"/>
                    <a:gd name="T63" fmla="*/ 26 h 340"/>
                    <a:gd name="T64" fmla="*/ 6 w 273"/>
                    <a:gd name="T65" fmla="*/ 30 h 340"/>
                    <a:gd name="T66" fmla="*/ 10 w 273"/>
                    <a:gd name="T67" fmla="*/ 35 h 340"/>
                    <a:gd name="T68" fmla="*/ 23 w 273"/>
                    <a:gd name="T69" fmla="*/ 51 h 340"/>
                    <a:gd name="T70" fmla="*/ 38 w 273"/>
                    <a:gd name="T71" fmla="*/ 56 h 340"/>
                    <a:gd name="T72" fmla="*/ 56 w 273"/>
                    <a:gd name="T73" fmla="*/ 72 h 340"/>
                    <a:gd name="T74" fmla="*/ 48 w 273"/>
                    <a:gd name="T75" fmla="*/ 84 h 340"/>
                    <a:gd name="T76" fmla="*/ 25 w 273"/>
                    <a:gd name="T77" fmla="*/ 86 h 340"/>
                    <a:gd name="T78" fmla="*/ 7 w 273"/>
                    <a:gd name="T79" fmla="*/ 105 h 340"/>
                    <a:gd name="T80" fmla="*/ 10 w 273"/>
                    <a:gd name="T81" fmla="*/ 121 h 340"/>
                    <a:gd name="T82" fmla="*/ 29 w 273"/>
                    <a:gd name="T83" fmla="*/ 133 h 340"/>
                    <a:gd name="T84" fmla="*/ 40 w 273"/>
                    <a:gd name="T85" fmla="*/ 156 h 340"/>
                    <a:gd name="T86" fmla="*/ 35 w 273"/>
                    <a:gd name="T87" fmla="*/ 181 h 340"/>
                    <a:gd name="T88" fmla="*/ 51 w 273"/>
                    <a:gd name="T89" fmla="*/ 211 h 340"/>
                    <a:gd name="T90" fmla="*/ 55 w 273"/>
                    <a:gd name="T91" fmla="*/ 239 h 340"/>
                    <a:gd name="T92" fmla="*/ 64 w 273"/>
                    <a:gd name="T93" fmla="*/ 304 h 340"/>
                    <a:gd name="T94" fmla="*/ 72 w 273"/>
                    <a:gd name="T95" fmla="*/ 296 h 340"/>
                    <a:gd name="T96" fmla="*/ 91 w 273"/>
                    <a:gd name="T97" fmla="*/ 273 h 340"/>
                    <a:gd name="T98" fmla="*/ 110 w 273"/>
                    <a:gd name="T99" fmla="*/ 289 h 340"/>
                    <a:gd name="T100" fmla="*/ 122 w 273"/>
                    <a:gd name="T101" fmla="*/ 276 h 340"/>
                    <a:gd name="T102" fmla="*/ 140 w 273"/>
                    <a:gd name="T103" fmla="*/ 281 h 340"/>
                    <a:gd name="T104" fmla="*/ 160 w 273"/>
                    <a:gd name="T105" fmla="*/ 279 h 340"/>
                    <a:gd name="T106" fmla="*/ 155 w 273"/>
                    <a:gd name="T107" fmla="*/ 246 h 340"/>
                    <a:gd name="T108" fmla="*/ 145 w 273"/>
                    <a:gd name="T109" fmla="*/ 231 h 340"/>
                    <a:gd name="T110" fmla="*/ 146 w 273"/>
                    <a:gd name="T111" fmla="*/ 205 h 340"/>
                    <a:gd name="T112" fmla="*/ 141 w 273"/>
                    <a:gd name="T113" fmla="*/ 168 h 340"/>
                    <a:gd name="T114" fmla="*/ 160 w 273"/>
                    <a:gd name="T115" fmla="*/ 195 h 340"/>
                    <a:gd name="T116" fmla="*/ 164 w 273"/>
                    <a:gd name="T117" fmla="*/ 232 h 340"/>
                    <a:gd name="T118" fmla="*/ 205 w 273"/>
                    <a:gd name="T119" fmla="*/ 233 h 340"/>
                    <a:gd name="T120" fmla="*/ 221 w 273"/>
                    <a:gd name="T121" fmla="*/ 263 h 340"/>
                    <a:gd name="T122" fmla="*/ 231 w 273"/>
                    <a:gd name="T123" fmla="*/ 297 h 340"/>
                    <a:gd name="T124" fmla="*/ 244 w 273"/>
                    <a:gd name="T125" fmla="*/ 340 h 3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73" h="340">
                      <a:moveTo>
                        <a:pt x="256" y="325"/>
                      </a:moveTo>
                      <a:cubicBezTo>
                        <a:pt x="260" y="324"/>
                        <a:pt x="262" y="325"/>
                        <a:pt x="265" y="325"/>
                      </a:cubicBezTo>
                      <a:cubicBezTo>
                        <a:pt x="266" y="326"/>
                        <a:pt x="267" y="326"/>
                        <a:pt x="268" y="326"/>
                      </a:cubicBezTo>
                      <a:cubicBezTo>
                        <a:pt x="271" y="326"/>
                        <a:pt x="271" y="326"/>
                        <a:pt x="272" y="324"/>
                      </a:cubicBezTo>
                      <a:cubicBezTo>
                        <a:pt x="273" y="324"/>
                        <a:pt x="273" y="324"/>
                        <a:pt x="273" y="324"/>
                      </a:cubicBezTo>
                      <a:cubicBezTo>
                        <a:pt x="273" y="324"/>
                        <a:pt x="273" y="324"/>
                        <a:pt x="273" y="324"/>
                      </a:cubicBezTo>
                      <a:cubicBezTo>
                        <a:pt x="273" y="323"/>
                        <a:pt x="273" y="320"/>
                        <a:pt x="273" y="315"/>
                      </a:cubicBezTo>
                      <a:cubicBezTo>
                        <a:pt x="273" y="310"/>
                        <a:pt x="272" y="304"/>
                        <a:pt x="271" y="299"/>
                      </a:cubicBezTo>
                      <a:cubicBezTo>
                        <a:pt x="269" y="291"/>
                        <a:pt x="270" y="287"/>
                        <a:pt x="271" y="282"/>
                      </a:cubicBezTo>
                      <a:cubicBezTo>
                        <a:pt x="271" y="280"/>
                        <a:pt x="272" y="277"/>
                        <a:pt x="272" y="274"/>
                      </a:cubicBezTo>
                      <a:cubicBezTo>
                        <a:pt x="272" y="270"/>
                        <a:pt x="272" y="267"/>
                        <a:pt x="271" y="263"/>
                      </a:cubicBezTo>
                      <a:cubicBezTo>
                        <a:pt x="270" y="258"/>
                        <a:pt x="268" y="253"/>
                        <a:pt x="265" y="245"/>
                      </a:cubicBezTo>
                      <a:cubicBezTo>
                        <a:pt x="262" y="236"/>
                        <a:pt x="261" y="231"/>
                        <a:pt x="260" y="227"/>
                      </a:cubicBezTo>
                      <a:cubicBezTo>
                        <a:pt x="258" y="223"/>
                        <a:pt x="258" y="219"/>
                        <a:pt x="256" y="214"/>
                      </a:cubicBezTo>
                      <a:cubicBezTo>
                        <a:pt x="255" y="208"/>
                        <a:pt x="255" y="204"/>
                        <a:pt x="254" y="200"/>
                      </a:cubicBezTo>
                      <a:cubicBezTo>
                        <a:pt x="254" y="197"/>
                        <a:pt x="254" y="193"/>
                        <a:pt x="254" y="188"/>
                      </a:cubicBezTo>
                      <a:cubicBezTo>
                        <a:pt x="254" y="185"/>
                        <a:pt x="253" y="182"/>
                        <a:pt x="252" y="181"/>
                      </a:cubicBezTo>
                      <a:cubicBezTo>
                        <a:pt x="251" y="180"/>
                        <a:pt x="250" y="179"/>
                        <a:pt x="247" y="179"/>
                      </a:cubicBezTo>
                      <a:cubicBezTo>
                        <a:pt x="245" y="179"/>
                        <a:pt x="243" y="179"/>
                        <a:pt x="243" y="179"/>
                      </a:cubicBezTo>
                      <a:cubicBezTo>
                        <a:pt x="243" y="179"/>
                        <a:pt x="243" y="179"/>
                        <a:pt x="243" y="179"/>
                      </a:cubicBezTo>
                      <a:cubicBezTo>
                        <a:pt x="242" y="179"/>
                        <a:pt x="242" y="180"/>
                        <a:pt x="241" y="181"/>
                      </a:cubicBezTo>
                      <a:cubicBezTo>
                        <a:pt x="241" y="182"/>
                        <a:pt x="240" y="185"/>
                        <a:pt x="239" y="189"/>
                      </a:cubicBezTo>
                      <a:cubicBezTo>
                        <a:pt x="238" y="194"/>
                        <a:pt x="237" y="201"/>
                        <a:pt x="234" y="207"/>
                      </a:cubicBezTo>
                      <a:cubicBezTo>
                        <a:pt x="234" y="208"/>
                        <a:pt x="233" y="210"/>
                        <a:pt x="233" y="211"/>
                      </a:cubicBezTo>
                      <a:cubicBezTo>
                        <a:pt x="230" y="219"/>
                        <a:pt x="229" y="221"/>
                        <a:pt x="225" y="224"/>
                      </a:cubicBezTo>
                      <a:cubicBezTo>
                        <a:pt x="221" y="226"/>
                        <a:pt x="218" y="226"/>
                        <a:pt x="213" y="225"/>
                      </a:cubicBezTo>
                      <a:cubicBezTo>
                        <a:pt x="210" y="223"/>
                        <a:pt x="207" y="221"/>
                        <a:pt x="203" y="219"/>
                      </a:cubicBezTo>
                      <a:cubicBezTo>
                        <a:pt x="197" y="215"/>
                        <a:pt x="193" y="207"/>
                        <a:pt x="189" y="200"/>
                      </a:cubicBezTo>
                      <a:cubicBezTo>
                        <a:pt x="189" y="199"/>
                        <a:pt x="188" y="198"/>
                        <a:pt x="187" y="196"/>
                      </a:cubicBezTo>
                      <a:cubicBezTo>
                        <a:pt x="185" y="193"/>
                        <a:pt x="184" y="188"/>
                        <a:pt x="184" y="183"/>
                      </a:cubicBezTo>
                      <a:cubicBezTo>
                        <a:pt x="184" y="179"/>
                        <a:pt x="185" y="174"/>
                        <a:pt x="185" y="169"/>
                      </a:cubicBezTo>
                      <a:cubicBezTo>
                        <a:pt x="187" y="159"/>
                        <a:pt x="189" y="157"/>
                        <a:pt x="196" y="151"/>
                      </a:cubicBezTo>
                      <a:cubicBezTo>
                        <a:pt x="196" y="151"/>
                        <a:pt x="196" y="151"/>
                        <a:pt x="196" y="151"/>
                      </a:cubicBezTo>
                      <a:cubicBezTo>
                        <a:pt x="196" y="151"/>
                        <a:pt x="196" y="151"/>
                        <a:pt x="196" y="151"/>
                      </a:cubicBezTo>
                      <a:cubicBezTo>
                        <a:pt x="199" y="148"/>
                        <a:pt x="203" y="147"/>
                        <a:pt x="206" y="146"/>
                      </a:cubicBezTo>
                      <a:cubicBezTo>
                        <a:pt x="210" y="144"/>
                        <a:pt x="213" y="144"/>
                        <a:pt x="216" y="144"/>
                      </a:cubicBezTo>
                      <a:cubicBezTo>
                        <a:pt x="217" y="144"/>
                        <a:pt x="218" y="144"/>
                        <a:pt x="218" y="144"/>
                      </a:cubicBezTo>
                      <a:cubicBezTo>
                        <a:pt x="221" y="144"/>
                        <a:pt x="223" y="145"/>
                        <a:pt x="225" y="141"/>
                      </a:cubicBezTo>
                      <a:cubicBezTo>
                        <a:pt x="227" y="140"/>
                        <a:pt x="227" y="139"/>
                        <a:pt x="228" y="138"/>
                      </a:cubicBezTo>
                      <a:cubicBezTo>
                        <a:pt x="229" y="136"/>
                        <a:pt x="230" y="135"/>
                        <a:pt x="234" y="131"/>
                      </a:cubicBezTo>
                      <a:cubicBezTo>
                        <a:pt x="236" y="128"/>
                        <a:pt x="238" y="126"/>
                        <a:pt x="240" y="125"/>
                      </a:cubicBezTo>
                      <a:cubicBezTo>
                        <a:pt x="242" y="123"/>
                        <a:pt x="244" y="121"/>
                        <a:pt x="245" y="119"/>
                      </a:cubicBezTo>
                      <a:cubicBezTo>
                        <a:pt x="245" y="116"/>
                        <a:pt x="246" y="114"/>
                        <a:pt x="247" y="112"/>
                      </a:cubicBezTo>
                      <a:cubicBezTo>
                        <a:pt x="249" y="109"/>
                        <a:pt x="250" y="107"/>
                        <a:pt x="252" y="106"/>
                      </a:cubicBezTo>
                      <a:cubicBezTo>
                        <a:pt x="254" y="105"/>
                        <a:pt x="255" y="104"/>
                        <a:pt x="256" y="103"/>
                      </a:cubicBezTo>
                      <a:cubicBezTo>
                        <a:pt x="256" y="103"/>
                        <a:pt x="256" y="103"/>
                        <a:pt x="256" y="103"/>
                      </a:cubicBezTo>
                      <a:cubicBezTo>
                        <a:pt x="258" y="102"/>
                        <a:pt x="260" y="101"/>
                        <a:pt x="260" y="99"/>
                      </a:cubicBezTo>
                      <a:cubicBezTo>
                        <a:pt x="261" y="97"/>
                        <a:pt x="260" y="97"/>
                        <a:pt x="257" y="94"/>
                      </a:cubicBezTo>
                      <a:cubicBezTo>
                        <a:pt x="256" y="93"/>
                        <a:pt x="256" y="93"/>
                        <a:pt x="256" y="93"/>
                      </a:cubicBezTo>
                      <a:cubicBezTo>
                        <a:pt x="256" y="93"/>
                        <a:pt x="256" y="93"/>
                        <a:pt x="256" y="93"/>
                      </a:cubicBezTo>
                      <a:cubicBezTo>
                        <a:pt x="256" y="93"/>
                        <a:pt x="255" y="93"/>
                        <a:pt x="254" y="92"/>
                      </a:cubicBezTo>
                      <a:cubicBezTo>
                        <a:pt x="250" y="88"/>
                        <a:pt x="246" y="85"/>
                        <a:pt x="235" y="84"/>
                      </a:cubicBezTo>
                      <a:cubicBezTo>
                        <a:pt x="228" y="84"/>
                        <a:pt x="226" y="85"/>
                        <a:pt x="224" y="85"/>
                      </a:cubicBezTo>
                      <a:cubicBezTo>
                        <a:pt x="222" y="86"/>
                        <a:pt x="219" y="87"/>
                        <a:pt x="213" y="87"/>
                      </a:cubicBezTo>
                      <a:cubicBezTo>
                        <a:pt x="205" y="88"/>
                        <a:pt x="202" y="87"/>
                        <a:pt x="200" y="86"/>
                      </a:cubicBezTo>
                      <a:cubicBezTo>
                        <a:pt x="198" y="86"/>
                        <a:pt x="197" y="85"/>
                        <a:pt x="196" y="85"/>
                      </a:cubicBezTo>
                      <a:cubicBezTo>
                        <a:pt x="193" y="85"/>
                        <a:pt x="191" y="85"/>
                        <a:pt x="186" y="86"/>
                      </a:cubicBezTo>
                      <a:cubicBezTo>
                        <a:pt x="183" y="86"/>
                        <a:pt x="179" y="86"/>
                        <a:pt x="173" y="87"/>
                      </a:cubicBezTo>
                      <a:cubicBezTo>
                        <a:pt x="157" y="88"/>
                        <a:pt x="152" y="87"/>
                        <a:pt x="141" y="85"/>
                      </a:cubicBezTo>
                      <a:cubicBezTo>
                        <a:pt x="138" y="84"/>
                        <a:pt x="135" y="84"/>
                        <a:pt x="134" y="83"/>
                      </a:cubicBezTo>
                      <a:cubicBezTo>
                        <a:pt x="126" y="82"/>
                        <a:pt x="122" y="81"/>
                        <a:pt x="119" y="81"/>
                      </a:cubicBezTo>
                      <a:cubicBezTo>
                        <a:pt x="115" y="81"/>
                        <a:pt x="113" y="81"/>
                        <a:pt x="109" y="79"/>
                      </a:cubicBezTo>
                      <a:cubicBezTo>
                        <a:pt x="106" y="77"/>
                        <a:pt x="103" y="76"/>
                        <a:pt x="101" y="73"/>
                      </a:cubicBezTo>
                      <a:cubicBezTo>
                        <a:pt x="99" y="71"/>
                        <a:pt x="97" y="68"/>
                        <a:pt x="97" y="64"/>
                      </a:cubicBezTo>
                      <a:cubicBezTo>
                        <a:pt x="96" y="59"/>
                        <a:pt x="97" y="53"/>
                        <a:pt x="98" y="46"/>
                      </a:cubicBezTo>
                      <a:cubicBezTo>
                        <a:pt x="99" y="41"/>
                        <a:pt x="100" y="36"/>
                        <a:pt x="100" y="32"/>
                      </a:cubicBezTo>
                      <a:cubicBezTo>
                        <a:pt x="100" y="31"/>
                        <a:pt x="100" y="29"/>
                        <a:pt x="100" y="27"/>
                      </a:cubicBezTo>
                      <a:cubicBezTo>
                        <a:pt x="100" y="23"/>
                        <a:pt x="100" y="22"/>
                        <a:pt x="99" y="20"/>
                      </a:cubicBezTo>
                      <a:cubicBezTo>
                        <a:pt x="99" y="20"/>
                        <a:pt x="99" y="20"/>
                        <a:pt x="99" y="20"/>
                      </a:cubicBezTo>
                      <a:cubicBezTo>
                        <a:pt x="99" y="20"/>
                        <a:pt x="99" y="20"/>
                        <a:pt x="99" y="19"/>
                      </a:cubicBezTo>
                      <a:cubicBezTo>
                        <a:pt x="99" y="19"/>
                        <a:pt x="99" y="19"/>
                        <a:pt x="99" y="19"/>
                      </a:cubicBezTo>
                      <a:cubicBezTo>
                        <a:pt x="98" y="19"/>
                        <a:pt x="98" y="19"/>
                        <a:pt x="97" y="18"/>
                      </a:cubicBezTo>
                      <a:cubicBezTo>
                        <a:pt x="96" y="18"/>
                        <a:pt x="96" y="18"/>
                        <a:pt x="95" y="18"/>
                      </a:cubicBezTo>
                      <a:cubicBezTo>
                        <a:pt x="95" y="19"/>
                        <a:pt x="95" y="19"/>
                        <a:pt x="94" y="20"/>
                      </a:cubicBezTo>
                      <a:cubicBezTo>
                        <a:pt x="92" y="24"/>
                        <a:pt x="88" y="29"/>
                        <a:pt x="82" y="29"/>
                      </a:cubicBezTo>
                      <a:cubicBezTo>
                        <a:pt x="78" y="29"/>
                        <a:pt x="75" y="28"/>
                        <a:pt x="73" y="27"/>
                      </a:cubicBezTo>
                      <a:cubicBezTo>
                        <a:pt x="70" y="25"/>
                        <a:pt x="68" y="23"/>
                        <a:pt x="65" y="20"/>
                      </a:cubicBezTo>
                      <a:cubicBezTo>
                        <a:pt x="62" y="16"/>
                        <a:pt x="62" y="14"/>
                        <a:pt x="61" y="12"/>
                      </a:cubicBezTo>
                      <a:cubicBezTo>
                        <a:pt x="61" y="12"/>
                        <a:pt x="61" y="12"/>
                        <a:pt x="61" y="12"/>
                      </a:cubicBezTo>
                      <a:cubicBezTo>
                        <a:pt x="60" y="11"/>
                        <a:pt x="60" y="10"/>
                        <a:pt x="59" y="9"/>
                      </a:cubicBezTo>
                      <a:cubicBezTo>
                        <a:pt x="59" y="9"/>
                        <a:pt x="59" y="9"/>
                        <a:pt x="58" y="9"/>
                      </a:cubicBezTo>
                      <a:cubicBezTo>
                        <a:pt x="58" y="8"/>
                        <a:pt x="57" y="8"/>
                        <a:pt x="56" y="8"/>
                      </a:cubicBezTo>
                      <a:cubicBezTo>
                        <a:pt x="56" y="8"/>
                        <a:pt x="55" y="8"/>
                        <a:pt x="55" y="8"/>
                      </a:cubicBezTo>
                      <a:cubicBezTo>
                        <a:pt x="55" y="8"/>
                        <a:pt x="55" y="8"/>
                        <a:pt x="55" y="8"/>
                      </a:cubicBezTo>
                      <a:cubicBezTo>
                        <a:pt x="55" y="8"/>
                        <a:pt x="55" y="8"/>
                        <a:pt x="55" y="8"/>
                      </a:cubicBezTo>
                      <a:cubicBezTo>
                        <a:pt x="55" y="8"/>
                        <a:pt x="55" y="8"/>
                        <a:pt x="55" y="8"/>
                      </a:cubicBezTo>
                      <a:cubicBezTo>
                        <a:pt x="54" y="9"/>
                        <a:pt x="54" y="9"/>
                        <a:pt x="54" y="10"/>
                      </a:cubicBezTo>
                      <a:cubicBezTo>
                        <a:pt x="52" y="12"/>
                        <a:pt x="50" y="15"/>
                        <a:pt x="43" y="13"/>
                      </a:cubicBezTo>
                      <a:cubicBezTo>
                        <a:pt x="40" y="12"/>
                        <a:pt x="37" y="9"/>
                        <a:pt x="33" y="6"/>
                      </a:cubicBezTo>
                      <a:cubicBezTo>
                        <a:pt x="30" y="3"/>
                        <a:pt x="27" y="0"/>
                        <a:pt x="25" y="0"/>
                      </a:cubicBezTo>
                      <a:cubicBezTo>
                        <a:pt x="23" y="1"/>
                        <a:pt x="23" y="3"/>
                        <a:pt x="23" y="4"/>
                      </a:cubicBezTo>
                      <a:cubicBezTo>
                        <a:pt x="22" y="5"/>
                        <a:pt x="22" y="5"/>
                        <a:pt x="22" y="6"/>
                      </a:cubicBezTo>
                      <a:cubicBezTo>
                        <a:pt x="21" y="11"/>
                        <a:pt x="18" y="13"/>
                        <a:pt x="13" y="17"/>
                      </a:cubicBezTo>
                      <a:cubicBezTo>
                        <a:pt x="13" y="17"/>
                        <a:pt x="13" y="17"/>
                        <a:pt x="13" y="17"/>
                      </a:cubicBezTo>
                      <a:cubicBezTo>
                        <a:pt x="11" y="18"/>
                        <a:pt x="10" y="20"/>
                        <a:pt x="9" y="21"/>
                      </a:cubicBezTo>
                      <a:cubicBezTo>
                        <a:pt x="7" y="23"/>
                        <a:pt x="6" y="25"/>
                        <a:pt x="6" y="26"/>
                      </a:cubicBezTo>
                      <a:cubicBezTo>
                        <a:pt x="6" y="26"/>
                        <a:pt x="6" y="26"/>
                        <a:pt x="6" y="26"/>
                      </a:cubicBezTo>
                      <a:cubicBezTo>
                        <a:pt x="6" y="26"/>
                        <a:pt x="6" y="26"/>
                        <a:pt x="6" y="26"/>
                      </a:cubicBezTo>
                      <a:cubicBezTo>
                        <a:pt x="5" y="27"/>
                        <a:pt x="5" y="29"/>
                        <a:pt x="6" y="30"/>
                      </a:cubicBezTo>
                      <a:cubicBezTo>
                        <a:pt x="6" y="32"/>
                        <a:pt x="7" y="33"/>
                        <a:pt x="10" y="34"/>
                      </a:cubicBezTo>
                      <a:cubicBezTo>
                        <a:pt x="10" y="34"/>
                        <a:pt x="10" y="34"/>
                        <a:pt x="10" y="34"/>
                      </a:cubicBezTo>
                      <a:cubicBezTo>
                        <a:pt x="10" y="35"/>
                        <a:pt x="10" y="35"/>
                        <a:pt x="10" y="35"/>
                      </a:cubicBezTo>
                      <a:cubicBezTo>
                        <a:pt x="10" y="35"/>
                        <a:pt x="10" y="35"/>
                        <a:pt x="10" y="35"/>
                      </a:cubicBezTo>
                      <a:cubicBezTo>
                        <a:pt x="17" y="37"/>
                        <a:pt x="19" y="41"/>
                        <a:pt x="21" y="46"/>
                      </a:cubicBezTo>
                      <a:cubicBezTo>
                        <a:pt x="22" y="48"/>
                        <a:pt x="22" y="50"/>
                        <a:pt x="23" y="51"/>
                      </a:cubicBezTo>
                      <a:cubicBezTo>
                        <a:pt x="26" y="55"/>
                        <a:pt x="30" y="55"/>
                        <a:pt x="35" y="56"/>
                      </a:cubicBezTo>
                      <a:cubicBezTo>
                        <a:pt x="35" y="56"/>
                        <a:pt x="36" y="56"/>
                        <a:pt x="38" y="56"/>
                      </a:cubicBezTo>
                      <a:cubicBezTo>
                        <a:pt x="38" y="56"/>
                        <a:pt x="38" y="56"/>
                        <a:pt x="38" y="56"/>
                      </a:cubicBezTo>
                      <a:cubicBezTo>
                        <a:pt x="44" y="57"/>
                        <a:pt x="47" y="61"/>
                        <a:pt x="49" y="63"/>
                      </a:cubicBezTo>
                      <a:cubicBezTo>
                        <a:pt x="50" y="64"/>
                        <a:pt x="51" y="65"/>
                        <a:pt x="52" y="66"/>
                      </a:cubicBezTo>
                      <a:cubicBezTo>
                        <a:pt x="54" y="67"/>
                        <a:pt x="55" y="70"/>
                        <a:pt x="56" y="72"/>
                      </a:cubicBezTo>
                      <a:cubicBezTo>
                        <a:pt x="56" y="73"/>
                        <a:pt x="56" y="75"/>
                        <a:pt x="56" y="76"/>
                      </a:cubicBezTo>
                      <a:cubicBezTo>
                        <a:pt x="56" y="77"/>
                        <a:pt x="55" y="79"/>
                        <a:pt x="54" y="80"/>
                      </a:cubicBezTo>
                      <a:cubicBezTo>
                        <a:pt x="53" y="82"/>
                        <a:pt x="51" y="83"/>
                        <a:pt x="48" y="84"/>
                      </a:cubicBezTo>
                      <a:cubicBezTo>
                        <a:pt x="48" y="84"/>
                        <a:pt x="48" y="84"/>
                        <a:pt x="48" y="84"/>
                      </a:cubicBezTo>
                      <a:cubicBezTo>
                        <a:pt x="45" y="85"/>
                        <a:pt x="42" y="85"/>
                        <a:pt x="38" y="85"/>
                      </a:cubicBezTo>
                      <a:cubicBezTo>
                        <a:pt x="33" y="85"/>
                        <a:pt x="29" y="84"/>
                        <a:pt x="25" y="86"/>
                      </a:cubicBezTo>
                      <a:cubicBezTo>
                        <a:pt x="24" y="86"/>
                        <a:pt x="23" y="87"/>
                        <a:pt x="23" y="88"/>
                      </a:cubicBezTo>
                      <a:cubicBezTo>
                        <a:pt x="23" y="90"/>
                        <a:pt x="22" y="93"/>
                        <a:pt x="17" y="98"/>
                      </a:cubicBezTo>
                      <a:cubicBezTo>
                        <a:pt x="13" y="103"/>
                        <a:pt x="9" y="104"/>
                        <a:pt x="7" y="105"/>
                      </a:cubicBezTo>
                      <a:cubicBezTo>
                        <a:pt x="5" y="105"/>
                        <a:pt x="3" y="106"/>
                        <a:pt x="2" y="108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0" y="112"/>
                        <a:pt x="2" y="114"/>
                        <a:pt x="10" y="121"/>
                      </a:cubicBezTo>
                      <a:cubicBezTo>
                        <a:pt x="12" y="124"/>
                        <a:pt x="12" y="124"/>
                        <a:pt x="12" y="124"/>
                      </a:cubicBezTo>
                      <a:cubicBezTo>
                        <a:pt x="12" y="124"/>
                        <a:pt x="12" y="124"/>
                        <a:pt x="12" y="124"/>
                      </a:cubicBezTo>
                      <a:cubicBezTo>
                        <a:pt x="19" y="130"/>
                        <a:pt x="25" y="132"/>
                        <a:pt x="29" y="133"/>
                      </a:cubicBezTo>
                      <a:cubicBezTo>
                        <a:pt x="32" y="134"/>
                        <a:pt x="35" y="135"/>
                        <a:pt x="38" y="138"/>
                      </a:cubicBezTo>
                      <a:cubicBezTo>
                        <a:pt x="44" y="144"/>
                        <a:pt x="43" y="148"/>
                        <a:pt x="40" y="156"/>
                      </a:cubicBezTo>
                      <a:cubicBezTo>
                        <a:pt x="40" y="156"/>
                        <a:pt x="40" y="156"/>
                        <a:pt x="40" y="156"/>
                      </a:cubicBezTo>
                      <a:cubicBezTo>
                        <a:pt x="39" y="158"/>
                        <a:pt x="39" y="159"/>
                        <a:pt x="38" y="161"/>
                      </a:cubicBezTo>
                      <a:cubicBezTo>
                        <a:pt x="37" y="166"/>
                        <a:pt x="35" y="170"/>
                        <a:pt x="35" y="174"/>
                      </a:cubicBezTo>
                      <a:cubicBezTo>
                        <a:pt x="35" y="177"/>
                        <a:pt x="35" y="179"/>
                        <a:pt x="35" y="181"/>
                      </a:cubicBezTo>
                      <a:cubicBezTo>
                        <a:pt x="36" y="183"/>
                        <a:pt x="37" y="184"/>
                        <a:pt x="39" y="185"/>
                      </a:cubicBezTo>
                      <a:cubicBezTo>
                        <a:pt x="42" y="188"/>
                        <a:pt x="45" y="192"/>
                        <a:pt x="45" y="198"/>
                      </a:cubicBezTo>
                      <a:cubicBezTo>
                        <a:pt x="45" y="204"/>
                        <a:pt x="48" y="207"/>
                        <a:pt x="51" y="211"/>
                      </a:cubicBezTo>
                      <a:cubicBezTo>
                        <a:pt x="51" y="212"/>
                        <a:pt x="52" y="213"/>
                        <a:pt x="53" y="214"/>
                      </a:cubicBezTo>
                      <a:cubicBezTo>
                        <a:pt x="56" y="218"/>
                        <a:pt x="56" y="221"/>
                        <a:pt x="55" y="225"/>
                      </a:cubicBezTo>
                      <a:cubicBezTo>
                        <a:pt x="55" y="228"/>
                        <a:pt x="54" y="232"/>
                        <a:pt x="55" y="239"/>
                      </a:cubicBezTo>
                      <a:cubicBezTo>
                        <a:pt x="56" y="247"/>
                        <a:pt x="56" y="253"/>
                        <a:pt x="57" y="259"/>
                      </a:cubicBezTo>
                      <a:cubicBezTo>
                        <a:pt x="58" y="265"/>
                        <a:pt x="59" y="272"/>
                        <a:pt x="60" y="279"/>
                      </a:cubicBezTo>
                      <a:cubicBezTo>
                        <a:pt x="62" y="287"/>
                        <a:pt x="63" y="296"/>
                        <a:pt x="64" y="304"/>
                      </a:cubicBezTo>
                      <a:cubicBezTo>
                        <a:pt x="64" y="305"/>
                        <a:pt x="64" y="306"/>
                        <a:pt x="64" y="308"/>
                      </a:cubicBezTo>
                      <a:cubicBezTo>
                        <a:pt x="64" y="308"/>
                        <a:pt x="64" y="307"/>
                        <a:pt x="65" y="307"/>
                      </a:cubicBezTo>
                      <a:cubicBezTo>
                        <a:pt x="68" y="304"/>
                        <a:pt x="68" y="299"/>
                        <a:pt x="72" y="296"/>
                      </a:cubicBezTo>
                      <a:cubicBezTo>
                        <a:pt x="76" y="293"/>
                        <a:pt x="80" y="300"/>
                        <a:pt x="82" y="297"/>
                      </a:cubicBezTo>
                      <a:cubicBezTo>
                        <a:pt x="84" y="294"/>
                        <a:pt x="79" y="282"/>
                        <a:pt x="81" y="275"/>
                      </a:cubicBezTo>
                      <a:cubicBezTo>
                        <a:pt x="84" y="269"/>
                        <a:pt x="87" y="271"/>
                        <a:pt x="91" y="273"/>
                      </a:cubicBezTo>
                      <a:cubicBezTo>
                        <a:pt x="94" y="274"/>
                        <a:pt x="92" y="280"/>
                        <a:pt x="92" y="286"/>
                      </a:cubicBezTo>
                      <a:cubicBezTo>
                        <a:pt x="92" y="291"/>
                        <a:pt x="93" y="292"/>
                        <a:pt x="96" y="295"/>
                      </a:cubicBezTo>
                      <a:cubicBezTo>
                        <a:pt x="99" y="299"/>
                        <a:pt x="107" y="294"/>
                        <a:pt x="110" y="289"/>
                      </a:cubicBezTo>
                      <a:cubicBezTo>
                        <a:pt x="112" y="285"/>
                        <a:pt x="107" y="277"/>
                        <a:pt x="107" y="270"/>
                      </a:cubicBezTo>
                      <a:cubicBezTo>
                        <a:pt x="106" y="263"/>
                        <a:pt x="112" y="266"/>
                        <a:pt x="114" y="268"/>
                      </a:cubicBezTo>
                      <a:cubicBezTo>
                        <a:pt x="115" y="270"/>
                        <a:pt x="117" y="273"/>
                        <a:pt x="122" y="276"/>
                      </a:cubicBezTo>
                      <a:cubicBezTo>
                        <a:pt x="128" y="278"/>
                        <a:pt x="127" y="279"/>
                        <a:pt x="126" y="283"/>
                      </a:cubicBezTo>
                      <a:cubicBezTo>
                        <a:pt x="125" y="287"/>
                        <a:pt x="124" y="291"/>
                        <a:pt x="131" y="293"/>
                      </a:cubicBezTo>
                      <a:cubicBezTo>
                        <a:pt x="137" y="294"/>
                        <a:pt x="136" y="286"/>
                        <a:pt x="140" y="281"/>
                      </a:cubicBezTo>
                      <a:cubicBezTo>
                        <a:pt x="144" y="276"/>
                        <a:pt x="143" y="274"/>
                        <a:pt x="144" y="271"/>
                      </a:cubicBezTo>
                      <a:cubicBezTo>
                        <a:pt x="144" y="268"/>
                        <a:pt x="150" y="268"/>
                        <a:pt x="153" y="273"/>
                      </a:cubicBezTo>
                      <a:cubicBezTo>
                        <a:pt x="157" y="278"/>
                        <a:pt x="158" y="280"/>
                        <a:pt x="160" y="279"/>
                      </a:cubicBezTo>
                      <a:cubicBezTo>
                        <a:pt x="162" y="279"/>
                        <a:pt x="166" y="276"/>
                        <a:pt x="167" y="272"/>
                      </a:cubicBezTo>
                      <a:cubicBezTo>
                        <a:pt x="168" y="267"/>
                        <a:pt x="169" y="259"/>
                        <a:pt x="168" y="254"/>
                      </a:cubicBezTo>
                      <a:cubicBezTo>
                        <a:pt x="167" y="249"/>
                        <a:pt x="161" y="245"/>
                        <a:pt x="155" y="246"/>
                      </a:cubicBezTo>
                      <a:cubicBezTo>
                        <a:pt x="150" y="248"/>
                        <a:pt x="151" y="246"/>
                        <a:pt x="145" y="246"/>
                      </a:cubicBezTo>
                      <a:cubicBezTo>
                        <a:pt x="139" y="245"/>
                        <a:pt x="140" y="242"/>
                        <a:pt x="140" y="239"/>
                      </a:cubicBezTo>
                      <a:cubicBezTo>
                        <a:pt x="140" y="236"/>
                        <a:pt x="142" y="234"/>
                        <a:pt x="145" y="231"/>
                      </a:cubicBezTo>
                      <a:cubicBezTo>
                        <a:pt x="148" y="228"/>
                        <a:pt x="144" y="227"/>
                        <a:pt x="142" y="221"/>
                      </a:cubicBezTo>
                      <a:cubicBezTo>
                        <a:pt x="139" y="215"/>
                        <a:pt x="141" y="216"/>
                        <a:pt x="145" y="213"/>
                      </a:cubicBezTo>
                      <a:cubicBezTo>
                        <a:pt x="148" y="209"/>
                        <a:pt x="147" y="208"/>
                        <a:pt x="146" y="205"/>
                      </a:cubicBezTo>
                      <a:cubicBezTo>
                        <a:pt x="145" y="202"/>
                        <a:pt x="140" y="199"/>
                        <a:pt x="137" y="195"/>
                      </a:cubicBezTo>
                      <a:cubicBezTo>
                        <a:pt x="133" y="191"/>
                        <a:pt x="132" y="187"/>
                        <a:pt x="133" y="184"/>
                      </a:cubicBezTo>
                      <a:cubicBezTo>
                        <a:pt x="134" y="181"/>
                        <a:pt x="136" y="172"/>
                        <a:pt x="141" y="168"/>
                      </a:cubicBezTo>
                      <a:cubicBezTo>
                        <a:pt x="145" y="164"/>
                        <a:pt x="144" y="169"/>
                        <a:pt x="147" y="173"/>
                      </a:cubicBezTo>
                      <a:cubicBezTo>
                        <a:pt x="149" y="178"/>
                        <a:pt x="152" y="180"/>
                        <a:pt x="159" y="184"/>
                      </a:cubicBezTo>
                      <a:cubicBezTo>
                        <a:pt x="166" y="188"/>
                        <a:pt x="161" y="191"/>
                        <a:pt x="160" y="195"/>
                      </a:cubicBezTo>
                      <a:cubicBezTo>
                        <a:pt x="158" y="199"/>
                        <a:pt x="158" y="202"/>
                        <a:pt x="155" y="207"/>
                      </a:cubicBezTo>
                      <a:cubicBezTo>
                        <a:pt x="153" y="212"/>
                        <a:pt x="155" y="214"/>
                        <a:pt x="155" y="220"/>
                      </a:cubicBezTo>
                      <a:cubicBezTo>
                        <a:pt x="155" y="225"/>
                        <a:pt x="158" y="229"/>
                        <a:pt x="164" y="232"/>
                      </a:cubicBezTo>
                      <a:cubicBezTo>
                        <a:pt x="170" y="236"/>
                        <a:pt x="172" y="236"/>
                        <a:pt x="181" y="239"/>
                      </a:cubicBezTo>
                      <a:cubicBezTo>
                        <a:pt x="189" y="241"/>
                        <a:pt x="189" y="239"/>
                        <a:pt x="194" y="235"/>
                      </a:cubicBezTo>
                      <a:cubicBezTo>
                        <a:pt x="198" y="232"/>
                        <a:pt x="199" y="233"/>
                        <a:pt x="205" y="233"/>
                      </a:cubicBezTo>
                      <a:cubicBezTo>
                        <a:pt x="210" y="233"/>
                        <a:pt x="211" y="234"/>
                        <a:pt x="211" y="240"/>
                      </a:cubicBezTo>
                      <a:cubicBezTo>
                        <a:pt x="211" y="245"/>
                        <a:pt x="214" y="254"/>
                        <a:pt x="215" y="258"/>
                      </a:cubicBezTo>
                      <a:cubicBezTo>
                        <a:pt x="216" y="261"/>
                        <a:pt x="220" y="260"/>
                        <a:pt x="221" y="263"/>
                      </a:cubicBezTo>
                      <a:cubicBezTo>
                        <a:pt x="223" y="266"/>
                        <a:pt x="225" y="265"/>
                        <a:pt x="229" y="269"/>
                      </a:cubicBezTo>
                      <a:cubicBezTo>
                        <a:pt x="233" y="274"/>
                        <a:pt x="230" y="277"/>
                        <a:pt x="230" y="284"/>
                      </a:cubicBezTo>
                      <a:cubicBezTo>
                        <a:pt x="230" y="291"/>
                        <a:pt x="230" y="288"/>
                        <a:pt x="231" y="297"/>
                      </a:cubicBezTo>
                      <a:cubicBezTo>
                        <a:pt x="232" y="306"/>
                        <a:pt x="233" y="302"/>
                        <a:pt x="235" y="311"/>
                      </a:cubicBezTo>
                      <a:cubicBezTo>
                        <a:pt x="237" y="320"/>
                        <a:pt x="235" y="320"/>
                        <a:pt x="238" y="328"/>
                      </a:cubicBezTo>
                      <a:cubicBezTo>
                        <a:pt x="241" y="336"/>
                        <a:pt x="243" y="337"/>
                        <a:pt x="244" y="340"/>
                      </a:cubicBezTo>
                      <a:cubicBezTo>
                        <a:pt x="247" y="334"/>
                        <a:pt x="252" y="326"/>
                        <a:pt x="256" y="325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95" name="Freeform 121"/>
                <p:cNvSpPr/>
                <p:nvPr>
                  <p:custDataLst>
                    <p:tags r:id="rId193"/>
                  </p:custDataLst>
                </p:nvPr>
              </p:nvSpPr>
              <p:spPr bwMode="auto">
                <a:xfrm>
                  <a:off x="2298" y="1382"/>
                  <a:ext cx="764" cy="778"/>
                </a:xfrm>
                <a:custGeom>
                  <a:avLst/>
                  <a:gdLst>
                    <a:gd name="T0" fmla="*/ 1252 w 1788"/>
                    <a:gd name="T1" fmla="*/ 823 h 1822"/>
                    <a:gd name="T2" fmla="*/ 1236 w 1788"/>
                    <a:gd name="T3" fmla="*/ 742 h 1822"/>
                    <a:gd name="T4" fmla="*/ 1261 w 1788"/>
                    <a:gd name="T5" fmla="*/ 714 h 1822"/>
                    <a:gd name="T6" fmla="*/ 1223 w 1788"/>
                    <a:gd name="T7" fmla="*/ 674 h 1822"/>
                    <a:gd name="T8" fmla="*/ 1272 w 1788"/>
                    <a:gd name="T9" fmla="*/ 655 h 1822"/>
                    <a:gd name="T10" fmla="*/ 1293 w 1788"/>
                    <a:gd name="T11" fmla="*/ 659 h 1822"/>
                    <a:gd name="T12" fmla="*/ 1331 w 1788"/>
                    <a:gd name="T13" fmla="*/ 667 h 1822"/>
                    <a:gd name="T14" fmla="*/ 1410 w 1788"/>
                    <a:gd name="T15" fmla="*/ 728 h 1822"/>
                    <a:gd name="T16" fmla="*/ 1485 w 1788"/>
                    <a:gd name="T17" fmla="*/ 760 h 1822"/>
                    <a:gd name="T18" fmla="*/ 1433 w 1788"/>
                    <a:gd name="T19" fmla="*/ 803 h 1822"/>
                    <a:gd name="T20" fmla="*/ 1450 w 1788"/>
                    <a:gd name="T21" fmla="*/ 858 h 1822"/>
                    <a:gd name="T22" fmla="*/ 1492 w 1788"/>
                    <a:gd name="T23" fmla="*/ 875 h 1822"/>
                    <a:gd name="T24" fmla="*/ 1530 w 1788"/>
                    <a:gd name="T25" fmla="*/ 914 h 1822"/>
                    <a:gd name="T26" fmla="*/ 1545 w 1788"/>
                    <a:gd name="T27" fmla="*/ 807 h 1822"/>
                    <a:gd name="T28" fmla="*/ 1614 w 1788"/>
                    <a:gd name="T29" fmla="*/ 766 h 1822"/>
                    <a:gd name="T30" fmla="*/ 1650 w 1788"/>
                    <a:gd name="T31" fmla="*/ 680 h 1822"/>
                    <a:gd name="T32" fmla="*/ 1741 w 1788"/>
                    <a:gd name="T33" fmla="*/ 586 h 1822"/>
                    <a:gd name="T34" fmla="*/ 1781 w 1788"/>
                    <a:gd name="T35" fmla="*/ 549 h 1822"/>
                    <a:gd name="T36" fmla="*/ 1730 w 1788"/>
                    <a:gd name="T37" fmla="*/ 509 h 1822"/>
                    <a:gd name="T38" fmla="*/ 1722 w 1788"/>
                    <a:gd name="T39" fmla="*/ 460 h 1822"/>
                    <a:gd name="T40" fmla="*/ 1611 w 1788"/>
                    <a:gd name="T41" fmla="*/ 468 h 1822"/>
                    <a:gd name="T42" fmla="*/ 1482 w 1788"/>
                    <a:gd name="T43" fmla="*/ 560 h 1822"/>
                    <a:gd name="T44" fmla="*/ 1469 w 1788"/>
                    <a:gd name="T45" fmla="*/ 604 h 1822"/>
                    <a:gd name="T46" fmla="*/ 1330 w 1788"/>
                    <a:gd name="T47" fmla="*/ 632 h 1822"/>
                    <a:gd name="T48" fmla="*/ 1265 w 1788"/>
                    <a:gd name="T49" fmla="*/ 589 h 1822"/>
                    <a:gd name="T50" fmla="*/ 1224 w 1788"/>
                    <a:gd name="T51" fmla="*/ 574 h 1822"/>
                    <a:gd name="T52" fmla="*/ 1166 w 1788"/>
                    <a:gd name="T53" fmla="*/ 652 h 1822"/>
                    <a:gd name="T54" fmla="*/ 1066 w 1788"/>
                    <a:gd name="T55" fmla="*/ 627 h 1822"/>
                    <a:gd name="T56" fmla="*/ 964 w 1788"/>
                    <a:gd name="T57" fmla="*/ 586 h 1822"/>
                    <a:gd name="T58" fmla="*/ 871 w 1788"/>
                    <a:gd name="T59" fmla="*/ 561 h 1822"/>
                    <a:gd name="T60" fmla="*/ 750 w 1788"/>
                    <a:gd name="T61" fmla="*/ 506 h 1822"/>
                    <a:gd name="T62" fmla="*/ 746 w 1788"/>
                    <a:gd name="T63" fmla="*/ 420 h 1822"/>
                    <a:gd name="T64" fmla="*/ 694 w 1788"/>
                    <a:gd name="T65" fmla="*/ 344 h 1822"/>
                    <a:gd name="T66" fmla="*/ 632 w 1788"/>
                    <a:gd name="T67" fmla="*/ 269 h 1822"/>
                    <a:gd name="T68" fmla="*/ 685 w 1788"/>
                    <a:gd name="T69" fmla="*/ 215 h 1822"/>
                    <a:gd name="T70" fmla="*/ 656 w 1788"/>
                    <a:gd name="T71" fmla="*/ 133 h 1822"/>
                    <a:gd name="T72" fmla="*/ 741 w 1788"/>
                    <a:gd name="T73" fmla="*/ 44 h 1822"/>
                    <a:gd name="T74" fmla="*/ 625 w 1788"/>
                    <a:gd name="T75" fmla="*/ 11 h 1822"/>
                    <a:gd name="T76" fmla="*/ 501 w 1788"/>
                    <a:gd name="T77" fmla="*/ 87 h 1822"/>
                    <a:gd name="T78" fmla="*/ 345 w 1788"/>
                    <a:gd name="T79" fmla="*/ 103 h 1822"/>
                    <a:gd name="T80" fmla="*/ 357 w 1788"/>
                    <a:gd name="T81" fmla="*/ 154 h 1822"/>
                    <a:gd name="T82" fmla="*/ 402 w 1788"/>
                    <a:gd name="T83" fmla="*/ 237 h 1822"/>
                    <a:gd name="T84" fmla="*/ 389 w 1788"/>
                    <a:gd name="T85" fmla="*/ 287 h 1822"/>
                    <a:gd name="T86" fmla="*/ 308 w 1788"/>
                    <a:gd name="T87" fmla="*/ 424 h 1822"/>
                    <a:gd name="T88" fmla="*/ 166 w 1788"/>
                    <a:gd name="T89" fmla="*/ 563 h 1822"/>
                    <a:gd name="T90" fmla="*/ 113 w 1788"/>
                    <a:gd name="T91" fmla="*/ 640 h 1822"/>
                    <a:gd name="T92" fmla="*/ 171 w 1788"/>
                    <a:gd name="T93" fmla="*/ 781 h 1822"/>
                    <a:gd name="T94" fmla="*/ 27 w 1788"/>
                    <a:gd name="T95" fmla="*/ 792 h 1822"/>
                    <a:gd name="T96" fmla="*/ 63 w 1788"/>
                    <a:gd name="T97" fmla="*/ 886 h 1822"/>
                    <a:gd name="T98" fmla="*/ 44 w 1788"/>
                    <a:gd name="T99" fmla="*/ 912 h 1822"/>
                    <a:gd name="T100" fmla="*/ 238 w 1788"/>
                    <a:gd name="T101" fmla="*/ 922 h 1822"/>
                    <a:gd name="T102" fmla="*/ 271 w 1788"/>
                    <a:gd name="T103" fmla="*/ 1095 h 1822"/>
                    <a:gd name="T104" fmla="*/ 351 w 1788"/>
                    <a:gd name="T105" fmla="*/ 1390 h 1822"/>
                    <a:gd name="T106" fmla="*/ 498 w 1788"/>
                    <a:gd name="T107" fmla="*/ 1720 h 1822"/>
                    <a:gd name="T108" fmla="*/ 686 w 1788"/>
                    <a:gd name="T109" fmla="*/ 1751 h 1822"/>
                    <a:gd name="T110" fmla="*/ 738 w 1788"/>
                    <a:gd name="T111" fmla="*/ 1523 h 1822"/>
                    <a:gd name="T112" fmla="*/ 765 w 1788"/>
                    <a:gd name="T113" fmla="*/ 1334 h 1822"/>
                    <a:gd name="T114" fmla="*/ 930 w 1788"/>
                    <a:gd name="T115" fmla="*/ 1212 h 1822"/>
                    <a:gd name="T116" fmla="*/ 1109 w 1788"/>
                    <a:gd name="T117" fmla="*/ 1061 h 1822"/>
                    <a:gd name="T118" fmla="*/ 1228 w 1788"/>
                    <a:gd name="T119" fmla="*/ 931 h 1822"/>
                    <a:gd name="T120" fmla="*/ 1281 w 1788"/>
                    <a:gd name="T121" fmla="*/ 955 h 18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1788" h="1822">
                      <a:moveTo>
                        <a:pt x="1281" y="955"/>
                      </a:moveTo>
                      <a:cubicBezTo>
                        <a:pt x="1280" y="947"/>
                        <a:pt x="1279" y="938"/>
                        <a:pt x="1277" y="931"/>
                      </a:cubicBezTo>
                      <a:cubicBezTo>
                        <a:pt x="1276" y="923"/>
                        <a:pt x="1275" y="917"/>
                        <a:pt x="1274" y="910"/>
                      </a:cubicBezTo>
                      <a:cubicBezTo>
                        <a:pt x="1273" y="904"/>
                        <a:pt x="1273" y="897"/>
                        <a:pt x="1272" y="890"/>
                      </a:cubicBezTo>
                      <a:cubicBezTo>
                        <a:pt x="1271" y="882"/>
                        <a:pt x="1272" y="878"/>
                        <a:pt x="1272" y="874"/>
                      </a:cubicBezTo>
                      <a:cubicBezTo>
                        <a:pt x="1273" y="872"/>
                        <a:pt x="1273" y="870"/>
                        <a:pt x="1272" y="869"/>
                      </a:cubicBezTo>
                      <a:cubicBezTo>
                        <a:pt x="1271" y="868"/>
                        <a:pt x="1270" y="867"/>
                        <a:pt x="1269" y="866"/>
                      </a:cubicBezTo>
                      <a:cubicBezTo>
                        <a:pt x="1265" y="861"/>
                        <a:pt x="1262" y="857"/>
                        <a:pt x="1262" y="848"/>
                      </a:cubicBezTo>
                      <a:cubicBezTo>
                        <a:pt x="1262" y="845"/>
                        <a:pt x="1260" y="843"/>
                        <a:pt x="1258" y="841"/>
                      </a:cubicBezTo>
                      <a:cubicBezTo>
                        <a:pt x="1256" y="839"/>
                        <a:pt x="1254" y="837"/>
                        <a:pt x="1253" y="834"/>
                      </a:cubicBezTo>
                      <a:cubicBezTo>
                        <a:pt x="1252" y="831"/>
                        <a:pt x="1251" y="827"/>
                        <a:pt x="1252" y="823"/>
                      </a:cubicBezTo>
                      <a:cubicBezTo>
                        <a:pt x="1253" y="818"/>
                        <a:pt x="1254" y="814"/>
                        <a:pt x="1256" y="808"/>
                      </a:cubicBezTo>
                      <a:cubicBezTo>
                        <a:pt x="1256" y="806"/>
                        <a:pt x="1257" y="805"/>
                        <a:pt x="1257" y="803"/>
                      </a:cubicBezTo>
                      <a:cubicBezTo>
                        <a:pt x="1257" y="803"/>
                        <a:pt x="1257" y="803"/>
                        <a:pt x="1257" y="803"/>
                      </a:cubicBezTo>
                      <a:cubicBezTo>
                        <a:pt x="1259" y="798"/>
                        <a:pt x="1260" y="796"/>
                        <a:pt x="1258" y="794"/>
                      </a:cubicBezTo>
                      <a:cubicBezTo>
                        <a:pt x="1256" y="792"/>
                        <a:pt x="1254" y="792"/>
                        <a:pt x="1252" y="791"/>
                      </a:cubicBezTo>
                      <a:cubicBezTo>
                        <a:pt x="1246" y="789"/>
                        <a:pt x="1240" y="787"/>
                        <a:pt x="1232" y="780"/>
                      </a:cubicBezTo>
                      <a:cubicBezTo>
                        <a:pt x="1229" y="777"/>
                        <a:pt x="1229" y="777"/>
                        <a:pt x="1229" y="777"/>
                      </a:cubicBezTo>
                      <a:cubicBezTo>
                        <a:pt x="1218" y="766"/>
                        <a:pt x="1214" y="763"/>
                        <a:pt x="1220" y="754"/>
                      </a:cubicBezTo>
                      <a:cubicBezTo>
                        <a:pt x="1220" y="754"/>
                        <a:pt x="1220" y="754"/>
                        <a:pt x="1220" y="754"/>
                      </a:cubicBezTo>
                      <a:cubicBezTo>
                        <a:pt x="1223" y="749"/>
                        <a:pt x="1226" y="748"/>
                        <a:pt x="1229" y="747"/>
                      </a:cubicBezTo>
                      <a:cubicBezTo>
                        <a:pt x="1231" y="747"/>
                        <a:pt x="1233" y="746"/>
                        <a:pt x="1236" y="742"/>
                      </a:cubicBezTo>
                      <a:cubicBezTo>
                        <a:pt x="1239" y="739"/>
                        <a:pt x="1240" y="737"/>
                        <a:pt x="1241" y="736"/>
                      </a:cubicBezTo>
                      <a:cubicBezTo>
                        <a:pt x="1242" y="732"/>
                        <a:pt x="1242" y="731"/>
                        <a:pt x="1247" y="728"/>
                      </a:cubicBezTo>
                      <a:cubicBezTo>
                        <a:pt x="1252" y="726"/>
                        <a:pt x="1258" y="727"/>
                        <a:pt x="1263" y="727"/>
                      </a:cubicBezTo>
                      <a:cubicBezTo>
                        <a:pt x="1266" y="727"/>
                        <a:pt x="1269" y="727"/>
                        <a:pt x="1271" y="726"/>
                      </a:cubicBezTo>
                      <a:cubicBezTo>
                        <a:pt x="1271" y="726"/>
                        <a:pt x="1271" y="726"/>
                        <a:pt x="1271" y="726"/>
                      </a:cubicBezTo>
                      <a:cubicBezTo>
                        <a:pt x="1272" y="726"/>
                        <a:pt x="1273" y="726"/>
                        <a:pt x="1273" y="725"/>
                      </a:cubicBezTo>
                      <a:cubicBezTo>
                        <a:pt x="1273" y="725"/>
                        <a:pt x="1273" y="725"/>
                        <a:pt x="1273" y="725"/>
                      </a:cubicBezTo>
                      <a:cubicBezTo>
                        <a:pt x="1273" y="724"/>
                        <a:pt x="1273" y="724"/>
                        <a:pt x="1273" y="724"/>
                      </a:cubicBezTo>
                      <a:cubicBezTo>
                        <a:pt x="1273" y="723"/>
                        <a:pt x="1273" y="723"/>
                        <a:pt x="1272" y="722"/>
                      </a:cubicBezTo>
                      <a:cubicBezTo>
                        <a:pt x="1271" y="721"/>
                        <a:pt x="1269" y="720"/>
                        <a:pt x="1268" y="719"/>
                      </a:cubicBezTo>
                      <a:cubicBezTo>
                        <a:pt x="1267" y="717"/>
                        <a:pt x="1265" y="715"/>
                        <a:pt x="1261" y="714"/>
                      </a:cubicBezTo>
                      <a:cubicBezTo>
                        <a:pt x="1261" y="714"/>
                        <a:pt x="1261" y="714"/>
                        <a:pt x="1261" y="714"/>
                      </a:cubicBezTo>
                      <a:cubicBezTo>
                        <a:pt x="1261" y="714"/>
                        <a:pt x="1260" y="714"/>
                        <a:pt x="1258" y="714"/>
                      </a:cubicBezTo>
                      <a:cubicBezTo>
                        <a:pt x="1251" y="713"/>
                        <a:pt x="1246" y="712"/>
                        <a:pt x="1242" y="706"/>
                      </a:cubicBezTo>
                      <a:cubicBezTo>
                        <a:pt x="1240" y="703"/>
                        <a:pt x="1239" y="701"/>
                        <a:pt x="1239" y="699"/>
                      </a:cubicBezTo>
                      <a:cubicBezTo>
                        <a:pt x="1237" y="696"/>
                        <a:pt x="1236" y="693"/>
                        <a:pt x="1232" y="692"/>
                      </a:cubicBezTo>
                      <a:cubicBezTo>
                        <a:pt x="1232" y="692"/>
                        <a:pt x="1232" y="692"/>
                        <a:pt x="1232" y="692"/>
                      </a:cubicBezTo>
                      <a:cubicBezTo>
                        <a:pt x="1232" y="692"/>
                        <a:pt x="1232" y="692"/>
                        <a:pt x="1232" y="692"/>
                      </a:cubicBezTo>
                      <a:cubicBezTo>
                        <a:pt x="1232" y="692"/>
                        <a:pt x="1232" y="692"/>
                        <a:pt x="1232" y="692"/>
                      </a:cubicBezTo>
                      <a:cubicBezTo>
                        <a:pt x="1226" y="690"/>
                        <a:pt x="1224" y="686"/>
                        <a:pt x="1223" y="683"/>
                      </a:cubicBezTo>
                      <a:cubicBezTo>
                        <a:pt x="1222" y="679"/>
                        <a:pt x="1222" y="676"/>
                        <a:pt x="1223" y="674"/>
                      </a:cubicBezTo>
                      <a:cubicBezTo>
                        <a:pt x="1223" y="674"/>
                        <a:pt x="1223" y="674"/>
                        <a:pt x="1223" y="674"/>
                      </a:cubicBezTo>
                      <a:cubicBezTo>
                        <a:pt x="1223" y="673"/>
                        <a:pt x="1223" y="673"/>
                        <a:pt x="1223" y="673"/>
                      </a:cubicBezTo>
                      <a:cubicBezTo>
                        <a:pt x="1223" y="673"/>
                        <a:pt x="1223" y="673"/>
                        <a:pt x="1223" y="673"/>
                      </a:cubicBezTo>
                      <a:cubicBezTo>
                        <a:pt x="1224" y="671"/>
                        <a:pt x="1225" y="669"/>
                        <a:pt x="1227" y="666"/>
                      </a:cubicBezTo>
                      <a:cubicBezTo>
                        <a:pt x="1229" y="664"/>
                        <a:pt x="1231" y="662"/>
                        <a:pt x="1233" y="661"/>
                      </a:cubicBezTo>
                      <a:cubicBezTo>
                        <a:pt x="1233" y="660"/>
                        <a:pt x="1233" y="660"/>
                        <a:pt x="1233" y="660"/>
                      </a:cubicBezTo>
                      <a:cubicBezTo>
                        <a:pt x="1237" y="657"/>
                        <a:pt x="1239" y="656"/>
                        <a:pt x="1239" y="654"/>
                      </a:cubicBezTo>
                      <a:cubicBezTo>
                        <a:pt x="1240" y="654"/>
                        <a:pt x="1240" y="653"/>
                        <a:pt x="1240" y="653"/>
                      </a:cubicBezTo>
                      <a:cubicBezTo>
                        <a:pt x="1241" y="648"/>
                        <a:pt x="1242" y="643"/>
                        <a:pt x="1250" y="643"/>
                      </a:cubicBezTo>
                      <a:cubicBezTo>
                        <a:pt x="1255" y="642"/>
                        <a:pt x="1259" y="646"/>
                        <a:pt x="1263" y="650"/>
                      </a:cubicBezTo>
                      <a:cubicBezTo>
                        <a:pt x="1266" y="653"/>
                        <a:pt x="1269" y="655"/>
                        <a:pt x="1270" y="656"/>
                      </a:cubicBezTo>
                      <a:cubicBezTo>
                        <a:pt x="1272" y="656"/>
                        <a:pt x="1272" y="655"/>
                        <a:pt x="1272" y="655"/>
                      </a:cubicBezTo>
                      <a:cubicBezTo>
                        <a:pt x="1273" y="654"/>
                        <a:pt x="1273" y="653"/>
                        <a:pt x="1274" y="653"/>
                      </a:cubicBezTo>
                      <a:cubicBezTo>
                        <a:pt x="1274" y="653"/>
                        <a:pt x="1274" y="653"/>
                        <a:pt x="1274" y="653"/>
                      </a:cubicBezTo>
                      <a:cubicBezTo>
                        <a:pt x="1274" y="653"/>
                        <a:pt x="1274" y="653"/>
                        <a:pt x="1274" y="653"/>
                      </a:cubicBezTo>
                      <a:cubicBezTo>
                        <a:pt x="1274" y="653"/>
                        <a:pt x="1274" y="652"/>
                        <a:pt x="1275" y="652"/>
                      </a:cubicBezTo>
                      <a:cubicBezTo>
                        <a:pt x="1275" y="652"/>
                        <a:pt x="1275" y="652"/>
                        <a:pt x="1275" y="652"/>
                      </a:cubicBezTo>
                      <a:cubicBezTo>
                        <a:pt x="1276" y="651"/>
                        <a:pt x="1279" y="650"/>
                        <a:pt x="1282" y="650"/>
                      </a:cubicBezTo>
                      <a:cubicBezTo>
                        <a:pt x="1284" y="650"/>
                        <a:pt x="1287" y="651"/>
                        <a:pt x="1289" y="653"/>
                      </a:cubicBezTo>
                      <a:cubicBezTo>
                        <a:pt x="1289" y="653"/>
                        <a:pt x="1289" y="653"/>
                        <a:pt x="1289" y="653"/>
                      </a:cubicBezTo>
                      <a:cubicBezTo>
                        <a:pt x="1289" y="654"/>
                        <a:pt x="1290" y="654"/>
                        <a:pt x="1290" y="654"/>
                      </a:cubicBezTo>
                      <a:cubicBezTo>
                        <a:pt x="1292" y="656"/>
                        <a:pt x="1292" y="658"/>
                        <a:pt x="1293" y="659"/>
                      </a:cubicBezTo>
                      <a:cubicBezTo>
                        <a:pt x="1293" y="659"/>
                        <a:pt x="1293" y="659"/>
                        <a:pt x="1293" y="659"/>
                      </a:cubicBezTo>
                      <a:cubicBezTo>
                        <a:pt x="1294" y="660"/>
                        <a:pt x="1294" y="662"/>
                        <a:pt x="1297" y="665"/>
                      </a:cubicBezTo>
                      <a:cubicBezTo>
                        <a:pt x="1299" y="667"/>
                        <a:pt x="1300" y="669"/>
                        <a:pt x="1302" y="670"/>
                      </a:cubicBezTo>
                      <a:cubicBezTo>
                        <a:pt x="1303" y="671"/>
                        <a:pt x="1305" y="671"/>
                        <a:pt x="1307" y="671"/>
                      </a:cubicBezTo>
                      <a:cubicBezTo>
                        <a:pt x="1309" y="671"/>
                        <a:pt x="1311" y="668"/>
                        <a:pt x="1312" y="666"/>
                      </a:cubicBezTo>
                      <a:cubicBezTo>
                        <a:pt x="1313" y="664"/>
                        <a:pt x="1314" y="663"/>
                        <a:pt x="1316" y="662"/>
                      </a:cubicBezTo>
                      <a:cubicBezTo>
                        <a:pt x="1316" y="662"/>
                        <a:pt x="1317" y="661"/>
                        <a:pt x="1317" y="661"/>
                      </a:cubicBezTo>
                      <a:cubicBezTo>
                        <a:pt x="1319" y="660"/>
                        <a:pt x="1321" y="660"/>
                        <a:pt x="1324" y="661"/>
                      </a:cubicBezTo>
                      <a:cubicBezTo>
                        <a:pt x="1326" y="661"/>
                        <a:pt x="1329" y="663"/>
                        <a:pt x="1330" y="665"/>
                      </a:cubicBezTo>
                      <a:cubicBezTo>
                        <a:pt x="1330" y="665"/>
                        <a:pt x="1330" y="665"/>
                        <a:pt x="1330" y="665"/>
                      </a:cubicBezTo>
                      <a:cubicBezTo>
                        <a:pt x="1331" y="666"/>
                        <a:pt x="1331" y="666"/>
                        <a:pt x="1331" y="667"/>
                      </a:cubicBezTo>
                      <a:cubicBezTo>
                        <a:pt x="1331" y="667"/>
                        <a:pt x="1331" y="667"/>
                        <a:pt x="1331" y="667"/>
                      </a:cubicBezTo>
                      <a:cubicBezTo>
                        <a:pt x="1333" y="671"/>
                        <a:pt x="1333" y="671"/>
                        <a:pt x="1333" y="677"/>
                      </a:cubicBezTo>
                      <a:cubicBezTo>
                        <a:pt x="1333" y="678"/>
                        <a:pt x="1333" y="679"/>
                        <a:pt x="1333" y="682"/>
                      </a:cubicBezTo>
                      <a:cubicBezTo>
                        <a:pt x="1333" y="687"/>
                        <a:pt x="1332" y="692"/>
                        <a:pt x="1331" y="698"/>
                      </a:cubicBezTo>
                      <a:cubicBezTo>
                        <a:pt x="1330" y="703"/>
                        <a:pt x="1329" y="709"/>
                        <a:pt x="1329" y="712"/>
                      </a:cubicBezTo>
                      <a:cubicBezTo>
                        <a:pt x="1330" y="715"/>
                        <a:pt x="1331" y="717"/>
                        <a:pt x="1332" y="718"/>
                      </a:cubicBezTo>
                      <a:cubicBezTo>
                        <a:pt x="1333" y="719"/>
                        <a:pt x="1335" y="720"/>
                        <a:pt x="1338" y="722"/>
                      </a:cubicBezTo>
                      <a:cubicBezTo>
                        <a:pt x="1340" y="723"/>
                        <a:pt x="1342" y="723"/>
                        <a:pt x="1344" y="723"/>
                      </a:cubicBezTo>
                      <a:cubicBezTo>
                        <a:pt x="1347" y="723"/>
                        <a:pt x="1352" y="724"/>
                        <a:pt x="1360" y="725"/>
                      </a:cubicBezTo>
                      <a:cubicBezTo>
                        <a:pt x="1364" y="726"/>
                        <a:pt x="1366" y="726"/>
                        <a:pt x="1368" y="727"/>
                      </a:cubicBezTo>
                      <a:cubicBezTo>
                        <a:pt x="1378" y="729"/>
                        <a:pt x="1382" y="730"/>
                        <a:pt x="1397" y="729"/>
                      </a:cubicBezTo>
                      <a:cubicBezTo>
                        <a:pt x="1403" y="728"/>
                        <a:pt x="1407" y="728"/>
                        <a:pt x="1410" y="728"/>
                      </a:cubicBezTo>
                      <a:cubicBezTo>
                        <a:pt x="1416" y="727"/>
                        <a:pt x="1417" y="727"/>
                        <a:pt x="1421" y="727"/>
                      </a:cubicBezTo>
                      <a:cubicBezTo>
                        <a:pt x="1424" y="727"/>
                        <a:pt x="1425" y="728"/>
                        <a:pt x="1427" y="728"/>
                      </a:cubicBezTo>
                      <a:cubicBezTo>
                        <a:pt x="1429" y="729"/>
                        <a:pt x="1431" y="730"/>
                        <a:pt x="1438" y="729"/>
                      </a:cubicBezTo>
                      <a:cubicBezTo>
                        <a:pt x="1442" y="729"/>
                        <a:pt x="1444" y="728"/>
                        <a:pt x="1446" y="728"/>
                      </a:cubicBezTo>
                      <a:cubicBezTo>
                        <a:pt x="1449" y="727"/>
                        <a:pt x="1451" y="726"/>
                        <a:pt x="1460" y="727"/>
                      </a:cubicBezTo>
                      <a:cubicBezTo>
                        <a:pt x="1474" y="727"/>
                        <a:pt x="1479" y="731"/>
                        <a:pt x="1484" y="736"/>
                      </a:cubicBezTo>
                      <a:cubicBezTo>
                        <a:pt x="1484" y="736"/>
                        <a:pt x="1485" y="736"/>
                        <a:pt x="1486" y="737"/>
                      </a:cubicBezTo>
                      <a:cubicBezTo>
                        <a:pt x="1486" y="737"/>
                        <a:pt x="1486" y="737"/>
                        <a:pt x="1486" y="737"/>
                      </a:cubicBezTo>
                      <a:cubicBezTo>
                        <a:pt x="1487" y="738"/>
                        <a:pt x="1487" y="738"/>
                        <a:pt x="1487" y="738"/>
                      </a:cubicBezTo>
                      <a:cubicBezTo>
                        <a:pt x="1493" y="743"/>
                        <a:pt x="1494" y="743"/>
                        <a:pt x="1493" y="751"/>
                      </a:cubicBezTo>
                      <a:cubicBezTo>
                        <a:pt x="1492" y="756"/>
                        <a:pt x="1489" y="758"/>
                        <a:pt x="1485" y="760"/>
                      </a:cubicBezTo>
                      <a:cubicBezTo>
                        <a:pt x="1485" y="760"/>
                        <a:pt x="1485" y="760"/>
                        <a:pt x="1485" y="760"/>
                      </a:cubicBezTo>
                      <a:cubicBezTo>
                        <a:pt x="1484" y="761"/>
                        <a:pt x="1483" y="761"/>
                        <a:pt x="1482" y="762"/>
                      </a:cubicBezTo>
                      <a:cubicBezTo>
                        <a:pt x="1481" y="763"/>
                        <a:pt x="1480" y="764"/>
                        <a:pt x="1479" y="765"/>
                      </a:cubicBezTo>
                      <a:cubicBezTo>
                        <a:pt x="1479" y="767"/>
                        <a:pt x="1478" y="769"/>
                        <a:pt x="1478" y="771"/>
                      </a:cubicBezTo>
                      <a:cubicBezTo>
                        <a:pt x="1477" y="776"/>
                        <a:pt x="1474" y="778"/>
                        <a:pt x="1470" y="781"/>
                      </a:cubicBezTo>
                      <a:cubicBezTo>
                        <a:pt x="1468" y="782"/>
                        <a:pt x="1466" y="784"/>
                        <a:pt x="1465" y="786"/>
                      </a:cubicBezTo>
                      <a:cubicBezTo>
                        <a:pt x="1461" y="790"/>
                        <a:pt x="1461" y="791"/>
                        <a:pt x="1460" y="792"/>
                      </a:cubicBezTo>
                      <a:cubicBezTo>
                        <a:pt x="1459" y="793"/>
                        <a:pt x="1458" y="794"/>
                        <a:pt x="1457" y="796"/>
                      </a:cubicBezTo>
                      <a:cubicBezTo>
                        <a:pt x="1452" y="803"/>
                        <a:pt x="1448" y="803"/>
                        <a:pt x="1442" y="802"/>
                      </a:cubicBezTo>
                      <a:cubicBezTo>
                        <a:pt x="1442" y="802"/>
                        <a:pt x="1441" y="802"/>
                        <a:pt x="1441" y="802"/>
                      </a:cubicBezTo>
                      <a:cubicBezTo>
                        <a:pt x="1439" y="802"/>
                        <a:pt x="1436" y="802"/>
                        <a:pt x="1433" y="803"/>
                      </a:cubicBezTo>
                      <a:cubicBezTo>
                        <a:pt x="1431" y="804"/>
                        <a:pt x="1429" y="805"/>
                        <a:pt x="1426" y="807"/>
                      </a:cubicBezTo>
                      <a:cubicBezTo>
                        <a:pt x="1426" y="807"/>
                        <a:pt x="1426" y="807"/>
                        <a:pt x="1426" y="807"/>
                      </a:cubicBezTo>
                      <a:cubicBezTo>
                        <a:pt x="1426" y="807"/>
                        <a:pt x="1426" y="807"/>
                        <a:pt x="1426" y="807"/>
                      </a:cubicBezTo>
                      <a:cubicBezTo>
                        <a:pt x="1421" y="811"/>
                        <a:pt x="1419" y="813"/>
                        <a:pt x="1418" y="821"/>
                      </a:cubicBezTo>
                      <a:cubicBezTo>
                        <a:pt x="1418" y="825"/>
                        <a:pt x="1417" y="829"/>
                        <a:pt x="1417" y="833"/>
                      </a:cubicBezTo>
                      <a:cubicBezTo>
                        <a:pt x="1417" y="837"/>
                        <a:pt x="1418" y="840"/>
                        <a:pt x="1419" y="843"/>
                      </a:cubicBezTo>
                      <a:cubicBezTo>
                        <a:pt x="1420" y="844"/>
                        <a:pt x="1421" y="845"/>
                        <a:pt x="1421" y="847"/>
                      </a:cubicBezTo>
                      <a:cubicBezTo>
                        <a:pt x="1424" y="852"/>
                        <a:pt x="1428" y="859"/>
                        <a:pt x="1432" y="862"/>
                      </a:cubicBezTo>
                      <a:cubicBezTo>
                        <a:pt x="1435" y="864"/>
                        <a:pt x="1438" y="866"/>
                        <a:pt x="1441" y="867"/>
                      </a:cubicBezTo>
                      <a:cubicBezTo>
                        <a:pt x="1443" y="868"/>
                        <a:pt x="1444" y="868"/>
                        <a:pt x="1445" y="867"/>
                      </a:cubicBezTo>
                      <a:cubicBezTo>
                        <a:pt x="1447" y="866"/>
                        <a:pt x="1448" y="864"/>
                        <a:pt x="1450" y="858"/>
                      </a:cubicBezTo>
                      <a:cubicBezTo>
                        <a:pt x="1451" y="857"/>
                        <a:pt x="1451" y="856"/>
                        <a:pt x="1452" y="854"/>
                      </a:cubicBezTo>
                      <a:cubicBezTo>
                        <a:pt x="1454" y="849"/>
                        <a:pt x="1455" y="842"/>
                        <a:pt x="1457" y="837"/>
                      </a:cubicBezTo>
                      <a:cubicBezTo>
                        <a:pt x="1457" y="833"/>
                        <a:pt x="1458" y="830"/>
                        <a:pt x="1459" y="828"/>
                      </a:cubicBezTo>
                      <a:cubicBezTo>
                        <a:pt x="1460" y="825"/>
                        <a:pt x="1461" y="823"/>
                        <a:pt x="1464" y="822"/>
                      </a:cubicBezTo>
                      <a:cubicBezTo>
                        <a:pt x="1464" y="822"/>
                        <a:pt x="1464" y="822"/>
                        <a:pt x="1464" y="822"/>
                      </a:cubicBezTo>
                      <a:cubicBezTo>
                        <a:pt x="1466" y="821"/>
                        <a:pt x="1469" y="821"/>
                        <a:pt x="1473" y="821"/>
                      </a:cubicBezTo>
                      <a:cubicBezTo>
                        <a:pt x="1477" y="822"/>
                        <a:pt x="1481" y="823"/>
                        <a:pt x="1483" y="826"/>
                      </a:cubicBezTo>
                      <a:cubicBezTo>
                        <a:pt x="1485" y="829"/>
                        <a:pt x="1486" y="832"/>
                        <a:pt x="1487" y="838"/>
                      </a:cubicBezTo>
                      <a:cubicBezTo>
                        <a:pt x="1487" y="843"/>
                        <a:pt x="1487" y="846"/>
                        <a:pt x="1487" y="850"/>
                      </a:cubicBezTo>
                      <a:cubicBezTo>
                        <a:pt x="1488" y="853"/>
                        <a:pt x="1488" y="857"/>
                        <a:pt x="1489" y="862"/>
                      </a:cubicBezTo>
                      <a:cubicBezTo>
                        <a:pt x="1490" y="867"/>
                        <a:pt x="1491" y="871"/>
                        <a:pt x="1492" y="875"/>
                      </a:cubicBezTo>
                      <a:cubicBezTo>
                        <a:pt x="1493" y="879"/>
                        <a:pt x="1495" y="884"/>
                        <a:pt x="1498" y="892"/>
                      </a:cubicBezTo>
                      <a:cubicBezTo>
                        <a:pt x="1501" y="901"/>
                        <a:pt x="1502" y="906"/>
                        <a:pt x="1504" y="911"/>
                      </a:cubicBezTo>
                      <a:cubicBezTo>
                        <a:pt x="1505" y="916"/>
                        <a:pt x="1505" y="920"/>
                        <a:pt x="1505" y="925"/>
                      </a:cubicBezTo>
                      <a:cubicBezTo>
                        <a:pt x="1505" y="925"/>
                        <a:pt x="1505" y="925"/>
                        <a:pt x="1505" y="925"/>
                      </a:cubicBezTo>
                      <a:cubicBezTo>
                        <a:pt x="1507" y="925"/>
                        <a:pt x="1510" y="925"/>
                        <a:pt x="1515" y="927"/>
                      </a:cubicBezTo>
                      <a:cubicBezTo>
                        <a:pt x="1515" y="927"/>
                        <a:pt x="1515" y="927"/>
                        <a:pt x="1515" y="927"/>
                      </a:cubicBezTo>
                      <a:cubicBezTo>
                        <a:pt x="1519" y="929"/>
                        <a:pt x="1522" y="930"/>
                        <a:pt x="1524" y="931"/>
                      </a:cubicBezTo>
                      <a:cubicBezTo>
                        <a:pt x="1525" y="931"/>
                        <a:pt x="1526" y="931"/>
                        <a:pt x="1527" y="930"/>
                      </a:cubicBezTo>
                      <a:cubicBezTo>
                        <a:pt x="1528" y="928"/>
                        <a:pt x="1530" y="926"/>
                        <a:pt x="1530" y="923"/>
                      </a:cubicBezTo>
                      <a:cubicBezTo>
                        <a:pt x="1531" y="921"/>
                        <a:pt x="1531" y="918"/>
                        <a:pt x="1530" y="914"/>
                      </a:cubicBezTo>
                      <a:cubicBezTo>
                        <a:pt x="1530" y="914"/>
                        <a:pt x="1530" y="914"/>
                        <a:pt x="1530" y="914"/>
                      </a:cubicBezTo>
                      <a:cubicBezTo>
                        <a:pt x="1530" y="913"/>
                        <a:pt x="1530" y="913"/>
                        <a:pt x="1530" y="913"/>
                      </a:cubicBezTo>
                      <a:cubicBezTo>
                        <a:pt x="1527" y="904"/>
                        <a:pt x="1524" y="895"/>
                        <a:pt x="1526" y="886"/>
                      </a:cubicBezTo>
                      <a:cubicBezTo>
                        <a:pt x="1527" y="881"/>
                        <a:pt x="1528" y="878"/>
                        <a:pt x="1530" y="875"/>
                      </a:cubicBezTo>
                      <a:cubicBezTo>
                        <a:pt x="1532" y="872"/>
                        <a:pt x="1535" y="870"/>
                        <a:pt x="1540" y="870"/>
                      </a:cubicBezTo>
                      <a:cubicBezTo>
                        <a:pt x="1541" y="870"/>
                        <a:pt x="1542" y="870"/>
                        <a:pt x="1543" y="869"/>
                      </a:cubicBezTo>
                      <a:cubicBezTo>
                        <a:pt x="1544" y="868"/>
                        <a:pt x="1544" y="866"/>
                        <a:pt x="1544" y="864"/>
                      </a:cubicBezTo>
                      <a:cubicBezTo>
                        <a:pt x="1544" y="861"/>
                        <a:pt x="1544" y="857"/>
                        <a:pt x="1544" y="851"/>
                      </a:cubicBezTo>
                      <a:cubicBezTo>
                        <a:pt x="1544" y="844"/>
                        <a:pt x="1544" y="835"/>
                        <a:pt x="1544" y="830"/>
                      </a:cubicBezTo>
                      <a:cubicBezTo>
                        <a:pt x="1544" y="827"/>
                        <a:pt x="1544" y="824"/>
                        <a:pt x="1544" y="821"/>
                      </a:cubicBezTo>
                      <a:cubicBezTo>
                        <a:pt x="1543" y="816"/>
                        <a:pt x="1543" y="812"/>
                        <a:pt x="1545" y="808"/>
                      </a:cubicBezTo>
                      <a:cubicBezTo>
                        <a:pt x="1545" y="808"/>
                        <a:pt x="1545" y="807"/>
                        <a:pt x="1545" y="807"/>
                      </a:cubicBezTo>
                      <a:cubicBezTo>
                        <a:pt x="1545" y="807"/>
                        <a:pt x="1545" y="807"/>
                        <a:pt x="1545" y="807"/>
                      </a:cubicBezTo>
                      <a:cubicBezTo>
                        <a:pt x="1547" y="804"/>
                        <a:pt x="1550" y="803"/>
                        <a:pt x="1554" y="802"/>
                      </a:cubicBezTo>
                      <a:cubicBezTo>
                        <a:pt x="1556" y="802"/>
                        <a:pt x="1559" y="803"/>
                        <a:pt x="1562" y="804"/>
                      </a:cubicBezTo>
                      <a:cubicBezTo>
                        <a:pt x="1562" y="804"/>
                        <a:pt x="1563" y="805"/>
                        <a:pt x="1563" y="805"/>
                      </a:cubicBezTo>
                      <a:cubicBezTo>
                        <a:pt x="1564" y="805"/>
                        <a:pt x="1566" y="806"/>
                        <a:pt x="1568" y="806"/>
                      </a:cubicBezTo>
                      <a:cubicBezTo>
                        <a:pt x="1573" y="807"/>
                        <a:pt x="1578" y="807"/>
                        <a:pt x="1583" y="811"/>
                      </a:cubicBezTo>
                      <a:cubicBezTo>
                        <a:pt x="1586" y="813"/>
                        <a:pt x="1589" y="814"/>
                        <a:pt x="1591" y="814"/>
                      </a:cubicBezTo>
                      <a:cubicBezTo>
                        <a:pt x="1592" y="815"/>
                        <a:pt x="1592" y="814"/>
                        <a:pt x="1593" y="814"/>
                      </a:cubicBezTo>
                      <a:cubicBezTo>
                        <a:pt x="1593" y="813"/>
                        <a:pt x="1594" y="811"/>
                        <a:pt x="1596" y="808"/>
                      </a:cubicBezTo>
                      <a:cubicBezTo>
                        <a:pt x="1597" y="804"/>
                        <a:pt x="1599" y="798"/>
                        <a:pt x="1600" y="795"/>
                      </a:cubicBezTo>
                      <a:cubicBezTo>
                        <a:pt x="1602" y="788"/>
                        <a:pt x="1610" y="775"/>
                        <a:pt x="1614" y="766"/>
                      </a:cubicBezTo>
                      <a:cubicBezTo>
                        <a:pt x="1615" y="764"/>
                        <a:pt x="1615" y="764"/>
                        <a:pt x="1615" y="764"/>
                      </a:cubicBezTo>
                      <a:cubicBezTo>
                        <a:pt x="1615" y="764"/>
                        <a:pt x="1615" y="764"/>
                        <a:pt x="1615" y="764"/>
                      </a:cubicBezTo>
                      <a:cubicBezTo>
                        <a:pt x="1618" y="760"/>
                        <a:pt x="1621" y="755"/>
                        <a:pt x="1623" y="749"/>
                      </a:cubicBezTo>
                      <a:cubicBezTo>
                        <a:pt x="1625" y="744"/>
                        <a:pt x="1626" y="739"/>
                        <a:pt x="1626" y="736"/>
                      </a:cubicBezTo>
                      <a:cubicBezTo>
                        <a:pt x="1626" y="732"/>
                        <a:pt x="1625" y="730"/>
                        <a:pt x="1625" y="728"/>
                      </a:cubicBezTo>
                      <a:cubicBezTo>
                        <a:pt x="1623" y="723"/>
                        <a:pt x="1623" y="720"/>
                        <a:pt x="1624" y="715"/>
                      </a:cubicBezTo>
                      <a:cubicBezTo>
                        <a:pt x="1626" y="712"/>
                        <a:pt x="1627" y="709"/>
                        <a:pt x="1629" y="707"/>
                      </a:cubicBezTo>
                      <a:cubicBezTo>
                        <a:pt x="1631" y="704"/>
                        <a:pt x="1634" y="702"/>
                        <a:pt x="1636" y="699"/>
                      </a:cubicBezTo>
                      <a:cubicBezTo>
                        <a:pt x="1638" y="698"/>
                        <a:pt x="1641" y="694"/>
                        <a:pt x="1644" y="690"/>
                      </a:cubicBezTo>
                      <a:cubicBezTo>
                        <a:pt x="1647" y="687"/>
                        <a:pt x="1649" y="684"/>
                        <a:pt x="1649" y="683"/>
                      </a:cubicBezTo>
                      <a:cubicBezTo>
                        <a:pt x="1649" y="682"/>
                        <a:pt x="1650" y="681"/>
                        <a:pt x="1650" y="680"/>
                      </a:cubicBezTo>
                      <a:cubicBezTo>
                        <a:pt x="1651" y="678"/>
                        <a:pt x="1653" y="675"/>
                        <a:pt x="1653" y="670"/>
                      </a:cubicBezTo>
                      <a:cubicBezTo>
                        <a:pt x="1653" y="666"/>
                        <a:pt x="1653" y="662"/>
                        <a:pt x="1652" y="658"/>
                      </a:cubicBezTo>
                      <a:cubicBezTo>
                        <a:pt x="1652" y="653"/>
                        <a:pt x="1652" y="649"/>
                        <a:pt x="1652" y="646"/>
                      </a:cubicBezTo>
                      <a:cubicBezTo>
                        <a:pt x="1652" y="642"/>
                        <a:pt x="1655" y="638"/>
                        <a:pt x="1657" y="634"/>
                      </a:cubicBezTo>
                      <a:cubicBezTo>
                        <a:pt x="1661" y="631"/>
                        <a:pt x="1664" y="628"/>
                        <a:pt x="1668" y="626"/>
                      </a:cubicBezTo>
                      <a:cubicBezTo>
                        <a:pt x="1671" y="625"/>
                        <a:pt x="1674" y="623"/>
                        <a:pt x="1677" y="622"/>
                      </a:cubicBezTo>
                      <a:cubicBezTo>
                        <a:pt x="1680" y="620"/>
                        <a:pt x="1684" y="618"/>
                        <a:pt x="1689" y="615"/>
                      </a:cubicBezTo>
                      <a:cubicBezTo>
                        <a:pt x="1693" y="612"/>
                        <a:pt x="1698" y="608"/>
                        <a:pt x="1702" y="605"/>
                      </a:cubicBezTo>
                      <a:cubicBezTo>
                        <a:pt x="1707" y="601"/>
                        <a:pt x="1712" y="597"/>
                        <a:pt x="1717" y="594"/>
                      </a:cubicBezTo>
                      <a:cubicBezTo>
                        <a:pt x="1721" y="592"/>
                        <a:pt x="1726" y="590"/>
                        <a:pt x="1730" y="589"/>
                      </a:cubicBezTo>
                      <a:cubicBezTo>
                        <a:pt x="1734" y="587"/>
                        <a:pt x="1738" y="587"/>
                        <a:pt x="1741" y="586"/>
                      </a:cubicBezTo>
                      <a:cubicBezTo>
                        <a:pt x="1745" y="586"/>
                        <a:pt x="1749" y="586"/>
                        <a:pt x="1753" y="587"/>
                      </a:cubicBezTo>
                      <a:cubicBezTo>
                        <a:pt x="1757" y="588"/>
                        <a:pt x="1761" y="591"/>
                        <a:pt x="1766" y="595"/>
                      </a:cubicBezTo>
                      <a:cubicBezTo>
                        <a:pt x="1769" y="598"/>
                        <a:pt x="1773" y="601"/>
                        <a:pt x="1775" y="602"/>
                      </a:cubicBezTo>
                      <a:cubicBezTo>
                        <a:pt x="1775" y="602"/>
                        <a:pt x="1775" y="603"/>
                        <a:pt x="1775" y="603"/>
                      </a:cubicBezTo>
                      <a:cubicBezTo>
                        <a:pt x="1777" y="600"/>
                        <a:pt x="1775" y="597"/>
                        <a:pt x="1773" y="593"/>
                      </a:cubicBezTo>
                      <a:cubicBezTo>
                        <a:pt x="1773" y="592"/>
                        <a:pt x="1773" y="592"/>
                        <a:pt x="1773" y="592"/>
                      </a:cubicBezTo>
                      <a:cubicBezTo>
                        <a:pt x="1772" y="591"/>
                        <a:pt x="1771" y="589"/>
                        <a:pt x="1770" y="587"/>
                      </a:cubicBezTo>
                      <a:cubicBezTo>
                        <a:pt x="1768" y="582"/>
                        <a:pt x="1765" y="576"/>
                        <a:pt x="1765" y="573"/>
                      </a:cubicBezTo>
                      <a:cubicBezTo>
                        <a:pt x="1764" y="570"/>
                        <a:pt x="1765" y="567"/>
                        <a:pt x="1767" y="563"/>
                      </a:cubicBezTo>
                      <a:cubicBezTo>
                        <a:pt x="1768" y="560"/>
                        <a:pt x="1771" y="557"/>
                        <a:pt x="1775" y="554"/>
                      </a:cubicBezTo>
                      <a:cubicBezTo>
                        <a:pt x="1777" y="551"/>
                        <a:pt x="1779" y="550"/>
                        <a:pt x="1781" y="549"/>
                      </a:cubicBezTo>
                      <a:cubicBezTo>
                        <a:pt x="1783" y="547"/>
                        <a:pt x="1785" y="546"/>
                        <a:pt x="1787" y="542"/>
                      </a:cubicBezTo>
                      <a:cubicBezTo>
                        <a:pt x="1788" y="539"/>
                        <a:pt x="1788" y="538"/>
                        <a:pt x="1788" y="536"/>
                      </a:cubicBezTo>
                      <a:cubicBezTo>
                        <a:pt x="1788" y="536"/>
                        <a:pt x="1788" y="536"/>
                        <a:pt x="1788" y="536"/>
                      </a:cubicBezTo>
                      <a:cubicBezTo>
                        <a:pt x="1788" y="534"/>
                        <a:pt x="1788" y="533"/>
                        <a:pt x="1788" y="530"/>
                      </a:cubicBezTo>
                      <a:cubicBezTo>
                        <a:pt x="1785" y="527"/>
                        <a:pt x="1778" y="522"/>
                        <a:pt x="1775" y="520"/>
                      </a:cubicBezTo>
                      <a:cubicBezTo>
                        <a:pt x="1772" y="519"/>
                        <a:pt x="1770" y="520"/>
                        <a:pt x="1768" y="520"/>
                      </a:cubicBezTo>
                      <a:cubicBezTo>
                        <a:pt x="1765" y="521"/>
                        <a:pt x="1763" y="522"/>
                        <a:pt x="1760" y="522"/>
                      </a:cubicBezTo>
                      <a:cubicBezTo>
                        <a:pt x="1756" y="522"/>
                        <a:pt x="1753" y="522"/>
                        <a:pt x="1749" y="522"/>
                      </a:cubicBezTo>
                      <a:cubicBezTo>
                        <a:pt x="1745" y="522"/>
                        <a:pt x="1741" y="521"/>
                        <a:pt x="1738" y="521"/>
                      </a:cubicBezTo>
                      <a:cubicBezTo>
                        <a:pt x="1730" y="521"/>
                        <a:pt x="1729" y="518"/>
                        <a:pt x="1729" y="513"/>
                      </a:cubicBezTo>
                      <a:cubicBezTo>
                        <a:pt x="1729" y="511"/>
                        <a:pt x="1730" y="510"/>
                        <a:pt x="1730" y="509"/>
                      </a:cubicBezTo>
                      <a:cubicBezTo>
                        <a:pt x="1730" y="508"/>
                        <a:pt x="1730" y="507"/>
                        <a:pt x="1730" y="506"/>
                      </a:cubicBezTo>
                      <a:cubicBezTo>
                        <a:pt x="1731" y="501"/>
                        <a:pt x="1738" y="496"/>
                        <a:pt x="1743" y="492"/>
                      </a:cubicBezTo>
                      <a:cubicBezTo>
                        <a:pt x="1744" y="491"/>
                        <a:pt x="1745" y="490"/>
                        <a:pt x="1746" y="489"/>
                      </a:cubicBezTo>
                      <a:cubicBezTo>
                        <a:pt x="1746" y="489"/>
                        <a:pt x="1746" y="488"/>
                        <a:pt x="1745" y="487"/>
                      </a:cubicBezTo>
                      <a:cubicBezTo>
                        <a:pt x="1745" y="486"/>
                        <a:pt x="1744" y="484"/>
                        <a:pt x="1742" y="483"/>
                      </a:cubicBezTo>
                      <a:cubicBezTo>
                        <a:pt x="1741" y="482"/>
                        <a:pt x="1740" y="481"/>
                        <a:pt x="1739" y="481"/>
                      </a:cubicBezTo>
                      <a:cubicBezTo>
                        <a:pt x="1737" y="481"/>
                        <a:pt x="1734" y="483"/>
                        <a:pt x="1731" y="484"/>
                      </a:cubicBezTo>
                      <a:cubicBezTo>
                        <a:pt x="1728" y="486"/>
                        <a:pt x="1724" y="487"/>
                        <a:pt x="1721" y="486"/>
                      </a:cubicBezTo>
                      <a:cubicBezTo>
                        <a:pt x="1715" y="485"/>
                        <a:pt x="1715" y="480"/>
                        <a:pt x="1714" y="473"/>
                      </a:cubicBezTo>
                      <a:cubicBezTo>
                        <a:pt x="1714" y="473"/>
                        <a:pt x="1714" y="472"/>
                        <a:pt x="1714" y="471"/>
                      </a:cubicBezTo>
                      <a:cubicBezTo>
                        <a:pt x="1714" y="466"/>
                        <a:pt x="1718" y="463"/>
                        <a:pt x="1722" y="460"/>
                      </a:cubicBezTo>
                      <a:cubicBezTo>
                        <a:pt x="1724" y="458"/>
                        <a:pt x="1726" y="456"/>
                        <a:pt x="1726" y="456"/>
                      </a:cubicBezTo>
                      <a:cubicBezTo>
                        <a:pt x="1725" y="454"/>
                        <a:pt x="1723" y="452"/>
                        <a:pt x="1721" y="451"/>
                      </a:cubicBezTo>
                      <a:cubicBezTo>
                        <a:pt x="1719" y="450"/>
                        <a:pt x="1716" y="450"/>
                        <a:pt x="1714" y="451"/>
                      </a:cubicBezTo>
                      <a:cubicBezTo>
                        <a:pt x="1711" y="451"/>
                        <a:pt x="1707" y="455"/>
                        <a:pt x="1702" y="459"/>
                      </a:cubicBezTo>
                      <a:cubicBezTo>
                        <a:pt x="1698" y="463"/>
                        <a:pt x="1693" y="467"/>
                        <a:pt x="1688" y="471"/>
                      </a:cubicBezTo>
                      <a:cubicBezTo>
                        <a:pt x="1677" y="479"/>
                        <a:pt x="1674" y="476"/>
                        <a:pt x="1669" y="474"/>
                      </a:cubicBezTo>
                      <a:cubicBezTo>
                        <a:pt x="1667" y="473"/>
                        <a:pt x="1666" y="472"/>
                        <a:pt x="1663" y="471"/>
                      </a:cubicBezTo>
                      <a:cubicBezTo>
                        <a:pt x="1659" y="471"/>
                        <a:pt x="1653" y="470"/>
                        <a:pt x="1648" y="469"/>
                      </a:cubicBezTo>
                      <a:cubicBezTo>
                        <a:pt x="1642" y="468"/>
                        <a:pt x="1635" y="465"/>
                        <a:pt x="1628" y="462"/>
                      </a:cubicBezTo>
                      <a:cubicBezTo>
                        <a:pt x="1622" y="458"/>
                        <a:pt x="1621" y="459"/>
                        <a:pt x="1619" y="461"/>
                      </a:cubicBezTo>
                      <a:cubicBezTo>
                        <a:pt x="1617" y="463"/>
                        <a:pt x="1615" y="465"/>
                        <a:pt x="1611" y="468"/>
                      </a:cubicBezTo>
                      <a:cubicBezTo>
                        <a:pt x="1606" y="471"/>
                        <a:pt x="1602" y="476"/>
                        <a:pt x="1598" y="480"/>
                      </a:cubicBezTo>
                      <a:cubicBezTo>
                        <a:pt x="1594" y="484"/>
                        <a:pt x="1590" y="488"/>
                        <a:pt x="1584" y="493"/>
                      </a:cubicBezTo>
                      <a:cubicBezTo>
                        <a:pt x="1576" y="498"/>
                        <a:pt x="1571" y="498"/>
                        <a:pt x="1564" y="498"/>
                      </a:cubicBezTo>
                      <a:cubicBezTo>
                        <a:pt x="1561" y="498"/>
                        <a:pt x="1557" y="498"/>
                        <a:pt x="1551" y="500"/>
                      </a:cubicBezTo>
                      <a:cubicBezTo>
                        <a:pt x="1544" y="501"/>
                        <a:pt x="1542" y="505"/>
                        <a:pt x="1540" y="509"/>
                      </a:cubicBezTo>
                      <a:cubicBezTo>
                        <a:pt x="1538" y="512"/>
                        <a:pt x="1536" y="515"/>
                        <a:pt x="1533" y="519"/>
                      </a:cubicBezTo>
                      <a:cubicBezTo>
                        <a:pt x="1528" y="524"/>
                        <a:pt x="1525" y="526"/>
                        <a:pt x="1522" y="528"/>
                      </a:cubicBezTo>
                      <a:cubicBezTo>
                        <a:pt x="1520" y="529"/>
                        <a:pt x="1518" y="531"/>
                        <a:pt x="1515" y="534"/>
                      </a:cubicBezTo>
                      <a:cubicBezTo>
                        <a:pt x="1513" y="536"/>
                        <a:pt x="1512" y="537"/>
                        <a:pt x="1512" y="539"/>
                      </a:cubicBezTo>
                      <a:cubicBezTo>
                        <a:pt x="1511" y="542"/>
                        <a:pt x="1510" y="545"/>
                        <a:pt x="1504" y="551"/>
                      </a:cubicBezTo>
                      <a:cubicBezTo>
                        <a:pt x="1496" y="560"/>
                        <a:pt x="1490" y="560"/>
                        <a:pt x="1482" y="560"/>
                      </a:cubicBezTo>
                      <a:cubicBezTo>
                        <a:pt x="1480" y="560"/>
                        <a:pt x="1477" y="560"/>
                        <a:pt x="1474" y="560"/>
                      </a:cubicBezTo>
                      <a:cubicBezTo>
                        <a:pt x="1467" y="561"/>
                        <a:pt x="1462" y="561"/>
                        <a:pt x="1458" y="561"/>
                      </a:cubicBezTo>
                      <a:cubicBezTo>
                        <a:pt x="1454" y="561"/>
                        <a:pt x="1451" y="561"/>
                        <a:pt x="1449" y="561"/>
                      </a:cubicBezTo>
                      <a:cubicBezTo>
                        <a:pt x="1448" y="561"/>
                        <a:pt x="1447" y="562"/>
                        <a:pt x="1446" y="562"/>
                      </a:cubicBezTo>
                      <a:cubicBezTo>
                        <a:pt x="1446" y="563"/>
                        <a:pt x="1446" y="563"/>
                        <a:pt x="1446" y="564"/>
                      </a:cubicBezTo>
                      <a:cubicBezTo>
                        <a:pt x="1446" y="566"/>
                        <a:pt x="1447" y="569"/>
                        <a:pt x="1448" y="571"/>
                      </a:cubicBezTo>
                      <a:cubicBezTo>
                        <a:pt x="1449" y="573"/>
                        <a:pt x="1450" y="574"/>
                        <a:pt x="1452" y="575"/>
                      </a:cubicBezTo>
                      <a:cubicBezTo>
                        <a:pt x="1453" y="576"/>
                        <a:pt x="1455" y="577"/>
                        <a:pt x="1457" y="577"/>
                      </a:cubicBezTo>
                      <a:cubicBezTo>
                        <a:pt x="1460" y="578"/>
                        <a:pt x="1464" y="579"/>
                        <a:pt x="1467" y="581"/>
                      </a:cubicBezTo>
                      <a:cubicBezTo>
                        <a:pt x="1474" y="586"/>
                        <a:pt x="1472" y="592"/>
                        <a:pt x="1470" y="599"/>
                      </a:cubicBezTo>
                      <a:cubicBezTo>
                        <a:pt x="1470" y="600"/>
                        <a:pt x="1469" y="602"/>
                        <a:pt x="1469" y="604"/>
                      </a:cubicBezTo>
                      <a:cubicBezTo>
                        <a:pt x="1468" y="606"/>
                        <a:pt x="1469" y="608"/>
                        <a:pt x="1470" y="610"/>
                      </a:cubicBezTo>
                      <a:cubicBezTo>
                        <a:pt x="1472" y="612"/>
                        <a:pt x="1474" y="614"/>
                        <a:pt x="1474" y="618"/>
                      </a:cubicBezTo>
                      <a:cubicBezTo>
                        <a:pt x="1474" y="627"/>
                        <a:pt x="1465" y="627"/>
                        <a:pt x="1451" y="627"/>
                      </a:cubicBezTo>
                      <a:cubicBezTo>
                        <a:pt x="1448" y="627"/>
                        <a:pt x="1448" y="627"/>
                        <a:pt x="1448" y="627"/>
                      </a:cubicBezTo>
                      <a:cubicBezTo>
                        <a:pt x="1448" y="627"/>
                        <a:pt x="1448" y="627"/>
                        <a:pt x="1448" y="627"/>
                      </a:cubicBezTo>
                      <a:cubicBezTo>
                        <a:pt x="1442" y="627"/>
                        <a:pt x="1437" y="627"/>
                        <a:pt x="1432" y="627"/>
                      </a:cubicBezTo>
                      <a:cubicBezTo>
                        <a:pt x="1417" y="627"/>
                        <a:pt x="1398" y="628"/>
                        <a:pt x="1385" y="627"/>
                      </a:cubicBezTo>
                      <a:cubicBezTo>
                        <a:pt x="1373" y="627"/>
                        <a:pt x="1369" y="626"/>
                        <a:pt x="1366" y="624"/>
                      </a:cubicBezTo>
                      <a:cubicBezTo>
                        <a:pt x="1364" y="624"/>
                        <a:pt x="1362" y="623"/>
                        <a:pt x="1358" y="623"/>
                      </a:cubicBezTo>
                      <a:cubicBezTo>
                        <a:pt x="1353" y="622"/>
                        <a:pt x="1349" y="625"/>
                        <a:pt x="1345" y="627"/>
                      </a:cubicBezTo>
                      <a:cubicBezTo>
                        <a:pt x="1341" y="630"/>
                        <a:pt x="1336" y="632"/>
                        <a:pt x="1330" y="632"/>
                      </a:cubicBezTo>
                      <a:cubicBezTo>
                        <a:pt x="1320" y="632"/>
                        <a:pt x="1318" y="631"/>
                        <a:pt x="1312" y="629"/>
                      </a:cubicBezTo>
                      <a:cubicBezTo>
                        <a:pt x="1311" y="628"/>
                        <a:pt x="1309" y="627"/>
                        <a:pt x="1306" y="626"/>
                      </a:cubicBezTo>
                      <a:cubicBezTo>
                        <a:pt x="1302" y="625"/>
                        <a:pt x="1300" y="625"/>
                        <a:pt x="1297" y="625"/>
                      </a:cubicBezTo>
                      <a:cubicBezTo>
                        <a:pt x="1293" y="625"/>
                        <a:pt x="1289" y="625"/>
                        <a:pt x="1280" y="621"/>
                      </a:cubicBezTo>
                      <a:cubicBezTo>
                        <a:pt x="1273" y="618"/>
                        <a:pt x="1269" y="614"/>
                        <a:pt x="1266" y="611"/>
                      </a:cubicBezTo>
                      <a:cubicBezTo>
                        <a:pt x="1263" y="607"/>
                        <a:pt x="1262" y="604"/>
                        <a:pt x="1262" y="600"/>
                      </a:cubicBezTo>
                      <a:cubicBezTo>
                        <a:pt x="1261" y="596"/>
                        <a:pt x="1262" y="594"/>
                        <a:pt x="1264" y="592"/>
                      </a:cubicBezTo>
                      <a:cubicBezTo>
                        <a:pt x="1264" y="592"/>
                        <a:pt x="1264" y="592"/>
                        <a:pt x="1264" y="592"/>
                      </a:cubicBezTo>
                      <a:cubicBezTo>
                        <a:pt x="1264" y="591"/>
                        <a:pt x="1265" y="590"/>
                        <a:pt x="1265" y="590"/>
                      </a:cubicBezTo>
                      <a:cubicBezTo>
                        <a:pt x="1265" y="590"/>
                        <a:pt x="1265" y="590"/>
                        <a:pt x="1265" y="590"/>
                      </a:cubicBezTo>
                      <a:cubicBezTo>
                        <a:pt x="1265" y="589"/>
                        <a:pt x="1265" y="589"/>
                        <a:pt x="1265" y="589"/>
                      </a:cubicBezTo>
                      <a:cubicBezTo>
                        <a:pt x="1265" y="586"/>
                        <a:pt x="1265" y="583"/>
                        <a:pt x="1263" y="577"/>
                      </a:cubicBezTo>
                      <a:cubicBezTo>
                        <a:pt x="1262" y="573"/>
                        <a:pt x="1262" y="569"/>
                        <a:pt x="1262" y="565"/>
                      </a:cubicBezTo>
                      <a:cubicBezTo>
                        <a:pt x="1262" y="561"/>
                        <a:pt x="1262" y="556"/>
                        <a:pt x="1263" y="552"/>
                      </a:cubicBezTo>
                      <a:cubicBezTo>
                        <a:pt x="1264" y="550"/>
                        <a:pt x="1264" y="547"/>
                        <a:pt x="1262" y="545"/>
                      </a:cubicBezTo>
                      <a:cubicBezTo>
                        <a:pt x="1261" y="543"/>
                        <a:pt x="1259" y="541"/>
                        <a:pt x="1256" y="540"/>
                      </a:cubicBezTo>
                      <a:cubicBezTo>
                        <a:pt x="1253" y="539"/>
                        <a:pt x="1251" y="539"/>
                        <a:pt x="1249" y="540"/>
                      </a:cubicBezTo>
                      <a:cubicBezTo>
                        <a:pt x="1246" y="541"/>
                        <a:pt x="1244" y="542"/>
                        <a:pt x="1241" y="543"/>
                      </a:cubicBezTo>
                      <a:cubicBezTo>
                        <a:pt x="1240" y="544"/>
                        <a:pt x="1238" y="545"/>
                        <a:pt x="1236" y="547"/>
                      </a:cubicBezTo>
                      <a:cubicBezTo>
                        <a:pt x="1233" y="550"/>
                        <a:pt x="1229" y="553"/>
                        <a:pt x="1224" y="555"/>
                      </a:cubicBezTo>
                      <a:cubicBezTo>
                        <a:pt x="1225" y="558"/>
                        <a:pt x="1225" y="562"/>
                        <a:pt x="1225" y="566"/>
                      </a:cubicBezTo>
                      <a:cubicBezTo>
                        <a:pt x="1225" y="569"/>
                        <a:pt x="1224" y="571"/>
                        <a:pt x="1224" y="574"/>
                      </a:cubicBezTo>
                      <a:cubicBezTo>
                        <a:pt x="1223" y="577"/>
                        <a:pt x="1223" y="581"/>
                        <a:pt x="1222" y="587"/>
                      </a:cubicBezTo>
                      <a:cubicBezTo>
                        <a:pt x="1221" y="596"/>
                        <a:pt x="1221" y="599"/>
                        <a:pt x="1222" y="604"/>
                      </a:cubicBezTo>
                      <a:cubicBezTo>
                        <a:pt x="1223" y="606"/>
                        <a:pt x="1223" y="608"/>
                        <a:pt x="1224" y="610"/>
                      </a:cubicBezTo>
                      <a:cubicBezTo>
                        <a:pt x="1224" y="614"/>
                        <a:pt x="1225" y="617"/>
                        <a:pt x="1226" y="620"/>
                      </a:cubicBezTo>
                      <a:cubicBezTo>
                        <a:pt x="1227" y="624"/>
                        <a:pt x="1228" y="627"/>
                        <a:pt x="1228" y="632"/>
                      </a:cubicBezTo>
                      <a:cubicBezTo>
                        <a:pt x="1228" y="638"/>
                        <a:pt x="1224" y="642"/>
                        <a:pt x="1220" y="646"/>
                      </a:cubicBezTo>
                      <a:cubicBezTo>
                        <a:pt x="1219" y="647"/>
                        <a:pt x="1218" y="648"/>
                        <a:pt x="1217" y="649"/>
                      </a:cubicBezTo>
                      <a:cubicBezTo>
                        <a:pt x="1217" y="649"/>
                        <a:pt x="1217" y="649"/>
                        <a:pt x="1217" y="649"/>
                      </a:cubicBezTo>
                      <a:cubicBezTo>
                        <a:pt x="1215" y="654"/>
                        <a:pt x="1210" y="653"/>
                        <a:pt x="1200" y="653"/>
                      </a:cubicBezTo>
                      <a:cubicBezTo>
                        <a:pt x="1197" y="653"/>
                        <a:pt x="1194" y="653"/>
                        <a:pt x="1189" y="653"/>
                      </a:cubicBezTo>
                      <a:cubicBezTo>
                        <a:pt x="1176" y="653"/>
                        <a:pt x="1176" y="653"/>
                        <a:pt x="1166" y="652"/>
                      </a:cubicBezTo>
                      <a:cubicBezTo>
                        <a:pt x="1163" y="652"/>
                        <a:pt x="1163" y="652"/>
                        <a:pt x="1163" y="652"/>
                      </a:cubicBezTo>
                      <a:cubicBezTo>
                        <a:pt x="1154" y="652"/>
                        <a:pt x="1152" y="648"/>
                        <a:pt x="1151" y="645"/>
                      </a:cubicBezTo>
                      <a:cubicBezTo>
                        <a:pt x="1151" y="645"/>
                        <a:pt x="1150" y="644"/>
                        <a:pt x="1150" y="644"/>
                      </a:cubicBezTo>
                      <a:cubicBezTo>
                        <a:pt x="1146" y="644"/>
                        <a:pt x="1143" y="646"/>
                        <a:pt x="1141" y="648"/>
                      </a:cubicBezTo>
                      <a:cubicBezTo>
                        <a:pt x="1139" y="649"/>
                        <a:pt x="1137" y="650"/>
                        <a:pt x="1135" y="651"/>
                      </a:cubicBezTo>
                      <a:cubicBezTo>
                        <a:pt x="1131" y="652"/>
                        <a:pt x="1128" y="650"/>
                        <a:pt x="1124" y="647"/>
                      </a:cubicBezTo>
                      <a:cubicBezTo>
                        <a:pt x="1121" y="645"/>
                        <a:pt x="1117" y="642"/>
                        <a:pt x="1111" y="640"/>
                      </a:cubicBezTo>
                      <a:cubicBezTo>
                        <a:pt x="1104" y="637"/>
                        <a:pt x="1101" y="637"/>
                        <a:pt x="1097" y="638"/>
                      </a:cubicBezTo>
                      <a:cubicBezTo>
                        <a:pt x="1094" y="639"/>
                        <a:pt x="1091" y="639"/>
                        <a:pt x="1088" y="639"/>
                      </a:cubicBezTo>
                      <a:cubicBezTo>
                        <a:pt x="1080" y="639"/>
                        <a:pt x="1076" y="635"/>
                        <a:pt x="1072" y="632"/>
                      </a:cubicBezTo>
                      <a:cubicBezTo>
                        <a:pt x="1070" y="630"/>
                        <a:pt x="1068" y="628"/>
                        <a:pt x="1066" y="627"/>
                      </a:cubicBezTo>
                      <a:cubicBezTo>
                        <a:pt x="1063" y="625"/>
                        <a:pt x="1062" y="626"/>
                        <a:pt x="1060" y="627"/>
                      </a:cubicBezTo>
                      <a:cubicBezTo>
                        <a:pt x="1057" y="628"/>
                        <a:pt x="1054" y="629"/>
                        <a:pt x="1049" y="629"/>
                      </a:cubicBezTo>
                      <a:cubicBezTo>
                        <a:pt x="1041" y="629"/>
                        <a:pt x="1036" y="624"/>
                        <a:pt x="1032" y="619"/>
                      </a:cubicBezTo>
                      <a:cubicBezTo>
                        <a:pt x="1031" y="617"/>
                        <a:pt x="1029" y="616"/>
                        <a:pt x="1028" y="615"/>
                      </a:cubicBezTo>
                      <a:cubicBezTo>
                        <a:pt x="1027" y="614"/>
                        <a:pt x="1024" y="613"/>
                        <a:pt x="1022" y="613"/>
                      </a:cubicBezTo>
                      <a:cubicBezTo>
                        <a:pt x="1016" y="612"/>
                        <a:pt x="1010" y="611"/>
                        <a:pt x="1004" y="604"/>
                      </a:cubicBezTo>
                      <a:cubicBezTo>
                        <a:pt x="1000" y="599"/>
                        <a:pt x="998" y="595"/>
                        <a:pt x="997" y="592"/>
                      </a:cubicBezTo>
                      <a:cubicBezTo>
                        <a:pt x="996" y="590"/>
                        <a:pt x="995" y="588"/>
                        <a:pt x="993" y="586"/>
                      </a:cubicBezTo>
                      <a:cubicBezTo>
                        <a:pt x="991" y="585"/>
                        <a:pt x="989" y="584"/>
                        <a:pt x="986" y="583"/>
                      </a:cubicBezTo>
                      <a:cubicBezTo>
                        <a:pt x="983" y="582"/>
                        <a:pt x="980" y="583"/>
                        <a:pt x="977" y="583"/>
                      </a:cubicBezTo>
                      <a:cubicBezTo>
                        <a:pt x="974" y="584"/>
                        <a:pt x="968" y="585"/>
                        <a:pt x="964" y="586"/>
                      </a:cubicBezTo>
                      <a:cubicBezTo>
                        <a:pt x="960" y="587"/>
                        <a:pt x="956" y="587"/>
                        <a:pt x="954" y="587"/>
                      </a:cubicBezTo>
                      <a:cubicBezTo>
                        <a:pt x="950" y="587"/>
                        <a:pt x="947" y="586"/>
                        <a:pt x="943" y="584"/>
                      </a:cubicBezTo>
                      <a:cubicBezTo>
                        <a:pt x="940" y="583"/>
                        <a:pt x="937" y="582"/>
                        <a:pt x="935" y="582"/>
                      </a:cubicBezTo>
                      <a:cubicBezTo>
                        <a:pt x="934" y="582"/>
                        <a:pt x="933" y="583"/>
                        <a:pt x="932" y="584"/>
                      </a:cubicBezTo>
                      <a:cubicBezTo>
                        <a:pt x="930" y="585"/>
                        <a:pt x="929" y="587"/>
                        <a:pt x="926" y="588"/>
                      </a:cubicBezTo>
                      <a:cubicBezTo>
                        <a:pt x="922" y="589"/>
                        <a:pt x="918" y="587"/>
                        <a:pt x="914" y="585"/>
                      </a:cubicBezTo>
                      <a:cubicBezTo>
                        <a:pt x="912" y="584"/>
                        <a:pt x="910" y="583"/>
                        <a:pt x="908" y="582"/>
                      </a:cubicBezTo>
                      <a:cubicBezTo>
                        <a:pt x="906" y="582"/>
                        <a:pt x="906" y="582"/>
                        <a:pt x="906" y="582"/>
                      </a:cubicBezTo>
                      <a:cubicBezTo>
                        <a:pt x="900" y="580"/>
                        <a:pt x="894" y="579"/>
                        <a:pt x="887" y="571"/>
                      </a:cubicBezTo>
                      <a:cubicBezTo>
                        <a:pt x="882" y="566"/>
                        <a:pt x="879" y="564"/>
                        <a:pt x="874" y="562"/>
                      </a:cubicBezTo>
                      <a:cubicBezTo>
                        <a:pt x="873" y="562"/>
                        <a:pt x="872" y="561"/>
                        <a:pt x="871" y="561"/>
                      </a:cubicBezTo>
                      <a:cubicBezTo>
                        <a:pt x="867" y="559"/>
                        <a:pt x="864" y="557"/>
                        <a:pt x="861" y="556"/>
                      </a:cubicBezTo>
                      <a:cubicBezTo>
                        <a:pt x="857" y="555"/>
                        <a:pt x="854" y="553"/>
                        <a:pt x="851" y="553"/>
                      </a:cubicBezTo>
                      <a:cubicBezTo>
                        <a:pt x="849" y="552"/>
                        <a:pt x="846" y="552"/>
                        <a:pt x="843" y="552"/>
                      </a:cubicBezTo>
                      <a:cubicBezTo>
                        <a:pt x="838" y="552"/>
                        <a:pt x="832" y="552"/>
                        <a:pt x="827" y="550"/>
                      </a:cubicBezTo>
                      <a:cubicBezTo>
                        <a:pt x="820" y="547"/>
                        <a:pt x="818" y="544"/>
                        <a:pt x="814" y="539"/>
                      </a:cubicBezTo>
                      <a:cubicBezTo>
                        <a:pt x="813" y="537"/>
                        <a:pt x="812" y="535"/>
                        <a:pt x="809" y="532"/>
                      </a:cubicBezTo>
                      <a:cubicBezTo>
                        <a:pt x="806" y="528"/>
                        <a:pt x="799" y="525"/>
                        <a:pt x="792" y="522"/>
                      </a:cubicBezTo>
                      <a:cubicBezTo>
                        <a:pt x="787" y="519"/>
                        <a:pt x="782" y="517"/>
                        <a:pt x="778" y="514"/>
                      </a:cubicBezTo>
                      <a:cubicBezTo>
                        <a:pt x="773" y="511"/>
                        <a:pt x="769" y="509"/>
                        <a:pt x="766" y="508"/>
                      </a:cubicBezTo>
                      <a:cubicBezTo>
                        <a:pt x="762" y="506"/>
                        <a:pt x="758" y="505"/>
                        <a:pt x="755" y="505"/>
                      </a:cubicBezTo>
                      <a:cubicBezTo>
                        <a:pt x="753" y="505"/>
                        <a:pt x="752" y="506"/>
                        <a:pt x="750" y="506"/>
                      </a:cubicBezTo>
                      <a:cubicBezTo>
                        <a:pt x="746" y="507"/>
                        <a:pt x="742" y="508"/>
                        <a:pt x="737" y="505"/>
                      </a:cubicBezTo>
                      <a:cubicBezTo>
                        <a:pt x="734" y="503"/>
                        <a:pt x="732" y="500"/>
                        <a:pt x="729" y="497"/>
                      </a:cubicBezTo>
                      <a:cubicBezTo>
                        <a:pt x="727" y="494"/>
                        <a:pt x="724" y="491"/>
                        <a:pt x="723" y="488"/>
                      </a:cubicBezTo>
                      <a:cubicBezTo>
                        <a:pt x="720" y="482"/>
                        <a:pt x="722" y="478"/>
                        <a:pt x="725" y="470"/>
                      </a:cubicBezTo>
                      <a:cubicBezTo>
                        <a:pt x="725" y="469"/>
                        <a:pt x="725" y="469"/>
                        <a:pt x="726" y="467"/>
                      </a:cubicBezTo>
                      <a:cubicBezTo>
                        <a:pt x="728" y="462"/>
                        <a:pt x="730" y="459"/>
                        <a:pt x="732" y="457"/>
                      </a:cubicBezTo>
                      <a:cubicBezTo>
                        <a:pt x="733" y="455"/>
                        <a:pt x="734" y="454"/>
                        <a:pt x="734" y="452"/>
                      </a:cubicBezTo>
                      <a:cubicBezTo>
                        <a:pt x="735" y="445"/>
                        <a:pt x="735" y="444"/>
                        <a:pt x="740" y="438"/>
                      </a:cubicBezTo>
                      <a:cubicBezTo>
                        <a:pt x="741" y="437"/>
                        <a:pt x="742" y="435"/>
                        <a:pt x="742" y="435"/>
                      </a:cubicBezTo>
                      <a:cubicBezTo>
                        <a:pt x="745" y="431"/>
                        <a:pt x="745" y="430"/>
                        <a:pt x="745" y="429"/>
                      </a:cubicBezTo>
                      <a:cubicBezTo>
                        <a:pt x="744" y="427"/>
                        <a:pt x="744" y="425"/>
                        <a:pt x="746" y="420"/>
                      </a:cubicBezTo>
                      <a:cubicBezTo>
                        <a:pt x="749" y="411"/>
                        <a:pt x="755" y="408"/>
                        <a:pt x="764" y="402"/>
                      </a:cubicBezTo>
                      <a:cubicBezTo>
                        <a:pt x="765" y="402"/>
                        <a:pt x="765" y="402"/>
                        <a:pt x="765" y="402"/>
                      </a:cubicBezTo>
                      <a:cubicBezTo>
                        <a:pt x="770" y="398"/>
                        <a:pt x="770" y="397"/>
                        <a:pt x="771" y="395"/>
                      </a:cubicBezTo>
                      <a:cubicBezTo>
                        <a:pt x="771" y="395"/>
                        <a:pt x="771" y="395"/>
                        <a:pt x="771" y="395"/>
                      </a:cubicBezTo>
                      <a:cubicBezTo>
                        <a:pt x="767" y="392"/>
                        <a:pt x="761" y="390"/>
                        <a:pt x="756" y="387"/>
                      </a:cubicBezTo>
                      <a:cubicBezTo>
                        <a:pt x="747" y="382"/>
                        <a:pt x="738" y="377"/>
                        <a:pt x="735" y="375"/>
                      </a:cubicBezTo>
                      <a:cubicBezTo>
                        <a:pt x="730" y="370"/>
                        <a:pt x="731" y="367"/>
                        <a:pt x="731" y="363"/>
                      </a:cubicBezTo>
                      <a:cubicBezTo>
                        <a:pt x="732" y="362"/>
                        <a:pt x="732" y="360"/>
                        <a:pt x="731" y="358"/>
                      </a:cubicBezTo>
                      <a:cubicBezTo>
                        <a:pt x="730" y="356"/>
                        <a:pt x="726" y="354"/>
                        <a:pt x="721" y="352"/>
                      </a:cubicBezTo>
                      <a:cubicBezTo>
                        <a:pt x="716" y="350"/>
                        <a:pt x="711" y="349"/>
                        <a:pt x="707" y="348"/>
                      </a:cubicBezTo>
                      <a:cubicBezTo>
                        <a:pt x="703" y="347"/>
                        <a:pt x="699" y="345"/>
                        <a:pt x="694" y="344"/>
                      </a:cubicBezTo>
                      <a:cubicBezTo>
                        <a:pt x="690" y="342"/>
                        <a:pt x="685" y="340"/>
                        <a:pt x="680" y="337"/>
                      </a:cubicBezTo>
                      <a:cubicBezTo>
                        <a:pt x="674" y="333"/>
                        <a:pt x="670" y="328"/>
                        <a:pt x="666" y="324"/>
                      </a:cubicBezTo>
                      <a:cubicBezTo>
                        <a:pt x="664" y="321"/>
                        <a:pt x="663" y="319"/>
                        <a:pt x="662" y="318"/>
                      </a:cubicBezTo>
                      <a:cubicBezTo>
                        <a:pt x="661" y="318"/>
                        <a:pt x="660" y="319"/>
                        <a:pt x="659" y="320"/>
                      </a:cubicBezTo>
                      <a:cubicBezTo>
                        <a:pt x="657" y="321"/>
                        <a:pt x="654" y="323"/>
                        <a:pt x="649" y="323"/>
                      </a:cubicBezTo>
                      <a:cubicBezTo>
                        <a:pt x="640" y="322"/>
                        <a:pt x="639" y="314"/>
                        <a:pt x="638" y="306"/>
                      </a:cubicBezTo>
                      <a:cubicBezTo>
                        <a:pt x="638" y="305"/>
                        <a:pt x="638" y="305"/>
                        <a:pt x="638" y="305"/>
                      </a:cubicBezTo>
                      <a:cubicBezTo>
                        <a:pt x="638" y="305"/>
                        <a:pt x="638" y="305"/>
                        <a:pt x="638" y="305"/>
                      </a:cubicBezTo>
                      <a:cubicBezTo>
                        <a:pt x="638" y="301"/>
                        <a:pt x="638" y="296"/>
                        <a:pt x="638" y="291"/>
                      </a:cubicBezTo>
                      <a:cubicBezTo>
                        <a:pt x="638" y="285"/>
                        <a:pt x="638" y="280"/>
                        <a:pt x="638" y="277"/>
                      </a:cubicBezTo>
                      <a:cubicBezTo>
                        <a:pt x="637" y="275"/>
                        <a:pt x="635" y="272"/>
                        <a:pt x="632" y="269"/>
                      </a:cubicBezTo>
                      <a:cubicBezTo>
                        <a:pt x="628" y="264"/>
                        <a:pt x="624" y="259"/>
                        <a:pt x="622" y="254"/>
                      </a:cubicBezTo>
                      <a:cubicBezTo>
                        <a:pt x="621" y="249"/>
                        <a:pt x="621" y="245"/>
                        <a:pt x="622" y="241"/>
                      </a:cubicBezTo>
                      <a:cubicBezTo>
                        <a:pt x="623" y="236"/>
                        <a:pt x="625" y="232"/>
                        <a:pt x="627" y="230"/>
                      </a:cubicBezTo>
                      <a:cubicBezTo>
                        <a:pt x="629" y="228"/>
                        <a:pt x="633" y="226"/>
                        <a:pt x="637" y="226"/>
                      </a:cubicBezTo>
                      <a:cubicBezTo>
                        <a:pt x="641" y="226"/>
                        <a:pt x="646" y="227"/>
                        <a:pt x="648" y="228"/>
                      </a:cubicBezTo>
                      <a:cubicBezTo>
                        <a:pt x="650" y="229"/>
                        <a:pt x="652" y="231"/>
                        <a:pt x="654" y="234"/>
                      </a:cubicBezTo>
                      <a:cubicBezTo>
                        <a:pt x="656" y="237"/>
                        <a:pt x="660" y="242"/>
                        <a:pt x="661" y="242"/>
                      </a:cubicBezTo>
                      <a:cubicBezTo>
                        <a:pt x="663" y="241"/>
                        <a:pt x="665" y="239"/>
                        <a:pt x="668" y="237"/>
                      </a:cubicBezTo>
                      <a:cubicBezTo>
                        <a:pt x="670" y="235"/>
                        <a:pt x="673" y="233"/>
                        <a:pt x="676" y="230"/>
                      </a:cubicBezTo>
                      <a:cubicBezTo>
                        <a:pt x="679" y="228"/>
                        <a:pt x="682" y="225"/>
                        <a:pt x="684" y="222"/>
                      </a:cubicBezTo>
                      <a:cubicBezTo>
                        <a:pt x="685" y="220"/>
                        <a:pt x="686" y="218"/>
                        <a:pt x="685" y="215"/>
                      </a:cubicBezTo>
                      <a:cubicBezTo>
                        <a:pt x="685" y="213"/>
                        <a:pt x="684" y="211"/>
                        <a:pt x="684" y="209"/>
                      </a:cubicBezTo>
                      <a:cubicBezTo>
                        <a:pt x="683" y="204"/>
                        <a:pt x="682" y="199"/>
                        <a:pt x="680" y="195"/>
                      </a:cubicBezTo>
                      <a:cubicBezTo>
                        <a:pt x="678" y="193"/>
                        <a:pt x="677" y="193"/>
                        <a:pt x="675" y="192"/>
                      </a:cubicBezTo>
                      <a:cubicBezTo>
                        <a:pt x="673" y="192"/>
                        <a:pt x="670" y="191"/>
                        <a:pt x="666" y="189"/>
                      </a:cubicBezTo>
                      <a:cubicBezTo>
                        <a:pt x="662" y="187"/>
                        <a:pt x="658" y="185"/>
                        <a:pt x="656" y="182"/>
                      </a:cubicBezTo>
                      <a:cubicBezTo>
                        <a:pt x="653" y="179"/>
                        <a:pt x="651" y="176"/>
                        <a:pt x="650" y="172"/>
                      </a:cubicBezTo>
                      <a:cubicBezTo>
                        <a:pt x="650" y="172"/>
                        <a:pt x="650" y="172"/>
                        <a:pt x="650" y="172"/>
                      </a:cubicBezTo>
                      <a:cubicBezTo>
                        <a:pt x="650" y="168"/>
                        <a:pt x="652" y="165"/>
                        <a:pt x="654" y="161"/>
                      </a:cubicBezTo>
                      <a:cubicBezTo>
                        <a:pt x="656" y="158"/>
                        <a:pt x="658" y="156"/>
                        <a:pt x="658" y="154"/>
                      </a:cubicBezTo>
                      <a:cubicBezTo>
                        <a:pt x="658" y="152"/>
                        <a:pt x="657" y="149"/>
                        <a:pt x="657" y="146"/>
                      </a:cubicBezTo>
                      <a:cubicBezTo>
                        <a:pt x="655" y="142"/>
                        <a:pt x="654" y="137"/>
                        <a:pt x="656" y="133"/>
                      </a:cubicBezTo>
                      <a:cubicBezTo>
                        <a:pt x="658" y="128"/>
                        <a:pt x="662" y="127"/>
                        <a:pt x="669" y="127"/>
                      </a:cubicBezTo>
                      <a:cubicBezTo>
                        <a:pt x="673" y="127"/>
                        <a:pt x="678" y="126"/>
                        <a:pt x="684" y="124"/>
                      </a:cubicBezTo>
                      <a:cubicBezTo>
                        <a:pt x="690" y="121"/>
                        <a:pt x="690" y="119"/>
                        <a:pt x="690" y="116"/>
                      </a:cubicBezTo>
                      <a:cubicBezTo>
                        <a:pt x="690" y="113"/>
                        <a:pt x="690" y="110"/>
                        <a:pt x="692" y="106"/>
                      </a:cubicBezTo>
                      <a:cubicBezTo>
                        <a:pt x="695" y="98"/>
                        <a:pt x="699" y="98"/>
                        <a:pt x="703" y="98"/>
                      </a:cubicBezTo>
                      <a:cubicBezTo>
                        <a:pt x="704" y="98"/>
                        <a:pt x="706" y="98"/>
                        <a:pt x="707" y="96"/>
                      </a:cubicBezTo>
                      <a:cubicBezTo>
                        <a:pt x="708" y="94"/>
                        <a:pt x="710" y="91"/>
                        <a:pt x="712" y="87"/>
                      </a:cubicBezTo>
                      <a:cubicBezTo>
                        <a:pt x="717" y="78"/>
                        <a:pt x="723" y="67"/>
                        <a:pt x="733" y="59"/>
                      </a:cubicBezTo>
                      <a:cubicBezTo>
                        <a:pt x="733" y="58"/>
                        <a:pt x="733" y="58"/>
                        <a:pt x="733" y="58"/>
                      </a:cubicBezTo>
                      <a:cubicBezTo>
                        <a:pt x="733" y="58"/>
                        <a:pt x="733" y="58"/>
                        <a:pt x="733" y="58"/>
                      </a:cubicBezTo>
                      <a:cubicBezTo>
                        <a:pt x="738" y="54"/>
                        <a:pt x="740" y="49"/>
                        <a:pt x="741" y="44"/>
                      </a:cubicBezTo>
                      <a:cubicBezTo>
                        <a:pt x="741" y="40"/>
                        <a:pt x="740" y="36"/>
                        <a:pt x="738" y="34"/>
                      </a:cubicBezTo>
                      <a:cubicBezTo>
                        <a:pt x="738" y="34"/>
                        <a:pt x="738" y="34"/>
                        <a:pt x="738" y="34"/>
                      </a:cubicBezTo>
                      <a:cubicBezTo>
                        <a:pt x="738" y="34"/>
                        <a:pt x="738" y="34"/>
                        <a:pt x="738" y="34"/>
                      </a:cubicBezTo>
                      <a:cubicBezTo>
                        <a:pt x="737" y="32"/>
                        <a:pt x="734" y="32"/>
                        <a:pt x="731" y="32"/>
                      </a:cubicBezTo>
                      <a:cubicBezTo>
                        <a:pt x="727" y="33"/>
                        <a:pt x="722" y="33"/>
                        <a:pt x="717" y="31"/>
                      </a:cubicBezTo>
                      <a:cubicBezTo>
                        <a:pt x="712" y="28"/>
                        <a:pt x="704" y="21"/>
                        <a:pt x="697" y="15"/>
                      </a:cubicBezTo>
                      <a:cubicBezTo>
                        <a:pt x="691" y="11"/>
                        <a:pt x="686" y="7"/>
                        <a:pt x="683" y="4"/>
                      </a:cubicBezTo>
                      <a:cubicBezTo>
                        <a:pt x="677" y="0"/>
                        <a:pt x="672" y="0"/>
                        <a:pt x="665" y="1"/>
                      </a:cubicBezTo>
                      <a:cubicBezTo>
                        <a:pt x="664" y="1"/>
                        <a:pt x="662" y="1"/>
                        <a:pt x="660" y="1"/>
                      </a:cubicBezTo>
                      <a:cubicBezTo>
                        <a:pt x="655" y="1"/>
                        <a:pt x="649" y="2"/>
                        <a:pt x="643" y="4"/>
                      </a:cubicBezTo>
                      <a:cubicBezTo>
                        <a:pt x="637" y="6"/>
                        <a:pt x="631" y="8"/>
                        <a:pt x="625" y="11"/>
                      </a:cubicBezTo>
                      <a:cubicBezTo>
                        <a:pt x="619" y="13"/>
                        <a:pt x="613" y="18"/>
                        <a:pt x="607" y="22"/>
                      </a:cubicBezTo>
                      <a:cubicBezTo>
                        <a:pt x="603" y="26"/>
                        <a:pt x="599" y="29"/>
                        <a:pt x="596" y="30"/>
                      </a:cubicBezTo>
                      <a:cubicBezTo>
                        <a:pt x="593" y="30"/>
                        <a:pt x="587" y="31"/>
                        <a:pt x="580" y="32"/>
                      </a:cubicBezTo>
                      <a:cubicBezTo>
                        <a:pt x="573" y="32"/>
                        <a:pt x="566" y="32"/>
                        <a:pt x="562" y="32"/>
                      </a:cubicBezTo>
                      <a:cubicBezTo>
                        <a:pt x="559" y="31"/>
                        <a:pt x="559" y="31"/>
                        <a:pt x="559" y="31"/>
                      </a:cubicBezTo>
                      <a:cubicBezTo>
                        <a:pt x="557" y="31"/>
                        <a:pt x="555" y="31"/>
                        <a:pt x="554" y="31"/>
                      </a:cubicBezTo>
                      <a:cubicBezTo>
                        <a:pt x="550" y="41"/>
                        <a:pt x="543" y="55"/>
                        <a:pt x="543" y="56"/>
                      </a:cubicBezTo>
                      <a:cubicBezTo>
                        <a:pt x="542" y="56"/>
                        <a:pt x="542" y="56"/>
                        <a:pt x="542" y="56"/>
                      </a:cubicBezTo>
                      <a:cubicBezTo>
                        <a:pt x="542" y="56"/>
                        <a:pt x="542" y="56"/>
                        <a:pt x="542" y="56"/>
                      </a:cubicBezTo>
                      <a:cubicBezTo>
                        <a:pt x="542" y="56"/>
                        <a:pt x="533" y="69"/>
                        <a:pt x="524" y="78"/>
                      </a:cubicBezTo>
                      <a:cubicBezTo>
                        <a:pt x="515" y="87"/>
                        <a:pt x="512" y="87"/>
                        <a:pt x="501" y="87"/>
                      </a:cubicBezTo>
                      <a:cubicBezTo>
                        <a:pt x="500" y="87"/>
                        <a:pt x="499" y="87"/>
                        <a:pt x="498" y="87"/>
                      </a:cubicBezTo>
                      <a:cubicBezTo>
                        <a:pt x="487" y="87"/>
                        <a:pt x="484" y="89"/>
                        <a:pt x="470" y="97"/>
                      </a:cubicBezTo>
                      <a:cubicBezTo>
                        <a:pt x="469" y="98"/>
                        <a:pt x="469" y="98"/>
                        <a:pt x="469" y="98"/>
                      </a:cubicBezTo>
                      <a:cubicBezTo>
                        <a:pt x="456" y="106"/>
                        <a:pt x="452" y="103"/>
                        <a:pt x="447" y="101"/>
                      </a:cubicBezTo>
                      <a:cubicBezTo>
                        <a:pt x="446" y="100"/>
                        <a:pt x="444" y="99"/>
                        <a:pt x="442" y="99"/>
                      </a:cubicBezTo>
                      <a:cubicBezTo>
                        <a:pt x="437" y="98"/>
                        <a:pt x="433" y="97"/>
                        <a:pt x="428" y="95"/>
                      </a:cubicBezTo>
                      <a:cubicBezTo>
                        <a:pt x="422" y="93"/>
                        <a:pt x="415" y="90"/>
                        <a:pt x="406" y="90"/>
                      </a:cubicBezTo>
                      <a:cubicBezTo>
                        <a:pt x="399" y="89"/>
                        <a:pt x="391" y="89"/>
                        <a:pt x="383" y="89"/>
                      </a:cubicBezTo>
                      <a:cubicBezTo>
                        <a:pt x="372" y="89"/>
                        <a:pt x="362" y="90"/>
                        <a:pt x="358" y="91"/>
                      </a:cubicBezTo>
                      <a:cubicBezTo>
                        <a:pt x="355" y="91"/>
                        <a:pt x="352" y="93"/>
                        <a:pt x="350" y="94"/>
                      </a:cubicBezTo>
                      <a:cubicBezTo>
                        <a:pt x="348" y="97"/>
                        <a:pt x="346" y="100"/>
                        <a:pt x="345" y="103"/>
                      </a:cubicBezTo>
                      <a:cubicBezTo>
                        <a:pt x="344" y="105"/>
                        <a:pt x="345" y="106"/>
                        <a:pt x="346" y="107"/>
                      </a:cubicBezTo>
                      <a:cubicBezTo>
                        <a:pt x="347" y="108"/>
                        <a:pt x="348" y="109"/>
                        <a:pt x="350" y="112"/>
                      </a:cubicBezTo>
                      <a:cubicBezTo>
                        <a:pt x="351" y="115"/>
                        <a:pt x="351" y="118"/>
                        <a:pt x="351" y="121"/>
                      </a:cubicBezTo>
                      <a:cubicBezTo>
                        <a:pt x="351" y="121"/>
                        <a:pt x="351" y="121"/>
                        <a:pt x="351" y="121"/>
                      </a:cubicBezTo>
                      <a:cubicBezTo>
                        <a:pt x="351" y="123"/>
                        <a:pt x="351" y="125"/>
                        <a:pt x="351" y="128"/>
                      </a:cubicBezTo>
                      <a:cubicBezTo>
                        <a:pt x="351" y="128"/>
                        <a:pt x="351" y="128"/>
                        <a:pt x="351" y="128"/>
                      </a:cubicBezTo>
                      <a:cubicBezTo>
                        <a:pt x="352" y="129"/>
                        <a:pt x="354" y="130"/>
                        <a:pt x="357" y="131"/>
                      </a:cubicBezTo>
                      <a:cubicBezTo>
                        <a:pt x="357" y="131"/>
                        <a:pt x="357" y="131"/>
                        <a:pt x="357" y="131"/>
                      </a:cubicBezTo>
                      <a:cubicBezTo>
                        <a:pt x="362" y="132"/>
                        <a:pt x="366" y="133"/>
                        <a:pt x="366" y="139"/>
                      </a:cubicBezTo>
                      <a:cubicBezTo>
                        <a:pt x="366" y="144"/>
                        <a:pt x="363" y="146"/>
                        <a:pt x="360" y="149"/>
                      </a:cubicBezTo>
                      <a:cubicBezTo>
                        <a:pt x="359" y="150"/>
                        <a:pt x="357" y="152"/>
                        <a:pt x="357" y="154"/>
                      </a:cubicBezTo>
                      <a:cubicBezTo>
                        <a:pt x="357" y="157"/>
                        <a:pt x="358" y="159"/>
                        <a:pt x="359" y="161"/>
                      </a:cubicBezTo>
                      <a:cubicBezTo>
                        <a:pt x="361" y="165"/>
                        <a:pt x="363" y="168"/>
                        <a:pt x="363" y="174"/>
                      </a:cubicBezTo>
                      <a:cubicBezTo>
                        <a:pt x="363" y="180"/>
                        <a:pt x="361" y="184"/>
                        <a:pt x="359" y="187"/>
                      </a:cubicBezTo>
                      <a:cubicBezTo>
                        <a:pt x="358" y="188"/>
                        <a:pt x="357" y="190"/>
                        <a:pt x="357" y="192"/>
                      </a:cubicBezTo>
                      <a:cubicBezTo>
                        <a:pt x="357" y="194"/>
                        <a:pt x="360" y="198"/>
                        <a:pt x="363" y="202"/>
                      </a:cubicBezTo>
                      <a:cubicBezTo>
                        <a:pt x="368" y="207"/>
                        <a:pt x="373" y="212"/>
                        <a:pt x="376" y="214"/>
                      </a:cubicBezTo>
                      <a:cubicBezTo>
                        <a:pt x="376" y="214"/>
                        <a:pt x="376" y="214"/>
                        <a:pt x="376" y="214"/>
                      </a:cubicBezTo>
                      <a:cubicBezTo>
                        <a:pt x="378" y="215"/>
                        <a:pt x="381" y="214"/>
                        <a:pt x="384" y="214"/>
                      </a:cubicBezTo>
                      <a:cubicBezTo>
                        <a:pt x="389" y="214"/>
                        <a:pt x="394" y="213"/>
                        <a:pt x="397" y="217"/>
                      </a:cubicBezTo>
                      <a:cubicBezTo>
                        <a:pt x="401" y="221"/>
                        <a:pt x="401" y="226"/>
                        <a:pt x="401" y="230"/>
                      </a:cubicBezTo>
                      <a:cubicBezTo>
                        <a:pt x="401" y="233"/>
                        <a:pt x="401" y="235"/>
                        <a:pt x="402" y="237"/>
                      </a:cubicBezTo>
                      <a:cubicBezTo>
                        <a:pt x="402" y="237"/>
                        <a:pt x="402" y="237"/>
                        <a:pt x="402" y="237"/>
                      </a:cubicBezTo>
                      <a:cubicBezTo>
                        <a:pt x="403" y="238"/>
                        <a:pt x="408" y="239"/>
                        <a:pt x="413" y="239"/>
                      </a:cubicBezTo>
                      <a:cubicBezTo>
                        <a:pt x="417" y="239"/>
                        <a:pt x="421" y="240"/>
                        <a:pt x="424" y="241"/>
                      </a:cubicBezTo>
                      <a:cubicBezTo>
                        <a:pt x="426" y="241"/>
                        <a:pt x="427" y="242"/>
                        <a:pt x="428" y="243"/>
                      </a:cubicBezTo>
                      <a:cubicBezTo>
                        <a:pt x="431" y="245"/>
                        <a:pt x="432" y="248"/>
                        <a:pt x="432" y="251"/>
                      </a:cubicBezTo>
                      <a:cubicBezTo>
                        <a:pt x="433" y="254"/>
                        <a:pt x="432" y="257"/>
                        <a:pt x="431" y="259"/>
                      </a:cubicBezTo>
                      <a:cubicBezTo>
                        <a:pt x="431" y="261"/>
                        <a:pt x="430" y="262"/>
                        <a:pt x="429" y="264"/>
                      </a:cubicBezTo>
                      <a:cubicBezTo>
                        <a:pt x="426" y="267"/>
                        <a:pt x="421" y="269"/>
                        <a:pt x="414" y="272"/>
                      </a:cubicBezTo>
                      <a:cubicBezTo>
                        <a:pt x="412" y="273"/>
                        <a:pt x="410" y="274"/>
                        <a:pt x="407" y="275"/>
                      </a:cubicBezTo>
                      <a:cubicBezTo>
                        <a:pt x="403" y="277"/>
                        <a:pt x="399" y="278"/>
                        <a:pt x="397" y="280"/>
                      </a:cubicBezTo>
                      <a:cubicBezTo>
                        <a:pt x="394" y="282"/>
                        <a:pt x="392" y="284"/>
                        <a:pt x="389" y="287"/>
                      </a:cubicBezTo>
                      <a:cubicBezTo>
                        <a:pt x="388" y="289"/>
                        <a:pt x="387" y="293"/>
                        <a:pt x="386" y="298"/>
                      </a:cubicBezTo>
                      <a:cubicBezTo>
                        <a:pt x="385" y="305"/>
                        <a:pt x="386" y="314"/>
                        <a:pt x="387" y="320"/>
                      </a:cubicBezTo>
                      <a:cubicBezTo>
                        <a:pt x="387" y="326"/>
                        <a:pt x="388" y="331"/>
                        <a:pt x="387" y="335"/>
                      </a:cubicBezTo>
                      <a:cubicBezTo>
                        <a:pt x="386" y="340"/>
                        <a:pt x="385" y="345"/>
                        <a:pt x="381" y="348"/>
                      </a:cubicBezTo>
                      <a:cubicBezTo>
                        <a:pt x="379" y="350"/>
                        <a:pt x="374" y="355"/>
                        <a:pt x="368" y="359"/>
                      </a:cubicBezTo>
                      <a:cubicBezTo>
                        <a:pt x="358" y="367"/>
                        <a:pt x="345" y="377"/>
                        <a:pt x="344" y="380"/>
                      </a:cubicBezTo>
                      <a:cubicBezTo>
                        <a:pt x="343" y="381"/>
                        <a:pt x="344" y="384"/>
                        <a:pt x="344" y="386"/>
                      </a:cubicBezTo>
                      <a:cubicBezTo>
                        <a:pt x="346" y="390"/>
                        <a:pt x="347" y="394"/>
                        <a:pt x="345" y="398"/>
                      </a:cubicBezTo>
                      <a:cubicBezTo>
                        <a:pt x="342" y="403"/>
                        <a:pt x="336" y="405"/>
                        <a:pt x="330" y="407"/>
                      </a:cubicBezTo>
                      <a:cubicBezTo>
                        <a:pt x="325" y="408"/>
                        <a:pt x="320" y="410"/>
                        <a:pt x="316" y="412"/>
                      </a:cubicBezTo>
                      <a:cubicBezTo>
                        <a:pt x="311" y="415"/>
                        <a:pt x="310" y="419"/>
                        <a:pt x="308" y="424"/>
                      </a:cubicBezTo>
                      <a:cubicBezTo>
                        <a:pt x="307" y="428"/>
                        <a:pt x="306" y="433"/>
                        <a:pt x="303" y="439"/>
                      </a:cubicBezTo>
                      <a:cubicBezTo>
                        <a:pt x="299" y="446"/>
                        <a:pt x="297" y="451"/>
                        <a:pt x="296" y="456"/>
                      </a:cubicBezTo>
                      <a:cubicBezTo>
                        <a:pt x="294" y="463"/>
                        <a:pt x="292" y="468"/>
                        <a:pt x="287" y="473"/>
                      </a:cubicBezTo>
                      <a:cubicBezTo>
                        <a:pt x="283" y="476"/>
                        <a:pt x="278" y="479"/>
                        <a:pt x="272" y="482"/>
                      </a:cubicBezTo>
                      <a:cubicBezTo>
                        <a:pt x="265" y="486"/>
                        <a:pt x="258" y="490"/>
                        <a:pt x="253" y="494"/>
                      </a:cubicBezTo>
                      <a:cubicBezTo>
                        <a:pt x="248" y="499"/>
                        <a:pt x="238" y="517"/>
                        <a:pt x="230" y="531"/>
                      </a:cubicBezTo>
                      <a:cubicBezTo>
                        <a:pt x="225" y="539"/>
                        <a:pt x="221" y="546"/>
                        <a:pt x="219" y="548"/>
                      </a:cubicBezTo>
                      <a:cubicBezTo>
                        <a:pt x="214" y="555"/>
                        <a:pt x="208" y="555"/>
                        <a:pt x="199" y="555"/>
                      </a:cubicBezTo>
                      <a:cubicBezTo>
                        <a:pt x="197" y="555"/>
                        <a:pt x="197" y="555"/>
                        <a:pt x="197" y="555"/>
                      </a:cubicBezTo>
                      <a:cubicBezTo>
                        <a:pt x="192" y="555"/>
                        <a:pt x="186" y="557"/>
                        <a:pt x="180" y="559"/>
                      </a:cubicBezTo>
                      <a:cubicBezTo>
                        <a:pt x="176" y="560"/>
                        <a:pt x="171" y="562"/>
                        <a:pt x="166" y="563"/>
                      </a:cubicBezTo>
                      <a:cubicBezTo>
                        <a:pt x="154" y="566"/>
                        <a:pt x="152" y="564"/>
                        <a:pt x="146" y="558"/>
                      </a:cubicBezTo>
                      <a:cubicBezTo>
                        <a:pt x="144" y="557"/>
                        <a:pt x="143" y="556"/>
                        <a:pt x="141" y="554"/>
                      </a:cubicBezTo>
                      <a:cubicBezTo>
                        <a:pt x="137" y="551"/>
                        <a:pt x="134" y="549"/>
                        <a:pt x="131" y="548"/>
                      </a:cubicBezTo>
                      <a:cubicBezTo>
                        <a:pt x="129" y="548"/>
                        <a:pt x="126" y="549"/>
                        <a:pt x="123" y="551"/>
                      </a:cubicBezTo>
                      <a:cubicBezTo>
                        <a:pt x="121" y="553"/>
                        <a:pt x="115" y="559"/>
                        <a:pt x="108" y="568"/>
                      </a:cubicBezTo>
                      <a:cubicBezTo>
                        <a:pt x="96" y="581"/>
                        <a:pt x="83" y="597"/>
                        <a:pt x="80" y="603"/>
                      </a:cubicBezTo>
                      <a:cubicBezTo>
                        <a:pt x="77" y="606"/>
                        <a:pt x="76" y="609"/>
                        <a:pt x="76" y="613"/>
                      </a:cubicBezTo>
                      <a:cubicBezTo>
                        <a:pt x="76" y="617"/>
                        <a:pt x="78" y="621"/>
                        <a:pt x="79" y="623"/>
                      </a:cubicBezTo>
                      <a:cubicBezTo>
                        <a:pt x="80" y="623"/>
                        <a:pt x="85" y="626"/>
                        <a:pt x="92" y="628"/>
                      </a:cubicBezTo>
                      <a:cubicBezTo>
                        <a:pt x="101" y="632"/>
                        <a:pt x="111" y="636"/>
                        <a:pt x="113" y="640"/>
                      </a:cubicBezTo>
                      <a:cubicBezTo>
                        <a:pt x="113" y="640"/>
                        <a:pt x="113" y="640"/>
                        <a:pt x="113" y="640"/>
                      </a:cubicBezTo>
                      <a:cubicBezTo>
                        <a:pt x="116" y="644"/>
                        <a:pt x="115" y="648"/>
                        <a:pt x="114" y="653"/>
                      </a:cubicBezTo>
                      <a:cubicBezTo>
                        <a:pt x="114" y="656"/>
                        <a:pt x="113" y="660"/>
                        <a:pt x="113" y="666"/>
                      </a:cubicBezTo>
                      <a:cubicBezTo>
                        <a:pt x="113" y="672"/>
                        <a:pt x="114" y="676"/>
                        <a:pt x="115" y="680"/>
                      </a:cubicBezTo>
                      <a:cubicBezTo>
                        <a:pt x="117" y="685"/>
                        <a:pt x="119" y="688"/>
                        <a:pt x="121" y="690"/>
                      </a:cubicBezTo>
                      <a:cubicBezTo>
                        <a:pt x="123" y="692"/>
                        <a:pt x="128" y="692"/>
                        <a:pt x="133" y="692"/>
                      </a:cubicBezTo>
                      <a:cubicBezTo>
                        <a:pt x="139" y="692"/>
                        <a:pt x="144" y="692"/>
                        <a:pt x="147" y="694"/>
                      </a:cubicBezTo>
                      <a:cubicBezTo>
                        <a:pt x="150" y="696"/>
                        <a:pt x="158" y="713"/>
                        <a:pt x="164" y="729"/>
                      </a:cubicBezTo>
                      <a:cubicBezTo>
                        <a:pt x="169" y="743"/>
                        <a:pt x="173" y="758"/>
                        <a:pt x="172" y="763"/>
                      </a:cubicBezTo>
                      <a:cubicBezTo>
                        <a:pt x="172" y="766"/>
                        <a:pt x="172" y="766"/>
                        <a:pt x="172" y="766"/>
                      </a:cubicBezTo>
                      <a:cubicBezTo>
                        <a:pt x="171" y="772"/>
                        <a:pt x="170" y="775"/>
                        <a:pt x="171" y="779"/>
                      </a:cubicBezTo>
                      <a:cubicBezTo>
                        <a:pt x="171" y="780"/>
                        <a:pt x="171" y="780"/>
                        <a:pt x="171" y="781"/>
                      </a:cubicBezTo>
                      <a:cubicBezTo>
                        <a:pt x="172" y="784"/>
                        <a:pt x="170" y="787"/>
                        <a:pt x="168" y="790"/>
                      </a:cubicBezTo>
                      <a:cubicBezTo>
                        <a:pt x="166" y="792"/>
                        <a:pt x="163" y="793"/>
                        <a:pt x="159" y="794"/>
                      </a:cubicBezTo>
                      <a:cubicBezTo>
                        <a:pt x="157" y="795"/>
                        <a:pt x="154" y="795"/>
                        <a:pt x="152" y="795"/>
                      </a:cubicBezTo>
                      <a:cubicBezTo>
                        <a:pt x="143" y="796"/>
                        <a:pt x="141" y="791"/>
                        <a:pt x="139" y="787"/>
                      </a:cubicBezTo>
                      <a:cubicBezTo>
                        <a:pt x="138" y="785"/>
                        <a:pt x="137" y="783"/>
                        <a:pt x="135" y="783"/>
                      </a:cubicBezTo>
                      <a:cubicBezTo>
                        <a:pt x="131" y="783"/>
                        <a:pt x="126" y="786"/>
                        <a:pt x="122" y="790"/>
                      </a:cubicBezTo>
                      <a:cubicBezTo>
                        <a:pt x="116" y="794"/>
                        <a:pt x="110" y="798"/>
                        <a:pt x="104" y="798"/>
                      </a:cubicBezTo>
                      <a:cubicBezTo>
                        <a:pt x="101" y="798"/>
                        <a:pt x="89" y="796"/>
                        <a:pt x="76" y="795"/>
                      </a:cubicBezTo>
                      <a:cubicBezTo>
                        <a:pt x="76" y="795"/>
                        <a:pt x="76" y="795"/>
                        <a:pt x="76" y="795"/>
                      </a:cubicBezTo>
                      <a:cubicBezTo>
                        <a:pt x="55" y="792"/>
                        <a:pt x="30" y="789"/>
                        <a:pt x="28" y="790"/>
                      </a:cubicBezTo>
                      <a:cubicBezTo>
                        <a:pt x="27" y="790"/>
                        <a:pt x="27" y="791"/>
                        <a:pt x="27" y="792"/>
                      </a:cubicBezTo>
                      <a:cubicBezTo>
                        <a:pt x="27" y="795"/>
                        <a:pt x="27" y="798"/>
                        <a:pt x="25" y="801"/>
                      </a:cubicBezTo>
                      <a:cubicBezTo>
                        <a:pt x="23" y="807"/>
                        <a:pt x="17" y="808"/>
                        <a:pt x="11" y="809"/>
                      </a:cubicBezTo>
                      <a:cubicBezTo>
                        <a:pt x="7" y="810"/>
                        <a:pt x="4" y="811"/>
                        <a:pt x="3" y="812"/>
                      </a:cubicBezTo>
                      <a:cubicBezTo>
                        <a:pt x="2" y="814"/>
                        <a:pt x="1" y="815"/>
                        <a:pt x="0" y="817"/>
                      </a:cubicBezTo>
                      <a:cubicBezTo>
                        <a:pt x="5" y="816"/>
                        <a:pt x="6" y="812"/>
                        <a:pt x="12" y="811"/>
                      </a:cubicBezTo>
                      <a:cubicBezTo>
                        <a:pt x="20" y="810"/>
                        <a:pt x="25" y="813"/>
                        <a:pt x="24" y="818"/>
                      </a:cubicBezTo>
                      <a:cubicBezTo>
                        <a:pt x="22" y="823"/>
                        <a:pt x="7" y="827"/>
                        <a:pt x="7" y="835"/>
                      </a:cubicBezTo>
                      <a:cubicBezTo>
                        <a:pt x="6" y="844"/>
                        <a:pt x="11" y="848"/>
                        <a:pt x="13" y="856"/>
                      </a:cubicBezTo>
                      <a:cubicBezTo>
                        <a:pt x="15" y="864"/>
                        <a:pt x="20" y="866"/>
                        <a:pt x="32" y="871"/>
                      </a:cubicBezTo>
                      <a:cubicBezTo>
                        <a:pt x="43" y="877"/>
                        <a:pt x="43" y="878"/>
                        <a:pt x="47" y="882"/>
                      </a:cubicBezTo>
                      <a:cubicBezTo>
                        <a:pt x="51" y="885"/>
                        <a:pt x="53" y="884"/>
                        <a:pt x="63" y="886"/>
                      </a:cubicBezTo>
                      <a:cubicBezTo>
                        <a:pt x="73" y="888"/>
                        <a:pt x="82" y="890"/>
                        <a:pt x="90" y="887"/>
                      </a:cubicBezTo>
                      <a:cubicBezTo>
                        <a:pt x="97" y="884"/>
                        <a:pt x="97" y="881"/>
                        <a:pt x="103" y="878"/>
                      </a:cubicBezTo>
                      <a:cubicBezTo>
                        <a:pt x="108" y="876"/>
                        <a:pt x="115" y="877"/>
                        <a:pt x="121" y="875"/>
                      </a:cubicBezTo>
                      <a:cubicBezTo>
                        <a:pt x="126" y="872"/>
                        <a:pt x="129" y="866"/>
                        <a:pt x="130" y="869"/>
                      </a:cubicBezTo>
                      <a:cubicBezTo>
                        <a:pt x="131" y="871"/>
                        <a:pt x="128" y="876"/>
                        <a:pt x="125" y="879"/>
                      </a:cubicBezTo>
                      <a:cubicBezTo>
                        <a:pt x="122" y="882"/>
                        <a:pt x="120" y="888"/>
                        <a:pt x="116" y="894"/>
                      </a:cubicBezTo>
                      <a:cubicBezTo>
                        <a:pt x="112" y="900"/>
                        <a:pt x="109" y="902"/>
                        <a:pt x="101" y="905"/>
                      </a:cubicBezTo>
                      <a:cubicBezTo>
                        <a:pt x="94" y="908"/>
                        <a:pt x="93" y="909"/>
                        <a:pt x="85" y="909"/>
                      </a:cubicBezTo>
                      <a:cubicBezTo>
                        <a:pt x="77" y="910"/>
                        <a:pt x="78" y="913"/>
                        <a:pt x="69" y="917"/>
                      </a:cubicBezTo>
                      <a:cubicBezTo>
                        <a:pt x="60" y="921"/>
                        <a:pt x="58" y="918"/>
                        <a:pt x="57" y="917"/>
                      </a:cubicBezTo>
                      <a:cubicBezTo>
                        <a:pt x="55" y="916"/>
                        <a:pt x="48" y="912"/>
                        <a:pt x="44" y="912"/>
                      </a:cubicBezTo>
                      <a:cubicBezTo>
                        <a:pt x="40" y="912"/>
                        <a:pt x="37" y="919"/>
                        <a:pt x="41" y="924"/>
                      </a:cubicBezTo>
                      <a:cubicBezTo>
                        <a:pt x="44" y="930"/>
                        <a:pt x="51" y="941"/>
                        <a:pt x="61" y="949"/>
                      </a:cubicBezTo>
                      <a:cubicBezTo>
                        <a:pt x="70" y="958"/>
                        <a:pt x="89" y="975"/>
                        <a:pt x="97" y="985"/>
                      </a:cubicBezTo>
                      <a:cubicBezTo>
                        <a:pt x="106" y="994"/>
                        <a:pt x="135" y="1016"/>
                        <a:pt x="149" y="1016"/>
                      </a:cubicBezTo>
                      <a:cubicBezTo>
                        <a:pt x="164" y="1016"/>
                        <a:pt x="172" y="1016"/>
                        <a:pt x="188" y="1010"/>
                      </a:cubicBezTo>
                      <a:cubicBezTo>
                        <a:pt x="204" y="1005"/>
                        <a:pt x="218" y="995"/>
                        <a:pt x="223" y="989"/>
                      </a:cubicBezTo>
                      <a:cubicBezTo>
                        <a:pt x="228" y="983"/>
                        <a:pt x="234" y="980"/>
                        <a:pt x="237" y="976"/>
                      </a:cubicBezTo>
                      <a:cubicBezTo>
                        <a:pt x="240" y="973"/>
                        <a:pt x="242" y="963"/>
                        <a:pt x="239" y="960"/>
                      </a:cubicBezTo>
                      <a:cubicBezTo>
                        <a:pt x="237" y="957"/>
                        <a:pt x="229" y="949"/>
                        <a:pt x="230" y="944"/>
                      </a:cubicBezTo>
                      <a:cubicBezTo>
                        <a:pt x="231" y="938"/>
                        <a:pt x="238" y="939"/>
                        <a:pt x="240" y="933"/>
                      </a:cubicBezTo>
                      <a:cubicBezTo>
                        <a:pt x="242" y="927"/>
                        <a:pt x="238" y="928"/>
                        <a:pt x="238" y="922"/>
                      </a:cubicBezTo>
                      <a:cubicBezTo>
                        <a:pt x="238" y="916"/>
                        <a:pt x="245" y="919"/>
                        <a:pt x="253" y="919"/>
                      </a:cubicBezTo>
                      <a:cubicBezTo>
                        <a:pt x="261" y="918"/>
                        <a:pt x="276" y="920"/>
                        <a:pt x="276" y="924"/>
                      </a:cubicBezTo>
                      <a:cubicBezTo>
                        <a:pt x="275" y="928"/>
                        <a:pt x="262" y="931"/>
                        <a:pt x="259" y="935"/>
                      </a:cubicBezTo>
                      <a:cubicBezTo>
                        <a:pt x="255" y="939"/>
                        <a:pt x="258" y="952"/>
                        <a:pt x="262" y="956"/>
                      </a:cubicBezTo>
                      <a:cubicBezTo>
                        <a:pt x="267" y="960"/>
                        <a:pt x="285" y="956"/>
                        <a:pt x="283" y="960"/>
                      </a:cubicBezTo>
                      <a:cubicBezTo>
                        <a:pt x="280" y="964"/>
                        <a:pt x="268" y="971"/>
                        <a:pt x="263" y="977"/>
                      </a:cubicBezTo>
                      <a:cubicBezTo>
                        <a:pt x="258" y="982"/>
                        <a:pt x="262" y="986"/>
                        <a:pt x="265" y="996"/>
                      </a:cubicBezTo>
                      <a:cubicBezTo>
                        <a:pt x="268" y="1005"/>
                        <a:pt x="276" y="1004"/>
                        <a:pt x="278" y="1012"/>
                      </a:cubicBezTo>
                      <a:cubicBezTo>
                        <a:pt x="279" y="1019"/>
                        <a:pt x="278" y="1024"/>
                        <a:pt x="277" y="1035"/>
                      </a:cubicBezTo>
                      <a:cubicBezTo>
                        <a:pt x="276" y="1045"/>
                        <a:pt x="271" y="1047"/>
                        <a:pt x="270" y="1055"/>
                      </a:cubicBezTo>
                      <a:cubicBezTo>
                        <a:pt x="270" y="1062"/>
                        <a:pt x="271" y="1088"/>
                        <a:pt x="271" y="1095"/>
                      </a:cubicBezTo>
                      <a:cubicBezTo>
                        <a:pt x="271" y="1101"/>
                        <a:pt x="277" y="1104"/>
                        <a:pt x="278" y="1107"/>
                      </a:cubicBezTo>
                      <a:cubicBezTo>
                        <a:pt x="280" y="1111"/>
                        <a:pt x="280" y="1116"/>
                        <a:pt x="279" y="1120"/>
                      </a:cubicBezTo>
                      <a:cubicBezTo>
                        <a:pt x="279" y="1124"/>
                        <a:pt x="279" y="1128"/>
                        <a:pt x="280" y="1135"/>
                      </a:cubicBezTo>
                      <a:cubicBezTo>
                        <a:pt x="280" y="1141"/>
                        <a:pt x="285" y="1153"/>
                        <a:pt x="287" y="1162"/>
                      </a:cubicBezTo>
                      <a:cubicBezTo>
                        <a:pt x="290" y="1171"/>
                        <a:pt x="287" y="1173"/>
                        <a:pt x="286" y="1180"/>
                      </a:cubicBezTo>
                      <a:cubicBezTo>
                        <a:pt x="285" y="1188"/>
                        <a:pt x="284" y="1198"/>
                        <a:pt x="289" y="1212"/>
                      </a:cubicBezTo>
                      <a:cubicBezTo>
                        <a:pt x="294" y="1226"/>
                        <a:pt x="306" y="1265"/>
                        <a:pt x="307" y="1285"/>
                      </a:cubicBezTo>
                      <a:cubicBezTo>
                        <a:pt x="309" y="1306"/>
                        <a:pt x="310" y="1307"/>
                        <a:pt x="318" y="1322"/>
                      </a:cubicBezTo>
                      <a:cubicBezTo>
                        <a:pt x="326" y="1336"/>
                        <a:pt x="341" y="1348"/>
                        <a:pt x="343" y="1355"/>
                      </a:cubicBezTo>
                      <a:cubicBezTo>
                        <a:pt x="345" y="1362"/>
                        <a:pt x="341" y="1361"/>
                        <a:pt x="340" y="1367"/>
                      </a:cubicBezTo>
                      <a:cubicBezTo>
                        <a:pt x="339" y="1373"/>
                        <a:pt x="351" y="1378"/>
                        <a:pt x="351" y="1390"/>
                      </a:cubicBezTo>
                      <a:cubicBezTo>
                        <a:pt x="351" y="1402"/>
                        <a:pt x="365" y="1404"/>
                        <a:pt x="373" y="1417"/>
                      </a:cubicBezTo>
                      <a:cubicBezTo>
                        <a:pt x="381" y="1429"/>
                        <a:pt x="378" y="1433"/>
                        <a:pt x="378" y="1443"/>
                      </a:cubicBezTo>
                      <a:cubicBezTo>
                        <a:pt x="377" y="1452"/>
                        <a:pt x="385" y="1456"/>
                        <a:pt x="392" y="1476"/>
                      </a:cubicBezTo>
                      <a:cubicBezTo>
                        <a:pt x="398" y="1496"/>
                        <a:pt x="399" y="1494"/>
                        <a:pt x="404" y="1507"/>
                      </a:cubicBezTo>
                      <a:cubicBezTo>
                        <a:pt x="409" y="1520"/>
                        <a:pt x="404" y="1520"/>
                        <a:pt x="404" y="1529"/>
                      </a:cubicBezTo>
                      <a:cubicBezTo>
                        <a:pt x="405" y="1537"/>
                        <a:pt x="408" y="1544"/>
                        <a:pt x="413" y="1556"/>
                      </a:cubicBezTo>
                      <a:cubicBezTo>
                        <a:pt x="419" y="1569"/>
                        <a:pt x="428" y="1577"/>
                        <a:pt x="441" y="1592"/>
                      </a:cubicBezTo>
                      <a:cubicBezTo>
                        <a:pt x="454" y="1607"/>
                        <a:pt x="458" y="1612"/>
                        <a:pt x="461" y="1625"/>
                      </a:cubicBezTo>
                      <a:cubicBezTo>
                        <a:pt x="464" y="1638"/>
                        <a:pt x="469" y="1647"/>
                        <a:pt x="472" y="1663"/>
                      </a:cubicBezTo>
                      <a:cubicBezTo>
                        <a:pt x="475" y="1678"/>
                        <a:pt x="489" y="1694"/>
                        <a:pt x="492" y="1702"/>
                      </a:cubicBezTo>
                      <a:cubicBezTo>
                        <a:pt x="495" y="1710"/>
                        <a:pt x="499" y="1715"/>
                        <a:pt x="498" y="1720"/>
                      </a:cubicBezTo>
                      <a:cubicBezTo>
                        <a:pt x="498" y="1724"/>
                        <a:pt x="494" y="1722"/>
                        <a:pt x="494" y="1728"/>
                      </a:cubicBezTo>
                      <a:cubicBezTo>
                        <a:pt x="495" y="1733"/>
                        <a:pt x="497" y="1739"/>
                        <a:pt x="500" y="1745"/>
                      </a:cubicBezTo>
                      <a:cubicBezTo>
                        <a:pt x="502" y="1750"/>
                        <a:pt x="510" y="1752"/>
                        <a:pt x="511" y="1761"/>
                      </a:cubicBezTo>
                      <a:cubicBezTo>
                        <a:pt x="512" y="1769"/>
                        <a:pt x="509" y="1768"/>
                        <a:pt x="511" y="1774"/>
                      </a:cubicBezTo>
                      <a:cubicBezTo>
                        <a:pt x="512" y="1780"/>
                        <a:pt x="524" y="1791"/>
                        <a:pt x="540" y="1806"/>
                      </a:cubicBezTo>
                      <a:cubicBezTo>
                        <a:pt x="556" y="1822"/>
                        <a:pt x="559" y="1821"/>
                        <a:pt x="566" y="1820"/>
                      </a:cubicBezTo>
                      <a:cubicBezTo>
                        <a:pt x="573" y="1820"/>
                        <a:pt x="582" y="1810"/>
                        <a:pt x="593" y="1805"/>
                      </a:cubicBezTo>
                      <a:cubicBezTo>
                        <a:pt x="604" y="1801"/>
                        <a:pt x="607" y="1794"/>
                        <a:pt x="605" y="1786"/>
                      </a:cubicBezTo>
                      <a:cubicBezTo>
                        <a:pt x="604" y="1778"/>
                        <a:pt x="613" y="1772"/>
                        <a:pt x="619" y="1760"/>
                      </a:cubicBezTo>
                      <a:cubicBezTo>
                        <a:pt x="624" y="1748"/>
                        <a:pt x="637" y="1750"/>
                        <a:pt x="649" y="1750"/>
                      </a:cubicBezTo>
                      <a:cubicBezTo>
                        <a:pt x="662" y="1750"/>
                        <a:pt x="681" y="1753"/>
                        <a:pt x="686" y="1751"/>
                      </a:cubicBezTo>
                      <a:cubicBezTo>
                        <a:pt x="690" y="1749"/>
                        <a:pt x="681" y="1744"/>
                        <a:pt x="670" y="1739"/>
                      </a:cubicBezTo>
                      <a:cubicBezTo>
                        <a:pt x="659" y="1733"/>
                        <a:pt x="658" y="1732"/>
                        <a:pt x="661" y="1723"/>
                      </a:cubicBezTo>
                      <a:cubicBezTo>
                        <a:pt x="664" y="1714"/>
                        <a:pt x="668" y="1710"/>
                        <a:pt x="675" y="1703"/>
                      </a:cubicBezTo>
                      <a:cubicBezTo>
                        <a:pt x="681" y="1696"/>
                        <a:pt x="676" y="1686"/>
                        <a:pt x="683" y="1682"/>
                      </a:cubicBezTo>
                      <a:cubicBezTo>
                        <a:pt x="689" y="1679"/>
                        <a:pt x="697" y="1680"/>
                        <a:pt x="705" y="1679"/>
                      </a:cubicBezTo>
                      <a:cubicBezTo>
                        <a:pt x="712" y="1679"/>
                        <a:pt x="710" y="1672"/>
                        <a:pt x="712" y="1657"/>
                      </a:cubicBezTo>
                      <a:cubicBezTo>
                        <a:pt x="713" y="1641"/>
                        <a:pt x="714" y="1638"/>
                        <a:pt x="711" y="1631"/>
                      </a:cubicBezTo>
                      <a:cubicBezTo>
                        <a:pt x="707" y="1624"/>
                        <a:pt x="702" y="1625"/>
                        <a:pt x="701" y="1621"/>
                      </a:cubicBezTo>
                      <a:cubicBezTo>
                        <a:pt x="700" y="1617"/>
                        <a:pt x="709" y="1614"/>
                        <a:pt x="709" y="1605"/>
                      </a:cubicBezTo>
                      <a:cubicBezTo>
                        <a:pt x="709" y="1596"/>
                        <a:pt x="707" y="1577"/>
                        <a:pt x="723" y="1557"/>
                      </a:cubicBezTo>
                      <a:cubicBezTo>
                        <a:pt x="739" y="1536"/>
                        <a:pt x="738" y="1537"/>
                        <a:pt x="738" y="1523"/>
                      </a:cubicBezTo>
                      <a:cubicBezTo>
                        <a:pt x="739" y="1509"/>
                        <a:pt x="738" y="1523"/>
                        <a:pt x="738" y="1512"/>
                      </a:cubicBezTo>
                      <a:cubicBezTo>
                        <a:pt x="737" y="1502"/>
                        <a:pt x="738" y="1498"/>
                        <a:pt x="737" y="1493"/>
                      </a:cubicBezTo>
                      <a:cubicBezTo>
                        <a:pt x="737" y="1488"/>
                        <a:pt x="737" y="1483"/>
                        <a:pt x="735" y="1479"/>
                      </a:cubicBezTo>
                      <a:cubicBezTo>
                        <a:pt x="733" y="1475"/>
                        <a:pt x="732" y="1470"/>
                        <a:pt x="731" y="1465"/>
                      </a:cubicBezTo>
                      <a:cubicBezTo>
                        <a:pt x="731" y="1461"/>
                        <a:pt x="732" y="1455"/>
                        <a:pt x="730" y="1450"/>
                      </a:cubicBezTo>
                      <a:cubicBezTo>
                        <a:pt x="728" y="1446"/>
                        <a:pt x="724" y="1439"/>
                        <a:pt x="723" y="1432"/>
                      </a:cubicBezTo>
                      <a:cubicBezTo>
                        <a:pt x="722" y="1425"/>
                        <a:pt x="725" y="1422"/>
                        <a:pt x="727" y="1408"/>
                      </a:cubicBezTo>
                      <a:cubicBezTo>
                        <a:pt x="729" y="1395"/>
                        <a:pt x="723" y="1381"/>
                        <a:pt x="723" y="1376"/>
                      </a:cubicBezTo>
                      <a:cubicBezTo>
                        <a:pt x="724" y="1371"/>
                        <a:pt x="729" y="1367"/>
                        <a:pt x="732" y="1356"/>
                      </a:cubicBezTo>
                      <a:cubicBezTo>
                        <a:pt x="734" y="1345"/>
                        <a:pt x="742" y="1340"/>
                        <a:pt x="747" y="1336"/>
                      </a:cubicBezTo>
                      <a:cubicBezTo>
                        <a:pt x="752" y="1333"/>
                        <a:pt x="758" y="1335"/>
                        <a:pt x="765" y="1334"/>
                      </a:cubicBezTo>
                      <a:cubicBezTo>
                        <a:pt x="772" y="1333"/>
                        <a:pt x="770" y="1329"/>
                        <a:pt x="777" y="1328"/>
                      </a:cubicBezTo>
                      <a:cubicBezTo>
                        <a:pt x="785" y="1328"/>
                        <a:pt x="782" y="1332"/>
                        <a:pt x="785" y="1333"/>
                      </a:cubicBezTo>
                      <a:cubicBezTo>
                        <a:pt x="789" y="1334"/>
                        <a:pt x="789" y="1331"/>
                        <a:pt x="791" y="1326"/>
                      </a:cubicBezTo>
                      <a:cubicBezTo>
                        <a:pt x="793" y="1320"/>
                        <a:pt x="798" y="1305"/>
                        <a:pt x="803" y="1301"/>
                      </a:cubicBezTo>
                      <a:cubicBezTo>
                        <a:pt x="808" y="1296"/>
                        <a:pt x="811" y="1299"/>
                        <a:pt x="820" y="1300"/>
                      </a:cubicBezTo>
                      <a:cubicBezTo>
                        <a:pt x="830" y="1300"/>
                        <a:pt x="843" y="1297"/>
                        <a:pt x="850" y="1292"/>
                      </a:cubicBezTo>
                      <a:cubicBezTo>
                        <a:pt x="857" y="1287"/>
                        <a:pt x="860" y="1285"/>
                        <a:pt x="862" y="1281"/>
                      </a:cubicBezTo>
                      <a:cubicBezTo>
                        <a:pt x="865" y="1277"/>
                        <a:pt x="866" y="1272"/>
                        <a:pt x="864" y="1266"/>
                      </a:cubicBezTo>
                      <a:cubicBezTo>
                        <a:pt x="863" y="1261"/>
                        <a:pt x="863" y="1255"/>
                        <a:pt x="870" y="1249"/>
                      </a:cubicBezTo>
                      <a:cubicBezTo>
                        <a:pt x="876" y="1243"/>
                        <a:pt x="899" y="1232"/>
                        <a:pt x="903" y="1229"/>
                      </a:cubicBezTo>
                      <a:cubicBezTo>
                        <a:pt x="906" y="1227"/>
                        <a:pt x="927" y="1219"/>
                        <a:pt x="930" y="1212"/>
                      </a:cubicBezTo>
                      <a:cubicBezTo>
                        <a:pt x="933" y="1204"/>
                        <a:pt x="945" y="1190"/>
                        <a:pt x="950" y="1186"/>
                      </a:cubicBezTo>
                      <a:cubicBezTo>
                        <a:pt x="955" y="1181"/>
                        <a:pt x="975" y="1178"/>
                        <a:pt x="979" y="1171"/>
                      </a:cubicBezTo>
                      <a:cubicBezTo>
                        <a:pt x="983" y="1165"/>
                        <a:pt x="994" y="1157"/>
                        <a:pt x="1000" y="1146"/>
                      </a:cubicBezTo>
                      <a:cubicBezTo>
                        <a:pt x="1007" y="1135"/>
                        <a:pt x="1017" y="1126"/>
                        <a:pt x="1023" y="1119"/>
                      </a:cubicBezTo>
                      <a:cubicBezTo>
                        <a:pt x="1030" y="1113"/>
                        <a:pt x="1045" y="1107"/>
                        <a:pt x="1048" y="1103"/>
                      </a:cubicBezTo>
                      <a:cubicBezTo>
                        <a:pt x="1050" y="1099"/>
                        <a:pt x="1054" y="1096"/>
                        <a:pt x="1051" y="1095"/>
                      </a:cubicBezTo>
                      <a:cubicBezTo>
                        <a:pt x="1048" y="1093"/>
                        <a:pt x="1046" y="1085"/>
                        <a:pt x="1051" y="1081"/>
                      </a:cubicBezTo>
                      <a:cubicBezTo>
                        <a:pt x="1057" y="1076"/>
                        <a:pt x="1062" y="1082"/>
                        <a:pt x="1068" y="1084"/>
                      </a:cubicBezTo>
                      <a:cubicBezTo>
                        <a:pt x="1075" y="1086"/>
                        <a:pt x="1081" y="1080"/>
                        <a:pt x="1089" y="1079"/>
                      </a:cubicBezTo>
                      <a:cubicBezTo>
                        <a:pt x="1097" y="1077"/>
                        <a:pt x="1108" y="1073"/>
                        <a:pt x="1108" y="1068"/>
                      </a:cubicBezTo>
                      <a:cubicBezTo>
                        <a:pt x="1108" y="1063"/>
                        <a:pt x="1105" y="1061"/>
                        <a:pt x="1109" y="1061"/>
                      </a:cubicBezTo>
                      <a:cubicBezTo>
                        <a:pt x="1112" y="1060"/>
                        <a:pt x="1112" y="1067"/>
                        <a:pt x="1116" y="1066"/>
                      </a:cubicBezTo>
                      <a:cubicBezTo>
                        <a:pt x="1119" y="1066"/>
                        <a:pt x="1135" y="1046"/>
                        <a:pt x="1141" y="1041"/>
                      </a:cubicBezTo>
                      <a:cubicBezTo>
                        <a:pt x="1148" y="1036"/>
                        <a:pt x="1155" y="1024"/>
                        <a:pt x="1154" y="1020"/>
                      </a:cubicBezTo>
                      <a:cubicBezTo>
                        <a:pt x="1153" y="1016"/>
                        <a:pt x="1152" y="1011"/>
                        <a:pt x="1151" y="1002"/>
                      </a:cubicBezTo>
                      <a:cubicBezTo>
                        <a:pt x="1150" y="994"/>
                        <a:pt x="1149" y="985"/>
                        <a:pt x="1149" y="978"/>
                      </a:cubicBezTo>
                      <a:cubicBezTo>
                        <a:pt x="1150" y="971"/>
                        <a:pt x="1161" y="969"/>
                        <a:pt x="1169" y="965"/>
                      </a:cubicBezTo>
                      <a:cubicBezTo>
                        <a:pt x="1176" y="961"/>
                        <a:pt x="1180" y="963"/>
                        <a:pt x="1197" y="957"/>
                      </a:cubicBezTo>
                      <a:cubicBezTo>
                        <a:pt x="1215" y="951"/>
                        <a:pt x="1212" y="948"/>
                        <a:pt x="1217" y="944"/>
                      </a:cubicBezTo>
                      <a:cubicBezTo>
                        <a:pt x="1222" y="939"/>
                        <a:pt x="1221" y="935"/>
                        <a:pt x="1219" y="931"/>
                      </a:cubicBezTo>
                      <a:cubicBezTo>
                        <a:pt x="1217" y="928"/>
                        <a:pt x="1213" y="924"/>
                        <a:pt x="1215" y="920"/>
                      </a:cubicBezTo>
                      <a:cubicBezTo>
                        <a:pt x="1217" y="916"/>
                        <a:pt x="1225" y="927"/>
                        <a:pt x="1228" y="931"/>
                      </a:cubicBezTo>
                      <a:cubicBezTo>
                        <a:pt x="1231" y="935"/>
                        <a:pt x="1229" y="938"/>
                        <a:pt x="1229" y="942"/>
                      </a:cubicBezTo>
                      <a:cubicBezTo>
                        <a:pt x="1229" y="947"/>
                        <a:pt x="1229" y="952"/>
                        <a:pt x="1229" y="958"/>
                      </a:cubicBezTo>
                      <a:cubicBezTo>
                        <a:pt x="1229" y="964"/>
                        <a:pt x="1234" y="962"/>
                        <a:pt x="1239" y="962"/>
                      </a:cubicBezTo>
                      <a:cubicBezTo>
                        <a:pt x="1245" y="963"/>
                        <a:pt x="1248" y="961"/>
                        <a:pt x="1249" y="956"/>
                      </a:cubicBezTo>
                      <a:cubicBezTo>
                        <a:pt x="1251" y="951"/>
                        <a:pt x="1250" y="947"/>
                        <a:pt x="1250" y="941"/>
                      </a:cubicBezTo>
                      <a:cubicBezTo>
                        <a:pt x="1250" y="935"/>
                        <a:pt x="1258" y="934"/>
                        <a:pt x="1260" y="935"/>
                      </a:cubicBezTo>
                      <a:cubicBezTo>
                        <a:pt x="1262" y="937"/>
                        <a:pt x="1262" y="946"/>
                        <a:pt x="1260" y="951"/>
                      </a:cubicBezTo>
                      <a:cubicBezTo>
                        <a:pt x="1259" y="955"/>
                        <a:pt x="1261" y="962"/>
                        <a:pt x="1263" y="964"/>
                      </a:cubicBezTo>
                      <a:cubicBezTo>
                        <a:pt x="1265" y="966"/>
                        <a:pt x="1270" y="963"/>
                        <a:pt x="1276" y="962"/>
                      </a:cubicBezTo>
                      <a:cubicBezTo>
                        <a:pt x="1278" y="962"/>
                        <a:pt x="1280" y="962"/>
                        <a:pt x="1281" y="962"/>
                      </a:cubicBezTo>
                      <a:cubicBezTo>
                        <a:pt x="1281" y="960"/>
                        <a:pt x="1281" y="957"/>
                        <a:pt x="1281" y="955"/>
                      </a:cubicBezTo>
                      <a:close/>
                    </a:path>
                  </a:pathLst>
                </a:custGeom>
                <a:solidFill>
                  <a:srgbClr val="603093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96" name="Freeform 122"/>
                <p:cNvSpPr/>
                <p:nvPr>
                  <p:custDataLst>
                    <p:tags r:id="rId194"/>
                  </p:custDataLst>
                </p:nvPr>
              </p:nvSpPr>
              <p:spPr bwMode="auto">
                <a:xfrm>
                  <a:off x="2596" y="2114"/>
                  <a:ext cx="60" cy="103"/>
                </a:xfrm>
                <a:custGeom>
                  <a:avLst/>
                  <a:gdLst>
                    <a:gd name="T0" fmla="*/ 123 w 139"/>
                    <a:gd name="T1" fmla="*/ 120 h 241"/>
                    <a:gd name="T2" fmla="*/ 115 w 139"/>
                    <a:gd name="T3" fmla="*/ 102 h 241"/>
                    <a:gd name="T4" fmla="*/ 93 w 139"/>
                    <a:gd name="T5" fmla="*/ 73 h 241"/>
                    <a:gd name="T6" fmla="*/ 83 w 139"/>
                    <a:gd name="T7" fmla="*/ 53 h 241"/>
                    <a:gd name="T8" fmla="*/ 62 w 139"/>
                    <a:gd name="T9" fmla="*/ 21 h 241"/>
                    <a:gd name="T10" fmla="*/ 57 w 139"/>
                    <a:gd name="T11" fmla="*/ 13 h 241"/>
                    <a:gd name="T12" fmla="*/ 46 w 139"/>
                    <a:gd name="T13" fmla="*/ 7 h 241"/>
                    <a:gd name="T14" fmla="*/ 38 w 139"/>
                    <a:gd name="T15" fmla="*/ 5 h 241"/>
                    <a:gd name="T16" fmla="*/ 31 w 139"/>
                    <a:gd name="T17" fmla="*/ 4 h 241"/>
                    <a:gd name="T18" fmla="*/ 35 w 139"/>
                    <a:gd name="T19" fmla="*/ 17 h 241"/>
                    <a:gd name="T20" fmla="*/ 28 w 139"/>
                    <a:gd name="T21" fmla="*/ 19 h 241"/>
                    <a:gd name="T22" fmla="*/ 28 w 139"/>
                    <a:gd name="T23" fmla="*/ 28 h 241"/>
                    <a:gd name="T24" fmla="*/ 20 w 139"/>
                    <a:gd name="T25" fmla="*/ 43 h 241"/>
                    <a:gd name="T26" fmla="*/ 11 w 139"/>
                    <a:gd name="T27" fmla="*/ 47 h 241"/>
                    <a:gd name="T28" fmla="*/ 16 w 139"/>
                    <a:gd name="T29" fmla="*/ 61 h 241"/>
                    <a:gd name="T30" fmla="*/ 15 w 139"/>
                    <a:gd name="T31" fmla="*/ 87 h 241"/>
                    <a:gd name="T32" fmla="*/ 6 w 139"/>
                    <a:gd name="T33" fmla="*/ 100 h 241"/>
                    <a:gd name="T34" fmla="*/ 6 w 139"/>
                    <a:gd name="T35" fmla="*/ 116 h 241"/>
                    <a:gd name="T36" fmla="*/ 12 w 139"/>
                    <a:gd name="T37" fmla="*/ 183 h 241"/>
                    <a:gd name="T38" fmla="*/ 21 w 139"/>
                    <a:gd name="T39" fmla="*/ 209 h 241"/>
                    <a:gd name="T40" fmla="*/ 42 w 139"/>
                    <a:gd name="T41" fmla="*/ 235 h 241"/>
                    <a:gd name="T42" fmla="*/ 71 w 139"/>
                    <a:gd name="T43" fmla="*/ 235 h 241"/>
                    <a:gd name="T44" fmla="*/ 91 w 139"/>
                    <a:gd name="T45" fmla="*/ 221 h 241"/>
                    <a:gd name="T46" fmla="*/ 119 w 139"/>
                    <a:gd name="T47" fmla="*/ 210 h 241"/>
                    <a:gd name="T48" fmla="*/ 132 w 139"/>
                    <a:gd name="T49" fmla="*/ 197 h 241"/>
                    <a:gd name="T50" fmla="*/ 135 w 139"/>
                    <a:gd name="T51" fmla="*/ 181 h 241"/>
                    <a:gd name="T52" fmla="*/ 139 w 139"/>
                    <a:gd name="T53" fmla="*/ 159 h 241"/>
                    <a:gd name="T54" fmla="*/ 132 w 139"/>
                    <a:gd name="T55" fmla="*/ 138 h 241"/>
                    <a:gd name="T56" fmla="*/ 123 w 139"/>
                    <a:gd name="T57" fmla="*/ 120 h 2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139" h="241">
                      <a:moveTo>
                        <a:pt x="123" y="120"/>
                      </a:moveTo>
                      <a:cubicBezTo>
                        <a:pt x="118" y="111"/>
                        <a:pt x="120" y="110"/>
                        <a:pt x="115" y="102"/>
                      </a:cubicBezTo>
                      <a:cubicBezTo>
                        <a:pt x="111" y="94"/>
                        <a:pt x="103" y="87"/>
                        <a:pt x="93" y="73"/>
                      </a:cubicBezTo>
                      <a:cubicBezTo>
                        <a:pt x="83" y="59"/>
                        <a:pt x="87" y="63"/>
                        <a:pt x="83" y="53"/>
                      </a:cubicBezTo>
                      <a:cubicBezTo>
                        <a:pt x="78" y="33"/>
                        <a:pt x="67" y="26"/>
                        <a:pt x="62" y="21"/>
                      </a:cubicBezTo>
                      <a:cubicBezTo>
                        <a:pt x="57" y="17"/>
                        <a:pt x="59" y="19"/>
                        <a:pt x="57" y="13"/>
                      </a:cubicBezTo>
                      <a:cubicBezTo>
                        <a:pt x="55" y="8"/>
                        <a:pt x="51" y="8"/>
                        <a:pt x="46" y="7"/>
                      </a:cubicBezTo>
                      <a:cubicBezTo>
                        <a:pt x="42" y="5"/>
                        <a:pt x="40" y="10"/>
                        <a:pt x="38" y="5"/>
                      </a:cubicBezTo>
                      <a:cubicBezTo>
                        <a:pt x="36" y="1"/>
                        <a:pt x="32" y="0"/>
                        <a:pt x="31" y="4"/>
                      </a:cubicBezTo>
                      <a:cubicBezTo>
                        <a:pt x="29" y="8"/>
                        <a:pt x="36" y="11"/>
                        <a:pt x="35" y="17"/>
                      </a:cubicBezTo>
                      <a:cubicBezTo>
                        <a:pt x="35" y="22"/>
                        <a:pt x="31" y="19"/>
                        <a:pt x="28" y="19"/>
                      </a:cubicBezTo>
                      <a:cubicBezTo>
                        <a:pt x="25" y="19"/>
                        <a:pt x="27" y="22"/>
                        <a:pt x="28" y="28"/>
                      </a:cubicBezTo>
                      <a:cubicBezTo>
                        <a:pt x="29" y="33"/>
                        <a:pt x="24" y="37"/>
                        <a:pt x="20" y="43"/>
                      </a:cubicBezTo>
                      <a:cubicBezTo>
                        <a:pt x="15" y="49"/>
                        <a:pt x="15" y="45"/>
                        <a:pt x="11" y="47"/>
                      </a:cubicBezTo>
                      <a:cubicBezTo>
                        <a:pt x="7" y="48"/>
                        <a:pt x="13" y="53"/>
                        <a:pt x="16" y="61"/>
                      </a:cubicBezTo>
                      <a:cubicBezTo>
                        <a:pt x="19" y="69"/>
                        <a:pt x="16" y="74"/>
                        <a:pt x="15" y="87"/>
                      </a:cubicBezTo>
                      <a:cubicBezTo>
                        <a:pt x="14" y="99"/>
                        <a:pt x="12" y="93"/>
                        <a:pt x="6" y="100"/>
                      </a:cubicBezTo>
                      <a:cubicBezTo>
                        <a:pt x="0" y="106"/>
                        <a:pt x="4" y="105"/>
                        <a:pt x="6" y="116"/>
                      </a:cubicBezTo>
                      <a:cubicBezTo>
                        <a:pt x="7" y="126"/>
                        <a:pt x="9" y="168"/>
                        <a:pt x="12" y="183"/>
                      </a:cubicBezTo>
                      <a:cubicBezTo>
                        <a:pt x="15" y="197"/>
                        <a:pt x="16" y="199"/>
                        <a:pt x="21" y="209"/>
                      </a:cubicBezTo>
                      <a:cubicBezTo>
                        <a:pt x="26" y="220"/>
                        <a:pt x="33" y="228"/>
                        <a:pt x="42" y="235"/>
                      </a:cubicBezTo>
                      <a:cubicBezTo>
                        <a:pt x="51" y="241"/>
                        <a:pt x="62" y="238"/>
                        <a:pt x="71" y="235"/>
                      </a:cubicBezTo>
                      <a:cubicBezTo>
                        <a:pt x="80" y="231"/>
                        <a:pt x="85" y="227"/>
                        <a:pt x="91" y="221"/>
                      </a:cubicBezTo>
                      <a:cubicBezTo>
                        <a:pt x="98" y="215"/>
                        <a:pt x="109" y="215"/>
                        <a:pt x="119" y="210"/>
                      </a:cubicBezTo>
                      <a:cubicBezTo>
                        <a:pt x="129" y="205"/>
                        <a:pt x="130" y="203"/>
                        <a:pt x="132" y="197"/>
                      </a:cubicBezTo>
                      <a:cubicBezTo>
                        <a:pt x="134" y="190"/>
                        <a:pt x="134" y="187"/>
                        <a:pt x="135" y="181"/>
                      </a:cubicBezTo>
                      <a:cubicBezTo>
                        <a:pt x="137" y="175"/>
                        <a:pt x="139" y="169"/>
                        <a:pt x="139" y="159"/>
                      </a:cubicBezTo>
                      <a:cubicBezTo>
                        <a:pt x="139" y="149"/>
                        <a:pt x="137" y="148"/>
                        <a:pt x="132" y="138"/>
                      </a:cubicBezTo>
                      <a:cubicBezTo>
                        <a:pt x="126" y="129"/>
                        <a:pt x="127" y="129"/>
                        <a:pt x="123" y="120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97" name="Freeform 123"/>
                <p:cNvSpPr/>
                <p:nvPr>
                  <p:custDataLst>
                    <p:tags r:id="rId195"/>
                  </p:custDataLst>
                </p:nvPr>
              </p:nvSpPr>
              <p:spPr bwMode="auto">
                <a:xfrm>
                  <a:off x="2407" y="2052"/>
                  <a:ext cx="9" cy="12"/>
                </a:xfrm>
                <a:custGeom>
                  <a:avLst/>
                  <a:gdLst>
                    <a:gd name="T0" fmla="*/ 16 w 22"/>
                    <a:gd name="T1" fmla="*/ 4 h 26"/>
                    <a:gd name="T2" fmla="*/ 4 w 22"/>
                    <a:gd name="T3" fmla="*/ 14 h 26"/>
                    <a:gd name="T4" fmla="*/ 3 w 22"/>
                    <a:gd name="T5" fmla="*/ 22 h 26"/>
                    <a:gd name="T6" fmla="*/ 14 w 22"/>
                    <a:gd name="T7" fmla="*/ 21 h 26"/>
                    <a:gd name="T8" fmla="*/ 18 w 22"/>
                    <a:gd name="T9" fmla="*/ 10 h 26"/>
                    <a:gd name="T10" fmla="*/ 16 w 22"/>
                    <a:gd name="T11" fmla="*/ 4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26">
                      <a:moveTo>
                        <a:pt x="16" y="4"/>
                      </a:moveTo>
                      <a:cubicBezTo>
                        <a:pt x="10" y="10"/>
                        <a:pt x="6" y="12"/>
                        <a:pt x="4" y="14"/>
                      </a:cubicBezTo>
                      <a:cubicBezTo>
                        <a:pt x="1" y="16"/>
                        <a:pt x="0" y="22"/>
                        <a:pt x="3" y="22"/>
                      </a:cubicBezTo>
                      <a:cubicBezTo>
                        <a:pt x="6" y="23"/>
                        <a:pt x="12" y="26"/>
                        <a:pt x="14" y="21"/>
                      </a:cubicBezTo>
                      <a:cubicBezTo>
                        <a:pt x="16" y="15"/>
                        <a:pt x="15" y="15"/>
                        <a:pt x="18" y="10"/>
                      </a:cubicBezTo>
                      <a:cubicBezTo>
                        <a:pt x="22" y="4"/>
                        <a:pt x="21" y="0"/>
                        <a:pt x="16" y="4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98" name="Freeform 124"/>
                <p:cNvSpPr/>
                <p:nvPr>
                  <p:custDataLst>
                    <p:tags r:id="rId196"/>
                  </p:custDataLst>
                </p:nvPr>
              </p:nvSpPr>
              <p:spPr bwMode="auto">
                <a:xfrm>
                  <a:off x="2104" y="1352"/>
                  <a:ext cx="426" cy="379"/>
                </a:xfrm>
                <a:custGeom>
                  <a:avLst/>
                  <a:gdLst>
                    <a:gd name="T0" fmla="*/ 470 w 997"/>
                    <a:gd name="T1" fmla="*/ 868 h 887"/>
                    <a:gd name="T2" fmla="*/ 529 w 997"/>
                    <a:gd name="T3" fmla="*/ 857 h 887"/>
                    <a:gd name="T4" fmla="*/ 598 w 997"/>
                    <a:gd name="T5" fmla="*/ 853 h 887"/>
                    <a:gd name="T6" fmla="*/ 615 w 997"/>
                    <a:gd name="T7" fmla="*/ 851 h 887"/>
                    <a:gd name="T8" fmla="*/ 608 w 997"/>
                    <a:gd name="T9" fmla="*/ 802 h 887"/>
                    <a:gd name="T10" fmla="*/ 559 w 997"/>
                    <a:gd name="T11" fmla="*/ 753 h 887"/>
                    <a:gd name="T12" fmla="*/ 558 w 997"/>
                    <a:gd name="T13" fmla="*/ 714 h 887"/>
                    <a:gd name="T14" fmla="*/ 525 w 997"/>
                    <a:gd name="T15" fmla="*/ 668 h 887"/>
                    <a:gd name="T16" fmla="*/ 598 w 997"/>
                    <a:gd name="T17" fmla="*/ 618 h 887"/>
                    <a:gd name="T18" fmla="*/ 649 w 997"/>
                    <a:gd name="T19" fmla="*/ 617 h 887"/>
                    <a:gd name="T20" fmla="*/ 700 w 997"/>
                    <a:gd name="T21" fmla="*/ 558 h 887"/>
                    <a:gd name="T22" fmla="*/ 747 w 997"/>
                    <a:gd name="T23" fmla="*/ 506 h 887"/>
                    <a:gd name="T24" fmla="*/ 790 w 997"/>
                    <a:gd name="T25" fmla="*/ 464 h 887"/>
                    <a:gd name="T26" fmla="*/ 827 w 997"/>
                    <a:gd name="T27" fmla="*/ 412 h 887"/>
                    <a:gd name="T28" fmla="*/ 835 w 997"/>
                    <a:gd name="T29" fmla="*/ 352 h 887"/>
                    <a:gd name="T30" fmla="*/ 875 w 997"/>
                    <a:gd name="T31" fmla="*/ 328 h 887"/>
                    <a:gd name="T32" fmla="*/ 873 w 997"/>
                    <a:gd name="T33" fmla="*/ 318 h 887"/>
                    <a:gd name="T34" fmla="*/ 845 w 997"/>
                    <a:gd name="T35" fmla="*/ 300 h 887"/>
                    <a:gd name="T36" fmla="*/ 824 w 997"/>
                    <a:gd name="T37" fmla="*/ 290 h 887"/>
                    <a:gd name="T38" fmla="*/ 807 w 997"/>
                    <a:gd name="T39" fmla="*/ 244 h 887"/>
                    <a:gd name="T40" fmla="*/ 810 w 997"/>
                    <a:gd name="T41" fmla="*/ 209 h 887"/>
                    <a:gd name="T42" fmla="*/ 796 w 997"/>
                    <a:gd name="T43" fmla="*/ 200 h 887"/>
                    <a:gd name="T44" fmla="*/ 792 w 997"/>
                    <a:gd name="T45" fmla="*/ 183 h 887"/>
                    <a:gd name="T46" fmla="*/ 835 w 997"/>
                    <a:gd name="T47" fmla="*/ 151 h 887"/>
                    <a:gd name="T48" fmla="*/ 903 w 997"/>
                    <a:gd name="T49" fmla="*/ 164 h 887"/>
                    <a:gd name="T50" fmla="*/ 953 w 997"/>
                    <a:gd name="T51" fmla="*/ 149 h 887"/>
                    <a:gd name="T52" fmla="*/ 973 w 997"/>
                    <a:gd name="T53" fmla="*/ 94 h 887"/>
                    <a:gd name="T54" fmla="*/ 948 w 997"/>
                    <a:gd name="T55" fmla="*/ 78 h 887"/>
                    <a:gd name="T56" fmla="*/ 919 w 997"/>
                    <a:gd name="T57" fmla="*/ 48 h 887"/>
                    <a:gd name="T58" fmla="*/ 873 w 997"/>
                    <a:gd name="T59" fmla="*/ 1 h 887"/>
                    <a:gd name="T60" fmla="*/ 805 w 997"/>
                    <a:gd name="T61" fmla="*/ 13 h 887"/>
                    <a:gd name="T62" fmla="*/ 733 w 997"/>
                    <a:gd name="T63" fmla="*/ 14 h 887"/>
                    <a:gd name="T64" fmla="*/ 669 w 997"/>
                    <a:gd name="T65" fmla="*/ 40 h 887"/>
                    <a:gd name="T66" fmla="*/ 639 w 997"/>
                    <a:gd name="T67" fmla="*/ 57 h 887"/>
                    <a:gd name="T68" fmla="*/ 659 w 997"/>
                    <a:gd name="T69" fmla="*/ 105 h 887"/>
                    <a:gd name="T70" fmla="*/ 630 w 997"/>
                    <a:gd name="T71" fmla="*/ 154 h 887"/>
                    <a:gd name="T72" fmla="*/ 617 w 997"/>
                    <a:gd name="T73" fmla="*/ 204 h 887"/>
                    <a:gd name="T74" fmla="*/ 552 w 997"/>
                    <a:gd name="T75" fmla="*/ 208 h 887"/>
                    <a:gd name="T76" fmla="*/ 562 w 997"/>
                    <a:gd name="T77" fmla="*/ 227 h 887"/>
                    <a:gd name="T78" fmla="*/ 537 w 997"/>
                    <a:gd name="T79" fmla="*/ 272 h 887"/>
                    <a:gd name="T80" fmla="*/ 519 w 997"/>
                    <a:gd name="T81" fmla="*/ 304 h 887"/>
                    <a:gd name="T82" fmla="*/ 509 w 997"/>
                    <a:gd name="T83" fmla="*/ 352 h 887"/>
                    <a:gd name="T84" fmla="*/ 440 w 997"/>
                    <a:gd name="T85" fmla="*/ 365 h 887"/>
                    <a:gd name="T86" fmla="*/ 415 w 997"/>
                    <a:gd name="T87" fmla="*/ 381 h 887"/>
                    <a:gd name="T88" fmla="*/ 375 w 997"/>
                    <a:gd name="T89" fmla="*/ 398 h 887"/>
                    <a:gd name="T90" fmla="*/ 332 w 997"/>
                    <a:gd name="T91" fmla="*/ 428 h 887"/>
                    <a:gd name="T92" fmla="*/ 302 w 997"/>
                    <a:gd name="T93" fmla="*/ 500 h 887"/>
                    <a:gd name="T94" fmla="*/ 220 w 997"/>
                    <a:gd name="T95" fmla="*/ 511 h 887"/>
                    <a:gd name="T96" fmla="*/ 161 w 997"/>
                    <a:gd name="T97" fmla="*/ 517 h 887"/>
                    <a:gd name="T98" fmla="*/ 49 w 997"/>
                    <a:gd name="T99" fmla="*/ 509 h 887"/>
                    <a:gd name="T100" fmla="*/ 56 w 997"/>
                    <a:gd name="T101" fmla="*/ 571 h 887"/>
                    <a:gd name="T102" fmla="*/ 111 w 997"/>
                    <a:gd name="T103" fmla="*/ 658 h 887"/>
                    <a:gd name="T104" fmla="*/ 135 w 997"/>
                    <a:gd name="T105" fmla="*/ 698 h 887"/>
                    <a:gd name="T106" fmla="*/ 100 w 997"/>
                    <a:gd name="T107" fmla="*/ 713 h 887"/>
                    <a:gd name="T108" fmla="*/ 52 w 997"/>
                    <a:gd name="T109" fmla="*/ 742 h 887"/>
                    <a:gd name="T110" fmla="*/ 68 w 997"/>
                    <a:gd name="T111" fmla="*/ 800 h 887"/>
                    <a:gd name="T112" fmla="*/ 150 w 997"/>
                    <a:gd name="T113" fmla="*/ 800 h 887"/>
                    <a:gd name="T114" fmla="*/ 194 w 997"/>
                    <a:gd name="T115" fmla="*/ 788 h 887"/>
                    <a:gd name="T116" fmla="*/ 286 w 997"/>
                    <a:gd name="T117" fmla="*/ 787 h 887"/>
                    <a:gd name="T118" fmla="*/ 349 w 997"/>
                    <a:gd name="T119" fmla="*/ 794 h 887"/>
                    <a:gd name="T120" fmla="*/ 389 w 997"/>
                    <a:gd name="T121" fmla="*/ 868 h 887"/>
                    <a:gd name="T122" fmla="*/ 444 w 997"/>
                    <a:gd name="T123" fmla="*/ 885 h 8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997" h="885">
                      <a:moveTo>
                        <a:pt x="444" y="885"/>
                      </a:moveTo>
                      <a:cubicBezTo>
                        <a:pt x="445" y="882"/>
                        <a:pt x="447" y="879"/>
                        <a:pt x="449" y="877"/>
                      </a:cubicBezTo>
                      <a:cubicBezTo>
                        <a:pt x="452" y="874"/>
                        <a:pt x="456" y="873"/>
                        <a:pt x="461" y="872"/>
                      </a:cubicBezTo>
                      <a:cubicBezTo>
                        <a:pt x="465" y="871"/>
                        <a:pt x="469" y="870"/>
                        <a:pt x="470" y="868"/>
                      </a:cubicBezTo>
                      <a:cubicBezTo>
                        <a:pt x="471" y="866"/>
                        <a:pt x="471" y="864"/>
                        <a:pt x="471" y="862"/>
                      </a:cubicBezTo>
                      <a:cubicBezTo>
                        <a:pt x="471" y="858"/>
                        <a:pt x="472" y="855"/>
                        <a:pt x="476" y="853"/>
                      </a:cubicBezTo>
                      <a:cubicBezTo>
                        <a:pt x="480" y="851"/>
                        <a:pt x="507" y="854"/>
                        <a:pt x="529" y="857"/>
                      </a:cubicBezTo>
                      <a:cubicBezTo>
                        <a:pt x="529" y="857"/>
                        <a:pt x="529" y="857"/>
                        <a:pt x="529" y="857"/>
                      </a:cubicBezTo>
                      <a:cubicBezTo>
                        <a:pt x="542" y="858"/>
                        <a:pt x="553" y="860"/>
                        <a:pt x="556" y="860"/>
                      </a:cubicBezTo>
                      <a:cubicBezTo>
                        <a:pt x="560" y="860"/>
                        <a:pt x="564" y="857"/>
                        <a:pt x="569" y="853"/>
                      </a:cubicBezTo>
                      <a:cubicBezTo>
                        <a:pt x="575" y="849"/>
                        <a:pt x="581" y="845"/>
                        <a:pt x="587" y="845"/>
                      </a:cubicBezTo>
                      <a:cubicBezTo>
                        <a:pt x="594" y="845"/>
                        <a:pt x="596" y="849"/>
                        <a:pt x="598" y="853"/>
                      </a:cubicBezTo>
                      <a:cubicBezTo>
                        <a:pt x="599" y="855"/>
                        <a:pt x="600" y="857"/>
                        <a:pt x="603" y="857"/>
                      </a:cubicBezTo>
                      <a:cubicBezTo>
                        <a:pt x="606" y="857"/>
                        <a:pt x="607" y="857"/>
                        <a:pt x="609" y="856"/>
                      </a:cubicBezTo>
                      <a:cubicBezTo>
                        <a:pt x="612" y="856"/>
                        <a:pt x="613" y="855"/>
                        <a:pt x="614" y="854"/>
                      </a:cubicBezTo>
                      <a:cubicBezTo>
                        <a:pt x="615" y="853"/>
                        <a:pt x="616" y="852"/>
                        <a:pt x="615" y="851"/>
                      </a:cubicBezTo>
                      <a:cubicBezTo>
                        <a:pt x="615" y="851"/>
                        <a:pt x="615" y="851"/>
                        <a:pt x="615" y="851"/>
                      </a:cubicBezTo>
                      <a:cubicBezTo>
                        <a:pt x="614" y="845"/>
                        <a:pt x="615" y="841"/>
                        <a:pt x="616" y="834"/>
                      </a:cubicBezTo>
                      <a:cubicBezTo>
                        <a:pt x="617" y="831"/>
                        <a:pt x="617" y="831"/>
                        <a:pt x="617" y="831"/>
                      </a:cubicBezTo>
                      <a:cubicBezTo>
                        <a:pt x="617" y="828"/>
                        <a:pt x="613" y="815"/>
                        <a:pt x="608" y="802"/>
                      </a:cubicBezTo>
                      <a:cubicBezTo>
                        <a:pt x="603" y="787"/>
                        <a:pt x="596" y="772"/>
                        <a:pt x="595" y="771"/>
                      </a:cubicBezTo>
                      <a:cubicBezTo>
                        <a:pt x="593" y="770"/>
                        <a:pt x="589" y="770"/>
                        <a:pt x="585" y="770"/>
                      </a:cubicBezTo>
                      <a:cubicBezTo>
                        <a:pt x="578" y="770"/>
                        <a:pt x="571" y="770"/>
                        <a:pt x="567" y="766"/>
                      </a:cubicBezTo>
                      <a:cubicBezTo>
                        <a:pt x="565" y="763"/>
                        <a:pt x="562" y="759"/>
                        <a:pt x="559" y="753"/>
                      </a:cubicBezTo>
                      <a:cubicBezTo>
                        <a:pt x="558" y="748"/>
                        <a:pt x="557" y="742"/>
                        <a:pt x="557" y="736"/>
                      </a:cubicBezTo>
                      <a:cubicBezTo>
                        <a:pt x="557" y="730"/>
                        <a:pt x="558" y="725"/>
                        <a:pt x="558" y="721"/>
                      </a:cubicBezTo>
                      <a:cubicBezTo>
                        <a:pt x="559" y="718"/>
                        <a:pt x="559" y="716"/>
                        <a:pt x="558" y="714"/>
                      </a:cubicBezTo>
                      <a:cubicBezTo>
                        <a:pt x="558" y="714"/>
                        <a:pt x="558" y="714"/>
                        <a:pt x="558" y="714"/>
                      </a:cubicBezTo>
                      <a:cubicBezTo>
                        <a:pt x="557" y="712"/>
                        <a:pt x="548" y="709"/>
                        <a:pt x="541" y="706"/>
                      </a:cubicBezTo>
                      <a:cubicBezTo>
                        <a:pt x="534" y="703"/>
                        <a:pt x="527" y="700"/>
                        <a:pt x="525" y="698"/>
                      </a:cubicBezTo>
                      <a:cubicBezTo>
                        <a:pt x="523" y="695"/>
                        <a:pt x="520" y="689"/>
                        <a:pt x="520" y="683"/>
                      </a:cubicBezTo>
                      <a:cubicBezTo>
                        <a:pt x="520" y="678"/>
                        <a:pt x="522" y="672"/>
                        <a:pt x="525" y="668"/>
                      </a:cubicBezTo>
                      <a:cubicBezTo>
                        <a:pt x="529" y="662"/>
                        <a:pt x="542" y="646"/>
                        <a:pt x="554" y="632"/>
                      </a:cubicBezTo>
                      <a:cubicBezTo>
                        <a:pt x="561" y="624"/>
                        <a:pt x="568" y="616"/>
                        <a:pt x="571" y="614"/>
                      </a:cubicBezTo>
                      <a:cubicBezTo>
                        <a:pt x="575" y="611"/>
                        <a:pt x="580" y="610"/>
                        <a:pt x="584" y="611"/>
                      </a:cubicBezTo>
                      <a:cubicBezTo>
                        <a:pt x="589" y="611"/>
                        <a:pt x="593" y="614"/>
                        <a:pt x="598" y="618"/>
                      </a:cubicBezTo>
                      <a:cubicBezTo>
                        <a:pt x="600" y="620"/>
                        <a:pt x="602" y="621"/>
                        <a:pt x="603" y="622"/>
                      </a:cubicBezTo>
                      <a:cubicBezTo>
                        <a:pt x="607" y="626"/>
                        <a:pt x="609" y="628"/>
                        <a:pt x="616" y="626"/>
                      </a:cubicBezTo>
                      <a:cubicBezTo>
                        <a:pt x="621" y="624"/>
                        <a:pt x="625" y="623"/>
                        <a:pt x="630" y="621"/>
                      </a:cubicBezTo>
                      <a:cubicBezTo>
                        <a:pt x="636" y="619"/>
                        <a:pt x="642" y="617"/>
                        <a:pt x="649" y="617"/>
                      </a:cubicBezTo>
                      <a:cubicBezTo>
                        <a:pt x="649" y="617"/>
                        <a:pt x="650" y="617"/>
                        <a:pt x="651" y="617"/>
                      </a:cubicBezTo>
                      <a:cubicBezTo>
                        <a:pt x="658" y="617"/>
                        <a:pt x="662" y="617"/>
                        <a:pt x="665" y="613"/>
                      </a:cubicBezTo>
                      <a:cubicBezTo>
                        <a:pt x="667" y="611"/>
                        <a:pt x="670" y="605"/>
                        <a:pt x="675" y="597"/>
                      </a:cubicBezTo>
                      <a:cubicBezTo>
                        <a:pt x="683" y="582"/>
                        <a:pt x="694" y="564"/>
                        <a:pt x="700" y="558"/>
                      </a:cubicBezTo>
                      <a:cubicBezTo>
                        <a:pt x="705" y="554"/>
                        <a:pt x="713" y="550"/>
                        <a:pt x="720" y="545"/>
                      </a:cubicBezTo>
                      <a:cubicBezTo>
                        <a:pt x="725" y="542"/>
                        <a:pt x="731" y="539"/>
                        <a:pt x="734" y="537"/>
                      </a:cubicBezTo>
                      <a:cubicBezTo>
                        <a:pt x="737" y="534"/>
                        <a:pt x="739" y="530"/>
                        <a:pt x="740" y="524"/>
                      </a:cubicBezTo>
                      <a:cubicBezTo>
                        <a:pt x="742" y="519"/>
                        <a:pt x="744" y="513"/>
                        <a:pt x="747" y="506"/>
                      </a:cubicBezTo>
                      <a:cubicBezTo>
                        <a:pt x="750" y="500"/>
                        <a:pt x="752" y="496"/>
                        <a:pt x="753" y="492"/>
                      </a:cubicBezTo>
                      <a:cubicBezTo>
                        <a:pt x="755" y="484"/>
                        <a:pt x="757" y="480"/>
                        <a:pt x="764" y="475"/>
                      </a:cubicBezTo>
                      <a:cubicBezTo>
                        <a:pt x="769" y="472"/>
                        <a:pt x="774" y="471"/>
                        <a:pt x="779" y="469"/>
                      </a:cubicBezTo>
                      <a:cubicBezTo>
                        <a:pt x="784" y="467"/>
                        <a:pt x="789" y="466"/>
                        <a:pt x="790" y="464"/>
                      </a:cubicBezTo>
                      <a:cubicBezTo>
                        <a:pt x="791" y="463"/>
                        <a:pt x="790" y="461"/>
                        <a:pt x="789" y="459"/>
                      </a:cubicBezTo>
                      <a:cubicBezTo>
                        <a:pt x="788" y="455"/>
                        <a:pt x="786" y="451"/>
                        <a:pt x="789" y="446"/>
                      </a:cubicBezTo>
                      <a:cubicBezTo>
                        <a:pt x="791" y="442"/>
                        <a:pt x="804" y="431"/>
                        <a:pt x="815" y="423"/>
                      </a:cubicBezTo>
                      <a:cubicBezTo>
                        <a:pt x="820" y="418"/>
                        <a:pt x="825" y="414"/>
                        <a:pt x="827" y="412"/>
                      </a:cubicBezTo>
                      <a:cubicBezTo>
                        <a:pt x="830" y="410"/>
                        <a:pt x="831" y="408"/>
                        <a:pt x="831" y="404"/>
                      </a:cubicBezTo>
                      <a:cubicBezTo>
                        <a:pt x="832" y="401"/>
                        <a:pt x="831" y="396"/>
                        <a:pt x="831" y="391"/>
                      </a:cubicBezTo>
                      <a:cubicBezTo>
                        <a:pt x="830" y="384"/>
                        <a:pt x="829" y="375"/>
                        <a:pt x="830" y="367"/>
                      </a:cubicBezTo>
                      <a:cubicBezTo>
                        <a:pt x="831" y="361"/>
                        <a:pt x="832" y="355"/>
                        <a:pt x="835" y="352"/>
                      </a:cubicBezTo>
                      <a:cubicBezTo>
                        <a:pt x="838" y="348"/>
                        <a:pt x="841" y="346"/>
                        <a:pt x="844" y="343"/>
                      </a:cubicBezTo>
                      <a:cubicBezTo>
                        <a:pt x="848" y="341"/>
                        <a:pt x="851" y="340"/>
                        <a:pt x="856" y="337"/>
                      </a:cubicBezTo>
                      <a:cubicBezTo>
                        <a:pt x="858" y="337"/>
                        <a:pt x="861" y="336"/>
                        <a:pt x="863" y="335"/>
                      </a:cubicBezTo>
                      <a:cubicBezTo>
                        <a:pt x="869" y="332"/>
                        <a:pt x="873" y="331"/>
                        <a:pt x="875" y="328"/>
                      </a:cubicBezTo>
                      <a:cubicBezTo>
                        <a:pt x="875" y="328"/>
                        <a:pt x="876" y="328"/>
                        <a:pt x="876" y="327"/>
                      </a:cubicBezTo>
                      <a:cubicBezTo>
                        <a:pt x="876" y="325"/>
                        <a:pt x="877" y="324"/>
                        <a:pt x="876" y="322"/>
                      </a:cubicBezTo>
                      <a:cubicBezTo>
                        <a:pt x="876" y="321"/>
                        <a:pt x="876" y="320"/>
                        <a:pt x="875" y="319"/>
                      </a:cubicBezTo>
                      <a:cubicBezTo>
                        <a:pt x="874" y="319"/>
                        <a:pt x="874" y="318"/>
                        <a:pt x="873" y="318"/>
                      </a:cubicBezTo>
                      <a:cubicBezTo>
                        <a:pt x="871" y="317"/>
                        <a:pt x="867" y="317"/>
                        <a:pt x="864" y="317"/>
                      </a:cubicBezTo>
                      <a:cubicBezTo>
                        <a:pt x="858" y="316"/>
                        <a:pt x="851" y="316"/>
                        <a:pt x="848" y="312"/>
                      </a:cubicBezTo>
                      <a:cubicBezTo>
                        <a:pt x="848" y="312"/>
                        <a:pt x="848" y="312"/>
                        <a:pt x="848" y="312"/>
                      </a:cubicBezTo>
                      <a:cubicBezTo>
                        <a:pt x="845" y="308"/>
                        <a:pt x="845" y="304"/>
                        <a:pt x="845" y="300"/>
                      </a:cubicBezTo>
                      <a:cubicBezTo>
                        <a:pt x="845" y="297"/>
                        <a:pt x="845" y="294"/>
                        <a:pt x="844" y="293"/>
                      </a:cubicBezTo>
                      <a:cubicBezTo>
                        <a:pt x="843" y="292"/>
                        <a:pt x="840" y="292"/>
                        <a:pt x="837" y="292"/>
                      </a:cubicBezTo>
                      <a:cubicBezTo>
                        <a:pt x="833" y="293"/>
                        <a:pt x="829" y="293"/>
                        <a:pt x="824" y="290"/>
                      </a:cubicBezTo>
                      <a:cubicBezTo>
                        <a:pt x="824" y="290"/>
                        <a:pt x="824" y="290"/>
                        <a:pt x="824" y="290"/>
                      </a:cubicBezTo>
                      <a:cubicBezTo>
                        <a:pt x="820" y="288"/>
                        <a:pt x="814" y="282"/>
                        <a:pt x="809" y="277"/>
                      </a:cubicBezTo>
                      <a:cubicBezTo>
                        <a:pt x="805" y="272"/>
                        <a:pt x="802" y="266"/>
                        <a:pt x="801" y="262"/>
                      </a:cubicBezTo>
                      <a:cubicBezTo>
                        <a:pt x="801" y="258"/>
                        <a:pt x="803" y="255"/>
                        <a:pt x="804" y="253"/>
                      </a:cubicBezTo>
                      <a:cubicBezTo>
                        <a:pt x="805" y="251"/>
                        <a:pt x="807" y="248"/>
                        <a:pt x="807" y="244"/>
                      </a:cubicBezTo>
                      <a:cubicBezTo>
                        <a:pt x="807" y="240"/>
                        <a:pt x="805" y="237"/>
                        <a:pt x="804" y="234"/>
                      </a:cubicBezTo>
                      <a:cubicBezTo>
                        <a:pt x="803" y="232"/>
                        <a:pt x="801" y="229"/>
                        <a:pt x="801" y="225"/>
                      </a:cubicBezTo>
                      <a:cubicBezTo>
                        <a:pt x="800" y="219"/>
                        <a:pt x="804" y="216"/>
                        <a:pt x="807" y="213"/>
                      </a:cubicBezTo>
                      <a:cubicBezTo>
                        <a:pt x="809" y="212"/>
                        <a:pt x="810" y="210"/>
                        <a:pt x="810" y="209"/>
                      </a:cubicBezTo>
                      <a:cubicBezTo>
                        <a:pt x="810" y="209"/>
                        <a:pt x="808" y="209"/>
                        <a:pt x="807" y="208"/>
                      </a:cubicBezTo>
                      <a:cubicBezTo>
                        <a:pt x="807" y="208"/>
                        <a:pt x="807" y="208"/>
                        <a:pt x="807" y="208"/>
                      </a:cubicBezTo>
                      <a:cubicBezTo>
                        <a:pt x="802" y="207"/>
                        <a:pt x="798" y="206"/>
                        <a:pt x="796" y="200"/>
                      </a:cubicBezTo>
                      <a:cubicBezTo>
                        <a:pt x="796" y="200"/>
                        <a:pt x="796" y="200"/>
                        <a:pt x="796" y="200"/>
                      </a:cubicBezTo>
                      <a:cubicBezTo>
                        <a:pt x="794" y="196"/>
                        <a:pt x="795" y="193"/>
                        <a:pt x="795" y="190"/>
                      </a:cubicBezTo>
                      <a:cubicBezTo>
                        <a:pt x="795" y="190"/>
                        <a:pt x="795" y="190"/>
                        <a:pt x="795" y="190"/>
                      </a:cubicBezTo>
                      <a:cubicBezTo>
                        <a:pt x="795" y="188"/>
                        <a:pt x="795" y="186"/>
                        <a:pt x="795" y="185"/>
                      </a:cubicBezTo>
                      <a:cubicBezTo>
                        <a:pt x="794" y="184"/>
                        <a:pt x="793" y="184"/>
                        <a:pt x="792" y="183"/>
                      </a:cubicBezTo>
                      <a:cubicBezTo>
                        <a:pt x="789" y="180"/>
                        <a:pt x="786" y="178"/>
                        <a:pt x="789" y="171"/>
                      </a:cubicBezTo>
                      <a:cubicBezTo>
                        <a:pt x="791" y="166"/>
                        <a:pt x="793" y="162"/>
                        <a:pt x="797" y="159"/>
                      </a:cubicBezTo>
                      <a:cubicBezTo>
                        <a:pt x="800" y="156"/>
                        <a:pt x="804" y="154"/>
                        <a:pt x="808" y="153"/>
                      </a:cubicBezTo>
                      <a:cubicBezTo>
                        <a:pt x="813" y="152"/>
                        <a:pt x="823" y="151"/>
                        <a:pt x="835" y="151"/>
                      </a:cubicBezTo>
                      <a:cubicBezTo>
                        <a:pt x="843" y="151"/>
                        <a:pt x="852" y="151"/>
                        <a:pt x="859" y="152"/>
                      </a:cubicBezTo>
                      <a:cubicBezTo>
                        <a:pt x="869" y="153"/>
                        <a:pt x="876" y="155"/>
                        <a:pt x="882" y="157"/>
                      </a:cubicBezTo>
                      <a:cubicBezTo>
                        <a:pt x="887" y="159"/>
                        <a:pt x="891" y="160"/>
                        <a:pt x="895" y="161"/>
                      </a:cubicBezTo>
                      <a:cubicBezTo>
                        <a:pt x="899" y="161"/>
                        <a:pt x="901" y="162"/>
                        <a:pt x="903" y="164"/>
                      </a:cubicBezTo>
                      <a:cubicBezTo>
                        <a:pt x="906" y="165"/>
                        <a:pt x="908" y="166"/>
                        <a:pt x="917" y="161"/>
                      </a:cubicBezTo>
                      <a:cubicBezTo>
                        <a:pt x="918" y="160"/>
                        <a:pt x="918" y="160"/>
                        <a:pt x="918" y="160"/>
                      </a:cubicBezTo>
                      <a:cubicBezTo>
                        <a:pt x="934" y="151"/>
                        <a:pt x="936" y="150"/>
                        <a:pt x="949" y="149"/>
                      </a:cubicBezTo>
                      <a:cubicBezTo>
                        <a:pt x="951" y="149"/>
                        <a:pt x="952" y="149"/>
                        <a:pt x="953" y="149"/>
                      </a:cubicBezTo>
                      <a:cubicBezTo>
                        <a:pt x="961" y="149"/>
                        <a:pt x="963" y="149"/>
                        <a:pt x="970" y="142"/>
                      </a:cubicBezTo>
                      <a:cubicBezTo>
                        <a:pt x="978" y="135"/>
                        <a:pt x="986" y="124"/>
                        <a:pt x="988" y="122"/>
                      </a:cubicBezTo>
                      <a:cubicBezTo>
                        <a:pt x="989" y="120"/>
                        <a:pt x="994" y="108"/>
                        <a:pt x="997" y="100"/>
                      </a:cubicBezTo>
                      <a:cubicBezTo>
                        <a:pt x="990" y="99"/>
                        <a:pt x="981" y="97"/>
                        <a:pt x="973" y="94"/>
                      </a:cubicBezTo>
                      <a:cubicBezTo>
                        <a:pt x="962" y="89"/>
                        <a:pt x="961" y="86"/>
                        <a:pt x="959" y="82"/>
                      </a:cubicBezTo>
                      <a:cubicBezTo>
                        <a:pt x="959" y="82"/>
                        <a:pt x="959" y="82"/>
                        <a:pt x="959" y="82"/>
                      </a:cubicBezTo>
                      <a:cubicBezTo>
                        <a:pt x="959" y="81"/>
                        <a:pt x="958" y="80"/>
                        <a:pt x="956" y="78"/>
                      </a:cubicBezTo>
                      <a:cubicBezTo>
                        <a:pt x="953" y="77"/>
                        <a:pt x="951" y="77"/>
                        <a:pt x="948" y="78"/>
                      </a:cubicBezTo>
                      <a:cubicBezTo>
                        <a:pt x="943" y="79"/>
                        <a:pt x="938" y="81"/>
                        <a:pt x="931" y="75"/>
                      </a:cubicBezTo>
                      <a:cubicBezTo>
                        <a:pt x="919" y="67"/>
                        <a:pt x="919" y="65"/>
                        <a:pt x="919" y="49"/>
                      </a:cubicBezTo>
                      <a:cubicBezTo>
                        <a:pt x="919" y="49"/>
                        <a:pt x="919" y="49"/>
                        <a:pt x="919" y="49"/>
                      </a:cubicBezTo>
                      <a:cubicBezTo>
                        <a:pt x="919" y="48"/>
                        <a:pt x="919" y="48"/>
                        <a:pt x="919" y="48"/>
                      </a:cubicBezTo>
                      <a:cubicBezTo>
                        <a:pt x="919" y="47"/>
                        <a:pt x="919" y="45"/>
                        <a:pt x="920" y="43"/>
                      </a:cubicBezTo>
                      <a:cubicBezTo>
                        <a:pt x="920" y="34"/>
                        <a:pt x="920" y="30"/>
                        <a:pt x="913" y="25"/>
                      </a:cubicBezTo>
                      <a:cubicBezTo>
                        <a:pt x="908" y="21"/>
                        <a:pt x="897" y="14"/>
                        <a:pt x="888" y="8"/>
                      </a:cubicBezTo>
                      <a:cubicBezTo>
                        <a:pt x="882" y="5"/>
                        <a:pt x="876" y="2"/>
                        <a:pt x="873" y="1"/>
                      </a:cubicBezTo>
                      <a:cubicBezTo>
                        <a:pt x="869" y="0"/>
                        <a:pt x="863" y="0"/>
                        <a:pt x="857" y="0"/>
                      </a:cubicBezTo>
                      <a:cubicBezTo>
                        <a:pt x="848" y="0"/>
                        <a:pt x="838" y="0"/>
                        <a:pt x="833" y="1"/>
                      </a:cubicBezTo>
                      <a:cubicBezTo>
                        <a:pt x="829" y="2"/>
                        <a:pt x="825" y="4"/>
                        <a:pt x="821" y="6"/>
                      </a:cubicBezTo>
                      <a:cubicBezTo>
                        <a:pt x="817" y="8"/>
                        <a:pt x="812" y="11"/>
                        <a:pt x="805" y="13"/>
                      </a:cubicBezTo>
                      <a:cubicBezTo>
                        <a:pt x="795" y="15"/>
                        <a:pt x="791" y="13"/>
                        <a:pt x="788" y="11"/>
                      </a:cubicBezTo>
                      <a:cubicBezTo>
                        <a:pt x="787" y="10"/>
                        <a:pt x="786" y="10"/>
                        <a:pt x="783" y="10"/>
                      </a:cubicBezTo>
                      <a:cubicBezTo>
                        <a:pt x="779" y="10"/>
                        <a:pt x="770" y="10"/>
                        <a:pt x="759" y="11"/>
                      </a:cubicBezTo>
                      <a:cubicBezTo>
                        <a:pt x="750" y="12"/>
                        <a:pt x="740" y="13"/>
                        <a:pt x="733" y="14"/>
                      </a:cubicBezTo>
                      <a:cubicBezTo>
                        <a:pt x="731" y="14"/>
                        <a:pt x="728" y="14"/>
                        <a:pt x="725" y="14"/>
                      </a:cubicBezTo>
                      <a:cubicBezTo>
                        <a:pt x="717" y="15"/>
                        <a:pt x="713" y="16"/>
                        <a:pt x="706" y="19"/>
                      </a:cubicBezTo>
                      <a:cubicBezTo>
                        <a:pt x="703" y="20"/>
                        <a:pt x="698" y="24"/>
                        <a:pt x="693" y="27"/>
                      </a:cubicBezTo>
                      <a:cubicBezTo>
                        <a:pt x="685" y="33"/>
                        <a:pt x="676" y="40"/>
                        <a:pt x="669" y="40"/>
                      </a:cubicBezTo>
                      <a:cubicBezTo>
                        <a:pt x="669" y="40"/>
                        <a:pt x="669" y="40"/>
                        <a:pt x="669" y="40"/>
                      </a:cubicBezTo>
                      <a:cubicBezTo>
                        <a:pt x="668" y="40"/>
                        <a:pt x="668" y="40"/>
                        <a:pt x="668" y="40"/>
                      </a:cubicBezTo>
                      <a:cubicBezTo>
                        <a:pt x="661" y="40"/>
                        <a:pt x="661" y="40"/>
                        <a:pt x="651" y="47"/>
                      </a:cubicBezTo>
                      <a:cubicBezTo>
                        <a:pt x="646" y="51"/>
                        <a:pt x="642" y="54"/>
                        <a:pt x="639" y="57"/>
                      </a:cubicBezTo>
                      <a:cubicBezTo>
                        <a:pt x="637" y="60"/>
                        <a:pt x="635" y="62"/>
                        <a:pt x="636" y="64"/>
                      </a:cubicBezTo>
                      <a:cubicBezTo>
                        <a:pt x="636" y="66"/>
                        <a:pt x="640" y="72"/>
                        <a:pt x="645" y="78"/>
                      </a:cubicBezTo>
                      <a:cubicBezTo>
                        <a:pt x="648" y="82"/>
                        <a:pt x="652" y="87"/>
                        <a:pt x="654" y="91"/>
                      </a:cubicBezTo>
                      <a:cubicBezTo>
                        <a:pt x="658" y="97"/>
                        <a:pt x="659" y="101"/>
                        <a:pt x="659" y="105"/>
                      </a:cubicBezTo>
                      <a:cubicBezTo>
                        <a:pt x="660" y="109"/>
                        <a:pt x="659" y="112"/>
                        <a:pt x="657" y="119"/>
                      </a:cubicBezTo>
                      <a:cubicBezTo>
                        <a:pt x="655" y="125"/>
                        <a:pt x="653" y="130"/>
                        <a:pt x="650" y="134"/>
                      </a:cubicBezTo>
                      <a:cubicBezTo>
                        <a:pt x="648" y="137"/>
                        <a:pt x="645" y="140"/>
                        <a:pt x="641" y="143"/>
                      </a:cubicBezTo>
                      <a:cubicBezTo>
                        <a:pt x="638" y="146"/>
                        <a:pt x="634" y="150"/>
                        <a:pt x="630" y="154"/>
                      </a:cubicBezTo>
                      <a:cubicBezTo>
                        <a:pt x="627" y="159"/>
                        <a:pt x="624" y="163"/>
                        <a:pt x="622" y="168"/>
                      </a:cubicBezTo>
                      <a:cubicBezTo>
                        <a:pt x="622" y="172"/>
                        <a:pt x="623" y="175"/>
                        <a:pt x="625" y="177"/>
                      </a:cubicBezTo>
                      <a:cubicBezTo>
                        <a:pt x="627" y="181"/>
                        <a:pt x="629" y="184"/>
                        <a:pt x="626" y="191"/>
                      </a:cubicBezTo>
                      <a:cubicBezTo>
                        <a:pt x="624" y="196"/>
                        <a:pt x="621" y="200"/>
                        <a:pt x="617" y="204"/>
                      </a:cubicBezTo>
                      <a:cubicBezTo>
                        <a:pt x="612" y="207"/>
                        <a:pt x="606" y="210"/>
                        <a:pt x="597" y="211"/>
                      </a:cubicBezTo>
                      <a:cubicBezTo>
                        <a:pt x="588" y="211"/>
                        <a:pt x="584" y="210"/>
                        <a:pt x="579" y="209"/>
                      </a:cubicBezTo>
                      <a:cubicBezTo>
                        <a:pt x="575" y="208"/>
                        <a:pt x="570" y="207"/>
                        <a:pt x="562" y="206"/>
                      </a:cubicBezTo>
                      <a:cubicBezTo>
                        <a:pt x="555" y="205"/>
                        <a:pt x="553" y="206"/>
                        <a:pt x="552" y="208"/>
                      </a:cubicBezTo>
                      <a:cubicBezTo>
                        <a:pt x="552" y="209"/>
                        <a:pt x="554" y="213"/>
                        <a:pt x="555" y="215"/>
                      </a:cubicBezTo>
                      <a:cubicBezTo>
                        <a:pt x="555" y="216"/>
                        <a:pt x="555" y="216"/>
                        <a:pt x="555" y="216"/>
                      </a:cubicBezTo>
                      <a:cubicBezTo>
                        <a:pt x="555" y="216"/>
                        <a:pt x="555" y="216"/>
                        <a:pt x="555" y="216"/>
                      </a:cubicBezTo>
                      <a:cubicBezTo>
                        <a:pt x="556" y="218"/>
                        <a:pt x="559" y="223"/>
                        <a:pt x="562" y="227"/>
                      </a:cubicBezTo>
                      <a:cubicBezTo>
                        <a:pt x="568" y="237"/>
                        <a:pt x="575" y="247"/>
                        <a:pt x="573" y="252"/>
                      </a:cubicBezTo>
                      <a:cubicBezTo>
                        <a:pt x="572" y="256"/>
                        <a:pt x="569" y="260"/>
                        <a:pt x="565" y="264"/>
                      </a:cubicBezTo>
                      <a:cubicBezTo>
                        <a:pt x="561" y="266"/>
                        <a:pt x="557" y="269"/>
                        <a:pt x="551" y="271"/>
                      </a:cubicBezTo>
                      <a:cubicBezTo>
                        <a:pt x="545" y="272"/>
                        <a:pt x="541" y="272"/>
                        <a:pt x="537" y="272"/>
                      </a:cubicBezTo>
                      <a:cubicBezTo>
                        <a:pt x="533" y="272"/>
                        <a:pt x="530" y="272"/>
                        <a:pt x="527" y="274"/>
                      </a:cubicBezTo>
                      <a:cubicBezTo>
                        <a:pt x="524" y="276"/>
                        <a:pt x="524" y="282"/>
                        <a:pt x="525" y="286"/>
                      </a:cubicBezTo>
                      <a:cubicBezTo>
                        <a:pt x="525" y="290"/>
                        <a:pt x="526" y="294"/>
                        <a:pt x="524" y="297"/>
                      </a:cubicBezTo>
                      <a:cubicBezTo>
                        <a:pt x="523" y="301"/>
                        <a:pt x="521" y="302"/>
                        <a:pt x="519" y="304"/>
                      </a:cubicBezTo>
                      <a:cubicBezTo>
                        <a:pt x="517" y="306"/>
                        <a:pt x="515" y="307"/>
                        <a:pt x="513" y="312"/>
                      </a:cubicBezTo>
                      <a:cubicBezTo>
                        <a:pt x="511" y="315"/>
                        <a:pt x="512" y="323"/>
                        <a:pt x="513" y="330"/>
                      </a:cubicBezTo>
                      <a:cubicBezTo>
                        <a:pt x="514" y="338"/>
                        <a:pt x="515" y="346"/>
                        <a:pt x="511" y="350"/>
                      </a:cubicBezTo>
                      <a:cubicBezTo>
                        <a:pt x="511" y="350"/>
                        <a:pt x="510" y="351"/>
                        <a:pt x="509" y="352"/>
                      </a:cubicBezTo>
                      <a:cubicBezTo>
                        <a:pt x="504" y="358"/>
                        <a:pt x="493" y="371"/>
                        <a:pt x="480" y="371"/>
                      </a:cubicBezTo>
                      <a:cubicBezTo>
                        <a:pt x="472" y="370"/>
                        <a:pt x="468" y="366"/>
                        <a:pt x="464" y="363"/>
                      </a:cubicBezTo>
                      <a:cubicBezTo>
                        <a:pt x="462" y="361"/>
                        <a:pt x="461" y="359"/>
                        <a:pt x="458" y="359"/>
                      </a:cubicBezTo>
                      <a:cubicBezTo>
                        <a:pt x="452" y="359"/>
                        <a:pt x="448" y="361"/>
                        <a:pt x="440" y="365"/>
                      </a:cubicBezTo>
                      <a:cubicBezTo>
                        <a:pt x="437" y="366"/>
                        <a:pt x="434" y="367"/>
                        <a:pt x="431" y="369"/>
                      </a:cubicBezTo>
                      <a:cubicBezTo>
                        <a:pt x="417" y="374"/>
                        <a:pt x="417" y="374"/>
                        <a:pt x="415" y="378"/>
                      </a:cubicBezTo>
                      <a:cubicBezTo>
                        <a:pt x="415" y="378"/>
                        <a:pt x="415" y="378"/>
                        <a:pt x="415" y="378"/>
                      </a:cubicBezTo>
                      <a:cubicBezTo>
                        <a:pt x="414" y="379"/>
                        <a:pt x="415" y="380"/>
                        <a:pt x="415" y="381"/>
                      </a:cubicBezTo>
                      <a:cubicBezTo>
                        <a:pt x="415" y="384"/>
                        <a:pt x="416" y="386"/>
                        <a:pt x="413" y="390"/>
                      </a:cubicBezTo>
                      <a:cubicBezTo>
                        <a:pt x="411" y="392"/>
                        <a:pt x="408" y="396"/>
                        <a:pt x="403" y="398"/>
                      </a:cubicBezTo>
                      <a:cubicBezTo>
                        <a:pt x="400" y="400"/>
                        <a:pt x="396" y="402"/>
                        <a:pt x="392" y="403"/>
                      </a:cubicBezTo>
                      <a:cubicBezTo>
                        <a:pt x="386" y="404"/>
                        <a:pt x="381" y="401"/>
                        <a:pt x="375" y="398"/>
                      </a:cubicBezTo>
                      <a:cubicBezTo>
                        <a:pt x="371" y="396"/>
                        <a:pt x="366" y="395"/>
                        <a:pt x="365" y="395"/>
                      </a:cubicBezTo>
                      <a:cubicBezTo>
                        <a:pt x="362" y="396"/>
                        <a:pt x="357" y="400"/>
                        <a:pt x="351" y="404"/>
                      </a:cubicBezTo>
                      <a:cubicBezTo>
                        <a:pt x="344" y="410"/>
                        <a:pt x="337" y="416"/>
                        <a:pt x="334" y="420"/>
                      </a:cubicBezTo>
                      <a:cubicBezTo>
                        <a:pt x="331" y="423"/>
                        <a:pt x="332" y="424"/>
                        <a:pt x="332" y="428"/>
                      </a:cubicBezTo>
                      <a:cubicBezTo>
                        <a:pt x="332" y="431"/>
                        <a:pt x="332" y="436"/>
                        <a:pt x="331" y="444"/>
                      </a:cubicBezTo>
                      <a:cubicBezTo>
                        <a:pt x="330" y="451"/>
                        <a:pt x="330" y="456"/>
                        <a:pt x="331" y="461"/>
                      </a:cubicBezTo>
                      <a:cubicBezTo>
                        <a:pt x="331" y="471"/>
                        <a:pt x="331" y="479"/>
                        <a:pt x="326" y="488"/>
                      </a:cubicBezTo>
                      <a:cubicBezTo>
                        <a:pt x="320" y="497"/>
                        <a:pt x="311" y="498"/>
                        <a:pt x="302" y="500"/>
                      </a:cubicBezTo>
                      <a:cubicBezTo>
                        <a:pt x="302" y="500"/>
                        <a:pt x="302" y="500"/>
                        <a:pt x="302" y="500"/>
                      </a:cubicBezTo>
                      <a:cubicBezTo>
                        <a:pt x="298" y="501"/>
                        <a:pt x="294" y="501"/>
                        <a:pt x="290" y="503"/>
                      </a:cubicBezTo>
                      <a:cubicBezTo>
                        <a:pt x="278" y="509"/>
                        <a:pt x="250" y="510"/>
                        <a:pt x="228" y="511"/>
                      </a:cubicBezTo>
                      <a:cubicBezTo>
                        <a:pt x="225" y="511"/>
                        <a:pt x="223" y="511"/>
                        <a:pt x="220" y="511"/>
                      </a:cubicBezTo>
                      <a:cubicBezTo>
                        <a:pt x="208" y="512"/>
                        <a:pt x="205" y="514"/>
                        <a:pt x="201" y="517"/>
                      </a:cubicBezTo>
                      <a:cubicBezTo>
                        <a:pt x="198" y="519"/>
                        <a:pt x="195" y="522"/>
                        <a:pt x="189" y="523"/>
                      </a:cubicBezTo>
                      <a:cubicBezTo>
                        <a:pt x="179" y="524"/>
                        <a:pt x="174" y="522"/>
                        <a:pt x="170" y="520"/>
                      </a:cubicBezTo>
                      <a:cubicBezTo>
                        <a:pt x="167" y="519"/>
                        <a:pt x="165" y="518"/>
                        <a:pt x="161" y="517"/>
                      </a:cubicBezTo>
                      <a:cubicBezTo>
                        <a:pt x="155" y="516"/>
                        <a:pt x="150" y="517"/>
                        <a:pt x="141" y="518"/>
                      </a:cubicBezTo>
                      <a:cubicBezTo>
                        <a:pt x="136" y="519"/>
                        <a:pt x="129" y="519"/>
                        <a:pt x="120" y="520"/>
                      </a:cubicBezTo>
                      <a:cubicBezTo>
                        <a:pt x="108" y="521"/>
                        <a:pt x="96" y="520"/>
                        <a:pt x="83" y="517"/>
                      </a:cubicBezTo>
                      <a:cubicBezTo>
                        <a:pt x="71" y="515"/>
                        <a:pt x="59" y="512"/>
                        <a:pt x="49" y="509"/>
                      </a:cubicBezTo>
                      <a:cubicBezTo>
                        <a:pt x="41" y="507"/>
                        <a:pt x="33" y="505"/>
                        <a:pt x="24" y="502"/>
                      </a:cubicBezTo>
                      <a:cubicBezTo>
                        <a:pt x="15" y="499"/>
                        <a:pt x="6" y="496"/>
                        <a:pt x="0" y="494"/>
                      </a:cubicBezTo>
                      <a:cubicBezTo>
                        <a:pt x="3" y="499"/>
                        <a:pt x="8" y="506"/>
                        <a:pt x="13" y="513"/>
                      </a:cubicBezTo>
                      <a:cubicBezTo>
                        <a:pt x="29" y="537"/>
                        <a:pt x="52" y="567"/>
                        <a:pt x="56" y="571"/>
                      </a:cubicBezTo>
                      <a:cubicBezTo>
                        <a:pt x="58" y="574"/>
                        <a:pt x="68" y="577"/>
                        <a:pt x="79" y="581"/>
                      </a:cubicBezTo>
                      <a:cubicBezTo>
                        <a:pt x="93" y="586"/>
                        <a:pt x="109" y="591"/>
                        <a:pt x="111" y="598"/>
                      </a:cubicBezTo>
                      <a:cubicBezTo>
                        <a:pt x="112" y="603"/>
                        <a:pt x="112" y="617"/>
                        <a:pt x="111" y="631"/>
                      </a:cubicBezTo>
                      <a:cubicBezTo>
                        <a:pt x="111" y="644"/>
                        <a:pt x="110" y="656"/>
                        <a:pt x="111" y="658"/>
                      </a:cubicBezTo>
                      <a:cubicBezTo>
                        <a:pt x="112" y="659"/>
                        <a:pt x="118" y="659"/>
                        <a:pt x="124" y="659"/>
                      </a:cubicBezTo>
                      <a:cubicBezTo>
                        <a:pt x="131" y="660"/>
                        <a:pt x="138" y="660"/>
                        <a:pt x="140" y="663"/>
                      </a:cubicBezTo>
                      <a:cubicBezTo>
                        <a:pt x="142" y="667"/>
                        <a:pt x="139" y="681"/>
                        <a:pt x="136" y="691"/>
                      </a:cubicBezTo>
                      <a:cubicBezTo>
                        <a:pt x="136" y="694"/>
                        <a:pt x="135" y="697"/>
                        <a:pt x="135" y="698"/>
                      </a:cubicBezTo>
                      <a:cubicBezTo>
                        <a:pt x="134" y="705"/>
                        <a:pt x="132" y="706"/>
                        <a:pt x="122" y="709"/>
                      </a:cubicBezTo>
                      <a:cubicBezTo>
                        <a:pt x="122" y="709"/>
                        <a:pt x="122" y="709"/>
                        <a:pt x="122" y="709"/>
                      </a:cubicBezTo>
                      <a:cubicBezTo>
                        <a:pt x="120" y="710"/>
                        <a:pt x="120" y="710"/>
                        <a:pt x="120" y="710"/>
                      </a:cubicBezTo>
                      <a:cubicBezTo>
                        <a:pt x="115" y="712"/>
                        <a:pt x="107" y="713"/>
                        <a:pt x="100" y="713"/>
                      </a:cubicBezTo>
                      <a:cubicBezTo>
                        <a:pt x="94" y="714"/>
                        <a:pt x="89" y="714"/>
                        <a:pt x="85" y="715"/>
                      </a:cubicBezTo>
                      <a:cubicBezTo>
                        <a:pt x="80" y="716"/>
                        <a:pt x="74" y="720"/>
                        <a:pt x="68" y="724"/>
                      </a:cubicBezTo>
                      <a:cubicBezTo>
                        <a:pt x="62" y="727"/>
                        <a:pt x="58" y="731"/>
                        <a:pt x="56" y="733"/>
                      </a:cubicBezTo>
                      <a:cubicBezTo>
                        <a:pt x="54" y="736"/>
                        <a:pt x="53" y="738"/>
                        <a:pt x="52" y="742"/>
                      </a:cubicBezTo>
                      <a:cubicBezTo>
                        <a:pt x="51" y="745"/>
                        <a:pt x="50" y="750"/>
                        <a:pt x="49" y="758"/>
                      </a:cubicBezTo>
                      <a:cubicBezTo>
                        <a:pt x="48" y="768"/>
                        <a:pt x="43" y="789"/>
                        <a:pt x="40" y="801"/>
                      </a:cubicBezTo>
                      <a:cubicBezTo>
                        <a:pt x="43" y="804"/>
                        <a:pt x="40" y="807"/>
                        <a:pt x="45" y="808"/>
                      </a:cubicBezTo>
                      <a:cubicBezTo>
                        <a:pt x="53" y="809"/>
                        <a:pt x="57" y="800"/>
                        <a:pt x="68" y="800"/>
                      </a:cubicBezTo>
                      <a:cubicBezTo>
                        <a:pt x="79" y="800"/>
                        <a:pt x="72" y="804"/>
                        <a:pt x="82" y="805"/>
                      </a:cubicBezTo>
                      <a:cubicBezTo>
                        <a:pt x="92" y="806"/>
                        <a:pt x="96" y="797"/>
                        <a:pt x="100" y="794"/>
                      </a:cubicBezTo>
                      <a:cubicBezTo>
                        <a:pt x="104" y="792"/>
                        <a:pt x="114" y="795"/>
                        <a:pt x="125" y="795"/>
                      </a:cubicBezTo>
                      <a:cubicBezTo>
                        <a:pt x="136" y="795"/>
                        <a:pt x="139" y="800"/>
                        <a:pt x="150" y="800"/>
                      </a:cubicBezTo>
                      <a:cubicBezTo>
                        <a:pt x="160" y="800"/>
                        <a:pt x="157" y="797"/>
                        <a:pt x="164" y="791"/>
                      </a:cubicBezTo>
                      <a:cubicBezTo>
                        <a:pt x="170" y="786"/>
                        <a:pt x="169" y="791"/>
                        <a:pt x="176" y="791"/>
                      </a:cubicBezTo>
                      <a:cubicBezTo>
                        <a:pt x="182" y="790"/>
                        <a:pt x="178" y="782"/>
                        <a:pt x="185" y="780"/>
                      </a:cubicBezTo>
                      <a:cubicBezTo>
                        <a:pt x="192" y="777"/>
                        <a:pt x="192" y="782"/>
                        <a:pt x="194" y="788"/>
                      </a:cubicBezTo>
                      <a:cubicBezTo>
                        <a:pt x="196" y="793"/>
                        <a:pt x="199" y="791"/>
                        <a:pt x="207" y="794"/>
                      </a:cubicBezTo>
                      <a:cubicBezTo>
                        <a:pt x="214" y="798"/>
                        <a:pt x="226" y="803"/>
                        <a:pt x="234" y="801"/>
                      </a:cubicBezTo>
                      <a:cubicBezTo>
                        <a:pt x="242" y="800"/>
                        <a:pt x="243" y="797"/>
                        <a:pt x="253" y="791"/>
                      </a:cubicBezTo>
                      <a:cubicBezTo>
                        <a:pt x="264" y="786"/>
                        <a:pt x="275" y="788"/>
                        <a:pt x="286" y="787"/>
                      </a:cubicBezTo>
                      <a:cubicBezTo>
                        <a:pt x="296" y="785"/>
                        <a:pt x="301" y="788"/>
                        <a:pt x="311" y="789"/>
                      </a:cubicBezTo>
                      <a:cubicBezTo>
                        <a:pt x="322" y="790"/>
                        <a:pt x="332" y="789"/>
                        <a:pt x="333" y="784"/>
                      </a:cubicBezTo>
                      <a:cubicBezTo>
                        <a:pt x="334" y="779"/>
                        <a:pt x="331" y="773"/>
                        <a:pt x="336" y="774"/>
                      </a:cubicBezTo>
                      <a:cubicBezTo>
                        <a:pt x="342" y="774"/>
                        <a:pt x="344" y="786"/>
                        <a:pt x="349" y="794"/>
                      </a:cubicBezTo>
                      <a:cubicBezTo>
                        <a:pt x="354" y="802"/>
                        <a:pt x="351" y="807"/>
                        <a:pt x="351" y="816"/>
                      </a:cubicBezTo>
                      <a:cubicBezTo>
                        <a:pt x="351" y="824"/>
                        <a:pt x="360" y="824"/>
                        <a:pt x="364" y="824"/>
                      </a:cubicBezTo>
                      <a:cubicBezTo>
                        <a:pt x="368" y="824"/>
                        <a:pt x="377" y="830"/>
                        <a:pt x="384" y="841"/>
                      </a:cubicBezTo>
                      <a:cubicBezTo>
                        <a:pt x="392" y="851"/>
                        <a:pt x="381" y="854"/>
                        <a:pt x="389" y="868"/>
                      </a:cubicBezTo>
                      <a:cubicBezTo>
                        <a:pt x="397" y="882"/>
                        <a:pt x="404" y="874"/>
                        <a:pt x="415" y="875"/>
                      </a:cubicBezTo>
                      <a:cubicBezTo>
                        <a:pt x="426" y="876"/>
                        <a:pt x="423" y="878"/>
                        <a:pt x="428" y="883"/>
                      </a:cubicBezTo>
                      <a:cubicBezTo>
                        <a:pt x="432" y="887"/>
                        <a:pt x="434" y="887"/>
                        <a:pt x="442" y="887"/>
                      </a:cubicBezTo>
                      <a:cubicBezTo>
                        <a:pt x="443" y="886"/>
                        <a:pt x="443" y="886"/>
                        <a:pt x="444" y="885"/>
                      </a:cubicBezTo>
                      <a:close/>
                    </a:path>
                  </a:pathLst>
                </a:custGeom>
                <a:solidFill>
                  <a:srgbClr val="F2F2F2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399" name="Freeform 125"/>
                <p:cNvSpPr/>
                <p:nvPr>
                  <p:custDataLst>
                    <p:tags r:id="rId197"/>
                  </p:custDataLst>
                </p:nvPr>
              </p:nvSpPr>
              <p:spPr bwMode="auto">
                <a:xfrm>
                  <a:off x="2485" y="791"/>
                  <a:ext cx="1" cy="1"/>
                </a:xfrm>
                <a:custGeom>
                  <a:avLst/>
                  <a:gdLst>
                    <a:gd name="T0" fmla="*/ 0 w 1"/>
                    <a:gd name="T1" fmla="*/ 1 h 1"/>
                    <a:gd name="T2" fmla="*/ 1 w 1"/>
                    <a:gd name="T3" fmla="*/ 1 h 1"/>
                    <a:gd name="T4" fmla="*/ 0 w 1"/>
                    <a:gd name="T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" h="1">
                      <a:moveTo>
                        <a:pt x="0" y="1"/>
                      </a:move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1"/>
                        <a:pt x="0" y="1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400" name="Freeform 126"/>
                <p:cNvSpPr/>
                <p:nvPr>
                  <p:custDataLst>
                    <p:tags r:id="rId198"/>
                  </p:custDataLst>
                </p:nvPr>
              </p:nvSpPr>
              <p:spPr bwMode="auto">
                <a:xfrm>
                  <a:off x="2161" y="2898"/>
                  <a:ext cx="10" cy="8"/>
                </a:xfrm>
                <a:custGeom>
                  <a:avLst/>
                  <a:gdLst>
                    <a:gd name="T0" fmla="*/ 11 w 23"/>
                    <a:gd name="T1" fmla="*/ 4 h 20"/>
                    <a:gd name="T2" fmla="*/ 5 w 23"/>
                    <a:gd name="T3" fmla="*/ 16 h 20"/>
                    <a:gd name="T4" fmla="*/ 15 w 23"/>
                    <a:gd name="T5" fmla="*/ 11 h 20"/>
                    <a:gd name="T6" fmla="*/ 23 w 23"/>
                    <a:gd name="T7" fmla="*/ 4 h 20"/>
                    <a:gd name="T8" fmla="*/ 11 w 23"/>
                    <a:gd name="T9" fmla="*/ 4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3" h="20">
                      <a:moveTo>
                        <a:pt x="11" y="4"/>
                      </a:moveTo>
                      <a:cubicBezTo>
                        <a:pt x="4" y="6"/>
                        <a:pt x="0" y="13"/>
                        <a:pt x="5" y="16"/>
                      </a:cubicBezTo>
                      <a:cubicBezTo>
                        <a:pt x="10" y="20"/>
                        <a:pt x="9" y="14"/>
                        <a:pt x="15" y="11"/>
                      </a:cubicBezTo>
                      <a:cubicBezTo>
                        <a:pt x="21" y="7"/>
                        <a:pt x="23" y="4"/>
                        <a:pt x="23" y="4"/>
                      </a:cubicBezTo>
                      <a:cubicBezTo>
                        <a:pt x="23" y="4"/>
                        <a:pt x="18" y="0"/>
                        <a:pt x="11" y="4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401" name="Freeform 127"/>
                <p:cNvSpPr>
                  <a:spLocks noEditPoints="1"/>
                </p:cNvSpPr>
                <p:nvPr>
                  <p:custDataLst>
                    <p:tags r:id="rId199"/>
                  </p:custDataLst>
                </p:nvPr>
              </p:nvSpPr>
              <p:spPr bwMode="auto">
                <a:xfrm>
                  <a:off x="2931" y="2009"/>
                  <a:ext cx="40" cy="184"/>
                </a:xfrm>
                <a:custGeom>
                  <a:avLst/>
                  <a:gdLst>
                    <a:gd name="T0" fmla="*/ 7 w 94"/>
                    <a:gd name="T1" fmla="*/ 178 h 429"/>
                    <a:gd name="T2" fmla="*/ 1 w 94"/>
                    <a:gd name="T3" fmla="*/ 189 h 429"/>
                    <a:gd name="T4" fmla="*/ 5 w 94"/>
                    <a:gd name="T5" fmla="*/ 200 h 429"/>
                    <a:gd name="T6" fmla="*/ 13 w 94"/>
                    <a:gd name="T7" fmla="*/ 188 h 429"/>
                    <a:gd name="T8" fmla="*/ 7 w 94"/>
                    <a:gd name="T9" fmla="*/ 178 h 429"/>
                    <a:gd name="T10" fmla="*/ 26 w 94"/>
                    <a:gd name="T11" fmla="*/ 136 h 429"/>
                    <a:gd name="T12" fmla="*/ 24 w 94"/>
                    <a:gd name="T13" fmla="*/ 122 h 429"/>
                    <a:gd name="T14" fmla="*/ 26 w 94"/>
                    <a:gd name="T15" fmla="*/ 111 h 429"/>
                    <a:gd name="T16" fmla="*/ 28 w 94"/>
                    <a:gd name="T17" fmla="*/ 102 h 429"/>
                    <a:gd name="T18" fmla="*/ 17 w 94"/>
                    <a:gd name="T19" fmla="*/ 102 h 429"/>
                    <a:gd name="T20" fmla="*/ 12 w 94"/>
                    <a:gd name="T21" fmla="*/ 110 h 429"/>
                    <a:gd name="T22" fmla="*/ 16 w 94"/>
                    <a:gd name="T23" fmla="*/ 125 h 429"/>
                    <a:gd name="T24" fmla="*/ 19 w 94"/>
                    <a:gd name="T25" fmla="*/ 135 h 429"/>
                    <a:gd name="T26" fmla="*/ 20 w 94"/>
                    <a:gd name="T27" fmla="*/ 146 h 429"/>
                    <a:gd name="T28" fmla="*/ 26 w 94"/>
                    <a:gd name="T29" fmla="*/ 136 h 429"/>
                    <a:gd name="T30" fmla="*/ 94 w 94"/>
                    <a:gd name="T31" fmla="*/ 410 h 429"/>
                    <a:gd name="T32" fmla="*/ 88 w 94"/>
                    <a:gd name="T33" fmla="*/ 410 h 429"/>
                    <a:gd name="T34" fmla="*/ 85 w 94"/>
                    <a:gd name="T35" fmla="*/ 422 h 429"/>
                    <a:gd name="T36" fmla="*/ 92 w 94"/>
                    <a:gd name="T37" fmla="*/ 429 h 429"/>
                    <a:gd name="T38" fmla="*/ 93 w 94"/>
                    <a:gd name="T39" fmla="*/ 418 h 429"/>
                    <a:gd name="T40" fmla="*/ 94 w 94"/>
                    <a:gd name="T41" fmla="*/ 410 h 429"/>
                    <a:gd name="T42" fmla="*/ 88 w 94"/>
                    <a:gd name="T43" fmla="*/ 397 h 429"/>
                    <a:gd name="T44" fmla="*/ 83 w 94"/>
                    <a:gd name="T45" fmla="*/ 394 h 429"/>
                    <a:gd name="T46" fmla="*/ 79 w 94"/>
                    <a:gd name="T47" fmla="*/ 399 h 429"/>
                    <a:gd name="T48" fmla="*/ 88 w 94"/>
                    <a:gd name="T49" fmla="*/ 397 h 429"/>
                    <a:gd name="T50" fmla="*/ 48 w 94"/>
                    <a:gd name="T51" fmla="*/ 335 h 429"/>
                    <a:gd name="T52" fmla="*/ 48 w 94"/>
                    <a:gd name="T53" fmla="*/ 340 h 429"/>
                    <a:gd name="T54" fmla="*/ 55 w 94"/>
                    <a:gd name="T55" fmla="*/ 343 h 429"/>
                    <a:gd name="T56" fmla="*/ 48 w 94"/>
                    <a:gd name="T57" fmla="*/ 335 h 429"/>
                    <a:gd name="T58" fmla="*/ 26 w 94"/>
                    <a:gd name="T59" fmla="*/ 278 h 429"/>
                    <a:gd name="T60" fmla="*/ 22 w 94"/>
                    <a:gd name="T61" fmla="*/ 285 h 429"/>
                    <a:gd name="T62" fmla="*/ 29 w 94"/>
                    <a:gd name="T63" fmla="*/ 283 h 429"/>
                    <a:gd name="T64" fmla="*/ 26 w 94"/>
                    <a:gd name="T65" fmla="*/ 278 h 429"/>
                    <a:gd name="T66" fmla="*/ 29 w 94"/>
                    <a:gd name="T67" fmla="*/ 52 h 429"/>
                    <a:gd name="T68" fmla="*/ 29 w 94"/>
                    <a:gd name="T69" fmla="*/ 61 h 429"/>
                    <a:gd name="T70" fmla="*/ 31 w 94"/>
                    <a:gd name="T71" fmla="*/ 70 h 429"/>
                    <a:gd name="T72" fmla="*/ 28 w 94"/>
                    <a:gd name="T73" fmla="*/ 80 h 429"/>
                    <a:gd name="T74" fmla="*/ 30 w 94"/>
                    <a:gd name="T75" fmla="*/ 90 h 429"/>
                    <a:gd name="T76" fmla="*/ 36 w 94"/>
                    <a:gd name="T77" fmla="*/ 82 h 429"/>
                    <a:gd name="T78" fmla="*/ 41 w 94"/>
                    <a:gd name="T79" fmla="*/ 69 h 429"/>
                    <a:gd name="T80" fmla="*/ 37 w 94"/>
                    <a:gd name="T81" fmla="*/ 58 h 429"/>
                    <a:gd name="T82" fmla="*/ 29 w 94"/>
                    <a:gd name="T83" fmla="*/ 52 h 429"/>
                    <a:gd name="T84" fmla="*/ 49 w 94"/>
                    <a:gd name="T85" fmla="*/ 16 h 429"/>
                    <a:gd name="T86" fmla="*/ 41 w 94"/>
                    <a:gd name="T87" fmla="*/ 13 h 429"/>
                    <a:gd name="T88" fmla="*/ 38 w 94"/>
                    <a:gd name="T89" fmla="*/ 27 h 429"/>
                    <a:gd name="T90" fmla="*/ 35 w 94"/>
                    <a:gd name="T91" fmla="*/ 37 h 429"/>
                    <a:gd name="T92" fmla="*/ 40 w 94"/>
                    <a:gd name="T93" fmla="*/ 41 h 429"/>
                    <a:gd name="T94" fmla="*/ 46 w 94"/>
                    <a:gd name="T95" fmla="*/ 33 h 429"/>
                    <a:gd name="T96" fmla="*/ 46 w 94"/>
                    <a:gd name="T97" fmla="*/ 26 h 429"/>
                    <a:gd name="T98" fmla="*/ 49 w 94"/>
                    <a:gd name="T99" fmla="*/ 16 h 429"/>
                    <a:gd name="T100" fmla="*/ 71 w 94"/>
                    <a:gd name="T101" fmla="*/ 345 h 429"/>
                    <a:gd name="T102" fmla="*/ 64 w 94"/>
                    <a:gd name="T103" fmla="*/ 354 h 429"/>
                    <a:gd name="T104" fmla="*/ 60 w 94"/>
                    <a:gd name="T105" fmla="*/ 362 h 429"/>
                    <a:gd name="T106" fmla="*/ 68 w 94"/>
                    <a:gd name="T107" fmla="*/ 367 h 429"/>
                    <a:gd name="T108" fmla="*/ 70 w 94"/>
                    <a:gd name="T109" fmla="*/ 358 h 429"/>
                    <a:gd name="T110" fmla="*/ 76 w 94"/>
                    <a:gd name="T111" fmla="*/ 348 h 429"/>
                    <a:gd name="T112" fmla="*/ 71 w 94"/>
                    <a:gd name="T113" fmla="*/ 345 h 429"/>
                    <a:gd name="T114" fmla="*/ 84 w 94"/>
                    <a:gd name="T115" fmla="*/ 330 h 429"/>
                    <a:gd name="T116" fmla="*/ 78 w 94"/>
                    <a:gd name="T117" fmla="*/ 324 h 429"/>
                    <a:gd name="T118" fmla="*/ 77 w 94"/>
                    <a:gd name="T119" fmla="*/ 331 h 429"/>
                    <a:gd name="T120" fmla="*/ 84 w 94"/>
                    <a:gd name="T121" fmla="*/ 330 h 4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94" h="429">
                      <a:moveTo>
                        <a:pt x="7" y="178"/>
                      </a:moveTo>
                      <a:cubicBezTo>
                        <a:pt x="4" y="180"/>
                        <a:pt x="1" y="183"/>
                        <a:pt x="1" y="189"/>
                      </a:cubicBezTo>
                      <a:cubicBezTo>
                        <a:pt x="1" y="194"/>
                        <a:pt x="0" y="200"/>
                        <a:pt x="5" y="200"/>
                      </a:cubicBezTo>
                      <a:cubicBezTo>
                        <a:pt x="10" y="200"/>
                        <a:pt x="13" y="192"/>
                        <a:pt x="13" y="188"/>
                      </a:cubicBezTo>
                      <a:cubicBezTo>
                        <a:pt x="14" y="183"/>
                        <a:pt x="14" y="174"/>
                        <a:pt x="7" y="178"/>
                      </a:cubicBezTo>
                      <a:close/>
                      <a:moveTo>
                        <a:pt x="26" y="136"/>
                      </a:moveTo>
                      <a:cubicBezTo>
                        <a:pt x="25" y="131"/>
                        <a:pt x="24" y="126"/>
                        <a:pt x="24" y="122"/>
                      </a:cubicBezTo>
                      <a:cubicBezTo>
                        <a:pt x="24" y="118"/>
                        <a:pt x="24" y="113"/>
                        <a:pt x="26" y="111"/>
                      </a:cubicBezTo>
                      <a:cubicBezTo>
                        <a:pt x="28" y="108"/>
                        <a:pt x="29" y="108"/>
                        <a:pt x="28" y="102"/>
                      </a:cubicBezTo>
                      <a:cubicBezTo>
                        <a:pt x="26" y="96"/>
                        <a:pt x="18" y="91"/>
                        <a:pt x="17" y="102"/>
                      </a:cubicBezTo>
                      <a:cubicBezTo>
                        <a:pt x="17" y="108"/>
                        <a:pt x="15" y="106"/>
                        <a:pt x="12" y="110"/>
                      </a:cubicBezTo>
                      <a:cubicBezTo>
                        <a:pt x="10" y="115"/>
                        <a:pt x="13" y="119"/>
                        <a:pt x="16" y="125"/>
                      </a:cubicBezTo>
                      <a:cubicBezTo>
                        <a:pt x="19" y="131"/>
                        <a:pt x="19" y="131"/>
                        <a:pt x="19" y="135"/>
                      </a:cubicBezTo>
                      <a:cubicBezTo>
                        <a:pt x="20" y="140"/>
                        <a:pt x="16" y="146"/>
                        <a:pt x="20" y="146"/>
                      </a:cubicBezTo>
                      <a:cubicBezTo>
                        <a:pt x="24" y="145"/>
                        <a:pt x="26" y="141"/>
                        <a:pt x="26" y="136"/>
                      </a:cubicBezTo>
                      <a:close/>
                      <a:moveTo>
                        <a:pt x="94" y="410"/>
                      </a:moveTo>
                      <a:cubicBezTo>
                        <a:pt x="93" y="405"/>
                        <a:pt x="90" y="409"/>
                        <a:pt x="88" y="410"/>
                      </a:cubicBezTo>
                      <a:cubicBezTo>
                        <a:pt x="82" y="411"/>
                        <a:pt x="84" y="418"/>
                        <a:pt x="85" y="422"/>
                      </a:cubicBezTo>
                      <a:cubicBezTo>
                        <a:pt x="86" y="426"/>
                        <a:pt x="89" y="429"/>
                        <a:pt x="92" y="429"/>
                      </a:cubicBezTo>
                      <a:cubicBezTo>
                        <a:pt x="94" y="429"/>
                        <a:pt x="92" y="424"/>
                        <a:pt x="93" y="418"/>
                      </a:cubicBezTo>
                      <a:cubicBezTo>
                        <a:pt x="94" y="413"/>
                        <a:pt x="94" y="414"/>
                        <a:pt x="94" y="410"/>
                      </a:cubicBezTo>
                      <a:close/>
                      <a:moveTo>
                        <a:pt x="88" y="397"/>
                      </a:moveTo>
                      <a:cubicBezTo>
                        <a:pt x="88" y="395"/>
                        <a:pt x="85" y="390"/>
                        <a:pt x="83" y="394"/>
                      </a:cubicBezTo>
                      <a:cubicBezTo>
                        <a:pt x="81" y="396"/>
                        <a:pt x="78" y="398"/>
                        <a:pt x="79" y="399"/>
                      </a:cubicBezTo>
                      <a:cubicBezTo>
                        <a:pt x="81" y="401"/>
                        <a:pt x="88" y="399"/>
                        <a:pt x="88" y="397"/>
                      </a:cubicBezTo>
                      <a:close/>
                      <a:moveTo>
                        <a:pt x="48" y="335"/>
                      </a:moveTo>
                      <a:cubicBezTo>
                        <a:pt x="47" y="338"/>
                        <a:pt x="46" y="336"/>
                        <a:pt x="48" y="340"/>
                      </a:cubicBezTo>
                      <a:cubicBezTo>
                        <a:pt x="50" y="344"/>
                        <a:pt x="54" y="345"/>
                        <a:pt x="55" y="343"/>
                      </a:cubicBezTo>
                      <a:cubicBezTo>
                        <a:pt x="55" y="340"/>
                        <a:pt x="50" y="331"/>
                        <a:pt x="48" y="335"/>
                      </a:cubicBezTo>
                      <a:close/>
                      <a:moveTo>
                        <a:pt x="26" y="278"/>
                      </a:moveTo>
                      <a:cubicBezTo>
                        <a:pt x="24" y="281"/>
                        <a:pt x="21" y="283"/>
                        <a:pt x="22" y="285"/>
                      </a:cubicBezTo>
                      <a:cubicBezTo>
                        <a:pt x="24" y="287"/>
                        <a:pt x="26" y="286"/>
                        <a:pt x="29" y="283"/>
                      </a:cubicBezTo>
                      <a:cubicBezTo>
                        <a:pt x="31" y="280"/>
                        <a:pt x="30" y="275"/>
                        <a:pt x="26" y="278"/>
                      </a:cubicBezTo>
                      <a:close/>
                      <a:moveTo>
                        <a:pt x="29" y="52"/>
                      </a:moveTo>
                      <a:cubicBezTo>
                        <a:pt x="28" y="56"/>
                        <a:pt x="27" y="56"/>
                        <a:pt x="29" y="61"/>
                      </a:cubicBezTo>
                      <a:cubicBezTo>
                        <a:pt x="32" y="65"/>
                        <a:pt x="32" y="64"/>
                        <a:pt x="31" y="70"/>
                      </a:cubicBezTo>
                      <a:cubicBezTo>
                        <a:pt x="30" y="75"/>
                        <a:pt x="27" y="77"/>
                        <a:pt x="28" y="80"/>
                      </a:cubicBezTo>
                      <a:cubicBezTo>
                        <a:pt x="28" y="83"/>
                        <a:pt x="27" y="90"/>
                        <a:pt x="30" y="90"/>
                      </a:cubicBezTo>
                      <a:cubicBezTo>
                        <a:pt x="33" y="91"/>
                        <a:pt x="35" y="89"/>
                        <a:pt x="36" y="82"/>
                      </a:cubicBezTo>
                      <a:cubicBezTo>
                        <a:pt x="38" y="74"/>
                        <a:pt x="41" y="74"/>
                        <a:pt x="41" y="69"/>
                      </a:cubicBezTo>
                      <a:cubicBezTo>
                        <a:pt x="41" y="63"/>
                        <a:pt x="40" y="64"/>
                        <a:pt x="37" y="58"/>
                      </a:cubicBezTo>
                      <a:cubicBezTo>
                        <a:pt x="35" y="52"/>
                        <a:pt x="31" y="45"/>
                        <a:pt x="29" y="52"/>
                      </a:cubicBezTo>
                      <a:close/>
                      <a:moveTo>
                        <a:pt x="49" y="16"/>
                      </a:moveTo>
                      <a:cubicBezTo>
                        <a:pt x="48" y="14"/>
                        <a:pt x="40" y="0"/>
                        <a:pt x="41" y="13"/>
                      </a:cubicBezTo>
                      <a:cubicBezTo>
                        <a:pt x="41" y="20"/>
                        <a:pt x="39" y="25"/>
                        <a:pt x="38" y="27"/>
                      </a:cubicBezTo>
                      <a:cubicBezTo>
                        <a:pt x="36" y="30"/>
                        <a:pt x="34" y="32"/>
                        <a:pt x="35" y="37"/>
                      </a:cubicBezTo>
                      <a:cubicBezTo>
                        <a:pt x="35" y="41"/>
                        <a:pt x="38" y="43"/>
                        <a:pt x="40" y="41"/>
                      </a:cubicBezTo>
                      <a:cubicBezTo>
                        <a:pt x="42" y="39"/>
                        <a:pt x="46" y="36"/>
                        <a:pt x="46" y="33"/>
                      </a:cubicBezTo>
                      <a:cubicBezTo>
                        <a:pt x="46" y="30"/>
                        <a:pt x="44" y="30"/>
                        <a:pt x="46" y="26"/>
                      </a:cubicBezTo>
                      <a:cubicBezTo>
                        <a:pt x="48" y="22"/>
                        <a:pt x="49" y="18"/>
                        <a:pt x="49" y="16"/>
                      </a:cubicBezTo>
                      <a:close/>
                      <a:moveTo>
                        <a:pt x="71" y="345"/>
                      </a:moveTo>
                      <a:cubicBezTo>
                        <a:pt x="69" y="350"/>
                        <a:pt x="67" y="352"/>
                        <a:pt x="64" y="354"/>
                      </a:cubicBezTo>
                      <a:cubicBezTo>
                        <a:pt x="61" y="357"/>
                        <a:pt x="56" y="357"/>
                        <a:pt x="60" y="362"/>
                      </a:cubicBezTo>
                      <a:cubicBezTo>
                        <a:pt x="64" y="366"/>
                        <a:pt x="66" y="370"/>
                        <a:pt x="68" y="367"/>
                      </a:cubicBezTo>
                      <a:cubicBezTo>
                        <a:pt x="69" y="363"/>
                        <a:pt x="67" y="363"/>
                        <a:pt x="70" y="358"/>
                      </a:cubicBezTo>
                      <a:cubicBezTo>
                        <a:pt x="72" y="353"/>
                        <a:pt x="76" y="352"/>
                        <a:pt x="76" y="348"/>
                      </a:cubicBezTo>
                      <a:cubicBezTo>
                        <a:pt x="76" y="344"/>
                        <a:pt x="72" y="341"/>
                        <a:pt x="71" y="345"/>
                      </a:cubicBezTo>
                      <a:close/>
                      <a:moveTo>
                        <a:pt x="84" y="330"/>
                      </a:moveTo>
                      <a:cubicBezTo>
                        <a:pt x="84" y="326"/>
                        <a:pt x="82" y="320"/>
                        <a:pt x="78" y="324"/>
                      </a:cubicBezTo>
                      <a:cubicBezTo>
                        <a:pt x="75" y="327"/>
                        <a:pt x="75" y="330"/>
                        <a:pt x="77" y="331"/>
                      </a:cubicBezTo>
                      <a:cubicBezTo>
                        <a:pt x="80" y="332"/>
                        <a:pt x="84" y="334"/>
                        <a:pt x="84" y="330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402" name="Freeform 128"/>
                <p:cNvSpPr/>
                <p:nvPr>
                  <p:custDataLst>
                    <p:tags r:id="rId200"/>
                  </p:custDataLst>
                </p:nvPr>
              </p:nvSpPr>
              <p:spPr bwMode="auto">
                <a:xfrm>
                  <a:off x="2402" y="2561"/>
                  <a:ext cx="6" cy="10"/>
                </a:xfrm>
                <a:custGeom>
                  <a:avLst/>
                  <a:gdLst>
                    <a:gd name="T0" fmla="*/ 5 w 13"/>
                    <a:gd name="T1" fmla="*/ 7 h 23"/>
                    <a:gd name="T2" fmla="*/ 6 w 13"/>
                    <a:gd name="T3" fmla="*/ 13 h 23"/>
                    <a:gd name="T4" fmla="*/ 3 w 13"/>
                    <a:gd name="T5" fmla="*/ 23 h 23"/>
                    <a:gd name="T6" fmla="*/ 9 w 13"/>
                    <a:gd name="T7" fmla="*/ 18 h 23"/>
                    <a:gd name="T8" fmla="*/ 12 w 13"/>
                    <a:gd name="T9" fmla="*/ 6 h 23"/>
                    <a:gd name="T10" fmla="*/ 5 w 13"/>
                    <a:gd name="T11" fmla="*/ 7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3" h="23">
                      <a:moveTo>
                        <a:pt x="5" y="7"/>
                      </a:moveTo>
                      <a:cubicBezTo>
                        <a:pt x="5" y="10"/>
                        <a:pt x="7" y="8"/>
                        <a:pt x="6" y="13"/>
                      </a:cubicBezTo>
                      <a:cubicBezTo>
                        <a:pt x="4" y="18"/>
                        <a:pt x="0" y="22"/>
                        <a:pt x="3" y="23"/>
                      </a:cubicBezTo>
                      <a:cubicBezTo>
                        <a:pt x="6" y="23"/>
                        <a:pt x="8" y="22"/>
                        <a:pt x="9" y="18"/>
                      </a:cubicBezTo>
                      <a:cubicBezTo>
                        <a:pt x="11" y="14"/>
                        <a:pt x="13" y="9"/>
                        <a:pt x="12" y="6"/>
                      </a:cubicBezTo>
                      <a:cubicBezTo>
                        <a:pt x="11" y="3"/>
                        <a:pt x="5" y="0"/>
                        <a:pt x="5" y="7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403" name="Freeform 129"/>
                <p:cNvSpPr/>
                <p:nvPr>
                  <p:custDataLst>
                    <p:tags r:id="rId201"/>
                  </p:custDataLst>
                </p:nvPr>
              </p:nvSpPr>
              <p:spPr bwMode="auto">
                <a:xfrm>
                  <a:off x="2960" y="1850"/>
                  <a:ext cx="13" cy="17"/>
                </a:xfrm>
                <a:custGeom>
                  <a:avLst/>
                  <a:gdLst>
                    <a:gd name="T0" fmla="*/ 17 w 32"/>
                    <a:gd name="T1" fmla="*/ 14 h 40"/>
                    <a:gd name="T2" fmla="*/ 7 w 32"/>
                    <a:gd name="T3" fmla="*/ 7 h 40"/>
                    <a:gd name="T4" fmla="*/ 3 w 32"/>
                    <a:gd name="T5" fmla="*/ 14 h 40"/>
                    <a:gd name="T6" fmla="*/ 11 w 32"/>
                    <a:gd name="T7" fmla="*/ 25 h 40"/>
                    <a:gd name="T8" fmla="*/ 28 w 32"/>
                    <a:gd name="T9" fmla="*/ 37 h 40"/>
                    <a:gd name="T10" fmla="*/ 31 w 32"/>
                    <a:gd name="T11" fmla="*/ 24 h 40"/>
                    <a:gd name="T12" fmla="*/ 17 w 32"/>
                    <a:gd name="T13" fmla="*/ 14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2" h="40">
                      <a:moveTo>
                        <a:pt x="17" y="14"/>
                      </a:moveTo>
                      <a:cubicBezTo>
                        <a:pt x="9" y="11"/>
                        <a:pt x="11" y="13"/>
                        <a:pt x="7" y="7"/>
                      </a:cubicBezTo>
                      <a:cubicBezTo>
                        <a:pt x="0" y="0"/>
                        <a:pt x="1" y="11"/>
                        <a:pt x="3" y="14"/>
                      </a:cubicBezTo>
                      <a:cubicBezTo>
                        <a:pt x="5" y="17"/>
                        <a:pt x="8" y="19"/>
                        <a:pt x="11" y="25"/>
                      </a:cubicBezTo>
                      <a:cubicBezTo>
                        <a:pt x="13" y="32"/>
                        <a:pt x="23" y="40"/>
                        <a:pt x="28" y="37"/>
                      </a:cubicBezTo>
                      <a:cubicBezTo>
                        <a:pt x="32" y="35"/>
                        <a:pt x="29" y="32"/>
                        <a:pt x="31" y="24"/>
                      </a:cubicBezTo>
                      <a:cubicBezTo>
                        <a:pt x="32" y="16"/>
                        <a:pt x="25" y="16"/>
                        <a:pt x="17" y="14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404" name="Freeform 130"/>
                <p:cNvSpPr/>
                <p:nvPr>
                  <p:custDataLst>
                    <p:tags r:id="rId202"/>
                  </p:custDataLst>
                </p:nvPr>
              </p:nvSpPr>
              <p:spPr bwMode="auto">
                <a:xfrm>
                  <a:off x="3047" y="2689"/>
                  <a:ext cx="12" cy="10"/>
                </a:xfrm>
                <a:custGeom>
                  <a:avLst/>
                  <a:gdLst>
                    <a:gd name="T0" fmla="*/ 22 w 27"/>
                    <a:gd name="T1" fmla="*/ 8 h 25"/>
                    <a:gd name="T2" fmla="*/ 3 w 27"/>
                    <a:gd name="T3" fmla="*/ 10 h 25"/>
                    <a:gd name="T4" fmla="*/ 4 w 27"/>
                    <a:gd name="T5" fmla="*/ 21 h 25"/>
                    <a:gd name="T6" fmla="*/ 16 w 27"/>
                    <a:gd name="T7" fmla="*/ 20 h 25"/>
                    <a:gd name="T8" fmla="*/ 22 w 27"/>
                    <a:gd name="T9" fmla="*/ 8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7" h="25">
                      <a:moveTo>
                        <a:pt x="22" y="8"/>
                      </a:moveTo>
                      <a:cubicBezTo>
                        <a:pt x="18" y="5"/>
                        <a:pt x="7" y="0"/>
                        <a:pt x="3" y="10"/>
                      </a:cubicBezTo>
                      <a:cubicBezTo>
                        <a:pt x="1" y="15"/>
                        <a:pt x="0" y="20"/>
                        <a:pt x="4" y="21"/>
                      </a:cubicBezTo>
                      <a:cubicBezTo>
                        <a:pt x="8" y="23"/>
                        <a:pt x="10" y="25"/>
                        <a:pt x="16" y="20"/>
                      </a:cubicBezTo>
                      <a:cubicBezTo>
                        <a:pt x="22" y="15"/>
                        <a:pt x="27" y="11"/>
                        <a:pt x="22" y="8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405" name="Freeform 131"/>
                <p:cNvSpPr>
                  <a:spLocks noEditPoints="1"/>
                </p:cNvSpPr>
                <p:nvPr>
                  <p:custDataLst>
                    <p:tags r:id="rId203"/>
                  </p:custDataLst>
                </p:nvPr>
              </p:nvSpPr>
              <p:spPr bwMode="auto">
                <a:xfrm>
                  <a:off x="3001" y="2214"/>
                  <a:ext cx="391" cy="318"/>
                </a:xfrm>
                <a:custGeom>
                  <a:avLst/>
                  <a:gdLst>
                    <a:gd name="T0" fmla="*/ 660 w 916"/>
                    <a:gd name="T1" fmla="*/ 734 h 745"/>
                    <a:gd name="T2" fmla="*/ 676 w 916"/>
                    <a:gd name="T3" fmla="*/ 669 h 745"/>
                    <a:gd name="T4" fmla="*/ 673 w 916"/>
                    <a:gd name="T5" fmla="*/ 603 h 745"/>
                    <a:gd name="T6" fmla="*/ 677 w 916"/>
                    <a:gd name="T7" fmla="*/ 555 h 745"/>
                    <a:gd name="T8" fmla="*/ 625 w 916"/>
                    <a:gd name="T9" fmla="*/ 519 h 745"/>
                    <a:gd name="T10" fmla="*/ 593 w 916"/>
                    <a:gd name="T11" fmla="*/ 545 h 745"/>
                    <a:gd name="T12" fmla="*/ 607 w 916"/>
                    <a:gd name="T13" fmla="*/ 516 h 745"/>
                    <a:gd name="T14" fmla="*/ 594 w 916"/>
                    <a:gd name="T15" fmla="*/ 476 h 745"/>
                    <a:gd name="T16" fmla="*/ 530 w 916"/>
                    <a:gd name="T17" fmla="*/ 427 h 745"/>
                    <a:gd name="T18" fmla="*/ 544 w 916"/>
                    <a:gd name="T19" fmla="*/ 372 h 745"/>
                    <a:gd name="T20" fmla="*/ 479 w 916"/>
                    <a:gd name="T21" fmla="*/ 367 h 745"/>
                    <a:gd name="T22" fmla="*/ 496 w 916"/>
                    <a:gd name="T23" fmla="*/ 340 h 745"/>
                    <a:gd name="T24" fmla="*/ 439 w 916"/>
                    <a:gd name="T25" fmla="*/ 290 h 745"/>
                    <a:gd name="T26" fmla="*/ 369 w 916"/>
                    <a:gd name="T27" fmla="*/ 239 h 745"/>
                    <a:gd name="T28" fmla="*/ 339 w 916"/>
                    <a:gd name="T29" fmla="*/ 234 h 745"/>
                    <a:gd name="T30" fmla="*/ 285 w 916"/>
                    <a:gd name="T31" fmla="*/ 180 h 745"/>
                    <a:gd name="T32" fmla="*/ 215 w 916"/>
                    <a:gd name="T33" fmla="*/ 131 h 745"/>
                    <a:gd name="T34" fmla="*/ 186 w 916"/>
                    <a:gd name="T35" fmla="*/ 76 h 745"/>
                    <a:gd name="T36" fmla="*/ 127 w 916"/>
                    <a:gd name="T37" fmla="*/ 50 h 745"/>
                    <a:gd name="T38" fmla="*/ 21 w 916"/>
                    <a:gd name="T39" fmla="*/ 29 h 745"/>
                    <a:gd name="T40" fmla="*/ 96 w 916"/>
                    <a:gd name="T41" fmla="*/ 139 h 745"/>
                    <a:gd name="T42" fmla="*/ 175 w 916"/>
                    <a:gd name="T43" fmla="*/ 230 h 745"/>
                    <a:gd name="T44" fmla="*/ 240 w 916"/>
                    <a:gd name="T45" fmla="*/ 285 h 745"/>
                    <a:gd name="T46" fmla="*/ 290 w 916"/>
                    <a:gd name="T47" fmla="*/ 374 h 745"/>
                    <a:gd name="T48" fmla="*/ 348 w 916"/>
                    <a:gd name="T49" fmla="*/ 463 h 745"/>
                    <a:gd name="T50" fmla="*/ 430 w 916"/>
                    <a:gd name="T51" fmla="*/ 589 h 745"/>
                    <a:gd name="T52" fmla="*/ 511 w 916"/>
                    <a:gd name="T53" fmla="*/ 661 h 745"/>
                    <a:gd name="T54" fmla="*/ 588 w 916"/>
                    <a:gd name="T55" fmla="*/ 735 h 745"/>
                    <a:gd name="T56" fmla="*/ 616 w 916"/>
                    <a:gd name="T57" fmla="*/ 723 h 745"/>
                    <a:gd name="T58" fmla="*/ 5 w 916"/>
                    <a:gd name="T59" fmla="*/ 22 h 745"/>
                    <a:gd name="T60" fmla="*/ 25 w 916"/>
                    <a:gd name="T61" fmla="*/ 6 h 745"/>
                    <a:gd name="T62" fmla="*/ 580 w 916"/>
                    <a:gd name="T63" fmla="*/ 415 h 745"/>
                    <a:gd name="T64" fmla="*/ 576 w 916"/>
                    <a:gd name="T65" fmla="*/ 405 h 745"/>
                    <a:gd name="T66" fmla="*/ 591 w 916"/>
                    <a:gd name="T67" fmla="*/ 374 h 745"/>
                    <a:gd name="T68" fmla="*/ 856 w 916"/>
                    <a:gd name="T69" fmla="*/ 475 h 745"/>
                    <a:gd name="T70" fmla="*/ 557 w 916"/>
                    <a:gd name="T71" fmla="*/ 306 h 745"/>
                    <a:gd name="T72" fmla="*/ 492 w 916"/>
                    <a:gd name="T73" fmla="*/ 312 h 745"/>
                    <a:gd name="T74" fmla="*/ 520 w 916"/>
                    <a:gd name="T75" fmla="*/ 319 h 745"/>
                    <a:gd name="T76" fmla="*/ 735 w 916"/>
                    <a:gd name="T77" fmla="*/ 534 h 745"/>
                    <a:gd name="T78" fmla="*/ 694 w 916"/>
                    <a:gd name="T79" fmla="*/ 508 h 745"/>
                    <a:gd name="T80" fmla="*/ 671 w 916"/>
                    <a:gd name="T81" fmla="*/ 468 h 745"/>
                    <a:gd name="T82" fmla="*/ 658 w 916"/>
                    <a:gd name="T83" fmla="*/ 473 h 745"/>
                    <a:gd name="T84" fmla="*/ 635 w 916"/>
                    <a:gd name="T85" fmla="*/ 504 h 745"/>
                    <a:gd name="T86" fmla="*/ 677 w 916"/>
                    <a:gd name="T87" fmla="*/ 524 h 745"/>
                    <a:gd name="T88" fmla="*/ 709 w 916"/>
                    <a:gd name="T89" fmla="*/ 566 h 745"/>
                    <a:gd name="T90" fmla="*/ 735 w 916"/>
                    <a:gd name="T91" fmla="*/ 534 h 745"/>
                    <a:gd name="T92" fmla="*/ 551 w 916"/>
                    <a:gd name="T93" fmla="*/ 330 h 745"/>
                    <a:gd name="T94" fmla="*/ 898 w 916"/>
                    <a:gd name="T95" fmla="*/ 447 h 745"/>
                    <a:gd name="T96" fmla="*/ 777 w 916"/>
                    <a:gd name="T97" fmla="*/ 548 h 745"/>
                    <a:gd name="T98" fmla="*/ 799 w 916"/>
                    <a:gd name="T99" fmla="*/ 561 h 745"/>
                    <a:gd name="T100" fmla="*/ 824 w 916"/>
                    <a:gd name="T101" fmla="*/ 551 h 745"/>
                    <a:gd name="T102" fmla="*/ 786 w 916"/>
                    <a:gd name="T103" fmla="*/ 535 h 745"/>
                    <a:gd name="T104" fmla="*/ 590 w 916"/>
                    <a:gd name="T105" fmla="*/ 315 h 745"/>
                    <a:gd name="T106" fmla="*/ 584 w 916"/>
                    <a:gd name="T107" fmla="*/ 307 h 745"/>
                    <a:gd name="T108" fmla="*/ 461 w 916"/>
                    <a:gd name="T109" fmla="*/ 300 h 745"/>
                    <a:gd name="T110" fmla="*/ 400 w 916"/>
                    <a:gd name="T111" fmla="*/ 255 h 745"/>
                    <a:gd name="T112" fmla="*/ 415 w 916"/>
                    <a:gd name="T113" fmla="*/ 247 h 745"/>
                    <a:gd name="T114" fmla="*/ 475 w 916"/>
                    <a:gd name="T115" fmla="*/ 321 h 7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916" h="745">
                      <a:moveTo>
                        <a:pt x="633" y="729"/>
                      </a:moveTo>
                      <a:cubicBezTo>
                        <a:pt x="637" y="728"/>
                        <a:pt x="638" y="723"/>
                        <a:pt x="641" y="715"/>
                      </a:cubicBezTo>
                      <a:cubicBezTo>
                        <a:pt x="644" y="706"/>
                        <a:pt x="648" y="716"/>
                        <a:pt x="653" y="720"/>
                      </a:cubicBezTo>
                      <a:cubicBezTo>
                        <a:pt x="657" y="723"/>
                        <a:pt x="658" y="730"/>
                        <a:pt x="660" y="734"/>
                      </a:cubicBezTo>
                      <a:cubicBezTo>
                        <a:pt x="663" y="737"/>
                        <a:pt x="666" y="738"/>
                        <a:pt x="669" y="732"/>
                      </a:cubicBezTo>
                      <a:cubicBezTo>
                        <a:pt x="673" y="727"/>
                        <a:pt x="674" y="723"/>
                        <a:pt x="674" y="713"/>
                      </a:cubicBezTo>
                      <a:cubicBezTo>
                        <a:pt x="673" y="703"/>
                        <a:pt x="674" y="706"/>
                        <a:pt x="674" y="691"/>
                      </a:cubicBezTo>
                      <a:cubicBezTo>
                        <a:pt x="674" y="677"/>
                        <a:pt x="677" y="677"/>
                        <a:pt x="676" y="669"/>
                      </a:cubicBezTo>
                      <a:cubicBezTo>
                        <a:pt x="676" y="661"/>
                        <a:pt x="678" y="655"/>
                        <a:pt x="673" y="643"/>
                      </a:cubicBezTo>
                      <a:cubicBezTo>
                        <a:pt x="668" y="631"/>
                        <a:pt x="672" y="634"/>
                        <a:pt x="674" y="628"/>
                      </a:cubicBezTo>
                      <a:cubicBezTo>
                        <a:pt x="676" y="623"/>
                        <a:pt x="678" y="621"/>
                        <a:pt x="679" y="614"/>
                      </a:cubicBezTo>
                      <a:cubicBezTo>
                        <a:pt x="680" y="607"/>
                        <a:pt x="676" y="608"/>
                        <a:pt x="673" y="603"/>
                      </a:cubicBezTo>
                      <a:cubicBezTo>
                        <a:pt x="670" y="598"/>
                        <a:pt x="671" y="595"/>
                        <a:pt x="674" y="594"/>
                      </a:cubicBezTo>
                      <a:cubicBezTo>
                        <a:pt x="676" y="593"/>
                        <a:pt x="677" y="587"/>
                        <a:pt x="682" y="582"/>
                      </a:cubicBezTo>
                      <a:cubicBezTo>
                        <a:pt x="687" y="576"/>
                        <a:pt x="688" y="576"/>
                        <a:pt x="686" y="568"/>
                      </a:cubicBezTo>
                      <a:cubicBezTo>
                        <a:pt x="684" y="561"/>
                        <a:pt x="683" y="563"/>
                        <a:pt x="677" y="555"/>
                      </a:cubicBezTo>
                      <a:cubicBezTo>
                        <a:pt x="671" y="548"/>
                        <a:pt x="670" y="550"/>
                        <a:pt x="665" y="541"/>
                      </a:cubicBezTo>
                      <a:cubicBezTo>
                        <a:pt x="660" y="532"/>
                        <a:pt x="662" y="535"/>
                        <a:pt x="659" y="530"/>
                      </a:cubicBezTo>
                      <a:cubicBezTo>
                        <a:pt x="656" y="525"/>
                        <a:pt x="652" y="526"/>
                        <a:pt x="643" y="523"/>
                      </a:cubicBezTo>
                      <a:cubicBezTo>
                        <a:pt x="633" y="520"/>
                        <a:pt x="631" y="523"/>
                        <a:pt x="625" y="519"/>
                      </a:cubicBezTo>
                      <a:cubicBezTo>
                        <a:pt x="619" y="515"/>
                        <a:pt x="615" y="520"/>
                        <a:pt x="612" y="522"/>
                      </a:cubicBezTo>
                      <a:cubicBezTo>
                        <a:pt x="609" y="524"/>
                        <a:pt x="609" y="528"/>
                        <a:pt x="607" y="531"/>
                      </a:cubicBezTo>
                      <a:cubicBezTo>
                        <a:pt x="606" y="534"/>
                        <a:pt x="603" y="540"/>
                        <a:pt x="601" y="545"/>
                      </a:cubicBezTo>
                      <a:cubicBezTo>
                        <a:pt x="598" y="551"/>
                        <a:pt x="595" y="548"/>
                        <a:pt x="593" y="545"/>
                      </a:cubicBezTo>
                      <a:cubicBezTo>
                        <a:pt x="591" y="541"/>
                        <a:pt x="595" y="539"/>
                        <a:pt x="598" y="536"/>
                      </a:cubicBezTo>
                      <a:cubicBezTo>
                        <a:pt x="600" y="533"/>
                        <a:pt x="603" y="532"/>
                        <a:pt x="601" y="529"/>
                      </a:cubicBezTo>
                      <a:cubicBezTo>
                        <a:pt x="599" y="526"/>
                        <a:pt x="596" y="526"/>
                        <a:pt x="596" y="521"/>
                      </a:cubicBezTo>
                      <a:cubicBezTo>
                        <a:pt x="597" y="517"/>
                        <a:pt x="603" y="519"/>
                        <a:pt x="607" y="516"/>
                      </a:cubicBezTo>
                      <a:cubicBezTo>
                        <a:pt x="612" y="514"/>
                        <a:pt x="612" y="512"/>
                        <a:pt x="609" y="508"/>
                      </a:cubicBezTo>
                      <a:cubicBezTo>
                        <a:pt x="606" y="504"/>
                        <a:pt x="604" y="506"/>
                        <a:pt x="595" y="501"/>
                      </a:cubicBezTo>
                      <a:cubicBezTo>
                        <a:pt x="587" y="495"/>
                        <a:pt x="591" y="496"/>
                        <a:pt x="592" y="491"/>
                      </a:cubicBezTo>
                      <a:cubicBezTo>
                        <a:pt x="592" y="487"/>
                        <a:pt x="596" y="484"/>
                        <a:pt x="594" y="476"/>
                      </a:cubicBezTo>
                      <a:cubicBezTo>
                        <a:pt x="592" y="469"/>
                        <a:pt x="591" y="468"/>
                        <a:pt x="591" y="460"/>
                      </a:cubicBezTo>
                      <a:cubicBezTo>
                        <a:pt x="590" y="453"/>
                        <a:pt x="586" y="446"/>
                        <a:pt x="579" y="443"/>
                      </a:cubicBezTo>
                      <a:cubicBezTo>
                        <a:pt x="573" y="440"/>
                        <a:pt x="566" y="441"/>
                        <a:pt x="551" y="437"/>
                      </a:cubicBezTo>
                      <a:cubicBezTo>
                        <a:pt x="536" y="434"/>
                        <a:pt x="539" y="434"/>
                        <a:pt x="530" y="427"/>
                      </a:cubicBezTo>
                      <a:cubicBezTo>
                        <a:pt x="522" y="421"/>
                        <a:pt x="524" y="420"/>
                        <a:pt x="524" y="412"/>
                      </a:cubicBezTo>
                      <a:cubicBezTo>
                        <a:pt x="524" y="404"/>
                        <a:pt x="523" y="404"/>
                        <a:pt x="521" y="397"/>
                      </a:cubicBezTo>
                      <a:cubicBezTo>
                        <a:pt x="520" y="391"/>
                        <a:pt x="522" y="388"/>
                        <a:pt x="525" y="385"/>
                      </a:cubicBezTo>
                      <a:cubicBezTo>
                        <a:pt x="527" y="381"/>
                        <a:pt x="540" y="380"/>
                        <a:pt x="544" y="372"/>
                      </a:cubicBezTo>
                      <a:cubicBezTo>
                        <a:pt x="548" y="363"/>
                        <a:pt x="536" y="362"/>
                        <a:pt x="532" y="356"/>
                      </a:cubicBezTo>
                      <a:cubicBezTo>
                        <a:pt x="528" y="351"/>
                        <a:pt x="526" y="349"/>
                        <a:pt x="518" y="348"/>
                      </a:cubicBezTo>
                      <a:cubicBezTo>
                        <a:pt x="510" y="347"/>
                        <a:pt x="506" y="350"/>
                        <a:pt x="501" y="359"/>
                      </a:cubicBezTo>
                      <a:cubicBezTo>
                        <a:pt x="495" y="368"/>
                        <a:pt x="489" y="366"/>
                        <a:pt x="479" y="367"/>
                      </a:cubicBezTo>
                      <a:cubicBezTo>
                        <a:pt x="470" y="368"/>
                        <a:pt x="469" y="367"/>
                        <a:pt x="464" y="364"/>
                      </a:cubicBezTo>
                      <a:cubicBezTo>
                        <a:pt x="460" y="361"/>
                        <a:pt x="465" y="357"/>
                        <a:pt x="465" y="357"/>
                      </a:cubicBezTo>
                      <a:cubicBezTo>
                        <a:pt x="465" y="357"/>
                        <a:pt x="479" y="357"/>
                        <a:pt x="485" y="356"/>
                      </a:cubicBezTo>
                      <a:cubicBezTo>
                        <a:pt x="490" y="354"/>
                        <a:pt x="494" y="347"/>
                        <a:pt x="496" y="340"/>
                      </a:cubicBezTo>
                      <a:cubicBezTo>
                        <a:pt x="497" y="333"/>
                        <a:pt x="494" y="337"/>
                        <a:pt x="482" y="330"/>
                      </a:cubicBezTo>
                      <a:cubicBezTo>
                        <a:pt x="470" y="323"/>
                        <a:pt x="471" y="330"/>
                        <a:pt x="458" y="324"/>
                      </a:cubicBezTo>
                      <a:cubicBezTo>
                        <a:pt x="445" y="318"/>
                        <a:pt x="448" y="321"/>
                        <a:pt x="447" y="312"/>
                      </a:cubicBezTo>
                      <a:cubicBezTo>
                        <a:pt x="445" y="303"/>
                        <a:pt x="446" y="303"/>
                        <a:pt x="439" y="290"/>
                      </a:cubicBezTo>
                      <a:cubicBezTo>
                        <a:pt x="432" y="277"/>
                        <a:pt x="430" y="284"/>
                        <a:pt x="419" y="277"/>
                      </a:cubicBezTo>
                      <a:cubicBezTo>
                        <a:pt x="409" y="270"/>
                        <a:pt x="404" y="277"/>
                        <a:pt x="395" y="269"/>
                      </a:cubicBezTo>
                      <a:cubicBezTo>
                        <a:pt x="386" y="261"/>
                        <a:pt x="390" y="265"/>
                        <a:pt x="386" y="253"/>
                      </a:cubicBezTo>
                      <a:cubicBezTo>
                        <a:pt x="382" y="241"/>
                        <a:pt x="378" y="242"/>
                        <a:pt x="369" y="239"/>
                      </a:cubicBezTo>
                      <a:cubicBezTo>
                        <a:pt x="360" y="237"/>
                        <a:pt x="367" y="247"/>
                        <a:pt x="370" y="255"/>
                      </a:cubicBezTo>
                      <a:cubicBezTo>
                        <a:pt x="373" y="263"/>
                        <a:pt x="373" y="263"/>
                        <a:pt x="368" y="264"/>
                      </a:cubicBezTo>
                      <a:cubicBezTo>
                        <a:pt x="364" y="266"/>
                        <a:pt x="362" y="259"/>
                        <a:pt x="353" y="248"/>
                      </a:cubicBezTo>
                      <a:cubicBezTo>
                        <a:pt x="343" y="237"/>
                        <a:pt x="344" y="243"/>
                        <a:pt x="339" y="234"/>
                      </a:cubicBezTo>
                      <a:cubicBezTo>
                        <a:pt x="333" y="225"/>
                        <a:pt x="335" y="224"/>
                        <a:pt x="328" y="221"/>
                      </a:cubicBezTo>
                      <a:cubicBezTo>
                        <a:pt x="321" y="217"/>
                        <a:pt x="320" y="220"/>
                        <a:pt x="311" y="216"/>
                      </a:cubicBezTo>
                      <a:cubicBezTo>
                        <a:pt x="303" y="212"/>
                        <a:pt x="305" y="198"/>
                        <a:pt x="303" y="193"/>
                      </a:cubicBezTo>
                      <a:cubicBezTo>
                        <a:pt x="300" y="189"/>
                        <a:pt x="295" y="186"/>
                        <a:pt x="285" y="180"/>
                      </a:cubicBezTo>
                      <a:cubicBezTo>
                        <a:pt x="276" y="174"/>
                        <a:pt x="278" y="173"/>
                        <a:pt x="270" y="163"/>
                      </a:cubicBezTo>
                      <a:cubicBezTo>
                        <a:pt x="263" y="153"/>
                        <a:pt x="256" y="156"/>
                        <a:pt x="243" y="148"/>
                      </a:cubicBezTo>
                      <a:cubicBezTo>
                        <a:pt x="229" y="141"/>
                        <a:pt x="236" y="142"/>
                        <a:pt x="231" y="134"/>
                      </a:cubicBezTo>
                      <a:cubicBezTo>
                        <a:pt x="226" y="125"/>
                        <a:pt x="222" y="131"/>
                        <a:pt x="215" y="131"/>
                      </a:cubicBezTo>
                      <a:cubicBezTo>
                        <a:pt x="207" y="130"/>
                        <a:pt x="207" y="126"/>
                        <a:pt x="206" y="119"/>
                      </a:cubicBezTo>
                      <a:cubicBezTo>
                        <a:pt x="204" y="111"/>
                        <a:pt x="205" y="109"/>
                        <a:pt x="198" y="101"/>
                      </a:cubicBezTo>
                      <a:cubicBezTo>
                        <a:pt x="191" y="93"/>
                        <a:pt x="192" y="97"/>
                        <a:pt x="190" y="90"/>
                      </a:cubicBezTo>
                      <a:cubicBezTo>
                        <a:pt x="187" y="84"/>
                        <a:pt x="191" y="84"/>
                        <a:pt x="186" y="76"/>
                      </a:cubicBezTo>
                      <a:cubicBezTo>
                        <a:pt x="181" y="69"/>
                        <a:pt x="178" y="73"/>
                        <a:pt x="174" y="65"/>
                      </a:cubicBezTo>
                      <a:cubicBezTo>
                        <a:pt x="170" y="58"/>
                        <a:pt x="168" y="57"/>
                        <a:pt x="161" y="53"/>
                      </a:cubicBezTo>
                      <a:cubicBezTo>
                        <a:pt x="153" y="50"/>
                        <a:pt x="151" y="60"/>
                        <a:pt x="141" y="59"/>
                      </a:cubicBezTo>
                      <a:cubicBezTo>
                        <a:pt x="131" y="59"/>
                        <a:pt x="136" y="56"/>
                        <a:pt x="127" y="50"/>
                      </a:cubicBezTo>
                      <a:cubicBezTo>
                        <a:pt x="117" y="45"/>
                        <a:pt x="114" y="51"/>
                        <a:pt x="104" y="52"/>
                      </a:cubicBezTo>
                      <a:cubicBezTo>
                        <a:pt x="95" y="53"/>
                        <a:pt x="97" y="55"/>
                        <a:pt x="85" y="56"/>
                      </a:cubicBezTo>
                      <a:cubicBezTo>
                        <a:pt x="73" y="57"/>
                        <a:pt x="78" y="51"/>
                        <a:pt x="62" y="39"/>
                      </a:cubicBezTo>
                      <a:cubicBezTo>
                        <a:pt x="50" y="22"/>
                        <a:pt x="27" y="21"/>
                        <a:pt x="21" y="29"/>
                      </a:cubicBezTo>
                      <a:cubicBezTo>
                        <a:pt x="16" y="37"/>
                        <a:pt x="21" y="49"/>
                        <a:pt x="24" y="57"/>
                      </a:cubicBezTo>
                      <a:cubicBezTo>
                        <a:pt x="26" y="66"/>
                        <a:pt x="37" y="74"/>
                        <a:pt x="41" y="86"/>
                      </a:cubicBezTo>
                      <a:cubicBezTo>
                        <a:pt x="45" y="98"/>
                        <a:pt x="57" y="101"/>
                        <a:pt x="71" y="112"/>
                      </a:cubicBezTo>
                      <a:cubicBezTo>
                        <a:pt x="85" y="124"/>
                        <a:pt x="83" y="124"/>
                        <a:pt x="96" y="139"/>
                      </a:cubicBezTo>
                      <a:cubicBezTo>
                        <a:pt x="108" y="155"/>
                        <a:pt x="108" y="149"/>
                        <a:pt x="119" y="156"/>
                      </a:cubicBezTo>
                      <a:cubicBezTo>
                        <a:pt x="129" y="162"/>
                        <a:pt x="139" y="170"/>
                        <a:pt x="147" y="178"/>
                      </a:cubicBezTo>
                      <a:cubicBezTo>
                        <a:pt x="154" y="185"/>
                        <a:pt x="161" y="191"/>
                        <a:pt x="170" y="203"/>
                      </a:cubicBezTo>
                      <a:cubicBezTo>
                        <a:pt x="179" y="216"/>
                        <a:pt x="174" y="219"/>
                        <a:pt x="175" y="230"/>
                      </a:cubicBezTo>
                      <a:cubicBezTo>
                        <a:pt x="175" y="240"/>
                        <a:pt x="182" y="237"/>
                        <a:pt x="194" y="240"/>
                      </a:cubicBezTo>
                      <a:cubicBezTo>
                        <a:pt x="206" y="242"/>
                        <a:pt x="206" y="247"/>
                        <a:pt x="217" y="253"/>
                      </a:cubicBezTo>
                      <a:cubicBezTo>
                        <a:pt x="228" y="259"/>
                        <a:pt x="232" y="261"/>
                        <a:pt x="238" y="267"/>
                      </a:cubicBezTo>
                      <a:cubicBezTo>
                        <a:pt x="244" y="274"/>
                        <a:pt x="240" y="278"/>
                        <a:pt x="240" y="285"/>
                      </a:cubicBezTo>
                      <a:cubicBezTo>
                        <a:pt x="240" y="293"/>
                        <a:pt x="242" y="295"/>
                        <a:pt x="248" y="304"/>
                      </a:cubicBezTo>
                      <a:cubicBezTo>
                        <a:pt x="255" y="312"/>
                        <a:pt x="254" y="323"/>
                        <a:pt x="254" y="332"/>
                      </a:cubicBezTo>
                      <a:cubicBezTo>
                        <a:pt x="254" y="341"/>
                        <a:pt x="257" y="349"/>
                        <a:pt x="266" y="356"/>
                      </a:cubicBezTo>
                      <a:cubicBezTo>
                        <a:pt x="275" y="363"/>
                        <a:pt x="284" y="365"/>
                        <a:pt x="290" y="374"/>
                      </a:cubicBezTo>
                      <a:cubicBezTo>
                        <a:pt x="297" y="382"/>
                        <a:pt x="306" y="392"/>
                        <a:pt x="310" y="401"/>
                      </a:cubicBezTo>
                      <a:cubicBezTo>
                        <a:pt x="315" y="410"/>
                        <a:pt x="328" y="418"/>
                        <a:pt x="335" y="427"/>
                      </a:cubicBezTo>
                      <a:cubicBezTo>
                        <a:pt x="342" y="436"/>
                        <a:pt x="339" y="436"/>
                        <a:pt x="339" y="446"/>
                      </a:cubicBezTo>
                      <a:cubicBezTo>
                        <a:pt x="339" y="456"/>
                        <a:pt x="342" y="453"/>
                        <a:pt x="348" y="463"/>
                      </a:cubicBezTo>
                      <a:cubicBezTo>
                        <a:pt x="354" y="472"/>
                        <a:pt x="366" y="490"/>
                        <a:pt x="368" y="501"/>
                      </a:cubicBezTo>
                      <a:cubicBezTo>
                        <a:pt x="370" y="512"/>
                        <a:pt x="370" y="514"/>
                        <a:pt x="374" y="524"/>
                      </a:cubicBezTo>
                      <a:cubicBezTo>
                        <a:pt x="379" y="534"/>
                        <a:pt x="383" y="538"/>
                        <a:pt x="391" y="551"/>
                      </a:cubicBezTo>
                      <a:cubicBezTo>
                        <a:pt x="399" y="563"/>
                        <a:pt x="422" y="580"/>
                        <a:pt x="430" y="589"/>
                      </a:cubicBezTo>
                      <a:cubicBezTo>
                        <a:pt x="439" y="598"/>
                        <a:pt x="445" y="598"/>
                        <a:pt x="450" y="603"/>
                      </a:cubicBezTo>
                      <a:cubicBezTo>
                        <a:pt x="455" y="608"/>
                        <a:pt x="454" y="612"/>
                        <a:pt x="454" y="620"/>
                      </a:cubicBezTo>
                      <a:cubicBezTo>
                        <a:pt x="454" y="629"/>
                        <a:pt x="464" y="633"/>
                        <a:pt x="476" y="642"/>
                      </a:cubicBezTo>
                      <a:cubicBezTo>
                        <a:pt x="487" y="652"/>
                        <a:pt x="497" y="655"/>
                        <a:pt x="511" y="661"/>
                      </a:cubicBezTo>
                      <a:cubicBezTo>
                        <a:pt x="524" y="666"/>
                        <a:pt x="524" y="670"/>
                        <a:pt x="532" y="679"/>
                      </a:cubicBezTo>
                      <a:cubicBezTo>
                        <a:pt x="539" y="688"/>
                        <a:pt x="546" y="692"/>
                        <a:pt x="555" y="700"/>
                      </a:cubicBezTo>
                      <a:cubicBezTo>
                        <a:pt x="564" y="708"/>
                        <a:pt x="568" y="708"/>
                        <a:pt x="576" y="716"/>
                      </a:cubicBezTo>
                      <a:cubicBezTo>
                        <a:pt x="583" y="723"/>
                        <a:pt x="584" y="725"/>
                        <a:pt x="588" y="735"/>
                      </a:cubicBezTo>
                      <a:cubicBezTo>
                        <a:pt x="592" y="745"/>
                        <a:pt x="597" y="744"/>
                        <a:pt x="598" y="737"/>
                      </a:cubicBezTo>
                      <a:cubicBezTo>
                        <a:pt x="599" y="731"/>
                        <a:pt x="595" y="728"/>
                        <a:pt x="594" y="719"/>
                      </a:cubicBezTo>
                      <a:cubicBezTo>
                        <a:pt x="593" y="710"/>
                        <a:pt x="599" y="715"/>
                        <a:pt x="602" y="717"/>
                      </a:cubicBezTo>
                      <a:cubicBezTo>
                        <a:pt x="604" y="719"/>
                        <a:pt x="610" y="719"/>
                        <a:pt x="616" y="723"/>
                      </a:cubicBezTo>
                      <a:cubicBezTo>
                        <a:pt x="622" y="728"/>
                        <a:pt x="629" y="730"/>
                        <a:pt x="633" y="729"/>
                      </a:cubicBezTo>
                      <a:close/>
                      <a:moveTo>
                        <a:pt x="7" y="16"/>
                      </a:moveTo>
                      <a:cubicBezTo>
                        <a:pt x="6" y="14"/>
                        <a:pt x="0" y="10"/>
                        <a:pt x="1" y="18"/>
                      </a:cubicBezTo>
                      <a:cubicBezTo>
                        <a:pt x="2" y="20"/>
                        <a:pt x="1" y="22"/>
                        <a:pt x="5" y="22"/>
                      </a:cubicBezTo>
                      <a:cubicBezTo>
                        <a:pt x="8" y="22"/>
                        <a:pt x="11" y="25"/>
                        <a:pt x="11" y="22"/>
                      </a:cubicBezTo>
                      <a:cubicBezTo>
                        <a:pt x="11" y="18"/>
                        <a:pt x="8" y="18"/>
                        <a:pt x="7" y="16"/>
                      </a:cubicBezTo>
                      <a:close/>
                      <a:moveTo>
                        <a:pt x="27" y="12"/>
                      </a:moveTo>
                      <a:cubicBezTo>
                        <a:pt x="27" y="10"/>
                        <a:pt x="27" y="7"/>
                        <a:pt x="25" y="6"/>
                      </a:cubicBezTo>
                      <a:cubicBezTo>
                        <a:pt x="23" y="6"/>
                        <a:pt x="15" y="0"/>
                        <a:pt x="14" y="5"/>
                      </a:cubicBezTo>
                      <a:cubicBezTo>
                        <a:pt x="13" y="8"/>
                        <a:pt x="15" y="10"/>
                        <a:pt x="19" y="11"/>
                      </a:cubicBezTo>
                      <a:cubicBezTo>
                        <a:pt x="22" y="13"/>
                        <a:pt x="26" y="15"/>
                        <a:pt x="27" y="12"/>
                      </a:cubicBezTo>
                      <a:close/>
                      <a:moveTo>
                        <a:pt x="580" y="415"/>
                      </a:moveTo>
                      <a:cubicBezTo>
                        <a:pt x="583" y="416"/>
                        <a:pt x="587" y="412"/>
                        <a:pt x="590" y="409"/>
                      </a:cubicBezTo>
                      <a:cubicBezTo>
                        <a:pt x="593" y="405"/>
                        <a:pt x="596" y="404"/>
                        <a:pt x="595" y="402"/>
                      </a:cubicBezTo>
                      <a:cubicBezTo>
                        <a:pt x="595" y="399"/>
                        <a:pt x="588" y="398"/>
                        <a:pt x="583" y="399"/>
                      </a:cubicBezTo>
                      <a:cubicBezTo>
                        <a:pt x="579" y="401"/>
                        <a:pt x="576" y="400"/>
                        <a:pt x="576" y="405"/>
                      </a:cubicBezTo>
                      <a:cubicBezTo>
                        <a:pt x="577" y="410"/>
                        <a:pt x="576" y="415"/>
                        <a:pt x="580" y="415"/>
                      </a:cubicBezTo>
                      <a:close/>
                      <a:moveTo>
                        <a:pt x="606" y="388"/>
                      </a:moveTo>
                      <a:cubicBezTo>
                        <a:pt x="607" y="384"/>
                        <a:pt x="603" y="385"/>
                        <a:pt x="602" y="380"/>
                      </a:cubicBezTo>
                      <a:cubicBezTo>
                        <a:pt x="600" y="376"/>
                        <a:pt x="590" y="368"/>
                        <a:pt x="591" y="374"/>
                      </a:cubicBezTo>
                      <a:cubicBezTo>
                        <a:pt x="590" y="380"/>
                        <a:pt x="587" y="380"/>
                        <a:pt x="590" y="383"/>
                      </a:cubicBezTo>
                      <a:cubicBezTo>
                        <a:pt x="594" y="387"/>
                        <a:pt x="593" y="386"/>
                        <a:pt x="598" y="387"/>
                      </a:cubicBezTo>
                      <a:cubicBezTo>
                        <a:pt x="603" y="388"/>
                        <a:pt x="605" y="392"/>
                        <a:pt x="606" y="388"/>
                      </a:cubicBezTo>
                      <a:close/>
                      <a:moveTo>
                        <a:pt x="856" y="475"/>
                      </a:moveTo>
                      <a:cubicBezTo>
                        <a:pt x="860" y="476"/>
                        <a:pt x="862" y="477"/>
                        <a:pt x="865" y="476"/>
                      </a:cubicBezTo>
                      <a:cubicBezTo>
                        <a:pt x="868" y="475"/>
                        <a:pt x="864" y="469"/>
                        <a:pt x="859" y="469"/>
                      </a:cubicBezTo>
                      <a:cubicBezTo>
                        <a:pt x="855" y="471"/>
                        <a:pt x="852" y="474"/>
                        <a:pt x="856" y="475"/>
                      </a:cubicBezTo>
                      <a:close/>
                      <a:moveTo>
                        <a:pt x="557" y="306"/>
                      </a:moveTo>
                      <a:cubicBezTo>
                        <a:pt x="555" y="309"/>
                        <a:pt x="553" y="311"/>
                        <a:pt x="557" y="312"/>
                      </a:cubicBezTo>
                      <a:cubicBezTo>
                        <a:pt x="561" y="314"/>
                        <a:pt x="566" y="316"/>
                        <a:pt x="566" y="313"/>
                      </a:cubicBezTo>
                      <a:cubicBezTo>
                        <a:pt x="567" y="309"/>
                        <a:pt x="562" y="303"/>
                        <a:pt x="557" y="306"/>
                      </a:cubicBezTo>
                      <a:close/>
                      <a:moveTo>
                        <a:pt x="492" y="312"/>
                      </a:moveTo>
                      <a:cubicBezTo>
                        <a:pt x="493" y="311"/>
                        <a:pt x="491" y="299"/>
                        <a:pt x="485" y="302"/>
                      </a:cubicBezTo>
                      <a:cubicBezTo>
                        <a:pt x="484" y="303"/>
                        <a:pt x="481" y="304"/>
                        <a:pt x="484" y="307"/>
                      </a:cubicBezTo>
                      <a:cubicBezTo>
                        <a:pt x="486" y="310"/>
                        <a:pt x="489" y="313"/>
                        <a:pt x="492" y="312"/>
                      </a:cubicBezTo>
                      <a:close/>
                      <a:moveTo>
                        <a:pt x="520" y="319"/>
                      </a:moveTo>
                      <a:cubicBezTo>
                        <a:pt x="519" y="323"/>
                        <a:pt x="520" y="322"/>
                        <a:pt x="521" y="327"/>
                      </a:cubicBezTo>
                      <a:cubicBezTo>
                        <a:pt x="523" y="332"/>
                        <a:pt x="525" y="334"/>
                        <a:pt x="527" y="331"/>
                      </a:cubicBezTo>
                      <a:cubicBezTo>
                        <a:pt x="529" y="328"/>
                        <a:pt x="525" y="315"/>
                        <a:pt x="520" y="319"/>
                      </a:cubicBezTo>
                      <a:close/>
                      <a:moveTo>
                        <a:pt x="735" y="534"/>
                      </a:moveTo>
                      <a:cubicBezTo>
                        <a:pt x="737" y="533"/>
                        <a:pt x="732" y="532"/>
                        <a:pt x="728" y="530"/>
                      </a:cubicBezTo>
                      <a:cubicBezTo>
                        <a:pt x="725" y="528"/>
                        <a:pt x="722" y="530"/>
                        <a:pt x="715" y="529"/>
                      </a:cubicBezTo>
                      <a:cubicBezTo>
                        <a:pt x="708" y="529"/>
                        <a:pt x="706" y="527"/>
                        <a:pt x="701" y="523"/>
                      </a:cubicBezTo>
                      <a:cubicBezTo>
                        <a:pt x="696" y="519"/>
                        <a:pt x="695" y="516"/>
                        <a:pt x="694" y="508"/>
                      </a:cubicBezTo>
                      <a:cubicBezTo>
                        <a:pt x="694" y="497"/>
                        <a:pt x="691" y="494"/>
                        <a:pt x="689" y="490"/>
                      </a:cubicBezTo>
                      <a:cubicBezTo>
                        <a:pt x="688" y="485"/>
                        <a:pt x="687" y="485"/>
                        <a:pt x="684" y="480"/>
                      </a:cubicBezTo>
                      <a:cubicBezTo>
                        <a:pt x="681" y="475"/>
                        <a:pt x="682" y="474"/>
                        <a:pt x="681" y="470"/>
                      </a:cubicBezTo>
                      <a:cubicBezTo>
                        <a:pt x="681" y="466"/>
                        <a:pt x="673" y="467"/>
                        <a:pt x="671" y="468"/>
                      </a:cubicBezTo>
                      <a:cubicBezTo>
                        <a:pt x="669" y="469"/>
                        <a:pt x="667" y="473"/>
                        <a:pt x="669" y="476"/>
                      </a:cubicBezTo>
                      <a:cubicBezTo>
                        <a:pt x="670" y="479"/>
                        <a:pt x="672" y="481"/>
                        <a:pt x="671" y="485"/>
                      </a:cubicBezTo>
                      <a:cubicBezTo>
                        <a:pt x="669" y="488"/>
                        <a:pt x="666" y="485"/>
                        <a:pt x="665" y="483"/>
                      </a:cubicBezTo>
                      <a:cubicBezTo>
                        <a:pt x="664" y="482"/>
                        <a:pt x="661" y="476"/>
                        <a:pt x="658" y="473"/>
                      </a:cubicBezTo>
                      <a:cubicBezTo>
                        <a:pt x="656" y="471"/>
                        <a:pt x="648" y="472"/>
                        <a:pt x="645" y="475"/>
                      </a:cubicBezTo>
                      <a:cubicBezTo>
                        <a:pt x="643" y="478"/>
                        <a:pt x="645" y="478"/>
                        <a:pt x="643" y="487"/>
                      </a:cubicBezTo>
                      <a:cubicBezTo>
                        <a:pt x="642" y="496"/>
                        <a:pt x="641" y="491"/>
                        <a:pt x="636" y="494"/>
                      </a:cubicBezTo>
                      <a:cubicBezTo>
                        <a:pt x="631" y="498"/>
                        <a:pt x="635" y="502"/>
                        <a:pt x="635" y="504"/>
                      </a:cubicBezTo>
                      <a:cubicBezTo>
                        <a:pt x="636" y="506"/>
                        <a:pt x="646" y="506"/>
                        <a:pt x="653" y="505"/>
                      </a:cubicBezTo>
                      <a:cubicBezTo>
                        <a:pt x="660" y="504"/>
                        <a:pt x="659" y="504"/>
                        <a:pt x="665" y="505"/>
                      </a:cubicBezTo>
                      <a:cubicBezTo>
                        <a:pt x="671" y="505"/>
                        <a:pt x="670" y="508"/>
                        <a:pt x="670" y="513"/>
                      </a:cubicBezTo>
                      <a:cubicBezTo>
                        <a:pt x="671" y="518"/>
                        <a:pt x="672" y="519"/>
                        <a:pt x="677" y="524"/>
                      </a:cubicBezTo>
                      <a:cubicBezTo>
                        <a:pt x="682" y="530"/>
                        <a:pt x="683" y="529"/>
                        <a:pt x="683" y="534"/>
                      </a:cubicBezTo>
                      <a:cubicBezTo>
                        <a:pt x="683" y="539"/>
                        <a:pt x="684" y="545"/>
                        <a:pt x="688" y="548"/>
                      </a:cubicBezTo>
                      <a:cubicBezTo>
                        <a:pt x="692" y="551"/>
                        <a:pt x="695" y="552"/>
                        <a:pt x="700" y="556"/>
                      </a:cubicBezTo>
                      <a:cubicBezTo>
                        <a:pt x="705" y="560"/>
                        <a:pt x="704" y="561"/>
                        <a:pt x="709" y="566"/>
                      </a:cubicBezTo>
                      <a:cubicBezTo>
                        <a:pt x="713" y="572"/>
                        <a:pt x="718" y="566"/>
                        <a:pt x="721" y="564"/>
                      </a:cubicBezTo>
                      <a:cubicBezTo>
                        <a:pt x="723" y="562"/>
                        <a:pt x="720" y="559"/>
                        <a:pt x="719" y="555"/>
                      </a:cubicBezTo>
                      <a:cubicBezTo>
                        <a:pt x="719" y="551"/>
                        <a:pt x="719" y="548"/>
                        <a:pt x="720" y="545"/>
                      </a:cubicBezTo>
                      <a:cubicBezTo>
                        <a:pt x="722" y="541"/>
                        <a:pt x="732" y="536"/>
                        <a:pt x="735" y="534"/>
                      </a:cubicBezTo>
                      <a:close/>
                      <a:moveTo>
                        <a:pt x="548" y="318"/>
                      </a:moveTo>
                      <a:cubicBezTo>
                        <a:pt x="547" y="320"/>
                        <a:pt x="543" y="320"/>
                        <a:pt x="542" y="323"/>
                      </a:cubicBezTo>
                      <a:cubicBezTo>
                        <a:pt x="540" y="325"/>
                        <a:pt x="540" y="328"/>
                        <a:pt x="543" y="329"/>
                      </a:cubicBezTo>
                      <a:cubicBezTo>
                        <a:pt x="545" y="330"/>
                        <a:pt x="551" y="333"/>
                        <a:pt x="551" y="330"/>
                      </a:cubicBezTo>
                      <a:cubicBezTo>
                        <a:pt x="551" y="327"/>
                        <a:pt x="551" y="325"/>
                        <a:pt x="552" y="322"/>
                      </a:cubicBezTo>
                      <a:cubicBezTo>
                        <a:pt x="554" y="320"/>
                        <a:pt x="553" y="317"/>
                        <a:pt x="548" y="318"/>
                      </a:cubicBezTo>
                      <a:close/>
                      <a:moveTo>
                        <a:pt x="899" y="440"/>
                      </a:moveTo>
                      <a:cubicBezTo>
                        <a:pt x="898" y="442"/>
                        <a:pt x="897" y="442"/>
                        <a:pt x="898" y="447"/>
                      </a:cubicBezTo>
                      <a:cubicBezTo>
                        <a:pt x="899" y="451"/>
                        <a:pt x="899" y="453"/>
                        <a:pt x="903" y="451"/>
                      </a:cubicBezTo>
                      <a:cubicBezTo>
                        <a:pt x="907" y="450"/>
                        <a:pt x="911" y="450"/>
                        <a:pt x="913" y="446"/>
                      </a:cubicBezTo>
                      <a:cubicBezTo>
                        <a:pt x="916" y="442"/>
                        <a:pt x="905" y="438"/>
                        <a:pt x="899" y="440"/>
                      </a:cubicBezTo>
                      <a:close/>
                      <a:moveTo>
                        <a:pt x="777" y="548"/>
                      </a:moveTo>
                      <a:cubicBezTo>
                        <a:pt x="774" y="551"/>
                        <a:pt x="777" y="552"/>
                        <a:pt x="780" y="555"/>
                      </a:cubicBezTo>
                      <a:cubicBezTo>
                        <a:pt x="784" y="559"/>
                        <a:pt x="781" y="560"/>
                        <a:pt x="783" y="567"/>
                      </a:cubicBezTo>
                      <a:cubicBezTo>
                        <a:pt x="785" y="574"/>
                        <a:pt x="788" y="569"/>
                        <a:pt x="792" y="567"/>
                      </a:cubicBezTo>
                      <a:cubicBezTo>
                        <a:pt x="795" y="565"/>
                        <a:pt x="794" y="563"/>
                        <a:pt x="799" y="561"/>
                      </a:cubicBezTo>
                      <a:cubicBezTo>
                        <a:pt x="804" y="560"/>
                        <a:pt x="804" y="562"/>
                        <a:pt x="804" y="565"/>
                      </a:cubicBezTo>
                      <a:cubicBezTo>
                        <a:pt x="805" y="569"/>
                        <a:pt x="809" y="570"/>
                        <a:pt x="813" y="570"/>
                      </a:cubicBezTo>
                      <a:cubicBezTo>
                        <a:pt x="816" y="570"/>
                        <a:pt x="816" y="565"/>
                        <a:pt x="820" y="559"/>
                      </a:cubicBezTo>
                      <a:cubicBezTo>
                        <a:pt x="823" y="553"/>
                        <a:pt x="824" y="554"/>
                        <a:pt x="824" y="551"/>
                      </a:cubicBezTo>
                      <a:cubicBezTo>
                        <a:pt x="825" y="549"/>
                        <a:pt x="822" y="548"/>
                        <a:pt x="817" y="545"/>
                      </a:cubicBezTo>
                      <a:cubicBezTo>
                        <a:pt x="812" y="542"/>
                        <a:pt x="814" y="542"/>
                        <a:pt x="811" y="538"/>
                      </a:cubicBezTo>
                      <a:cubicBezTo>
                        <a:pt x="809" y="534"/>
                        <a:pt x="808" y="532"/>
                        <a:pt x="800" y="532"/>
                      </a:cubicBezTo>
                      <a:cubicBezTo>
                        <a:pt x="795" y="532"/>
                        <a:pt x="789" y="532"/>
                        <a:pt x="786" y="535"/>
                      </a:cubicBezTo>
                      <a:cubicBezTo>
                        <a:pt x="783" y="538"/>
                        <a:pt x="786" y="539"/>
                        <a:pt x="785" y="542"/>
                      </a:cubicBezTo>
                      <a:cubicBezTo>
                        <a:pt x="783" y="544"/>
                        <a:pt x="780" y="544"/>
                        <a:pt x="777" y="548"/>
                      </a:cubicBezTo>
                      <a:close/>
                      <a:moveTo>
                        <a:pt x="584" y="307"/>
                      </a:moveTo>
                      <a:cubicBezTo>
                        <a:pt x="586" y="310"/>
                        <a:pt x="588" y="310"/>
                        <a:pt x="590" y="315"/>
                      </a:cubicBezTo>
                      <a:cubicBezTo>
                        <a:pt x="592" y="320"/>
                        <a:pt x="592" y="323"/>
                        <a:pt x="595" y="321"/>
                      </a:cubicBezTo>
                      <a:cubicBezTo>
                        <a:pt x="598" y="320"/>
                        <a:pt x="598" y="314"/>
                        <a:pt x="598" y="309"/>
                      </a:cubicBezTo>
                      <a:cubicBezTo>
                        <a:pt x="598" y="303"/>
                        <a:pt x="592" y="302"/>
                        <a:pt x="588" y="302"/>
                      </a:cubicBezTo>
                      <a:cubicBezTo>
                        <a:pt x="585" y="304"/>
                        <a:pt x="581" y="303"/>
                        <a:pt x="584" y="307"/>
                      </a:cubicBezTo>
                      <a:close/>
                      <a:moveTo>
                        <a:pt x="452" y="290"/>
                      </a:moveTo>
                      <a:cubicBezTo>
                        <a:pt x="452" y="294"/>
                        <a:pt x="454" y="295"/>
                        <a:pt x="454" y="300"/>
                      </a:cubicBezTo>
                      <a:cubicBezTo>
                        <a:pt x="454" y="305"/>
                        <a:pt x="454" y="308"/>
                        <a:pt x="457" y="306"/>
                      </a:cubicBezTo>
                      <a:cubicBezTo>
                        <a:pt x="459" y="304"/>
                        <a:pt x="461" y="304"/>
                        <a:pt x="461" y="300"/>
                      </a:cubicBezTo>
                      <a:cubicBezTo>
                        <a:pt x="461" y="295"/>
                        <a:pt x="459" y="296"/>
                        <a:pt x="459" y="292"/>
                      </a:cubicBezTo>
                      <a:cubicBezTo>
                        <a:pt x="460" y="289"/>
                        <a:pt x="453" y="287"/>
                        <a:pt x="452" y="290"/>
                      </a:cubicBezTo>
                      <a:close/>
                      <a:moveTo>
                        <a:pt x="402" y="247"/>
                      </a:moveTo>
                      <a:cubicBezTo>
                        <a:pt x="400" y="250"/>
                        <a:pt x="399" y="250"/>
                        <a:pt x="400" y="255"/>
                      </a:cubicBezTo>
                      <a:cubicBezTo>
                        <a:pt x="401" y="260"/>
                        <a:pt x="401" y="263"/>
                        <a:pt x="404" y="264"/>
                      </a:cubicBezTo>
                      <a:cubicBezTo>
                        <a:pt x="408" y="265"/>
                        <a:pt x="411" y="266"/>
                        <a:pt x="413" y="262"/>
                      </a:cubicBezTo>
                      <a:cubicBezTo>
                        <a:pt x="416" y="259"/>
                        <a:pt x="420" y="260"/>
                        <a:pt x="420" y="255"/>
                      </a:cubicBezTo>
                      <a:cubicBezTo>
                        <a:pt x="420" y="251"/>
                        <a:pt x="419" y="248"/>
                        <a:pt x="415" y="247"/>
                      </a:cubicBezTo>
                      <a:cubicBezTo>
                        <a:pt x="412" y="246"/>
                        <a:pt x="406" y="245"/>
                        <a:pt x="402" y="247"/>
                      </a:cubicBezTo>
                      <a:close/>
                      <a:moveTo>
                        <a:pt x="469" y="310"/>
                      </a:moveTo>
                      <a:cubicBezTo>
                        <a:pt x="466" y="313"/>
                        <a:pt x="465" y="314"/>
                        <a:pt x="467" y="317"/>
                      </a:cubicBezTo>
                      <a:cubicBezTo>
                        <a:pt x="469" y="320"/>
                        <a:pt x="471" y="321"/>
                        <a:pt x="475" y="321"/>
                      </a:cubicBezTo>
                      <a:cubicBezTo>
                        <a:pt x="479" y="321"/>
                        <a:pt x="484" y="325"/>
                        <a:pt x="487" y="322"/>
                      </a:cubicBezTo>
                      <a:cubicBezTo>
                        <a:pt x="490" y="319"/>
                        <a:pt x="490" y="318"/>
                        <a:pt x="485" y="316"/>
                      </a:cubicBezTo>
                      <a:cubicBezTo>
                        <a:pt x="481" y="313"/>
                        <a:pt x="473" y="307"/>
                        <a:pt x="469" y="310"/>
                      </a:cubicBezTo>
                      <a:close/>
                    </a:path>
                  </a:pathLst>
                </a:custGeom>
                <a:solidFill>
                  <a:srgbClr val="F2F2F2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406" name="Freeform 132"/>
                <p:cNvSpPr/>
                <p:nvPr>
                  <p:custDataLst>
                    <p:tags r:id="rId204"/>
                  </p:custDataLst>
                </p:nvPr>
              </p:nvSpPr>
              <p:spPr bwMode="auto">
                <a:xfrm>
                  <a:off x="2960" y="1869"/>
                  <a:ext cx="7" cy="7"/>
                </a:xfrm>
                <a:custGeom>
                  <a:avLst/>
                  <a:gdLst>
                    <a:gd name="T0" fmla="*/ 10 w 15"/>
                    <a:gd name="T1" fmla="*/ 16 h 16"/>
                    <a:gd name="T2" fmla="*/ 13 w 15"/>
                    <a:gd name="T3" fmla="*/ 4 h 16"/>
                    <a:gd name="T4" fmla="*/ 2 w 15"/>
                    <a:gd name="T5" fmla="*/ 5 h 16"/>
                    <a:gd name="T6" fmla="*/ 10 w 15"/>
                    <a:gd name="T7" fmla="*/ 16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5" h="16">
                      <a:moveTo>
                        <a:pt x="10" y="16"/>
                      </a:moveTo>
                      <a:cubicBezTo>
                        <a:pt x="13" y="16"/>
                        <a:pt x="15" y="7"/>
                        <a:pt x="13" y="4"/>
                      </a:cubicBezTo>
                      <a:cubicBezTo>
                        <a:pt x="10" y="1"/>
                        <a:pt x="0" y="0"/>
                        <a:pt x="2" y="5"/>
                      </a:cubicBezTo>
                      <a:cubicBezTo>
                        <a:pt x="5" y="9"/>
                        <a:pt x="6" y="16"/>
                        <a:pt x="10" y="16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407" name="Freeform 133"/>
                <p:cNvSpPr>
                  <a:spLocks noEditPoints="1"/>
                </p:cNvSpPr>
                <p:nvPr>
                  <p:custDataLst>
                    <p:tags r:id="rId205"/>
                  </p:custDataLst>
                </p:nvPr>
              </p:nvSpPr>
              <p:spPr bwMode="auto">
                <a:xfrm>
                  <a:off x="2927" y="1601"/>
                  <a:ext cx="236" cy="510"/>
                </a:xfrm>
                <a:custGeom>
                  <a:avLst/>
                  <a:gdLst>
                    <a:gd name="T0" fmla="*/ 218 w 553"/>
                    <a:gd name="T1" fmla="*/ 799 h 1194"/>
                    <a:gd name="T2" fmla="*/ 290 w 553"/>
                    <a:gd name="T3" fmla="*/ 721 h 1194"/>
                    <a:gd name="T4" fmla="*/ 334 w 553"/>
                    <a:gd name="T5" fmla="*/ 795 h 1194"/>
                    <a:gd name="T6" fmla="*/ 366 w 553"/>
                    <a:gd name="T7" fmla="*/ 936 h 1194"/>
                    <a:gd name="T8" fmla="*/ 405 w 553"/>
                    <a:gd name="T9" fmla="*/ 1015 h 1194"/>
                    <a:gd name="T10" fmla="*/ 404 w 553"/>
                    <a:gd name="T11" fmla="*/ 1079 h 1194"/>
                    <a:gd name="T12" fmla="*/ 394 w 553"/>
                    <a:gd name="T13" fmla="*/ 1163 h 1194"/>
                    <a:gd name="T14" fmla="*/ 432 w 553"/>
                    <a:gd name="T15" fmla="*/ 1114 h 1194"/>
                    <a:gd name="T16" fmla="*/ 442 w 553"/>
                    <a:gd name="T17" fmla="*/ 1025 h 1194"/>
                    <a:gd name="T18" fmla="*/ 426 w 553"/>
                    <a:gd name="T19" fmla="*/ 949 h 1194"/>
                    <a:gd name="T20" fmla="*/ 385 w 553"/>
                    <a:gd name="T21" fmla="*/ 852 h 1194"/>
                    <a:gd name="T22" fmla="*/ 394 w 553"/>
                    <a:gd name="T23" fmla="*/ 824 h 1194"/>
                    <a:gd name="T24" fmla="*/ 413 w 553"/>
                    <a:gd name="T25" fmla="*/ 791 h 1194"/>
                    <a:gd name="T26" fmla="*/ 378 w 553"/>
                    <a:gd name="T27" fmla="*/ 743 h 1194"/>
                    <a:gd name="T28" fmla="*/ 341 w 553"/>
                    <a:gd name="T29" fmla="*/ 683 h 1194"/>
                    <a:gd name="T30" fmla="*/ 333 w 553"/>
                    <a:gd name="T31" fmla="*/ 643 h 1194"/>
                    <a:gd name="T32" fmla="*/ 349 w 553"/>
                    <a:gd name="T33" fmla="*/ 600 h 1194"/>
                    <a:gd name="T34" fmla="*/ 393 w 553"/>
                    <a:gd name="T35" fmla="*/ 572 h 1194"/>
                    <a:gd name="T36" fmla="*/ 449 w 553"/>
                    <a:gd name="T37" fmla="*/ 540 h 1194"/>
                    <a:gd name="T38" fmla="*/ 482 w 553"/>
                    <a:gd name="T39" fmla="*/ 525 h 1194"/>
                    <a:gd name="T40" fmla="*/ 519 w 553"/>
                    <a:gd name="T41" fmla="*/ 488 h 1194"/>
                    <a:gd name="T42" fmla="*/ 541 w 553"/>
                    <a:gd name="T43" fmla="*/ 446 h 1194"/>
                    <a:gd name="T44" fmla="*/ 488 w 553"/>
                    <a:gd name="T45" fmla="*/ 457 h 1194"/>
                    <a:gd name="T46" fmla="*/ 440 w 553"/>
                    <a:gd name="T47" fmla="*/ 418 h 1194"/>
                    <a:gd name="T48" fmla="*/ 449 w 553"/>
                    <a:gd name="T49" fmla="*/ 364 h 1194"/>
                    <a:gd name="T50" fmla="*/ 410 w 553"/>
                    <a:gd name="T51" fmla="*/ 328 h 1194"/>
                    <a:gd name="T52" fmla="*/ 397 w 553"/>
                    <a:gd name="T53" fmla="*/ 292 h 1194"/>
                    <a:gd name="T54" fmla="*/ 338 w 553"/>
                    <a:gd name="T55" fmla="*/ 304 h 1194"/>
                    <a:gd name="T56" fmla="*/ 330 w 553"/>
                    <a:gd name="T57" fmla="*/ 262 h 1194"/>
                    <a:gd name="T58" fmla="*/ 349 w 553"/>
                    <a:gd name="T59" fmla="*/ 211 h 1194"/>
                    <a:gd name="T60" fmla="*/ 368 w 553"/>
                    <a:gd name="T61" fmla="*/ 188 h 1194"/>
                    <a:gd name="T62" fmla="*/ 397 w 553"/>
                    <a:gd name="T63" fmla="*/ 163 h 1194"/>
                    <a:gd name="T64" fmla="*/ 402 w 553"/>
                    <a:gd name="T65" fmla="*/ 97 h 1194"/>
                    <a:gd name="T66" fmla="*/ 371 w 553"/>
                    <a:gd name="T67" fmla="*/ 49 h 1194"/>
                    <a:gd name="T68" fmla="*/ 337 w 553"/>
                    <a:gd name="T69" fmla="*/ 1 h 1194"/>
                    <a:gd name="T70" fmla="*/ 313 w 553"/>
                    <a:gd name="T71" fmla="*/ 41 h 1194"/>
                    <a:gd name="T72" fmla="*/ 307 w 553"/>
                    <a:gd name="T73" fmla="*/ 76 h 1194"/>
                    <a:gd name="T74" fmla="*/ 259 w 553"/>
                    <a:gd name="T75" fmla="*/ 82 h 1194"/>
                    <a:gd name="T76" fmla="*/ 191 w 553"/>
                    <a:gd name="T77" fmla="*/ 126 h 1194"/>
                    <a:gd name="T78" fmla="*/ 177 w 553"/>
                    <a:gd name="T79" fmla="*/ 181 h 1194"/>
                    <a:gd name="T80" fmla="*/ 157 w 553"/>
                    <a:gd name="T81" fmla="*/ 238 h 1194"/>
                    <a:gd name="T82" fmla="*/ 126 w 553"/>
                    <a:gd name="T83" fmla="*/ 305 h 1194"/>
                    <a:gd name="T84" fmla="*/ 81 w 553"/>
                    <a:gd name="T85" fmla="*/ 296 h 1194"/>
                    <a:gd name="T86" fmla="*/ 79 w 553"/>
                    <a:gd name="T87" fmla="*/ 337 h 1194"/>
                    <a:gd name="T88" fmla="*/ 64 w 553"/>
                    <a:gd name="T89" fmla="*/ 397 h 1194"/>
                    <a:gd name="T90" fmla="*/ 39 w 553"/>
                    <a:gd name="T91" fmla="*/ 421 h 1194"/>
                    <a:gd name="T92" fmla="*/ 31 w 553"/>
                    <a:gd name="T93" fmla="*/ 465 h 1194"/>
                    <a:gd name="T94" fmla="*/ 0 w 553"/>
                    <a:gd name="T95" fmla="*/ 484 h 1194"/>
                    <a:gd name="T96" fmla="*/ 55 w 553"/>
                    <a:gd name="T97" fmla="*/ 532 h 1194"/>
                    <a:gd name="T98" fmla="*/ 94 w 553"/>
                    <a:gd name="T99" fmla="*/ 566 h 1194"/>
                    <a:gd name="T100" fmla="*/ 144 w 553"/>
                    <a:gd name="T101" fmla="*/ 716 h 1194"/>
                    <a:gd name="T102" fmla="*/ 156 w 553"/>
                    <a:gd name="T103" fmla="*/ 796 h 1194"/>
                    <a:gd name="T104" fmla="*/ 386 w 553"/>
                    <a:gd name="T105" fmla="*/ 1080 h 1194"/>
                    <a:gd name="T106" fmla="*/ 380 w 553"/>
                    <a:gd name="T107" fmla="*/ 995 h 1194"/>
                    <a:gd name="T108" fmla="*/ 378 w 553"/>
                    <a:gd name="T109" fmla="*/ 1133 h 1194"/>
                    <a:gd name="T110" fmla="*/ 378 w 553"/>
                    <a:gd name="T111" fmla="*/ 1042 h 1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553" h="1194">
                      <a:moveTo>
                        <a:pt x="180" y="811"/>
                      </a:moveTo>
                      <a:cubicBezTo>
                        <a:pt x="180" y="817"/>
                        <a:pt x="182" y="820"/>
                        <a:pt x="187" y="817"/>
                      </a:cubicBezTo>
                      <a:cubicBezTo>
                        <a:pt x="193" y="813"/>
                        <a:pt x="189" y="805"/>
                        <a:pt x="193" y="806"/>
                      </a:cubicBezTo>
                      <a:cubicBezTo>
                        <a:pt x="198" y="806"/>
                        <a:pt x="193" y="811"/>
                        <a:pt x="194" y="819"/>
                      </a:cubicBezTo>
                      <a:cubicBezTo>
                        <a:pt x="194" y="828"/>
                        <a:pt x="196" y="827"/>
                        <a:pt x="204" y="824"/>
                      </a:cubicBezTo>
                      <a:cubicBezTo>
                        <a:pt x="213" y="821"/>
                        <a:pt x="213" y="814"/>
                        <a:pt x="218" y="799"/>
                      </a:cubicBezTo>
                      <a:cubicBezTo>
                        <a:pt x="222" y="785"/>
                        <a:pt x="221" y="796"/>
                        <a:pt x="231" y="793"/>
                      </a:cubicBezTo>
                      <a:cubicBezTo>
                        <a:pt x="240" y="790"/>
                        <a:pt x="234" y="788"/>
                        <a:pt x="245" y="787"/>
                      </a:cubicBezTo>
                      <a:cubicBezTo>
                        <a:pt x="256" y="786"/>
                        <a:pt x="253" y="783"/>
                        <a:pt x="264" y="775"/>
                      </a:cubicBezTo>
                      <a:cubicBezTo>
                        <a:pt x="275" y="768"/>
                        <a:pt x="275" y="772"/>
                        <a:pt x="286" y="767"/>
                      </a:cubicBezTo>
                      <a:cubicBezTo>
                        <a:pt x="296" y="762"/>
                        <a:pt x="288" y="757"/>
                        <a:pt x="288" y="746"/>
                      </a:cubicBezTo>
                      <a:cubicBezTo>
                        <a:pt x="288" y="734"/>
                        <a:pt x="289" y="731"/>
                        <a:pt x="290" y="721"/>
                      </a:cubicBezTo>
                      <a:cubicBezTo>
                        <a:pt x="290" y="711"/>
                        <a:pt x="292" y="721"/>
                        <a:pt x="303" y="728"/>
                      </a:cubicBezTo>
                      <a:cubicBezTo>
                        <a:pt x="314" y="734"/>
                        <a:pt x="312" y="734"/>
                        <a:pt x="314" y="743"/>
                      </a:cubicBezTo>
                      <a:cubicBezTo>
                        <a:pt x="316" y="752"/>
                        <a:pt x="315" y="750"/>
                        <a:pt x="315" y="760"/>
                      </a:cubicBezTo>
                      <a:cubicBezTo>
                        <a:pt x="315" y="771"/>
                        <a:pt x="321" y="775"/>
                        <a:pt x="326" y="775"/>
                      </a:cubicBezTo>
                      <a:cubicBezTo>
                        <a:pt x="331" y="776"/>
                        <a:pt x="343" y="775"/>
                        <a:pt x="341" y="779"/>
                      </a:cubicBezTo>
                      <a:cubicBezTo>
                        <a:pt x="340" y="783"/>
                        <a:pt x="335" y="787"/>
                        <a:pt x="334" y="795"/>
                      </a:cubicBezTo>
                      <a:cubicBezTo>
                        <a:pt x="334" y="802"/>
                        <a:pt x="334" y="807"/>
                        <a:pt x="338" y="817"/>
                      </a:cubicBezTo>
                      <a:cubicBezTo>
                        <a:pt x="342" y="828"/>
                        <a:pt x="345" y="831"/>
                        <a:pt x="345" y="844"/>
                      </a:cubicBezTo>
                      <a:cubicBezTo>
                        <a:pt x="345" y="857"/>
                        <a:pt x="344" y="865"/>
                        <a:pt x="346" y="877"/>
                      </a:cubicBezTo>
                      <a:cubicBezTo>
                        <a:pt x="349" y="889"/>
                        <a:pt x="358" y="891"/>
                        <a:pt x="361" y="898"/>
                      </a:cubicBezTo>
                      <a:cubicBezTo>
                        <a:pt x="364" y="904"/>
                        <a:pt x="361" y="910"/>
                        <a:pt x="363" y="918"/>
                      </a:cubicBezTo>
                      <a:cubicBezTo>
                        <a:pt x="364" y="926"/>
                        <a:pt x="365" y="927"/>
                        <a:pt x="366" y="936"/>
                      </a:cubicBezTo>
                      <a:cubicBezTo>
                        <a:pt x="366" y="945"/>
                        <a:pt x="368" y="947"/>
                        <a:pt x="371" y="947"/>
                      </a:cubicBezTo>
                      <a:cubicBezTo>
                        <a:pt x="374" y="947"/>
                        <a:pt x="374" y="944"/>
                        <a:pt x="377" y="944"/>
                      </a:cubicBezTo>
                      <a:cubicBezTo>
                        <a:pt x="380" y="944"/>
                        <a:pt x="378" y="945"/>
                        <a:pt x="381" y="951"/>
                      </a:cubicBezTo>
                      <a:cubicBezTo>
                        <a:pt x="385" y="958"/>
                        <a:pt x="385" y="967"/>
                        <a:pt x="391" y="978"/>
                      </a:cubicBezTo>
                      <a:cubicBezTo>
                        <a:pt x="396" y="989"/>
                        <a:pt x="399" y="995"/>
                        <a:pt x="401" y="1000"/>
                      </a:cubicBezTo>
                      <a:cubicBezTo>
                        <a:pt x="403" y="1005"/>
                        <a:pt x="405" y="1009"/>
                        <a:pt x="405" y="1015"/>
                      </a:cubicBezTo>
                      <a:cubicBezTo>
                        <a:pt x="405" y="1020"/>
                        <a:pt x="398" y="1031"/>
                        <a:pt x="396" y="1034"/>
                      </a:cubicBezTo>
                      <a:cubicBezTo>
                        <a:pt x="394" y="1038"/>
                        <a:pt x="396" y="1042"/>
                        <a:pt x="400" y="1045"/>
                      </a:cubicBezTo>
                      <a:cubicBezTo>
                        <a:pt x="403" y="1047"/>
                        <a:pt x="405" y="1047"/>
                        <a:pt x="407" y="1050"/>
                      </a:cubicBezTo>
                      <a:cubicBezTo>
                        <a:pt x="409" y="1053"/>
                        <a:pt x="407" y="1053"/>
                        <a:pt x="404" y="1060"/>
                      </a:cubicBezTo>
                      <a:cubicBezTo>
                        <a:pt x="401" y="1066"/>
                        <a:pt x="401" y="1067"/>
                        <a:pt x="399" y="1072"/>
                      </a:cubicBezTo>
                      <a:cubicBezTo>
                        <a:pt x="398" y="1077"/>
                        <a:pt x="400" y="1079"/>
                        <a:pt x="404" y="1079"/>
                      </a:cubicBezTo>
                      <a:cubicBezTo>
                        <a:pt x="408" y="1078"/>
                        <a:pt x="411" y="1075"/>
                        <a:pt x="412" y="1078"/>
                      </a:cubicBezTo>
                      <a:cubicBezTo>
                        <a:pt x="413" y="1081"/>
                        <a:pt x="412" y="1086"/>
                        <a:pt x="410" y="1093"/>
                      </a:cubicBezTo>
                      <a:cubicBezTo>
                        <a:pt x="408" y="1099"/>
                        <a:pt x="408" y="1103"/>
                        <a:pt x="407" y="1116"/>
                      </a:cubicBezTo>
                      <a:cubicBezTo>
                        <a:pt x="407" y="1129"/>
                        <a:pt x="407" y="1125"/>
                        <a:pt x="402" y="1130"/>
                      </a:cubicBezTo>
                      <a:cubicBezTo>
                        <a:pt x="397" y="1136"/>
                        <a:pt x="395" y="1134"/>
                        <a:pt x="395" y="1142"/>
                      </a:cubicBezTo>
                      <a:cubicBezTo>
                        <a:pt x="394" y="1150"/>
                        <a:pt x="394" y="1156"/>
                        <a:pt x="394" y="1163"/>
                      </a:cubicBezTo>
                      <a:cubicBezTo>
                        <a:pt x="394" y="1166"/>
                        <a:pt x="395" y="1171"/>
                        <a:pt x="396" y="1176"/>
                      </a:cubicBezTo>
                      <a:cubicBezTo>
                        <a:pt x="400" y="1172"/>
                        <a:pt x="403" y="1167"/>
                        <a:pt x="404" y="1164"/>
                      </a:cubicBezTo>
                      <a:cubicBezTo>
                        <a:pt x="405" y="1161"/>
                        <a:pt x="405" y="1159"/>
                        <a:pt x="405" y="1156"/>
                      </a:cubicBezTo>
                      <a:cubicBezTo>
                        <a:pt x="406" y="1151"/>
                        <a:pt x="406" y="1146"/>
                        <a:pt x="411" y="1139"/>
                      </a:cubicBezTo>
                      <a:cubicBezTo>
                        <a:pt x="415" y="1134"/>
                        <a:pt x="419" y="1129"/>
                        <a:pt x="423" y="1125"/>
                      </a:cubicBezTo>
                      <a:cubicBezTo>
                        <a:pt x="426" y="1122"/>
                        <a:pt x="429" y="1118"/>
                        <a:pt x="432" y="1114"/>
                      </a:cubicBezTo>
                      <a:cubicBezTo>
                        <a:pt x="433" y="1113"/>
                        <a:pt x="434" y="1111"/>
                        <a:pt x="436" y="1109"/>
                      </a:cubicBezTo>
                      <a:cubicBezTo>
                        <a:pt x="443" y="1100"/>
                        <a:pt x="454" y="1086"/>
                        <a:pt x="456" y="1079"/>
                      </a:cubicBezTo>
                      <a:cubicBezTo>
                        <a:pt x="456" y="1074"/>
                        <a:pt x="456" y="1069"/>
                        <a:pt x="456" y="1064"/>
                      </a:cubicBezTo>
                      <a:cubicBezTo>
                        <a:pt x="455" y="1059"/>
                        <a:pt x="453" y="1053"/>
                        <a:pt x="451" y="1048"/>
                      </a:cubicBezTo>
                      <a:cubicBezTo>
                        <a:pt x="450" y="1044"/>
                        <a:pt x="449" y="1041"/>
                        <a:pt x="449" y="1038"/>
                      </a:cubicBezTo>
                      <a:cubicBezTo>
                        <a:pt x="448" y="1034"/>
                        <a:pt x="447" y="1032"/>
                        <a:pt x="442" y="1025"/>
                      </a:cubicBezTo>
                      <a:cubicBezTo>
                        <a:pt x="440" y="1021"/>
                        <a:pt x="438" y="1019"/>
                        <a:pt x="436" y="1017"/>
                      </a:cubicBezTo>
                      <a:cubicBezTo>
                        <a:pt x="431" y="1011"/>
                        <a:pt x="428" y="1007"/>
                        <a:pt x="428" y="996"/>
                      </a:cubicBezTo>
                      <a:cubicBezTo>
                        <a:pt x="428" y="989"/>
                        <a:pt x="429" y="986"/>
                        <a:pt x="430" y="982"/>
                      </a:cubicBezTo>
                      <a:cubicBezTo>
                        <a:pt x="431" y="979"/>
                        <a:pt x="432" y="976"/>
                        <a:pt x="431" y="970"/>
                      </a:cubicBezTo>
                      <a:cubicBezTo>
                        <a:pt x="431" y="966"/>
                        <a:pt x="431" y="963"/>
                        <a:pt x="431" y="961"/>
                      </a:cubicBezTo>
                      <a:cubicBezTo>
                        <a:pt x="431" y="957"/>
                        <a:pt x="431" y="955"/>
                        <a:pt x="426" y="949"/>
                      </a:cubicBezTo>
                      <a:cubicBezTo>
                        <a:pt x="424" y="947"/>
                        <a:pt x="420" y="943"/>
                        <a:pt x="416" y="938"/>
                      </a:cubicBezTo>
                      <a:cubicBezTo>
                        <a:pt x="402" y="923"/>
                        <a:pt x="383" y="900"/>
                        <a:pt x="380" y="894"/>
                      </a:cubicBezTo>
                      <a:cubicBezTo>
                        <a:pt x="380" y="894"/>
                        <a:pt x="380" y="894"/>
                        <a:pt x="380" y="894"/>
                      </a:cubicBezTo>
                      <a:cubicBezTo>
                        <a:pt x="379" y="893"/>
                        <a:pt x="379" y="893"/>
                        <a:pt x="379" y="893"/>
                      </a:cubicBezTo>
                      <a:cubicBezTo>
                        <a:pt x="375" y="885"/>
                        <a:pt x="370" y="874"/>
                        <a:pt x="371" y="866"/>
                      </a:cubicBezTo>
                      <a:cubicBezTo>
                        <a:pt x="372" y="857"/>
                        <a:pt x="376" y="855"/>
                        <a:pt x="385" y="852"/>
                      </a:cubicBezTo>
                      <a:cubicBezTo>
                        <a:pt x="385" y="852"/>
                        <a:pt x="385" y="852"/>
                        <a:pt x="385" y="852"/>
                      </a:cubicBezTo>
                      <a:cubicBezTo>
                        <a:pt x="387" y="852"/>
                        <a:pt x="387" y="852"/>
                        <a:pt x="387" y="852"/>
                      </a:cubicBezTo>
                      <a:cubicBezTo>
                        <a:pt x="387" y="852"/>
                        <a:pt x="387" y="852"/>
                        <a:pt x="387" y="852"/>
                      </a:cubicBezTo>
                      <a:cubicBezTo>
                        <a:pt x="392" y="850"/>
                        <a:pt x="392" y="848"/>
                        <a:pt x="393" y="844"/>
                      </a:cubicBezTo>
                      <a:cubicBezTo>
                        <a:pt x="393" y="843"/>
                        <a:pt x="393" y="841"/>
                        <a:pt x="394" y="839"/>
                      </a:cubicBezTo>
                      <a:cubicBezTo>
                        <a:pt x="395" y="835"/>
                        <a:pt x="394" y="829"/>
                        <a:pt x="394" y="824"/>
                      </a:cubicBezTo>
                      <a:cubicBezTo>
                        <a:pt x="394" y="819"/>
                        <a:pt x="393" y="815"/>
                        <a:pt x="394" y="812"/>
                      </a:cubicBezTo>
                      <a:cubicBezTo>
                        <a:pt x="396" y="805"/>
                        <a:pt x="400" y="803"/>
                        <a:pt x="405" y="801"/>
                      </a:cubicBezTo>
                      <a:cubicBezTo>
                        <a:pt x="405" y="801"/>
                        <a:pt x="405" y="801"/>
                        <a:pt x="406" y="800"/>
                      </a:cubicBezTo>
                      <a:cubicBezTo>
                        <a:pt x="408" y="799"/>
                        <a:pt x="410" y="798"/>
                        <a:pt x="411" y="797"/>
                      </a:cubicBezTo>
                      <a:cubicBezTo>
                        <a:pt x="412" y="796"/>
                        <a:pt x="412" y="795"/>
                        <a:pt x="413" y="794"/>
                      </a:cubicBezTo>
                      <a:cubicBezTo>
                        <a:pt x="413" y="793"/>
                        <a:pt x="413" y="792"/>
                        <a:pt x="413" y="791"/>
                      </a:cubicBezTo>
                      <a:cubicBezTo>
                        <a:pt x="413" y="789"/>
                        <a:pt x="413" y="788"/>
                        <a:pt x="412" y="787"/>
                      </a:cubicBezTo>
                      <a:cubicBezTo>
                        <a:pt x="411" y="787"/>
                        <a:pt x="410" y="787"/>
                        <a:pt x="409" y="787"/>
                      </a:cubicBezTo>
                      <a:cubicBezTo>
                        <a:pt x="406" y="786"/>
                        <a:pt x="402" y="786"/>
                        <a:pt x="400" y="781"/>
                      </a:cubicBezTo>
                      <a:cubicBezTo>
                        <a:pt x="398" y="778"/>
                        <a:pt x="397" y="773"/>
                        <a:pt x="396" y="768"/>
                      </a:cubicBezTo>
                      <a:cubicBezTo>
                        <a:pt x="396" y="764"/>
                        <a:pt x="395" y="759"/>
                        <a:pt x="394" y="758"/>
                      </a:cubicBezTo>
                      <a:cubicBezTo>
                        <a:pt x="391" y="755"/>
                        <a:pt x="382" y="747"/>
                        <a:pt x="378" y="743"/>
                      </a:cubicBezTo>
                      <a:cubicBezTo>
                        <a:pt x="376" y="742"/>
                        <a:pt x="376" y="742"/>
                        <a:pt x="376" y="742"/>
                      </a:cubicBezTo>
                      <a:cubicBezTo>
                        <a:pt x="376" y="742"/>
                        <a:pt x="376" y="742"/>
                        <a:pt x="376" y="742"/>
                      </a:cubicBezTo>
                      <a:cubicBezTo>
                        <a:pt x="374" y="740"/>
                        <a:pt x="366" y="729"/>
                        <a:pt x="359" y="719"/>
                      </a:cubicBezTo>
                      <a:cubicBezTo>
                        <a:pt x="353" y="711"/>
                        <a:pt x="347" y="703"/>
                        <a:pt x="346" y="702"/>
                      </a:cubicBezTo>
                      <a:cubicBezTo>
                        <a:pt x="344" y="700"/>
                        <a:pt x="343" y="697"/>
                        <a:pt x="342" y="693"/>
                      </a:cubicBezTo>
                      <a:cubicBezTo>
                        <a:pt x="342" y="690"/>
                        <a:pt x="341" y="686"/>
                        <a:pt x="341" y="683"/>
                      </a:cubicBezTo>
                      <a:cubicBezTo>
                        <a:pt x="341" y="682"/>
                        <a:pt x="341" y="682"/>
                        <a:pt x="341" y="682"/>
                      </a:cubicBezTo>
                      <a:cubicBezTo>
                        <a:pt x="341" y="682"/>
                        <a:pt x="341" y="682"/>
                        <a:pt x="341" y="682"/>
                      </a:cubicBezTo>
                      <a:cubicBezTo>
                        <a:pt x="340" y="677"/>
                        <a:pt x="340" y="676"/>
                        <a:pt x="331" y="668"/>
                      </a:cubicBezTo>
                      <a:cubicBezTo>
                        <a:pt x="325" y="663"/>
                        <a:pt x="322" y="659"/>
                        <a:pt x="321" y="656"/>
                      </a:cubicBezTo>
                      <a:cubicBezTo>
                        <a:pt x="319" y="652"/>
                        <a:pt x="320" y="649"/>
                        <a:pt x="323" y="646"/>
                      </a:cubicBezTo>
                      <a:cubicBezTo>
                        <a:pt x="326" y="643"/>
                        <a:pt x="329" y="643"/>
                        <a:pt x="333" y="643"/>
                      </a:cubicBezTo>
                      <a:cubicBezTo>
                        <a:pt x="335" y="643"/>
                        <a:pt x="338" y="642"/>
                        <a:pt x="342" y="641"/>
                      </a:cubicBezTo>
                      <a:cubicBezTo>
                        <a:pt x="344" y="640"/>
                        <a:pt x="344" y="637"/>
                        <a:pt x="343" y="633"/>
                      </a:cubicBezTo>
                      <a:cubicBezTo>
                        <a:pt x="343" y="630"/>
                        <a:pt x="343" y="627"/>
                        <a:pt x="343" y="623"/>
                      </a:cubicBezTo>
                      <a:cubicBezTo>
                        <a:pt x="344" y="618"/>
                        <a:pt x="344" y="614"/>
                        <a:pt x="345" y="611"/>
                      </a:cubicBezTo>
                      <a:cubicBezTo>
                        <a:pt x="346" y="607"/>
                        <a:pt x="347" y="604"/>
                        <a:pt x="349" y="600"/>
                      </a:cubicBezTo>
                      <a:cubicBezTo>
                        <a:pt x="349" y="600"/>
                        <a:pt x="349" y="600"/>
                        <a:pt x="349" y="600"/>
                      </a:cubicBezTo>
                      <a:cubicBezTo>
                        <a:pt x="350" y="597"/>
                        <a:pt x="350" y="594"/>
                        <a:pt x="350" y="591"/>
                      </a:cubicBezTo>
                      <a:cubicBezTo>
                        <a:pt x="350" y="587"/>
                        <a:pt x="350" y="582"/>
                        <a:pt x="353" y="577"/>
                      </a:cubicBezTo>
                      <a:cubicBezTo>
                        <a:pt x="356" y="573"/>
                        <a:pt x="358" y="570"/>
                        <a:pt x="360" y="568"/>
                      </a:cubicBezTo>
                      <a:cubicBezTo>
                        <a:pt x="362" y="565"/>
                        <a:pt x="365" y="563"/>
                        <a:pt x="368" y="563"/>
                      </a:cubicBezTo>
                      <a:cubicBezTo>
                        <a:pt x="372" y="562"/>
                        <a:pt x="374" y="564"/>
                        <a:pt x="377" y="566"/>
                      </a:cubicBezTo>
                      <a:cubicBezTo>
                        <a:pt x="380" y="568"/>
                        <a:pt x="384" y="571"/>
                        <a:pt x="393" y="572"/>
                      </a:cubicBezTo>
                      <a:cubicBezTo>
                        <a:pt x="401" y="572"/>
                        <a:pt x="406" y="571"/>
                        <a:pt x="410" y="570"/>
                      </a:cubicBezTo>
                      <a:cubicBezTo>
                        <a:pt x="413" y="569"/>
                        <a:pt x="416" y="567"/>
                        <a:pt x="418" y="565"/>
                      </a:cubicBezTo>
                      <a:cubicBezTo>
                        <a:pt x="420" y="563"/>
                        <a:pt x="421" y="559"/>
                        <a:pt x="422" y="555"/>
                      </a:cubicBezTo>
                      <a:cubicBezTo>
                        <a:pt x="424" y="550"/>
                        <a:pt x="426" y="544"/>
                        <a:pt x="431" y="542"/>
                      </a:cubicBezTo>
                      <a:cubicBezTo>
                        <a:pt x="435" y="540"/>
                        <a:pt x="438" y="541"/>
                        <a:pt x="441" y="541"/>
                      </a:cubicBezTo>
                      <a:cubicBezTo>
                        <a:pt x="444" y="541"/>
                        <a:pt x="447" y="542"/>
                        <a:pt x="449" y="540"/>
                      </a:cubicBezTo>
                      <a:cubicBezTo>
                        <a:pt x="451" y="538"/>
                        <a:pt x="451" y="537"/>
                        <a:pt x="451" y="536"/>
                      </a:cubicBezTo>
                      <a:cubicBezTo>
                        <a:pt x="452" y="533"/>
                        <a:pt x="453" y="530"/>
                        <a:pt x="460" y="528"/>
                      </a:cubicBezTo>
                      <a:cubicBezTo>
                        <a:pt x="460" y="528"/>
                        <a:pt x="460" y="528"/>
                        <a:pt x="460" y="528"/>
                      </a:cubicBezTo>
                      <a:cubicBezTo>
                        <a:pt x="462" y="527"/>
                        <a:pt x="462" y="527"/>
                        <a:pt x="462" y="527"/>
                      </a:cubicBezTo>
                      <a:cubicBezTo>
                        <a:pt x="470" y="525"/>
                        <a:pt x="475" y="523"/>
                        <a:pt x="477" y="523"/>
                      </a:cubicBezTo>
                      <a:cubicBezTo>
                        <a:pt x="479" y="523"/>
                        <a:pt x="481" y="524"/>
                        <a:pt x="482" y="525"/>
                      </a:cubicBezTo>
                      <a:cubicBezTo>
                        <a:pt x="483" y="526"/>
                        <a:pt x="485" y="526"/>
                        <a:pt x="487" y="525"/>
                      </a:cubicBezTo>
                      <a:cubicBezTo>
                        <a:pt x="489" y="524"/>
                        <a:pt x="490" y="522"/>
                        <a:pt x="491" y="519"/>
                      </a:cubicBezTo>
                      <a:cubicBezTo>
                        <a:pt x="493" y="516"/>
                        <a:pt x="494" y="513"/>
                        <a:pt x="496" y="510"/>
                      </a:cubicBezTo>
                      <a:cubicBezTo>
                        <a:pt x="496" y="510"/>
                        <a:pt x="496" y="510"/>
                        <a:pt x="496" y="510"/>
                      </a:cubicBezTo>
                      <a:cubicBezTo>
                        <a:pt x="501" y="504"/>
                        <a:pt x="503" y="502"/>
                        <a:pt x="513" y="498"/>
                      </a:cubicBezTo>
                      <a:cubicBezTo>
                        <a:pt x="518" y="496"/>
                        <a:pt x="518" y="492"/>
                        <a:pt x="519" y="488"/>
                      </a:cubicBezTo>
                      <a:cubicBezTo>
                        <a:pt x="519" y="486"/>
                        <a:pt x="519" y="484"/>
                        <a:pt x="520" y="482"/>
                      </a:cubicBezTo>
                      <a:cubicBezTo>
                        <a:pt x="520" y="481"/>
                        <a:pt x="520" y="480"/>
                        <a:pt x="520" y="479"/>
                      </a:cubicBezTo>
                      <a:cubicBezTo>
                        <a:pt x="520" y="473"/>
                        <a:pt x="521" y="470"/>
                        <a:pt x="531" y="463"/>
                      </a:cubicBezTo>
                      <a:cubicBezTo>
                        <a:pt x="539" y="457"/>
                        <a:pt x="548" y="454"/>
                        <a:pt x="553" y="452"/>
                      </a:cubicBezTo>
                      <a:cubicBezTo>
                        <a:pt x="552" y="449"/>
                        <a:pt x="550" y="447"/>
                        <a:pt x="548" y="446"/>
                      </a:cubicBezTo>
                      <a:cubicBezTo>
                        <a:pt x="547" y="446"/>
                        <a:pt x="544" y="446"/>
                        <a:pt x="541" y="446"/>
                      </a:cubicBezTo>
                      <a:cubicBezTo>
                        <a:pt x="538" y="447"/>
                        <a:pt x="535" y="448"/>
                        <a:pt x="531" y="449"/>
                      </a:cubicBezTo>
                      <a:cubicBezTo>
                        <a:pt x="527" y="451"/>
                        <a:pt x="523" y="453"/>
                        <a:pt x="518" y="455"/>
                      </a:cubicBezTo>
                      <a:cubicBezTo>
                        <a:pt x="514" y="457"/>
                        <a:pt x="512" y="458"/>
                        <a:pt x="510" y="460"/>
                      </a:cubicBezTo>
                      <a:cubicBezTo>
                        <a:pt x="506" y="462"/>
                        <a:pt x="503" y="464"/>
                        <a:pt x="499" y="464"/>
                      </a:cubicBezTo>
                      <a:cubicBezTo>
                        <a:pt x="495" y="464"/>
                        <a:pt x="491" y="461"/>
                        <a:pt x="488" y="457"/>
                      </a:cubicBezTo>
                      <a:cubicBezTo>
                        <a:pt x="488" y="457"/>
                        <a:pt x="488" y="457"/>
                        <a:pt x="488" y="457"/>
                      </a:cubicBezTo>
                      <a:cubicBezTo>
                        <a:pt x="485" y="452"/>
                        <a:pt x="482" y="445"/>
                        <a:pt x="481" y="441"/>
                      </a:cubicBezTo>
                      <a:cubicBezTo>
                        <a:pt x="479" y="438"/>
                        <a:pt x="480" y="435"/>
                        <a:pt x="480" y="432"/>
                      </a:cubicBezTo>
                      <a:cubicBezTo>
                        <a:pt x="480" y="428"/>
                        <a:pt x="480" y="424"/>
                        <a:pt x="476" y="422"/>
                      </a:cubicBezTo>
                      <a:cubicBezTo>
                        <a:pt x="469" y="420"/>
                        <a:pt x="466" y="420"/>
                        <a:pt x="462" y="420"/>
                      </a:cubicBezTo>
                      <a:cubicBezTo>
                        <a:pt x="460" y="420"/>
                        <a:pt x="457" y="420"/>
                        <a:pt x="453" y="420"/>
                      </a:cubicBezTo>
                      <a:cubicBezTo>
                        <a:pt x="447" y="420"/>
                        <a:pt x="443" y="419"/>
                        <a:pt x="440" y="418"/>
                      </a:cubicBezTo>
                      <a:cubicBezTo>
                        <a:pt x="436" y="417"/>
                        <a:pt x="433" y="414"/>
                        <a:pt x="433" y="410"/>
                      </a:cubicBezTo>
                      <a:cubicBezTo>
                        <a:pt x="433" y="410"/>
                        <a:pt x="433" y="410"/>
                        <a:pt x="433" y="410"/>
                      </a:cubicBezTo>
                      <a:cubicBezTo>
                        <a:pt x="432" y="405"/>
                        <a:pt x="434" y="397"/>
                        <a:pt x="436" y="389"/>
                      </a:cubicBezTo>
                      <a:cubicBezTo>
                        <a:pt x="436" y="388"/>
                        <a:pt x="437" y="388"/>
                        <a:pt x="437" y="385"/>
                      </a:cubicBezTo>
                      <a:cubicBezTo>
                        <a:pt x="439" y="379"/>
                        <a:pt x="443" y="374"/>
                        <a:pt x="445" y="370"/>
                      </a:cubicBezTo>
                      <a:cubicBezTo>
                        <a:pt x="447" y="368"/>
                        <a:pt x="448" y="366"/>
                        <a:pt x="449" y="364"/>
                      </a:cubicBezTo>
                      <a:cubicBezTo>
                        <a:pt x="449" y="363"/>
                        <a:pt x="449" y="362"/>
                        <a:pt x="449" y="361"/>
                      </a:cubicBezTo>
                      <a:cubicBezTo>
                        <a:pt x="448" y="360"/>
                        <a:pt x="447" y="359"/>
                        <a:pt x="446" y="358"/>
                      </a:cubicBezTo>
                      <a:cubicBezTo>
                        <a:pt x="444" y="356"/>
                        <a:pt x="441" y="356"/>
                        <a:pt x="438" y="355"/>
                      </a:cubicBezTo>
                      <a:cubicBezTo>
                        <a:pt x="434" y="354"/>
                        <a:pt x="430" y="353"/>
                        <a:pt x="426" y="350"/>
                      </a:cubicBezTo>
                      <a:cubicBezTo>
                        <a:pt x="417" y="347"/>
                        <a:pt x="415" y="341"/>
                        <a:pt x="413" y="334"/>
                      </a:cubicBezTo>
                      <a:cubicBezTo>
                        <a:pt x="412" y="332"/>
                        <a:pt x="411" y="330"/>
                        <a:pt x="410" y="328"/>
                      </a:cubicBezTo>
                      <a:cubicBezTo>
                        <a:pt x="408" y="323"/>
                        <a:pt x="406" y="319"/>
                        <a:pt x="405" y="315"/>
                      </a:cubicBezTo>
                      <a:cubicBezTo>
                        <a:pt x="404" y="311"/>
                        <a:pt x="404" y="308"/>
                        <a:pt x="404" y="304"/>
                      </a:cubicBezTo>
                      <a:cubicBezTo>
                        <a:pt x="404" y="300"/>
                        <a:pt x="406" y="297"/>
                        <a:pt x="408" y="293"/>
                      </a:cubicBezTo>
                      <a:cubicBezTo>
                        <a:pt x="409" y="290"/>
                        <a:pt x="411" y="287"/>
                        <a:pt x="411" y="287"/>
                      </a:cubicBezTo>
                      <a:cubicBezTo>
                        <a:pt x="409" y="286"/>
                        <a:pt x="407" y="287"/>
                        <a:pt x="404" y="289"/>
                      </a:cubicBezTo>
                      <a:cubicBezTo>
                        <a:pt x="402" y="290"/>
                        <a:pt x="400" y="291"/>
                        <a:pt x="397" y="292"/>
                      </a:cubicBezTo>
                      <a:cubicBezTo>
                        <a:pt x="391" y="294"/>
                        <a:pt x="387" y="293"/>
                        <a:pt x="383" y="292"/>
                      </a:cubicBezTo>
                      <a:cubicBezTo>
                        <a:pt x="381" y="291"/>
                        <a:pt x="378" y="290"/>
                        <a:pt x="375" y="291"/>
                      </a:cubicBezTo>
                      <a:cubicBezTo>
                        <a:pt x="371" y="291"/>
                        <a:pt x="369" y="292"/>
                        <a:pt x="367" y="294"/>
                      </a:cubicBezTo>
                      <a:cubicBezTo>
                        <a:pt x="366" y="295"/>
                        <a:pt x="364" y="296"/>
                        <a:pt x="362" y="297"/>
                      </a:cubicBezTo>
                      <a:cubicBezTo>
                        <a:pt x="361" y="298"/>
                        <a:pt x="360" y="298"/>
                        <a:pt x="359" y="299"/>
                      </a:cubicBezTo>
                      <a:cubicBezTo>
                        <a:pt x="353" y="303"/>
                        <a:pt x="345" y="307"/>
                        <a:pt x="338" y="304"/>
                      </a:cubicBezTo>
                      <a:cubicBezTo>
                        <a:pt x="334" y="302"/>
                        <a:pt x="332" y="299"/>
                        <a:pt x="331" y="296"/>
                      </a:cubicBezTo>
                      <a:cubicBezTo>
                        <a:pt x="330" y="293"/>
                        <a:pt x="331" y="290"/>
                        <a:pt x="332" y="286"/>
                      </a:cubicBezTo>
                      <a:cubicBezTo>
                        <a:pt x="333" y="284"/>
                        <a:pt x="335" y="282"/>
                        <a:pt x="337" y="281"/>
                      </a:cubicBezTo>
                      <a:cubicBezTo>
                        <a:pt x="338" y="279"/>
                        <a:pt x="340" y="277"/>
                        <a:pt x="339" y="275"/>
                      </a:cubicBezTo>
                      <a:cubicBezTo>
                        <a:pt x="338" y="272"/>
                        <a:pt x="337" y="271"/>
                        <a:pt x="336" y="270"/>
                      </a:cubicBezTo>
                      <a:cubicBezTo>
                        <a:pt x="333" y="268"/>
                        <a:pt x="331" y="266"/>
                        <a:pt x="330" y="262"/>
                      </a:cubicBezTo>
                      <a:cubicBezTo>
                        <a:pt x="328" y="255"/>
                        <a:pt x="330" y="251"/>
                        <a:pt x="332" y="246"/>
                      </a:cubicBezTo>
                      <a:cubicBezTo>
                        <a:pt x="333" y="245"/>
                        <a:pt x="333" y="244"/>
                        <a:pt x="334" y="244"/>
                      </a:cubicBezTo>
                      <a:cubicBezTo>
                        <a:pt x="335" y="240"/>
                        <a:pt x="338" y="238"/>
                        <a:pt x="341" y="236"/>
                      </a:cubicBezTo>
                      <a:cubicBezTo>
                        <a:pt x="343" y="235"/>
                        <a:pt x="344" y="234"/>
                        <a:pt x="345" y="233"/>
                      </a:cubicBezTo>
                      <a:cubicBezTo>
                        <a:pt x="345" y="230"/>
                        <a:pt x="346" y="227"/>
                        <a:pt x="346" y="223"/>
                      </a:cubicBezTo>
                      <a:cubicBezTo>
                        <a:pt x="346" y="218"/>
                        <a:pt x="347" y="213"/>
                        <a:pt x="349" y="211"/>
                      </a:cubicBezTo>
                      <a:cubicBezTo>
                        <a:pt x="349" y="211"/>
                        <a:pt x="349" y="211"/>
                        <a:pt x="349" y="211"/>
                      </a:cubicBezTo>
                      <a:cubicBezTo>
                        <a:pt x="350" y="209"/>
                        <a:pt x="353" y="207"/>
                        <a:pt x="356" y="206"/>
                      </a:cubicBezTo>
                      <a:cubicBezTo>
                        <a:pt x="356" y="206"/>
                        <a:pt x="356" y="206"/>
                        <a:pt x="356" y="206"/>
                      </a:cubicBezTo>
                      <a:cubicBezTo>
                        <a:pt x="358" y="204"/>
                        <a:pt x="361" y="202"/>
                        <a:pt x="363" y="201"/>
                      </a:cubicBezTo>
                      <a:cubicBezTo>
                        <a:pt x="364" y="200"/>
                        <a:pt x="364" y="198"/>
                        <a:pt x="364" y="197"/>
                      </a:cubicBezTo>
                      <a:cubicBezTo>
                        <a:pt x="365" y="194"/>
                        <a:pt x="365" y="191"/>
                        <a:pt x="368" y="188"/>
                      </a:cubicBezTo>
                      <a:cubicBezTo>
                        <a:pt x="372" y="186"/>
                        <a:pt x="375" y="186"/>
                        <a:pt x="378" y="186"/>
                      </a:cubicBezTo>
                      <a:cubicBezTo>
                        <a:pt x="378" y="186"/>
                        <a:pt x="378" y="186"/>
                        <a:pt x="378" y="186"/>
                      </a:cubicBezTo>
                      <a:cubicBezTo>
                        <a:pt x="379" y="186"/>
                        <a:pt x="380" y="186"/>
                        <a:pt x="381" y="186"/>
                      </a:cubicBezTo>
                      <a:cubicBezTo>
                        <a:pt x="384" y="184"/>
                        <a:pt x="389" y="180"/>
                        <a:pt x="393" y="176"/>
                      </a:cubicBezTo>
                      <a:cubicBezTo>
                        <a:pt x="396" y="174"/>
                        <a:pt x="398" y="172"/>
                        <a:pt x="398" y="170"/>
                      </a:cubicBezTo>
                      <a:cubicBezTo>
                        <a:pt x="399" y="168"/>
                        <a:pt x="399" y="166"/>
                        <a:pt x="397" y="163"/>
                      </a:cubicBezTo>
                      <a:cubicBezTo>
                        <a:pt x="396" y="161"/>
                        <a:pt x="395" y="158"/>
                        <a:pt x="394" y="155"/>
                      </a:cubicBezTo>
                      <a:cubicBezTo>
                        <a:pt x="391" y="147"/>
                        <a:pt x="392" y="145"/>
                        <a:pt x="396" y="140"/>
                      </a:cubicBezTo>
                      <a:cubicBezTo>
                        <a:pt x="396" y="139"/>
                        <a:pt x="398" y="137"/>
                        <a:pt x="399" y="135"/>
                      </a:cubicBezTo>
                      <a:cubicBezTo>
                        <a:pt x="399" y="134"/>
                        <a:pt x="400" y="133"/>
                        <a:pt x="400" y="132"/>
                      </a:cubicBezTo>
                      <a:cubicBezTo>
                        <a:pt x="403" y="126"/>
                        <a:pt x="405" y="124"/>
                        <a:pt x="404" y="110"/>
                      </a:cubicBezTo>
                      <a:cubicBezTo>
                        <a:pt x="403" y="104"/>
                        <a:pt x="402" y="100"/>
                        <a:pt x="402" y="97"/>
                      </a:cubicBezTo>
                      <a:cubicBezTo>
                        <a:pt x="401" y="92"/>
                        <a:pt x="400" y="88"/>
                        <a:pt x="401" y="79"/>
                      </a:cubicBezTo>
                      <a:cubicBezTo>
                        <a:pt x="401" y="76"/>
                        <a:pt x="401" y="76"/>
                        <a:pt x="401" y="76"/>
                      </a:cubicBezTo>
                      <a:cubicBezTo>
                        <a:pt x="401" y="76"/>
                        <a:pt x="401" y="76"/>
                        <a:pt x="401" y="76"/>
                      </a:cubicBezTo>
                      <a:cubicBezTo>
                        <a:pt x="401" y="64"/>
                        <a:pt x="402" y="60"/>
                        <a:pt x="397" y="57"/>
                      </a:cubicBezTo>
                      <a:cubicBezTo>
                        <a:pt x="395" y="55"/>
                        <a:pt x="391" y="55"/>
                        <a:pt x="387" y="55"/>
                      </a:cubicBezTo>
                      <a:cubicBezTo>
                        <a:pt x="382" y="54"/>
                        <a:pt x="376" y="54"/>
                        <a:pt x="371" y="49"/>
                      </a:cubicBezTo>
                      <a:cubicBezTo>
                        <a:pt x="371" y="49"/>
                        <a:pt x="371" y="49"/>
                        <a:pt x="371" y="49"/>
                      </a:cubicBezTo>
                      <a:cubicBezTo>
                        <a:pt x="366" y="45"/>
                        <a:pt x="366" y="38"/>
                        <a:pt x="366" y="32"/>
                      </a:cubicBezTo>
                      <a:cubicBezTo>
                        <a:pt x="367" y="28"/>
                        <a:pt x="367" y="24"/>
                        <a:pt x="365" y="22"/>
                      </a:cubicBezTo>
                      <a:cubicBezTo>
                        <a:pt x="363" y="19"/>
                        <a:pt x="360" y="17"/>
                        <a:pt x="357" y="15"/>
                      </a:cubicBezTo>
                      <a:cubicBezTo>
                        <a:pt x="354" y="13"/>
                        <a:pt x="350" y="11"/>
                        <a:pt x="346" y="7"/>
                      </a:cubicBezTo>
                      <a:cubicBezTo>
                        <a:pt x="342" y="3"/>
                        <a:pt x="339" y="1"/>
                        <a:pt x="337" y="1"/>
                      </a:cubicBezTo>
                      <a:cubicBezTo>
                        <a:pt x="336" y="0"/>
                        <a:pt x="335" y="0"/>
                        <a:pt x="335" y="1"/>
                      </a:cubicBezTo>
                      <a:cubicBezTo>
                        <a:pt x="333" y="2"/>
                        <a:pt x="330" y="5"/>
                        <a:pt x="328" y="9"/>
                      </a:cubicBezTo>
                      <a:cubicBezTo>
                        <a:pt x="326" y="12"/>
                        <a:pt x="324" y="15"/>
                        <a:pt x="323" y="17"/>
                      </a:cubicBezTo>
                      <a:cubicBezTo>
                        <a:pt x="323" y="19"/>
                        <a:pt x="323" y="20"/>
                        <a:pt x="323" y="21"/>
                      </a:cubicBezTo>
                      <a:cubicBezTo>
                        <a:pt x="323" y="24"/>
                        <a:pt x="324" y="27"/>
                        <a:pt x="321" y="32"/>
                      </a:cubicBezTo>
                      <a:cubicBezTo>
                        <a:pt x="318" y="38"/>
                        <a:pt x="316" y="39"/>
                        <a:pt x="313" y="41"/>
                      </a:cubicBezTo>
                      <a:cubicBezTo>
                        <a:pt x="311" y="42"/>
                        <a:pt x="309" y="44"/>
                        <a:pt x="307" y="46"/>
                      </a:cubicBezTo>
                      <a:cubicBezTo>
                        <a:pt x="304" y="48"/>
                        <a:pt x="302" y="51"/>
                        <a:pt x="301" y="53"/>
                      </a:cubicBezTo>
                      <a:cubicBezTo>
                        <a:pt x="300" y="55"/>
                        <a:pt x="299" y="57"/>
                        <a:pt x="300" y="58"/>
                      </a:cubicBezTo>
                      <a:cubicBezTo>
                        <a:pt x="300" y="60"/>
                        <a:pt x="302" y="65"/>
                        <a:pt x="305" y="70"/>
                      </a:cubicBezTo>
                      <a:cubicBezTo>
                        <a:pt x="306" y="72"/>
                        <a:pt x="307" y="74"/>
                        <a:pt x="307" y="75"/>
                      </a:cubicBezTo>
                      <a:cubicBezTo>
                        <a:pt x="307" y="76"/>
                        <a:pt x="307" y="76"/>
                        <a:pt x="307" y="76"/>
                      </a:cubicBezTo>
                      <a:cubicBezTo>
                        <a:pt x="310" y="82"/>
                        <a:pt x="312" y="87"/>
                        <a:pt x="309" y="93"/>
                      </a:cubicBezTo>
                      <a:cubicBezTo>
                        <a:pt x="307" y="97"/>
                        <a:pt x="303" y="98"/>
                        <a:pt x="298" y="95"/>
                      </a:cubicBezTo>
                      <a:cubicBezTo>
                        <a:pt x="295" y="94"/>
                        <a:pt x="292" y="91"/>
                        <a:pt x="287" y="87"/>
                      </a:cubicBezTo>
                      <a:cubicBezTo>
                        <a:pt x="284" y="84"/>
                        <a:pt x="280" y="82"/>
                        <a:pt x="277" y="81"/>
                      </a:cubicBezTo>
                      <a:cubicBezTo>
                        <a:pt x="275" y="80"/>
                        <a:pt x="272" y="80"/>
                        <a:pt x="269" y="80"/>
                      </a:cubicBezTo>
                      <a:cubicBezTo>
                        <a:pt x="266" y="80"/>
                        <a:pt x="263" y="81"/>
                        <a:pt x="259" y="82"/>
                      </a:cubicBezTo>
                      <a:cubicBezTo>
                        <a:pt x="256" y="84"/>
                        <a:pt x="252" y="85"/>
                        <a:pt x="248" y="87"/>
                      </a:cubicBezTo>
                      <a:cubicBezTo>
                        <a:pt x="243" y="90"/>
                        <a:pt x="239" y="93"/>
                        <a:pt x="234" y="97"/>
                      </a:cubicBezTo>
                      <a:cubicBezTo>
                        <a:pt x="230" y="101"/>
                        <a:pt x="225" y="105"/>
                        <a:pt x="220" y="107"/>
                      </a:cubicBezTo>
                      <a:cubicBezTo>
                        <a:pt x="215" y="110"/>
                        <a:pt x="211" y="113"/>
                        <a:pt x="208" y="115"/>
                      </a:cubicBezTo>
                      <a:cubicBezTo>
                        <a:pt x="204" y="116"/>
                        <a:pt x="201" y="118"/>
                        <a:pt x="198" y="119"/>
                      </a:cubicBezTo>
                      <a:cubicBezTo>
                        <a:pt x="196" y="120"/>
                        <a:pt x="193" y="123"/>
                        <a:pt x="191" y="126"/>
                      </a:cubicBezTo>
                      <a:cubicBezTo>
                        <a:pt x="189" y="128"/>
                        <a:pt x="187" y="130"/>
                        <a:pt x="187" y="132"/>
                      </a:cubicBezTo>
                      <a:cubicBezTo>
                        <a:pt x="187" y="135"/>
                        <a:pt x="187" y="139"/>
                        <a:pt x="187" y="144"/>
                      </a:cubicBezTo>
                      <a:cubicBezTo>
                        <a:pt x="188" y="147"/>
                        <a:pt x="188" y="151"/>
                        <a:pt x="188" y="156"/>
                      </a:cubicBezTo>
                      <a:cubicBezTo>
                        <a:pt x="188" y="164"/>
                        <a:pt x="186" y="167"/>
                        <a:pt x="184" y="170"/>
                      </a:cubicBezTo>
                      <a:cubicBezTo>
                        <a:pt x="184" y="170"/>
                        <a:pt x="184" y="171"/>
                        <a:pt x="184" y="171"/>
                      </a:cubicBezTo>
                      <a:cubicBezTo>
                        <a:pt x="183" y="173"/>
                        <a:pt x="180" y="177"/>
                        <a:pt x="177" y="181"/>
                      </a:cubicBezTo>
                      <a:cubicBezTo>
                        <a:pt x="174" y="185"/>
                        <a:pt x="171" y="189"/>
                        <a:pt x="168" y="191"/>
                      </a:cubicBezTo>
                      <a:cubicBezTo>
                        <a:pt x="166" y="193"/>
                        <a:pt x="164" y="195"/>
                        <a:pt x="163" y="198"/>
                      </a:cubicBezTo>
                      <a:cubicBezTo>
                        <a:pt x="161" y="200"/>
                        <a:pt x="160" y="202"/>
                        <a:pt x="159" y="204"/>
                      </a:cubicBezTo>
                      <a:cubicBezTo>
                        <a:pt x="158" y="207"/>
                        <a:pt x="159" y="209"/>
                        <a:pt x="159" y="211"/>
                      </a:cubicBezTo>
                      <a:cubicBezTo>
                        <a:pt x="160" y="214"/>
                        <a:pt x="161" y="217"/>
                        <a:pt x="161" y="221"/>
                      </a:cubicBezTo>
                      <a:cubicBezTo>
                        <a:pt x="161" y="226"/>
                        <a:pt x="160" y="232"/>
                        <a:pt x="157" y="238"/>
                      </a:cubicBezTo>
                      <a:cubicBezTo>
                        <a:pt x="155" y="244"/>
                        <a:pt x="152" y="250"/>
                        <a:pt x="149" y="254"/>
                      </a:cubicBezTo>
                      <a:cubicBezTo>
                        <a:pt x="149" y="254"/>
                        <a:pt x="149" y="254"/>
                        <a:pt x="149" y="254"/>
                      </a:cubicBezTo>
                      <a:cubicBezTo>
                        <a:pt x="148" y="256"/>
                        <a:pt x="148" y="256"/>
                        <a:pt x="148" y="256"/>
                      </a:cubicBezTo>
                      <a:cubicBezTo>
                        <a:pt x="144" y="264"/>
                        <a:pt x="136" y="277"/>
                        <a:pt x="135" y="283"/>
                      </a:cubicBezTo>
                      <a:cubicBezTo>
                        <a:pt x="134" y="287"/>
                        <a:pt x="132" y="292"/>
                        <a:pt x="130" y="297"/>
                      </a:cubicBezTo>
                      <a:cubicBezTo>
                        <a:pt x="129" y="301"/>
                        <a:pt x="127" y="304"/>
                        <a:pt x="126" y="305"/>
                      </a:cubicBezTo>
                      <a:cubicBezTo>
                        <a:pt x="123" y="308"/>
                        <a:pt x="120" y="309"/>
                        <a:pt x="116" y="308"/>
                      </a:cubicBezTo>
                      <a:cubicBezTo>
                        <a:pt x="113" y="308"/>
                        <a:pt x="110" y="306"/>
                        <a:pt x="106" y="303"/>
                      </a:cubicBezTo>
                      <a:cubicBezTo>
                        <a:pt x="102" y="301"/>
                        <a:pt x="98" y="300"/>
                        <a:pt x="94" y="300"/>
                      </a:cubicBezTo>
                      <a:cubicBezTo>
                        <a:pt x="91" y="299"/>
                        <a:pt x="88" y="299"/>
                        <a:pt x="86" y="297"/>
                      </a:cubicBezTo>
                      <a:cubicBezTo>
                        <a:pt x="85" y="297"/>
                        <a:pt x="85" y="297"/>
                        <a:pt x="85" y="297"/>
                      </a:cubicBezTo>
                      <a:cubicBezTo>
                        <a:pt x="84" y="297"/>
                        <a:pt x="83" y="296"/>
                        <a:pt x="81" y="296"/>
                      </a:cubicBezTo>
                      <a:cubicBezTo>
                        <a:pt x="80" y="296"/>
                        <a:pt x="79" y="297"/>
                        <a:pt x="79" y="298"/>
                      </a:cubicBezTo>
                      <a:cubicBezTo>
                        <a:pt x="79" y="298"/>
                        <a:pt x="79" y="298"/>
                        <a:pt x="79" y="298"/>
                      </a:cubicBezTo>
                      <a:cubicBezTo>
                        <a:pt x="79" y="298"/>
                        <a:pt x="79" y="298"/>
                        <a:pt x="79" y="298"/>
                      </a:cubicBezTo>
                      <a:cubicBezTo>
                        <a:pt x="78" y="299"/>
                        <a:pt x="78" y="302"/>
                        <a:pt x="79" y="306"/>
                      </a:cubicBezTo>
                      <a:cubicBezTo>
                        <a:pt x="79" y="309"/>
                        <a:pt x="79" y="312"/>
                        <a:pt x="79" y="316"/>
                      </a:cubicBezTo>
                      <a:cubicBezTo>
                        <a:pt x="79" y="322"/>
                        <a:pt x="79" y="330"/>
                        <a:pt x="79" y="337"/>
                      </a:cubicBezTo>
                      <a:cubicBezTo>
                        <a:pt x="79" y="343"/>
                        <a:pt x="79" y="348"/>
                        <a:pt x="79" y="350"/>
                      </a:cubicBezTo>
                      <a:cubicBezTo>
                        <a:pt x="79" y="354"/>
                        <a:pt x="78" y="357"/>
                        <a:pt x="76" y="360"/>
                      </a:cubicBezTo>
                      <a:cubicBezTo>
                        <a:pt x="74" y="362"/>
                        <a:pt x="71" y="364"/>
                        <a:pt x="67" y="364"/>
                      </a:cubicBezTo>
                      <a:cubicBezTo>
                        <a:pt x="66" y="364"/>
                        <a:pt x="64" y="365"/>
                        <a:pt x="63" y="366"/>
                      </a:cubicBezTo>
                      <a:cubicBezTo>
                        <a:pt x="62" y="367"/>
                        <a:pt x="61" y="370"/>
                        <a:pt x="61" y="374"/>
                      </a:cubicBezTo>
                      <a:cubicBezTo>
                        <a:pt x="60" y="381"/>
                        <a:pt x="62" y="388"/>
                        <a:pt x="64" y="397"/>
                      </a:cubicBezTo>
                      <a:cubicBezTo>
                        <a:pt x="64" y="397"/>
                        <a:pt x="64" y="397"/>
                        <a:pt x="64" y="397"/>
                      </a:cubicBezTo>
                      <a:cubicBezTo>
                        <a:pt x="64" y="397"/>
                        <a:pt x="64" y="397"/>
                        <a:pt x="64" y="397"/>
                      </a:cubicBezTo>
                      <a:cubicBezTo>
                        <a:pt x="66" y="403"/>
                        <a:pt x="66" y="407"/>
                        <a:pt x="65" y="411"/>
                      </a:cubicBezTo>
                      <a:cubicBezTo>
                        <a:pt x="64" y="415"/>
                        <a:pt x="62" y="418"/>
                        <a:pt x="60" y="421"/>
                      </a:cubicBezTo>
                      <a:cubicBezTo>
                        <a:pt x="58" y="424"/>
                        <a:pt x="54" y="425"/>
                        <a:pt x="50" y="425"/>
                      </a:cubicBezTo>
                      <a:cubicBezTo>
                        <a:pt x="47" y="424"/>
                        <a:pt x="43" y="423"/>
                        <a:pt x="39" y="421"/>
                      </a:cubicBezTo>
                      <a:cubicBezTo>
                        <a:pt x="39" y="421"/>
                        <a:pt x="39" y="421"/>
                        <a:pt x="39" y="421"/>
                      </a:cubicBezTo>
                      <a:cubicBezTo>
                        <a:pt x="34" y="419"/>
                        <a:pt x="32" y="419"/>
                        <a:pt x="31" y="419"/>
                      </a:cubicBezTo>
                      <a:cubicBezTo>
                        <a:pt x="31" y="419"/>
                        <a:pt x="31" y="419"/>
                        <a:pt x="31" y="419"/>
                      </a:cubicBezTo>
                      <a:cubicBezTo>
                        <a:pt x="30" y="423"/>
                        <a:pt x="29" y="427"/>
                        <a:pt x="31" y="433"/>
                      </a:cubicBezTo>
                      <a:cubicBezTo>
                        <a:pt x="32" y="438"/>
                        <a:pt x="33" y="445"/>
                        <a:pt x="33" y="451"/>
                      </a:cubicBezTo>
                      <a:cubicBezTo>
                        <a:pt x="33" y="457"/>
                        <a:pt x="33" y="462"/>
                        <a:pt x="31" y="465"/>
                      </a:cubicBezTo>
                      <a:cubicBezTo>
                        <a:pt x="31" y="465"/>
                        <a:pt x="31" y="465"/>
                        <a:pt x="31" y="465"/>
                      </a:cubicBezTo>
                      <a:cubicBezTo>
                        <a:pt x="31" y="465"/>
                        <a:pt x="31" y="465"/>
                        <a:pt x="31" y="465"/>
                      </a:cubicBezTo>
                      <a:cubicBezTo>
                        <a:pt x="28" y="469"/>
                        <a:pt x="27" y="471"/>
                        <a:pt x="19" y="470"/>
                      </a:cubicBezTo>
                      <a:cubicBezTo>
                        <a:pt x="17" y="470"/>
                        <a:pt x="16" y="469"/>
                        <a:pt x="15" y="469"/>
                      </a:cubicBezTo>
                      <a:cubicBezTo>
                        <a:pt x="13" y="469"/>
                        <a:pt x="13" y="468"/>
                        <a:pt x="10" y="469"/>
                      </a:cubicBezTo>
                      <a:cubicBezTo>
                        <a:pt x="8" y="470"/>
                        <a:pt x="3" y="479"/>
                        <a:pt x="0" y="484"/>
                      </a:cubicBezTo>
                      <a:cubicBezTo>
                        <a:pt x="2" y="487"/>
                        <a:pt x="3" y="490"/>
                        <a:pt x="5" y="493"/>
                      </a:cubicBezTo>
                      <a:cubicBezTo>
                        <a:pt x="8" y="500"/>
                        <a:pt x="8" y="496"/>
                        <a:pt x="12" y="501"/>
                      </a:cubicBezTo>
                      <a:cubicBezTo>
                        <a:pt x="15" y="505"/>
                        <a:pt x="13" y="507"/>
                        <a:pt x="20" y="514"/>
                      </a:cubicBezTo>
                      <a:cubicBezTo>
                        <a:pt x="26" y="521"/>
                        <a:pt x="33" y="515"/>
                        <a:pt x="36" y="525"/>
                      </a:cubicBezTo>
                      <a:cubicBezTo>
                        <a:pt x="39" y="535"/>
                        <a:pt x="44" y="528"/>
                        <a:pt x="49" y="527"/>
                      </a:cubicBezTo>
                      <a:cubicBezTo>
                        <a:pt x="54" y="526"/>
                        <a:pt x="54" y="527"/>
                        <a:pt x="55" y="532"/>
                      </a:cubicBezTo>
                      <a:cubicBezTo>
                        <a:pt x="57" y="537"/>
                        <a:pt x="54" y="542"/>
                        <a:pt x="51" y="548"/>
                      </a:cubicBezTo>
                      <a:cubicBezTo>
                        <a:pt x="49" y="555"/>
                        <a:pt x="51" y="553"/>
                        <a:pt x="55" y="556"/>
                      </a:cubicBezTo>
                      <a:cubicBezTo>
                        <a:pt x="59" y="559"/>
                        <a:pt x="61" y="556"/>
                        <a:pt x="66" y="551"/>
                      </a:cubicBezTo>
                      <a:cubicBezTo>
                        <a:pt x="71" y="545"/>
                        <a:pt x="71" y="551"/>
                        <a:pt x="78" y="551"/>
                      </a:cubicBezTo>
                      <a:cubicBezTo>
                        <a:pt x="85" y="552"/>
                        <a:pt x="88" y="554"/>
                        <a:pt x="92" y="556"/>
                      </a:cubicBezTo>
                      <a:cubicBezTo>
                        <a:pt x="97" y="559"/>
                        <a:pt x="95" y="560"/>
                        <a:pt x="94" y="566"/>
                      </a:cubicBezTo>
                      <a:cubicBezTo>
                        <a:pt x="94" y="572"/>
                        <a:pt x="95" y="575"/>
                        <a:pt x="101" y="580"/>
                      </a:cubicBezTo>
                      <a:cubicBezTo>
                        <a:pt x="106" y="584"/>
                        <a:pt x="111" y="594"/>
                        <a:pt x="113" y="598"/>
                      </a:cubicBezTo>
                      <a:cubicBezTo>
                        <a:pt x="116" y="603"/>
                        <a:pt x="113" y="620"/>
                        <a:pt x="113" y="623"/>
                      </a:cubicBezTo>
                      <a:cubicBezTo>
                        <a:pt x="113" y="627"/>
                        <a:pt x="118" y="628"/>
                        <a:pt x="123" y="636"/>
                      </a:cubicBezTo>
                      <a:cubicBezTo>
                        <a:pt x="129" y="644"/>
                        <a:pt x="133" y="660"/>
                        <a:pt x="139" y="671"/>
                      </a:cubicBezTo>
                      <a:cubicBezTo>
                        <a:pt x="144" y="682"/>
                        <a:pt x="144" y="699"/>
                        <a:pt x="144" y="716"/>
                      </a:cubicBezTo>
                      <a:cubicBezTo>
                        <a:pt x="143" y="732"/>
                        <a:pt x="137" y="767"/>
                        <a:pt x="135" y="776"/>
                      </a:cubicBezTo>
                      <a:cubicBezTo>
                        <a:pt x="134" y="785"/>
                        <a:pt x="129" y="801"/>
                        <a:pt x="130" y="807"/>
                      </a:cubicBezTo>
                      <a:cubicBezTo>
                        <a:pt x="130" y="813"/>
                        <a:pt x="134" y="806"/>
                        <a:pt x="141" y="804"/>
                      </a:cubicBezTo>
                      <a:cubicBezTo>
                        <a:pt x="147" y="802"/>
                        <a:pt x="144" y="799"/>
                        <a:pt x="146" y="793"/>
                      </a:cubicBezTo>
                      <a:cubicBezTo>
                        <a:pt x="149" y="786"/>
                        <a:pt x="153" y="784"/>
                        <a:pt x="156" y="786"/>
                      </a:cubicBezTo>
                      <a:cubicBezTo>
                        <a:pt x="158" y="789"/>
                        <a:pt x="156" y="791"/>
                        <a:pt x="156" y="796"/>
                      </a:cubicBezTo>
                      <a:cubicBezTo>
                        <a:pt x="156" y="800"/>
                        <a:pt x="156" y="804"/>
                        <a:pt x="156" y="809"/>
                      </a:cubicBezTo>
                      <a:cubicBezTo>
                        <a:pt x="156" y="813"/>
                        <a:pt x="158" y="813"/>
                        <a:pt x="163" y="813"/>
                      </a:cubicBezTo>
                      <a:cubicBezTo>
                        <a:pt x="168" y="813"/>
                        <a:pt x="166" y="812"/>
                        <a:pt x="170" y="808"/>
                      </a:cubicBezTo>
                      <a:cubicBezTo>
                        <a:pt x="174" y="804"/>
                        <a:pt x="175" y="803"/>
                        <a:pt x="179" y="803"/>
                      </a:cubicBezTo>
                      <a:cubicBezTo>
                        <a:pt x="183" y="803"/>
                        <a:pt x="180" y="804"/>
                        <a:pt x="180" y="811"/>
                      </a:cubicBezTo>
                      <a:close/>
                      <a:moveTo>
                        <a:pt x="386" y="1080"/>
                      </a:moveTo>
                      <a:cubicBezTo>
                        <a:pt x="385" y="1083"/>
                        <a:pt x="384" y="1091"/>
                        <a:pt x="387" y="1091"/>
                      </a:cubicBezTo>
                      <a:cubicBezTo>
                        <a:pt x="390" y="1091"/>
                        <a:pt x="393" y="1092"/>
                        <a:pt x="393" y="1089"/>
                      </a:cubicBezTo>
                      <a:cubicBezTo>
                        <a:pt x="393" y="1086"/>
                        <a:pt x="389" y="1075"/>
                        <a:pt x="386" y="1080"/>
                      </a:cubicBezTo>
                      <a:close/>
                      <a:moveTo>
                        <a:pt x="372" y="983"/>
                      </a:moveTo>
                      <a:cubicBezTo>
                        <a:pt x="369" y="995"/>
                        <a:pt x="365" y="1001"/>
                        <a:pt x="371" y="1001"/>
                      </a:cubicBezTo>
                      <a:cubicBezTo>
                        <a:pt x="377" y="1002"/>
                        <a:pt x="380" y="1004"/>
                        <a:pt x="380" y="995"/>
                      </a:cubicBezTo>
                      <a:cubicBezTo>
                        <a:pt x="380" y="987"/>
                        <a:pt x="374" y="978"/>
                        <a:pt x="372" y="983"/>
                      </a:cubicBezTo>
                      <a:close/>
                      <a:moveTo>
                        <a:pt x="370" y="1192"/>
                      </a:moveTo>
                      <a:cubicBezTo>
                        <a:pt x="373" y="1194"/>
                        <a:pt x="381" y="1189"/>
                        <a:pt x="381" y="1183"/>
                      </a:cubicBezTo>
                      <a:cubicBezTo>
                        <a:pt x="381" y="1176"/>
                        <a:pt x="373" y="1169"/>
                        <a:pt x="372" y="1180"/>
                      </a:cubicBezTo>
                      <a:cubicBezTo>
                        <a:pt x="374" y="1189"/>
                        <a:pt x="367" y="1191"/>
                        <a:pt x="370" y="1192"/>
                      </a:cubicBezTo>
                      <a:close/>
                      <a:moveTo>
                        <a:pt x="378" y="1133"/>
                      </a:moveTo>
                      <a:cubicBezTo>
                        <a:pt x="378" y="1128"/>
                        <a:pt x="371" y="1122"/>
                        <a:pt x="370" y="1127"/>
                      </a:cubicBezTo>
                      <a:cubicBezTo>
                        <a:pt x="367" y="1130"/>
                        <a:pt x="370" y="1134"/>
                        <a:pt x="373" y="1138"/>
                      </a:cubicBezTo>
                      <a:cubicBezTo>
                        <a:pt x="375" y="1142"/>
                        <a:pt x="378" y="1138"/>
                        <a:pt x="378" y="1133"/>
                      </a:cubicBezTo>
                      <a:close/>
                      <a:moveTo>
                        <a:pt x="380" y="1020"/>
                      </a:moveTo>
                      <a:cubicBezTo>
                        <a:pt x="377" y="1027"/>
                        <a:pt x="377" y="1030"/>
                        <a:pt x="375" y="1036"/>
                      </a:cubicBezTo>
                      <a:cubicBezTo>
                        <a:pt x="374" y="1041"/>
                        <a:pt x="375" y="1046"/>
                        <a:pt x="378" y="1042"/>
                      </a:cubicBezTo>
                      <a:cubicBezTo>
                        <a:pt x="381" y="1038"/>
                        <a:pt x="386" y="1031"/>
                        <a:pt x="386" y="1028"/>
                      </a:cubicBezTo>
                      <a:cubicBezTo>
                        <a:pt x="387" y="1025"/>
                        <a:pt x="381" y="1016"/>
                        <a:pt x="380" y="1020"/>
                      </a:cubicBezTo>
                      <a:close/>
                    </a:path>
                  </a:pathLst>
                </a:custGeom>
                <a:solidFill>
                  <a:srgbClr val="F2F2F2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408" name="Freeform 134"/>
                <p:cNvSpPr/>
                <p:nvPr>
                  <p:custDataLst>
                    <p:tags r:id="rId206"/>
                  </p:custDataLst>
                </p:nvPr>
              </p:nvSpPr>
              <p:spPr bwMode="auto">
                <a:xfrm>
                  <a:off x="5347" y="3622"/>
                  <a:ext cx="4" cy="8"/>
                </a:xfrm>
                <a:custGeom>
                  <a:avLst/>
                  <a:gdLst>
                    <a:gd name="T0" fmla="*/ 5 w 11"/>
                    <a:gd name="T1" fmla="*/ 3 h 18"/>
                    <a:gd name="T2" fmla="*/ 4 w 11"/>
                    <a:gd name="T3" fmla="*/ 8 h 18"/>
                    <a:gd name="T4" fmla="*/ 1 w 11"/>
                    <a:gd name="T5" fmla="*/ 14 h 18"/>
                    <a:gd name="T6" fmla="*/ 5 w 11"/>
                    <a:gd name="T7" fmla="*/ 16 h 18"/>
                    <a:gd name="T8" fmla="*/ 7 w 11"/>
                    <a:gd name="T9" fmla="*/ 11 h 18"/>
                    <a:gd name="T10" fmla="*/ 10 w 11"/>
                    <a:gd name="T11" fmla="*/ 5 h 18"/>
                    <a:gd name="T12" fmla="*/ 5 w 11"/>
                    <a:gd name="T13" fmla="*/ 3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" h="18">
                      <a:moveTo>
                        <a:pt x="5" y="3"/>
                      </a:moveTo>
                      <a:cubicBezTo>
                        <a:pt x="4" y="6"/>
                        <a:pt x="6" y="5"/>
                        <a:pt x="4" y="8"/>
                      </a:cubicBezTo>
                      <a:cubicBezTo>
                        <a:pt x="3" y="10"/>
                        <a:pt x="0" y="11"/>
                        <a:pt x="1" y="14"/>
                      </a:cubicBezTo>
                      <a:cubicBezTo>
                        <a:pt x="2" y="17"/>
                        <a:pt x="5" y="18"/>
                        <a:pt x="5" y="16"/>
                      </a:cubicBezTo>
                      <a:cubicBezTo>
                        <a:pt x="6" y="13"/>
                        <a:pt x="5" y="13"/>
                        <a:pt x="7" y="11"/>
                      </a:cubicBezTo>
                      <a:cubicBezTo>
                        <a:pt x="9" y="8"/>
                        <a:pt x="11" y="8"/>
                        <a:pt x="10" y="5"/>
                      </a:cubicBezTo>
                      <a:cubicBezTo>
                        <a:pt x="10" y="2"/>
                        <a:pt x="5" y="0"/>
                        <a:pt x="5" y="3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409" name="Freeform 135"/>
                <p:cNvSpPr>
                  <a:spLocks noEditPoints="1"/>
                </p:cNvSpPr>
                <p:nvPr>
                  <p:custDataLst>
                    <p:tags r:id="rId207"/>
                  </p:custDataLst>
                </p:nvPr>
              </p:nvSpPr>
              <p:spPr bwMode="auto">
                <a:xfrm>
                  <a:off x="5372" y="2869"/>
                  <a:ext cx="40" cy="81"/>
                </a:xfrm>
                <a:custGeom>
                  <a:avLst/>
                  <a:gdLst>
                    <a:gd name="T0" fmla="*/ 9 w 93"/>
                    <a:gd name="T1" fmla="*/ 163 h 189"/>
                    <a:gd name="T2" fmla="*/ 1 w 93"/>
                    <a:gd name="T3" fmla="*/ 163 h 189"/>
                    <a:gd name="T4" fmla="*/ 2 w 93"/>
                    <a:gd name="T5" fmla="*/ 173 h 189"/>
                    <a:gd name="T6" fmla="*/ 11 w 93"/>
                    <a:gd name="T7" fmla="*/ 177 h 189"/>
                    <a:gd name="T8" fmla="*/ 16 w 93"/>
                    <a:gd name="T9" fmla="*/ 168 h 189"/>
                    <a:gd name="T10" fmla="*/ 9 w 93"/>
                    <a:gd name="T11" fmla="*/ 163 h 189"/>
                    <a:gd name="T12" fmla="*/ 82 w 93"/>
                    <a:gd name="T13" fmla="*/ 2 h 189"/>
                    <a:gd name="T14" fmla="*/ 79 w 93"/>
                    <a:gd name="T15" fmla="*/ 9 h 189"/>
                    <a:gd name="T16" fmla="*/ 87 w 93"/>
                    <a:gd name="T17" fmla="*/ 10 h 189"/>
                    <a:gd name="T18" fmla="*/ 91 w 93"/>
                    <a:gd name="T19" fmla="*/ 3 h 189"/>
                    <a:gd name="T20" fmla="*/ 82 w 93"/>
                    <a:gd name="T21" fmla="*/ 2 h 189"/>
                    <a:gd name="T22" fmla="*/ 27 w 93"/>
                    <a:gd name="T23" fmla="*/ 176 h 189"/>
                    <a:gd name="T24" fmla="*/ 26 w 93"/>
                    <a:gd name="T25" fmla="*/ 186 h 189"/>
                    <a:gd name="T26" fmla="*/ 30 w 93"/>
                    <a:gd name="T27" fmla="*/ 182 h 189"/>
                    <a:gd name="T28" fmla="*/ 27 w 93"/>
                    <a:gd name="T29" fmla="*/ 176 h 189"/>
                    <a:gd name="T30" fmla="*/ 29 w 93"/>
                    <a:gd name="T31" fmla="*/ 75 h 189"/>
                    <a:gd name="T32" fmla="*/ 16 w 93"/>
                    <a:gd name="T33" fmla="*/ 72 h 189"/>
                    <a:gd name="T34" fmla="*/ 19 w 93"/>
                    <a:gd name="T35" fmla="*/ 82 h 189"/>
                    <a:gd name="T36" fmla="*/ 29 w 93"/>
                    <a:gd name="T37" fmla="*/ 75 h 189"/>
                    <a:gd name="T38" fmla="*/ 6 w 93"/>
                    <a:gd name="T39" fmla="*/ 132 h 189"/>
                    <a:gd name="T40" fmla="*/ 15 w 93"/>
                    <a:gd name="T41" fmla="*/ 125 h 189"/>
                    <a:gd name="T42" fmla="*/ 7 w 93"/>
                    <a:gd name="T43" fmla="*/ 121 h 189"/>
                    <a:gd name="T44" fmla="*/ 6 w 93"/>
                    <a:gd name="T45" fmla="*/ 132 h 189"/>
                    <a:gd name="T46" fmla="*/ 50 w 93"/>
                    <a:gd name="T47" fmla="*/ 95 h 189"/>
                    <a:gd name="T48" fmla="*/ 49 w 93"/>
                    <a:gd name="T49" fmla="*/ 103 h 189"/>
                    <a:gd name="T50" fmla="*/ 61 w 93"/>
                    <a:gd name="T51" fmla="*/ 101 h 189"/>
                    <a:gd name="T52" fmla="*/ 50 w 93"/>
                    <a:gd name="T53" fmla="*/ 95 h 1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93" h="189">
                      <a:moveTo>
                        <a:pt x="9" y="163"/>
                      </a:moveTo>
                      <a:cubicBezTo>
                        <a:pt x="6" y="161"/>
                        <a:pt x="5" y="160"/>
                        <a:pt x="1" y="163"/>
                      </a:cubicBezTo>
                      <a:cubicBezTo>
                        <a:pt x="0" y="165"/>
                        <a:pt x="2" y="171"/>
                        <a:pt x="2" y="173"/>
                      </a:cubicBezTo>
                      <a:cubicBezTo>
                        <a:pt x="3" y="175"/>
                        <a:pt x="8" y="177"/>
                        <a:pt x="11" y="177"/>
                      </a:cubicBezTo>
                      <a:cubicBezTo>
                        <a:pt x="15" y="177"/>
                        <a:pt x="17" y="171"/>
                        <a:pt x="16" y="168"/>
                      </a:cubicBezTo>
                      <a:cubicBezTo>
                        <a:pt x="15" y="165"/>
                        <a:pt x="12" y="165"/>
                        <a:pt x="9" y="163"/>
                      </a:cubicBezTo>
                      <a:close/>
                      <a:moveTo>
                        <a:pt x="82" y="2"/>
                      </a:moveTo>
                      <a:cubicBezTo>
                        <a:pt x="78" y="2"/>
                        <a:pt x="77" y="5"/>
                        <a:pt x="79" y="9"/>
                      </a:cubicBezTo>
                      <a:cubicBezTo>
                        <a:pt x="80" y="12"/>
                        <a:pt x="83" y="13"/>
                        <a:pt x="87" y="10"/>
                      </a:cubicBezTo>
                      <a:cubicBezTo>
                        <a:pt x="91" y="8"/>
                        <a:pt x="93" y="6"/>
                        <a:pt x="91" y="3"/>
                      </a:cubicBezTo>
                      <a:cubicBezTo>
                        <a:pt x="89" y="0"/>
                        <a:pt x="86" y="2"/>
                        <a:pt x="82" y="2"/>
                      </a:cubicBezTo>
                      <a:close/>
                      <a:moveTo>
                        <a:pt x="27" y="176"/>
                      </a:moveTo>
                      <a:cubicBezTo>
                        <a:pt x="26" y="179"/>
                        <a:pt x="23" y="184"/>
                        <a:pt x="26" y="186"/>
                      </a:cubicBezTo>
                      <a:cubicBezTo>
                        <a:pt x="28" y="189"/>
                        <a:pt x="29" y="187"/>
                        <a:pt x="30" y="182"/>
                      </a:cubicBezTo>
                      <a:cubicBezTo>
                        <a:pt x="31" y="177"/>
                        <a:pt x="31" y="168"/>
                        <a:pt x="27" y="176"/>
                      </a:cubicBezTo>
                      <a:close/>
                      <a:moveTo>
                        <a:pt x="29" y="75"/>
                      </a:moveTo>
                      <a:cubicBezTo>
                        <a:pt x="29" y="69"/>
                        <a:pt x="25" y="63"/>
                        <a:pt x="16" y="72"/>
                      </a:cubicBezTo>
                      <a:cubicBezTo>
                        <a:pt x="12" y="77"/>
                        <a:pt x="16" y="83"/>
                        <a:pt x="19" y="82"/>
                      </a:cubicBezTo>
                      <a:cubicBezTo>
                        <a:pt x="22" y="82"/>
                        <a:pt x="29" y="80"/>
                        <a:pt x="29" y="75"/>
                      </a:cubicBezTo>
                      <a:close/>
                      <a:moveTo>
                        <a:pt x="6" y="132"/>
                      </a:moveTo>
                      <a:cubicBezTo>
                        <a:pt x="10" y="132"/>
                        <a:pt x="13" y="130"/>
                        <a:pt x="15" y="125"/>
                      </a:cubicBezTo>
                      <a:cubicBezTo>
                        <a:pt x="16" y="121"/>
                        <a:pt x="11" y="115"/>
                        <a:pt x="7" y="121"/>
                      </a:cubicBezTo>
                      <a:cubicBezTo>
                        <a:pt x="5" y="126"/>
                        <a:pt x="3" y="132"/>
                        <a:pt x="6" y="132"/>
                      </a:cubicBezTo>
                      <a:close/>
                      <a:moveTo>
                        <a:pt x="50" y="95"/>
                      </a:moveTo>
                      <a:cubicBezTo>
                        <a:pt x="47" y="99"/>
                        <a:pt x="45" y="102"/>
                        <a:pt x="49" y="103"/>
                      </a:cubicBezTo>
                      <a:cubicBezTo>
                        <a:pt x="53" y="104"/>
                        <a:pt x="59" y="104"/>
                        <a:pt x="61" y="101"/>
                      </a:cubicBezTo>
                      <a:cubicBezTo>
                        <a:pt x="62" y="97"/>
                        <a:pt x="55" y="92"/>
                        <a:pt x="50" y="95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410" name="Freeform 136"/>
                <p:cNvSpPr>
                  <a:spLocks noEditPoints="1"/>
                </p:cNvSpPr>
                <p:nvPr>
                  <p:custDataLst>
                    <p:tags r:id="rId208"/>
                  </p:custDataLst>
                </p:nvPr>
              </p:nvSpPr>
              <p:spPr bwMode="auto">
                <a:xfrm>
                  <a:off x="5173" y="2803"/>
                  <a:ext cx="105" cy="85"/>
                </a:xfrm>
                <a:custGeom>
                  <a:avLst/>
                  <a:gdLst>
                    <a:gd name="T0" fmla="*/ 172 w 246"/>
                    <a:gd name="T1" fmla="*/ 50 h 199"/>
                    <a:gd name="T2" fmla="*/ 190 w 246"/>
                    <a:gd name="T3" fmla="*/ 43 h 199"/>
                    <a:gd name="T4" fmla="*/ 23 w 246"/>
                    <a:gd name="T5" fmla="*/ 38 h 199"/>
                    <a:gd name="T6" fmla="*/ 21 w 246"/>
                    <a:gd name="T7" fmla="*/ 49 h 199"/>
                    <a:gd name="T8" fmla="*/ 30 w 246"/>
                    <a:gd name="T9" fmla="*/ 34 h 199"/>
                    <a:gd name="T10" fmla="*/ 10 w 246"/>
                    <a:gd name="T11" fmla="*/ 59 h 199"/>
                    <a:gd name="T12" fmla="*/ 4 w 246"/>
                    <a:gd name="T13" fmla="*/ 71 h 199"/>
                    <a:gd name="T14" fmla="*/ 10 w 246"/>
                    <a:gd name="T15" fmla="*/ 59 h 199"/>
                    <a:gd name="T16" fmla="*/ 153 w 246"/>
                    <a:gd name="T17" fmla="*/ 10 h 199"/>
                    <a:gd name="T18" fmla="*/ 111 w 246"/>
                    <a:gd name="T19" fmla="*/ 25 h 199"/>
                    <a:gd name="T20" fmla="*/ 84 w 246"/>
                    <a:gd name="T21" fmla="*/ 35 h 199"/>
                    <a:gd name="T22" fmla="*/ 98 w 246"/>
                    <a:gd name="T23" fmla="*/ 56 h 199"/>
                    <a:gd name="T24" fmla="*/ 145 w 246"/>
                    <a:gd name="T25" fmla="*/ 36 h 199"/>
                    <a:gd name="T26" fmla="*/ 172 w 246"/>
                    <a:gd name="T27" fmla="*/ 4 h 199"/>
                    <a:gd name="T28" fmla="*/ 137 w 246"/>
                    <a:gd name="T29" fmla="*/ 80 h 199"/>
                    <a:gd name="T30" fmla="*/ 146 w 246"/>
                    <a:gd name="T31" fmla="*/ 76 h 199"/>
                    <a:gd name="T32" fmla="*/ 82 w 246"/>
                    <a:gd name="T33" fmla="*/ 95 h 199"/>
                    <a:gd name="T34" fmla="*/ 62 w 246"/>
                    <a:gd name="T35" fmla="*/ 77 h 199"/>
                    <a:gd name="T36" fmla="*/ 25 w 246"/>
                    <a:gd name="T37" fmla="*/ 93 h 199"/>
                    <a:gd name="T38" fmla="*/ 17 w 246"/>
                    <a:gd name="T39" fmla="*/ 126 h 199"/>
                    <a:gd name="T40" fmla="*/ 59 w 246"/>
                    <a:gd name="T41" fmla="*/ 126 h 199"/>
                    <a:gd name="T42" fmla="*/ 87 w 246"/>
                    <a:gd name="T43" fmla="*/ 110 h 199"/>
                    <a:gd name="T44" fmla="*/ 130 w 246"/>
                    <a:gd name="T45" fmla="*/ 115 h 199"/>
                    <a:gd name="T46" fmla="*/ 132 w 246"/>
                    <a:gd name="T47" fmla="*/ 125 h 199"/>
                    <a:gd name="T48" fmla="*/ 130 w 246"/>
                    <a:gd name="T49" fmla="*/ 115 h 199"/>
                    <a:gd name="T50" fmla="*/ 101 w 246"/>
                    <a:gd name="T51" fmla="*/ 93 h 199"/>
                    <a:gd name="T52" fmla="*/ 104 w 246"/>
                    <a:gd name="T53" fmla="*/ 101 h 199"/>
                    <a:gd name="T54" fmla="*/ 57 w 246"/>
                    <a:gd name="T55" fmla="*/ 185 h 199"/>
                    <a:gd name="T56" fmla="*/ 67 w 246"/>
                    <a:gd name="T57" fmla="*/ 190 h 199"/>
                    <a:gd name="T58" fmla="*/ 85 w 246"/>
                    <a:gd name="T59" fmla="*/ 183 h 199"/>
                    <a:gd name="T60" fmla="*/ 172 w 246"/>
                    <a:gd name="T61" fmla="*/ 151 h 199"/>
                    <a:gd name="T62" fmla="*/ 177 w 246"/>
                    <a:gd name="T63" fmla="*/ 162 h 199"/>
                    <a:gd name="T64" fmla="*/ 172 w 246"/>
                    <a:gd name="T65" fmla="*/ 151 h 199"/>
                    <a:gd name="T66" fmla="*/ 236 w 246"/>
                    <a:gd name="T67" fmla="*/ 71 h 199"/>
                    <a:gd name="T68" fmla="*/ 244 w 246"/>
                    <a:gd name="T69" fmla="*/ 6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246" h="199">
                      <a:moveTo>
                        <a:pt x="178" y="42"/>
                      </a:moveTo>
                      <a:cubicBezTo>
                        <a:pt x="175" y="48"/>
                        <a:pt x="172" y="46"/>
                        <a:pt x="172" y="50"/>
                      </a:cubicBezTo>
                      <a:cubicBezTo>
                        <a:pt x="172" y="55"/>
                        <a:pt x="181" y="54"/>
                        <a:pt x="184" y="51"/>
                      </a:cubicBezTo>
                      <a:cubicBezTo>
                        <a:pt x="188" y="47"/>
                        <a:pt x="191" y="49"/>
                        <a:pt x="190" y="43"/>
                      </a:cubicBezTo>
                      <a:cubicBezTo>
                        <a:pt x="190" y="37"/>
                        <a:pt x="181" y="37"/>
                        <a:pt x="178" y="42"/>
                      </a:cubicBezTo>
                      <a:close/>
                      <a:moveTo>
                        <a:pt x="23" y="38"/>
                      </a:moveTo>
                      <a:cubicBezTo>
                        <a:pt x="21" y="40"/>
                        <a:pt x="15" y="43"/>
                        <a:pt x="16" y="47"/>
                      </a:cubicBezTo>
                      <a:cubicBezTo>
                        <a:pt x="16" y="51"/>
                        <a:pt x="20" y="51"/>
                        <a:pt x="21" y="49"/>
                      </a:cubicBezTo>
                      <a:cubicBezTo>
                        <a:pt x="23" y="46"/>
                        <a:pt x="24" y="43"/>
                        <a:pt x="28" y="41"/>
                      </a:cubicBezTo>
                      <a:cubicBezTo>
                        <a:pt x="33" y="39"/>
                        <a:pt x="32" y="35"/>
                        <a:pt x="30" y="34"/>
                      </a:cubicBezTo>
                      <a:cubicBezTo>
                        <a:pt x="28" y="32"/>
                        <a:pt x="26" y="35"/>
                        <a:pt x="23" y="38"/>
                      </a:cubicBezTo>
                      <a:close/>
                      <a:moveTo>
                        <a:pt x="10" y="59"/>
                      </a:moveTo>
                      <a:cubicBezTo>
                        <a:pt x="9" y="64"/>
                        <a:pt x="3" y="61"/>
                        <a:pt x="1" y="66"/>
                      </a:cubicBezTo>
                      <a:cubicBezTo>
                        <a:pt x="0" y="70"/>
                        <a:pt x="3" y="73"/>
                        <a:pt x="4" y="71"/>
                      </a:cubicBezTo>
                      <a:cubicBezTo>
                        <a:pt x="7" y="69"/>
                        <a:pt x="10" y="62"/>
                        <a:pt x="13" y="62"/>
                      </a:cubicBezTo>
                      <a:cubicBezTo>
                        <a:pt x="15" y="62"/>
                        <a:pt x="12" y="56"/>
                        <a:pt x="10" y="59"/>
                      </a:cubicBezTo>
                      <a:close/>
                      <a:moveTo>
                        <a:pt x="172" y="4"/>
                      </a:moveTo>
                      <a:cubicBezTo>
                        <a:pt x="170" y="0"/>
                        <a:pt x="159" y="6"/>
                        <a:pt x="153" y="10"/>
                      </a:cubicBezTo>
                      <a:cubicBezTo>
                        <a:pt x="147" y="13"/>
                        <a:pt x="137" y="19"/>
                        <a:pt x="127" y="20"/>
                      </a:cubicBezTo>
                      <a:cubicBezTo>
                        <a:pt x="118" y="22"/>
                        <a:pt x="117" y="21"/>
                        <a:pt x="111" y="25"/>
                      </a:cubicBezTo>
                      <a:cubicBezTo>
                        <a:pt x="108" y="28"/>
                        <a:pt x="102" y="32"/>
                        <a:pt x="97" y="33"/>
                      </a:cubicBezTo>
                      <a:cubicBezTo>
                        <a:pt x="92" y="34"/>
                        <a:pt x="88" y="32"/>
                        <a:pt x="84" y="35"/>
                      </a:cubicBezTo>
                      <a:cubicBezTo>
                        <a:pt x="80" y="39"/>
                        <a:pt x="84" y="41"/>
                        <a:pt x="87" y="44"/>
                      </a:cubicBezTo>
                      <a:cubicBezTo>
                        <a:pt x="89" y="46"/>
                        <a:pt x="92" y="53"/>
                        <a:pt x="98" y="56"/>
                      </a:cubicBezTo>
                      <a:cubicBezTo>
                        <a:pt x="104" y="59"/>
                        <a:pt x="125" y="48"/>
                        <a:pt x="135" y="44"/>
                      </a:cubicBezTo>
                      <a:cubicBezTo>
                        <a:pt x="143" y="45"/>
                        <a:pt x="141" y="44"/>
                        <a:pt x="145" y="36"/>
                      </a:cubicBezTo>
                      <a:cubicBezTo>
                        <a:pt x="150" y="28"/>
                        <a:pt x="157" y="27"/>
                        <a:pt x="165" y="21"/>
                      </a:cubicBezTo>
                      <a:cubicBezTo>
                        <a:pt x="173" y="15"/>
                        <a:pt x="174" y="7"/>
                        <a:pt x="172" y="4"/>
                      </a:cubicBezTo>
                      <a:close/>
                      <a:moveTo>
                        <a:pt x="141" y="71"/>
                      </a:moveTo>
                      <a:cubicBezTo>
                        <a:pt x="140" y="75"/>
                        <a:pt x="137" y="77"/>
                        <a:pt x="137" y="80"/>
                      </a:cubicBezTo>
                      <a:cubicBezTo>
                        <a:pt x="137" y="84"/>
                        <a:pt x="141" y="85"/>
                        <a:pt x="142" y="83"/>
                      </a:cubicBezTo>
                      <a:cubicBezTo>
                        <a:pt x="143" y="80"/>
                        <a:pt x="142" y="79"/>
                        <a:pt x="146" y="76"/>
                      </a:cubicBezTo>
                      <a:cubicBezTo>
                        <a:pt x="151" y="72"/>
                        <a:pt x="142" y="69"/>
                        <a:pt x="141" y="71"/>
                      </a:cubicBezTo>
                      <a:close/>
                      <a:moveTo>
                        <a:pt x="82" y="95"/>
                      </a:moveTo>
                      <a:cubicBezTo>
                        <a:pt x="79" y="92"/>
                        <a:pt x="75" y="93"/>
                        <a:pt x="72" y="89"/>
                      </a:cubicBezTo>
                      <a:cubicBezTo>
                        <a:pt x="68" y="84"/>
                        <a:pt x="68" y="80"/>
                        <a:pt x="62" y="77"/>
                      </a:cubicBezTo>
                      <a:cubicBezTo>
                        <a:pt x="56" y="75"/>
                        <a:pt x="53" y="78"/>
                        <a:pt x="42" y="81"/>
                      </a:cubicBezTo>
                      <a:cubicBezTo>
                        <a:pt x="31" y="85"/>
                        <a:pt x="32" y="90"/>
                        <a:pt x="25" y="93"/>
                      </a:cubicBezTo>
                      <a:cubicBezTo>
                        <a:pt x="18" y="95"/>
                        <a:pt x="14" y="102"/>
                        <a:pt x="11" y="109"/>
                      </a:cubicBezTo>
                      <a:cubicBezTo>
                        <a:pt x="8" y="116"/>
                        <a:pt x="9" y="125"/>
                        <a:pt x="17" y="126"/>
                      </a:cubicBezTo>
                      <a:cubicBezTo>
                        <a:pt x="24" y="128"/>
                        <a:pt x="27" y="130"/>
                        <a:pt x="36" y="133"/>
                      </a:cubicBezTo>
                      <a:cubicBezTo>
                        <a:pt x="45" y="136"/>
                        <a:pt x="47" y="131"/>
                        <a:pt x="59" y="126"/>
                      </a:cubicBezTo>
                      <a:cubicBezTo>
                        <a:pt x="70" y="122"/>
                        <a:pt x="78" y="126"/>
                        <a:pt x="88" y="123"/>
                      </a:cubicBezTo>
                      <a:cubicBezTo>
                        <a:pt x="98" y="121"/>
                        <a:pt x="89" y="119"/>
                        <a:pt x="87" y="110"/>
                      </a:cubicBezTo>
                      <a:cubicBezTo>
                        <a:pt x="85" y="101"/>
                        <a:pt x="86" y="98"/>
                        <a:pt x="82" y="95"/>
                      </a:cubicBezTo>
                      <a:close/>
                      <a:moveTo>
                        <a:pt x="130" y="115"/>
                      </a:moveTo>
                      <a:cubicBezTo>
                        <a:pt x="127" y="117"/>
                        <a:pt x="125" y="119"/>
                        <a:pt x="128" y="121"/>
                      </a:cubicBezTo>
                      <a:cubicBezTo>
                        <a:pt x="131" y="122"/>
                        <a:pt x="128" y="125"/>
                        <a:pt x="132" y="125"/>
                      </a:cubicBezTo>
                      <a:cubicBezTo>
                        <a:pt x="135" y="125"/>
                        <a:pt x="138" y="126"/>
                        <a:pt x="138" y="121"/>
                      </a:cubicBezTo>
                      <a:cubicBezTo>
                        <a:pt x="138" y="116"/>
                        <a:pt x="133" y="112"/>
                        <a:pt x="130" y="115"/>
                      </a:cubicBezTo>
                      <a:close/>
                      <a:moveTo>
                        <a:pt x="104" y="101"/>
                      </a:moveTo>
                      <a:cubicBezTo>
                        <a:pt x="109" y="97"/>
                        <a:pt x="106" y="87"/>
                        <a:pt x="101" y="93"/>
                      </a:cubicBezTo>
                      <a:cubicBezTo>
                        <a:pt x="100" y="97"/>
                        <a:pt x="97" y="99"/>
                        <a:pt x="98" y="103"/>
                      </a:cubicBezTo>
                      <a:cubicBezTo>
                        <a:pt x="100" y="106"/>
                        <a:pt x="100" y="106"/>
                        <a:pt x="104" y="101"/>
                      </a:cubicBezTo>
                      <a:close/>
                      <a:moveTo>
                        <a:pt x="67" y="181"/>
                      </a:moveTo>
                      <a:cubicBezTo>
                        <a:pt x="64" y="185"/>
                        <a:pt x="58" y="182"/>
                        <a:pt x="57" y="185"/>
                      </a:cubicBezTo>
                      <a:cubicBezTo>
                        <a:pt x="55" y="188"/>
                        <a:pt x="51" y="196"/>
                        <a:pt x="54" y="197"/>
                      </a:cubicBezTo>
                      <a:cubicBezTo>
                        <a:pt x="57" y="199"/>
                        <a:pt x="64" y="192"/>
                        <a:pt x="67" y="190"/>
                      </a:cubicBezTo>
                      <a:cubicBezTo>
                        <a:pt x="70" y="187"/>
                        <a:pt x="73" y="186"/>
                        <a:pt x="77" y="186"/>
                      </a:cubicBezTo>
                      <a:cubicBezTo>
                        <a:pt x="80" y="186"/>
                        <a:pt x="85" y="189"/>
                        <a:pt x="85" y="183"/>
                      </a:cubicBezTo>
                      <a:cubicBezTo>
                        <a:pt x="85" y="177"/>
                        <a:pt x="73" y="176"/>
                        <a:pt x="67" y="181"/>
                      </a:cubicBezTo>
                      <a:close/>
                      <a:moveTo>
                        <a:pt x="172" y="151"/>
                      </a:moveTo>
                      <a:cubicBezTo>
                        <a:pt x="170" y="156"/>
                        <a:pt x="166" y="156"/>
                        <a:pt x="168" y="160"/>
                      </a:cubicBezTo>
                      <a:cubicBezTo>
                        <a:pt x="171" y="163"/>
                        <a:pt x="175" y="165"/>
                        <a:pt x="177" y="162"/>
                      </a:cubicBezTo>
                      <a:cubicBezTo>
                        <a:pt x="180" y="160"/>
                        <a:pt x="181" y="157"/>
                        <a:pt x="181" y="155"/>
                      </a:cubicBezTo>
                      <a:cubicBezTo>
                        <a:pt x="180" y="153"/>
                        <a:pt x="177" y="146"/>
                        <a:pt x="172" y="151"/>
                      </a:cubicBezTo>
                      <a:close/>
                      <a:moveTo>
                        <a:pt x="235" y="64"/>
                      </a:moveTo>
                      <a:cubicBezTo>
                        <a:pt x="234" y="67"/>
                        <a:pt x="235" y="69"/>
                        <a:pt x="236" y="71"/>
                      </a:cubicBezTo>
                      <a:cubicBezTo>
                        <a:pt x="238" y="73"/>
                        <a:pt x="236" y="77"/>
                        <a:pt x="241" y="77"/>
                      </a:cubicBezTo>
                      <a:cubicBezTo>
                        <a:pt x="246" y="77"/>
                        <a:pt x="245" y="73"/>
                        <a:pt x="244" y="69"/>
                      </a:cubicBezTo>
                      <a:cubicBezTo>
                        <a:pt x="244" y="65"/>
                        <a:pt x="235" y="60"/>
                        <a:pt x="235" y="64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411" name="Freeform 137"/>
                <p:cNvSpPr/>
                <p:nvPr>
                  <p:custDataLst>
                    <p:tags r:id="rId209"/>
                  </p:custDataLst>
                </p:nvPr>
              </p:nvSpPr>
              <p:spPr bwMode="auto">
                <a:xfrm>
                  <a:off x="5283" y="3202"/>
                  <a:ext cx="5" cy="5"/>
                </a:xfrm>
                <a:custGeom>
                  <a:avLst/>
                  <a:gdLst>
                    <a:gd name="T0" fmla="*/ 5 w 13"/>
                    <a:gd name="T1" fmla="*/ 3 h 12"/>
                    <a:gd name="T2" fmla="*/ 3 w 13"/>
                    <a:gd name="T3" fmla="*/ 11 h 12"/>
                    <a:gd name="T4" fmla="*/ 12 w 13"/>
                    <a:gd name="T5" fmla="*/ 7 h 12"/>
                    <a:gd name="T6" fmla="*/ 5 w 13"/>
                    <a:gd name="T7" fmla="*/ 3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3" h="12">
                      <a:moveTo>
                        <a:pt x="5" y="3"/>
                      </a:moveTo>
                      <a:cubicBezTo>
                        <a:pt x="2" y="5"/>
                        <a:pt x="0" y="10"/>
                        <a:pt x="3" y="11"/>
                      </a:cubicBezTo>
                      <a:cubicBezTo>
                        <a:pt x="5" y="11"/>
                        <a:pt x="12" y="12"/>
                        <a:pt x="12" y="7"/>
                      </a:cubicBezTo>
                      <a:cubicBezTo>
                        <a:pt x="13" y="2"/>
                        <a:pt x="9" y="0"/>
                        <a:pt x="5" y="3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412" name="Freeform 138"/>
                <p:cNvSpPr/>
                <p:nvPr>
                  <p:custDataLst>
                    <p:tags r:id="rId210"/>
                  </p:custDataLst>
                </p:nvPr>
              </p:nvSpPr>
              <p:spPr bwMode="auto">
                <a:xfrm>
                  <a:off x="5241" y="2619"/>
                  <a:ext cx="3" cy="6"/>
                </a:xfrm>
                <a:custGeom>
                  <a:avLst/>
                  <a:gdLst>
                    <a:gd name="T0" fmla="*/ 4 w 8"/>
                    <a:gd name="T1" fmla="*/ 13 h 14"/>
                    <a:gd name="T2" fmla="*/ 4 w 8"/>
                    <a:gd name="T3" fmla="*/ 5 h 14"/>
                    <a:gd name="T4" fmla="*/ 4 w 8"/>
                    <a:gd name="T5" fmla="*/ 13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" h="14">
                      <a:moveTo>
                        <a:pt x="4" y="13"/>
                      </a:moveTo>
                      <a:cubicBezTo>
                        <a:pt x="7" y="11"/>
                        <a:pt x="8" y="0"/>
                        <a:pt x="4" y="5"/>
                      </a:cubicBezTo>
                      <a:cubicBezTo>
                        <a:pt x="3" y="8"/>
                        <a:pt x="0" y="14"/>
                        <a:pt x="4" y="13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413" name="Freeform 139"/>
                <p:cNvSpPr/>
                <p:nvPr>
                  <p:custDataLst>
                    <p:tags r:id="rId211"/>
                  </p:custDataLst>
                </p:nvPr>
              </p:nvSpPr>
              <p:spPr bwMode="auto">
                <a:xfrm>
                  <a:off x="5289" y="3193"/>
                  <a:ext cx="6" cy="5"/>
                </a:xfrm>
                <a:custGeom>
                  <a:avLst/>
                  <a:gdLst>
                    <a:gd name="T0" fmla="*/ 5 w 16"/>
                    <a:gd name="T1" fmla="*/ 3 h 11"/>
                    <a:gd name="T2" fmla="*/ 2 w 16"/>
                    <a:gd name="T3" fmla="*/ 9 h 11"/>
                    <a:gd name="T4" fmla="*/ 13 w 16"/>
                    <a:gd name="T5" fmla="*/ 8 h 11"/>
                    <a:gd name="T6" fmla="*/ 5 w 16"/>
                    <a:gd name="T7" fmla="*/ 3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6" h="11">
                      <a:moveTo>
                        <a:pt x="5" y="3"/>
                      </a:moveTo>
                      <a:cubicBezTo>
                        <a:pt x="0" y="4"/>
                        <a:pt x="0" y="8"/>
                        <a:pt x="2" y="9"/>
                      </a:cubicBezTo>
                      <a:cubicBezTo>
                        <a:pt x="4" y="9"/>
                        <a:pt x="10" y="11"/>
                        <a:pt x="13" y="8"/>
                      </a:cubicBezTo>
                      <a:cubicBezTo>
                        <a:pt x="16" y="4"/>
                        <a:pt x="11" y="0"/>
                        <a:pt x="5" y="3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414" name="Freeform 140"/>
                <p:cNvSpPr/>
                <p:nvPr>
                  <p:custDataLst>
                    <p:tags r:id="rId212"/>
                  </p:custDataLst>
                </p:nvPr>
              </p:nvSpPr>
              <p:spPr bwMode="auto">
                <a:xfrm>
                  <a:off x="5331" y="3608"/>
                  <a:ext cx="16" cy="5"/>
                </a:xfrm>
                <a:custGeom>
                  <a:avLst/>
                  <a:gdLst>
                    <a:gd name="T0" fmla="*/ 29 w 38"/>
                    <a:gd name="T1" fmla="*/ 0 h 11"/>
                    <a:gd name="T2" fmla="*/ 17 w 38"/>
                    <a:gd name="T3" fmla="*/ 1 h 11"/>
                    <a:gd name="T4" fmla="*/ 6 w 38"/>
                    <a:gd name="T5" fmla="*/ 2 h 11"/>
                    <a:gd name="T6" fmla="*/ 2 w 38"/>
                    <a:gd name="T7" fmla="*/ 8 h 11"/>
                    <a:gd name="T8" fmla="*/ 12 w 38"/>
                    <a:gd name="T9" fmla="*/ 10 h 11"/>
                    <a:gd name="T10" fmla="*/ 21 w 38"/>
                    <a:gd name="T11" fmla="*/ 9 h 11"/>
                    <a:gd name="T12" fmla="*/ 24 w 38"/>
                    <a:gd name="T13" fmla="*/ 4 h 11"/>
                    <a:gd name="T14" fmla="*/ 31 w 38"/>
                    <a:gd name="T15" fmla="*/ 3 h 11"/>
                    <a:gd name="T16" fmla="*/ 38 w 38"/>
                    <a:gd name="T17" fmla="*/ 2 h 11"/>
                    <a:gd name="T18" fmla="*/ 29 w 38"/>
                    <a:gd name="T19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8" h="11">
                      <a:moveTo>
                        <a:pt x="29" y="0"/>
                      </a:moveTo>
                      <a:cubicBezTo>
                        <a:pt x="23" y="0"/>
                        <a:pt x="20" y="0"/>
                        <a:pt x="17" y="1"/>
                      </a:cubicBezTo>
                      <a:cubicBezTo>
                        <a:pt x="11" y="2"/>
                        <a:pt x="9" y="0"/>
                        <a:pt x="6" y="2"/>
                      </a:cubicBezTo>
                      <a:cubicBezTo>
                        <a:pt x="3" y="4"/>
                        <a:pt x="0" y="5"/>
                        <a:pt x="2" y="8"/>
                      </a:cubicBezTo>
                      <a:cubicBezTo>
                        <a:pt x="5" y="10"/>
                        <a:pt x="10" y="11"/>
                        <a:pt x="12" y="10"/>
                      </a:cubicBezTo>
                      <a:cubicBezTo>
                        <a:pt x="15" y="10"/>
                        <a:pt x="20" y="10"/>
                        <a:pt x="21" y="9"/>
                      </a:cubicBezTo>
                      <a:cubicBezTo>
                        <a:pt x="23" y="7"/>
                        <a:pt x="22" y="5"/>
                        <a:pt x="24" y="4"/>
                      </a:cubicBezTo>
                      <a:cubicBezTo>
                        <a:pt x="26" y="3"/>
                        <a:pt x="27" y="3"/>
                        <a:pt x="31" y="3"/>
                      </a:cubicBezTo>
                      <a:cubicBezTo>
                        <a:pt x="36" y="3"/>
                        <a:pt x="38" y="3"/>
                        <a:pt x="38" y="2"/>
                      </a:cubicBezTo>
                      <a:cubicBezTo>
                        <a:pt x="38" y="1"/>
                        <a:pt x="34" y="0"/>
                        <a:pt x="29" y="0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415" name="Freeform 141"/>
                <p:cNvSpPr/>
                <p:nvPr>
                  <p:custDataLst>
                    <p:tags r:id="rId213"/>
                  </p:custDataLst>
                </p:nvPr>
              </p:nvSpPr>
              <p:spPr bwMode="auto">
                <a:xfrm>
                  <a:off x="5337" y="3613"/>
                  <a:ext cx="8" cy="10"/>
                </a:xfrm>
                <a:custGeom>
                  <a:avLst/>
                  <a:gdLst>
                    <a:gd name="T0" fmla="*/ 6 w 17"/>
                    <a:gd name="T1" fmla="*/ 5 h 23"/>
                    <a:gd name="T2" fmla="*/ 2 w 17"/>
                    <a:gd name="T3" fmla="*/ 14 h 23"/>
                    <a:gd name="T4" fmla="*/ 5 w 17"/>
                    <a:gd name="T5" fmla="*/ 22 h 23"/>
                    <a:gd name="T6" fmla="*/ 13 w 17"/>
                    <a:gd name="T7" fmla="*/ 17 h 23"/>
                    <a:gd name="T8" fmla="*/ 17 w 17"/>
                    <a:gd name="T9" fmla="*/ 12 h 23"/>
                    <a:gd name="T10" fmla="*/ 14 w 17"/>
                    <a:gd name="T11" fmla="*/ 3 h 23"/>
                    <a:gd name="T12" fmla="*/ 6 w 17"/>
                    <a:gd name="T13" fmla="*/ 5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7" h="23">
                      <a:moveTo>
                        <a:pt x="6" y="5"/>
                      </a:moveTo>
                      <a:cubicBezTo>
                        <a:pt x="4" y="7"/>
                        <a:pt x="1" y="9"/>
                        <a:pt x="2" y="14"/>
                      </a:cubicBezTo>
                      <a:cubicBezTo>
                        <a:pt x="4" y="19"/>
                        <a:pt x="0" y="23"/>
                        <a:pt x="5" y="22"/>
                      </a:cubicBezTo>
                      <a:cubicBezTo>
                        <a:pt x="9" y="21"/>
                        <a:pt x="11" y="20"/>
                        <a:pt x="13" y="17"/>
                      </a:cubicBezTo>
                      <a:cubicBezTo>
                        <a:pt x="15" y="15"/>
                        <a:pt x="17" y="17"/>
                        <a:pt x="17" y="12"/>
                      </a:cubicBezTo>
                      <a:cubicBezTo>
                        <a:pt x="17" y="8"/>
                        <a:pt x="16" y="5"/>
                        <a:pt x="14" y="3"/>
                      </a:cubicBezTo>
                      <a:cubicBezTo>
                        <a:pt x="12" y="2"/>
                        <a:pt x="10" y="0"/>
                        <a:pt x="6" y="5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416" name="Freeform 142"/>
                <p:cNvSpPr/>
                <p:nvPr>
                  <p:custDataLst>
                    <p:tags r:id="rId214"/>
                  </p:custDataLst>
                </p:nvPr>
              </p:nvSpPr>
              <p:spPr bwMode="auto">
                <a:xfrm>
                  <a:off x="5295" y="2751"/>
                  <a:ext cx="8" cy="7"/>
                </a:xfrm>
                <a:custGeom>
                  <a:avLst/>
                  <a:gdLst>
                    <a:gd name="T0" fmla="*/ 3 w 19"/>
                    <a:gd name="T1" fmla="*/ 3 h 17"/>
                    <a:gd name="T2" fmla="*/ 3 w 19"/>
                    <a:gd name="T3" fmla="*/ 8 h 17"/>
                    <a:gd name="T4" fmla="*/ 13 w 19"/>
                    <a:gd name="T5" fmla="*/ 13 h 17"/>
                    <a:gd name="T6" fmla="*/ 16 w 19"/>
                    <a:gd name="T7" fmla="*/ 4 h 17"/>
                    <a:gd name="T8" fmla="*/ 3 w 19"/>
                    <a:gd name="T9" fmla="*/ 3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9" h="17">
                      <a:moveTo>
                        <a:pt x="3" y="3"/>
                      </a:moveTo>
                      <a:cubicBezTo>
                        <a:pt x="1" y="5"/>
                        <a:pt x="0" y="4"/>
                        <a:pt x="3" y="8"/>
                      </a:cubicBezTo>
                      <a:cubicBezTo>
                        <a:pt x="5" y="11"/>
                        <a:pt x="8" y="17"/>
                        <a:pt x="13" y="13"/>
                      </a:cubicBezTo>
                      <a:cubicBezTo>
                        <a:pt x="19" y="10"/>
                        <a:pt x="17" y="7"/>
                        <a:pt x="16" y="4"/>
                      </a:cubicBezTo>
                      <a:cubicBezTo>
                        <a:pt x="14" y="2"/>
                        <a:pt x="9" y="0"/>
                        <a:pt x="3" y="3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417" name="Freeform 143"/>
                <p:cNvSpPr>
                  <a:spLocks noEditPoints="1"/>
                </p:cNvSpPr>
                <p:nvPr>
                  <p:custDataLst>
                    <p:tags r:id="rId215"/>
                  </p:custDataLst>
                </p:nvPr>
              </p:nvSpPr>
              <p:spPr bwMode="auto">
                <a:xfrm>
                  <a:off x="5441" y="2729"/>
                  <a:ext cx="58" cy="28"/>
                </a:xfrm>
                <a:custGeom>
                  <a:avLst/>
                  <a:gdLst>
                    <a:gd name="T0" fmla="*/ 64 w 137"/>
                    <a:gd name="T1" fmla="*/ 27 h 64"/>
                    <a:gd name="T2" fmla="*/ 48 w 137"/>
                    <a:gd name="T3" fmla="*/ 31 h 64"/>
                    <a:gd name="T4" fmla="*/ 66 w 137"/>
                    <a:gd name="T5" fmla="*/ 39 h 64"/>
                    <a:gd name="T6" fmla="*/ 76 w 137"/>
                    <a:gd name="T7" fmla="*/ 37 h 64"/>
                    <a:gd name="T8" fmla="*/ 73 w 137"/>
                    <a:gd name="T9" fmla="*/ 29 h 64"/>
                    <a:gd name="T10" fmla="*/ 64 w 137"/>
                    <a:gd name="T11" fmla="*/ 27 h 64"/>
                    <a:gd name="T12" fmla="*/ 29 w 137"/>
                    <a:gd name="T13" fmla="*/ 7 h 64"/>
                    <a:gd name="T14" fmla="*/ 19 w 137"/>
                    <a:gd name="T15" fmla="*/ 5 h 64"/>
                    <a:gd name="T16" fmla="*/ 1 w 137"/>
                    <a:gd name="T17" fmla="*/ 6 h 64"/>
                    <a:gd name="T18" fmla="*/ 7 w 137"/>
                    <a:gd name="T19" fmla="*/ 17 h 64"/>
                    <a:gd name="T20" fmla="*/ 22 w 137"/>
                    <a:gd name="T21" fmla="*/ 23 h 64"/>
                    <a:gd name="T22" fmla="*/ 32 w 137"/>
                    <a:gd name="T23" fmla="*/ 19 h 64"/>
                    <a:gd name="T24" fmla="*/ 29 w 137"/>
                    <a:gd name="T25" fmla="*/ 7 h 64"/>
                    <a:gd name="T26" fmla="*/ 120 w 137"/>
                    <a:gd name="T27" fmla="*/ 54 h 64"/>
                    <a:gd name="T28" fmla="*/ 116 w 137"/>
                    <a:gd name="T29" fmla="*/ 62 h 64"/>
                    <a:gd name="T30" fmla="*/ 126 w 137"/>
                    <a:gd name="T31" fmla="*/ 62 h 64"/>
                    <a:gd name="T32" fmla="*/ 132 w 137"/>
                    <a:gd name="T33" fmla="*/ 57 h 64"/>
                    <a:gd name="T34" fmla="*/ 120 w 137"/>
                    <a:gd name="T35" fmla="*/ 54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37" h="64">
                      <a:moveTo>
                        <a:pt x="64" y="27"/>
                      </a:moveTo>
                      <a:cubicBezTo>
                        <a:pt x="55" y="26"/>
                        <a:pt x="47" y="24"/>
                        <a:pt x="48" y="31"/>
                      </a:cubicBezTo>
                      <a:cubicBezTo>
                        <a:pt x="49" y="38"/>
                        <a:pt x="55" y="39"/>
                        <a:pt x="66" y="39"/>
                      </a:cubicBezTo>
                      <a:cubicBezTo>
                        <a:pt x="76" y="40"/>
                        <a:pt x="74" y="40"/>
                        <a:pt x="76" y="37"/>
                      </a:cubicBezTo>
                      <a:cubicBezTo>
                        <a:pt x="78" y="35"/>
                        <a:pt x="75" y="32"/>
                        <a:pt x="73" y="29"/>
                      </a:cubicBezTo>
                      <a:cubicBezTo>
                        <a:pt x="71" y="26"/>
                        <a:pt x="69" y="27"/>
                        <a:pt x="64" y="27"/>
                      </a:cubicBezTo>
                      <a:close/>
                      <a:moveTo>
                        <a:pt x="29" y="7"/>
                      </a:moveTo>
                      <a:cubicBezTo>
                        <a:pt x="25" y="4"/>
                        <a:pt x="19" y="5"/>
                        <a:pt x="19" y="5"/>
                      </a:cubicBezTo>
                      <a:cubicBezTo>
                        <a:pt x="7" y="6"/>
                        <a:pt x="2" y="0"/>
                        <a:pt x="1" y="6"/>
                      </a:cubicBezTo>
                      <a:cubicBezTo>
                        <a:pt x="0" y="11"/>
                        <a:pt x="1" y="16"/>
                        <a:pt x="7" y="17"/>
                      </a:cubicBezTo>
                      <a:cubicBezTo>
                        <a:pt x="12" y="18"/>
                        <a:pt x="15" y="22"/>
                        <a:pt x="22" y="23"/>
                      </a:cubicBezTo>
                      <a:cubicBezTo>
                        <a:pt x="30" y="24"/>
                        <a:pt x="33" y="27"/>
                        <a:pt x="32" y="19"/>
                      </a:cubicBezTo>
                      <a:cubicBezTo>
                        <a:pt x="30" y="12"/>
                        <a:pt x="33" y="10"/>
                        <a:pt x="29" y="7"/>
                      </a:cubicBezTo>
                      <a:close/>
                      <a:moveTo>
                        <a:pt x="120" y="54"/>
                      </a:moveTo>
                      <a:cubicBezTo>
                        <a:pt x="116" y="56"/>
                        <a:pt x="113" y="61"/>
                        <a:pt x="116" y="62"/>
                      </a:cubicBezTo>
                      <a:cubicBezTo>
                        <a:pt x="119" y="63"/>
                        <a:pt x="124" y="64"/>
                        <a:pt x="126" y="62"/>
                      </a:cubicBezTo>
                      <a:cubicBezTo>
                        <a:pt x="127" y="60"/>
                        <a:pt x="126" y="59"/>
                        <a:pt x="132" y="57"/>
                      </a:cubicBezTo>
                      <a:cubicBezTo>
                        <a:pt x="137" y="54"/>
                        <a:pt x="129" y="49"/>
                        <a:pt x="120" y="54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418" name="Freeform 144"/>
                <p:cNvSpPr/>
                <p:nvPr>
                  <p:custDataLst>
                    <p:tags r:id="rId216"/>
                  </p:custDataLst>
                </p:nvPr>
              </p:nvSpPr>
              <p:spPr bwMode="auto">
                <a:xfrm>
                  <a:off x="5481" y="2662"/>
                  <a:ext cx="8" cy="8"/>
                </a:xfrm>
                <a:custGeom>
                  <a:avLst/>
                  <a:gdLst>
                    <a:gd name="T0" fmla="*/ 8 w 20"/>
                    <a:gd name="T1" fmla="*/ 4 h 19"/>
                    <a:gd name="T2" fmla="*/ 5 w 20"/>
                    <a:gd name="T3" fmla="*/ 17 h 19"/>
                    <a:gd name="T4" fmla="*/ 18 w 20"/>
                    <a:gd name="T5" fmla="*/ 16 h 19"/>
                    <a:gd name="T6" fmla="*/ 8 w 20"/>
                    <a:gd name="T7" fmla="*/ 4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0" h="19">
                      <a:moveTo>
                        <a:pt x="8" y="4"/>
                      </a:moveTo>
                      <a:cubicBezTo>
                        <a:pt x="5" y="9"/>
                        <a:pt x="0" y="14"/>
                        <a:pt x="5" y="17"/>
                      </a:cubicBezTo>
                      <a:cubicBezTo>
                        <a:pt x="9" y="19"/>
                        <a:pt x="17" y="19"/>
                        <a:pt x="18" y="16"/>
                      </a:cubicBezTo>
                      <a:cubicBezTo>
                        <a:pt x="20" y="13"/>
                        <a:pt x="14" y="0"/>
                        <a:pt x="8" y="4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419" name="Freeform 145"/>
                <p:cNvSpPr/>
                <p:nvPr>
                  <p:custDataLst>
                    <p:tags r:id="rId217"/>
                  </p:custDataLst>
                </p:nvPr>
              </p:nvSpPr>
              <p:spPr bwMode="auto">
                <a:xfrm>
                  <a:off x="2067" y="2283"/>
                  <a:ext cx="9" cy="8"/>
                </a:xfrm>
                <a:custGeom>
                  <a:avLst/>
                  <a:gdLst>
                    <a:gd name="T0" fmla="*/ 6 w 20"/>
                    <a:gd name="T1" fmla="*/ 3 h 18"/>
                    <a:gd name="T2" fmla="*/ 2 w 20"/>
                    <a:gd name="T3" fmla="*/ 10 h 18"/>
                    <a:gd name="T4" fmla="*/ 7 w 20"/>
                    <a:gd name="T5" fmla="*/ 14 h 18"/>
                    <a:gd name="T6" fmla="*/ 19 w 20"/>
                    <a:gd name="T7" fmla="*/ 6 h 18"/>
                    <a:gd name="T8" fmla="*/ 6 w 20"/>
                    <a:gd name="T9" fmla="*/ 3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0" h="18">
                      <a:moveTo>
                        <a:pt x="6" y="3"/>
                      </a:moveTo>
                      <a:cubicBezTo>
                        <a:pt x="1" y="5"/>
                        <a:pt x="0" y="7"/>
                        <a:pt x="2" y="10"/>
                      </a:cubicBezTo>
                      <a:cubicBezTo>
                        <a:pt x="4" y="14"/>
                        <a:pt x="3" y="18"/>
                        <a:pt x="7" y="14"/>
                      </a:cubicBezTo>
                      <a:cubicBezTo>
                        <a:pt x="11" y="11"/>
                        <a:pt x="17" y="13"/>
                        <a:pt x="19" y="6"/>
                      </a:cubicBezTo>
                      <a:cubicBezTo>
                        <a:pt x="20" y="0"/>
                        <a:pt x="13" y="0"/>
                        <a:pt x="6" y="3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420" name="Freeform 146"/>
                <p:cNvSpPr/>
                <p:nvPr>
                  <p:custDataLst>
                    <p:tags r:id="rId218"/>
                  </p:custDataLst>
                </p:nvPr>
              </p:nvSpPr>
              <p:spPr bwMode="auto">
                <a:xfrm>
                  <a:off x="5513" y="2880"/>
                  <a:ext cx="9" cy="9"/>
                </a:xfrm>
                <a:custGeom>
                  <a:avLst/>
                  <a:gdLst>
                    <a:gd name="T0" fmla="*/ 11 w 22"/>
                    <a:gd name="T1" fmla="*/ 0 h 22"/>
                    <a:gd name="T2" fmla="*/ 2 w 22"/>
                    <a:gd name="T3" fmla="*/ 7 h 22"/>
                    <a:gd name="T4" fmla="*/ 11 w 22"/>
                    <a:gd name="T5" fmla="*/ 17 h 22"/>
                    <a:gd name="T6" fmla="*/ 11 w 22"/>
                    <a:gd name="T7" fmla="*/ 0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2" h="22">
                      <a:moveTo>
                        <a:pt x="11" y="0"/>
                      </a:moveTo>
                      <a:cubicBezTo>
                        <a:pt x="8" y="2"/>
                        <a:pt x="0" y="1"/>
                        <a:pt x="2" y="7"/>
                      </a:cubicBezTo>
                      <a:cubicBezTo>
                        <a:pt x="4" y="13"/>
                        <a:pt x="6" y="22"/>
                        <a:pt x="11" y="17"/>
                      </a:cubicBezTo>
                      <a:cubicBezTo>
                        <a:pt x="16" y="12"/>
                        <a:pt x="22" y="1"/>
                        <a:pt x="11" y="0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421" name="Freeform 147"/>
                <p:cNvSpPr/>
                <p:nvPr>
                  <p:custDataLst>
                    <p:tags r:id="rId219"/>
                  </p:custDataLst>
                </p:nvPr>
              </p:nvSpPr>
              <p:spPr bwMode="auto">
                <a:xfrm>
                  <a:off x="5443" y="2594"/>
                  <a:ext cx="8" cy="9"/>
                </a:xfrm>
                <a:custGeom>
                  <a:avLst/>
                  <a:gdLst>
                    <a:gd name="T0" fmla="*/ 2 w 18"/>
                    <a:gd name="T1" fmla="*/ 7 h 20"/>
                    <a:gd name="T2" fmla="*/ 7 w 18"/>
                    <a:gd name="T3" fmla="*/ 19 h 20"/>
                    <a:gd name="T4" fmla="*/ 17 w 18"/>
                    <a:gd name="T5" fmla="*/ 13 h 20"/>
                    <a:gd name="T6" fmla="*/ 2 w 18"/>
                    <a:gd name="T7" fmla="*/ 7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8" h="20">
                      <a:moveTo>
                        <a:pt x="2" y="7"/>
                      </a:moveTo>
                      <a:cubicBezTo>
                        <a:pt x="0" y="13"/>
                        <a:pt x="3" y="18"/>
                        <a:pt x="7" y="19"/>
                      </a:cubicBezTo>
                      <a:cubicBezTo>
                        <a:pt x="11" y="20"/>
                        <a:pt x="18" y="17"/>
                        <a:pt x="17" y="13"/>
                      </a:cubicBezTo>
                      <a:cubicBezTo>
                        <a:pt x="15" y="8"/>
                        <a:pt x="4" y="0"/>
                        <a:pt x="2" y="7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422" name="Freeform 148"/>
                <p:cNvSpPr/>
                <p:nvPr>
                  <p:custDataLst>
                    <p:tags r:id="rId220"/>
                  </p:custDataLst>
                </p:nvPr>
              </p:nvSpPr>
              <p:spPr bwMode="auto">
                <a:xfrm>
                  <a:off x="5461" y="2613"/>
                  <a:ext cx="5" cy="8"/>
                </a:xfrm>
                <a:custGeom>
                  <a:avLst/>
                  <a:gdLst>
                    <a:gd name="T0" fmla="*/ 5 w 13"/>
                    <a:gd name="T1" fmla="*/ 15 h 17"/>
                    <a:gd name="T2" fmla="*/ 13 w 13"/>
                    <a:gd name="T3" fmla="*/ 6 h 17"/>
                    <a:gd name="T4" fmla="*/ 1 w 13"/>
                    <a:gd name="T5" fmla="*/ 5 h 17"/>
                    <a:gd name="T6" fmla="*/ 5 w 13"/>
                    <a:gd name="T7" fmla="*/ 15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3" h="17">
                      <a:moveTo>
                        <a:pt x="5" y="15"/>
                      </a:moveTo>
                      <a:cubicBezTo>
                        <a:pt x="9" y="13"/>
                        <a:pt x="13" y="10"/>
                        <a:pt x="13" y="6"/>
                      </a:cubicBezTo>
                      <a:cubicBezTo>
                        <a:pt x="13" y="1"/>
                        <a:pt x="2" y="0"/>
                        <a:pt x="1" y="5"/>
                      </a:cubicBezTo>
                      <a:cubicBezTo>
                        <a:pt x="0" y="7"/>
                        <a:pt x="0" y="17"/>
                        <a:pt x="5" y="15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423" name="Freeform 150"/>
                <p:cNvSpPr/>
                <p:nvPr>
                  <p:custDataLst>
                    <p:tags r:id="rId221"/>
                  </p:custDataLst>
                </p:nvPr>
              </p:nvSpPr>
              <p:spPr bwMode="auto">
                <a:xfrm>
                  <a:off x="5233" y="2657"/>
                  <a:ext cx="6" cy="4"/>
                </a:xfrm>
                <a:custGeom>
                  <a:avLst/>
                  <a:gdLst>
                    <a:gd name="T0" fmla="*/ 5 w 15"/>
                    <a:gd name="T1" fmla="*/ 2 h 10"/>
                    <a:gd name="T2" fmla="*/ 2 w 15"/>
                    <a:gd name="T3" fmla="*/ 7 h 10"/>
                    <a:gd name="T4" fmla="*/ 8 w 15"/>
                    <a:gd name="T5" fmla="*/ 8 h 10"/>
                    <a:gd name="T6" fmla="*/ 15 w 15"/>
                    <a:gd name="T7" fmla="*/ 5 h 10"/>
                    <a:gd name="T8" fmla="*/ 5 w 15"/>
                    <a:gd name="T9" fmla="*/ 2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5" h="10">
                      <a:moveTo>
                        <a:pt x="5" y="2"/>
                      </a:moveTo>
                      <a:cubicBezTo>
                        <a:pt x="2" y="3"/>
                        <a:pt x="0" y="6"/>
                        <a:pt x="2" y="7"/>
                      </a:cubicBezTo>
                      <a:cubicBezTo>
                        <a:pt x="4" y="7"/>
                        <a:pt x="6" y="7"/>
                        <a:pt x="8" y="8"/>
                      </a:cubicBezTo>
                      <a:cubicBezTo>
                        <a:pt x="11" y="10"/>
                        <a:pt x="15" y="8"/>
                        <a:pt x="15" y="5"/>
                      </a:cubicBezTo>
                      <a:cubicBezTo>
                        <a:pt x="15" y="2"/>
                        <a:pt x="8" y="0"/>
                        <a:pt x="5" y="2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424" name="Freeform 151"/>
                <p:cNvSpPr/>
                <p:nvPr>
                  <p:custDataLst>
                    <p:tags r:id="rId222"/>
                  </p:custDataLst>
                </p:nvPr>
              </p:nvSpPr>
              <p:spPr bwMode="auto">
                <a:xfrm>
                  <a:off x="4920" y="3705"/>
                  <a:ext cx="18" cy="19"/>
                </a:xfrm>
                <a:custGeom>
                  <a:avLst/>
                  <a:gdLst>
                    <a:gd name="T0" fmla="*/ 35 w 41"/>
                    <a:gd name="T1" fmla="*/ 23 h 46"/>
                    <a:gd name="T2" fmla="*/ 25 w 41"/>
                    <a:gd name="T3" fmla="*/ 16 h 46"/>
                    <a:gd name="T4" fmla="*/ 30 w 41"/>
                    <a:gd name="T5" fmla="*/ 9 h 46"/>
                    <a:gd name="T6" fmla="*/ 13 w 41"/>
                    <a:gd name="T7" fmla="*/ 7 h 46"/>
                    <a:gd name="T8" fmla="*/ 10 w 41"/>
                    <a:gd name="T9" fmla="*/ 22 h 46"/>
                    <a:gd name="T10" fmla="*/ 1 w 41"/>
                    <a:gd name="T11" fmla="*/ 36 h 46"/>
                    <a:gd name="T12" fmla="*/ 5 w 41"/>
                    <a:gd name="T13" fmla="*/ 43 h 46"/>
                    <a:gd name="T14" fmla="*/ 18 w 41"/>
                    <a:gd name="T15" fmla="*/ 36 h 46"/>
                    <a:gd name="T16" fmla="*/ 35 w 41"/>
                    <a:gd name="T17" fmla="*/ 33 h 46"/>
                    <a:gd name="T18" fmla="*/ 35 w 41"/>
                    <a:gd name="T19" fmla="*/ 23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1" h="46">
                      <a:moveTo>
                        <a:pt x="35" y="23"/>
                      </a:moveTo>
                      <a:cubicBezTo>
                        <a:pt x="28" y="21"/>
                        <a:pt x="23" y="19"/>
                        <a:pt x="25" y="16"/>
                      </a:cubicBezTo>
                      <a:cubicBezTo>
                        <a:pt x="27" y="12"/>
                        <a:pt x="32" y="14"/>
                        <a:pt x="30" y="9"/>
                      </a:cubicBezTo>
                      <a:cubicBezTo>
                        <a:pt x="28" y="5"/>
                        <a:pt x="14" y="0"/>
                        <a:pt x="13" y="7"/>
                      </a:cubicBezTo>
                      <a:cubicBezTo>
                        <a:pt x="11" y="15"/>
                        <a:pt x="13" y="14"/>
                        <a:pt x="10" y="22"/>
                      </a:cubicBezTo>
                      <a:cubicBezTo>
                        <a:pt x="7" y="30"/>
                        <a:pt x="2" y="27"/>
                        <a:pt x="1" y="36"/>
                      </a:cubicBezTo>
                      <a:cubicBezTo>
                        <a:pt x="1" y="45"/>
                        <a:pt x="0" y="46"/>
                        <a:pt x="5" y="43"/>
                      </a:cubicBezTo>
                      <a:cubicBezTo>
                        <a:pt x="11" y="40"/>
                        <a:pt x="11" y="38"/>
                        <a:pt x="18" y="36"/>
                      </a:cubicBezTo>
                      <a:cubicBezTo>
                        <a:pt x="26" y="33"/>
                        <a:pt x="33" y="36"/>
                        <a:pt x="35" y="33"/>
                      </a:cubicBezTo>
                      <a:cubicBezTo>
                        <a:pt x="37" y="30"/>
                        <a:pt x="41" y="26"/>
                        <a:pt x="35" y="23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425" name="Freeform 152"/>
                <p:cNvSpPr/>
                <p:nvPr>
                  <p:custDataLst>
                    <p:tags r:id="rId223"/>
                  </p:custDataLst>
                </p:nvPr>
              </p:nvSpPr>
              <p:spPr bwMode="auto">
                <a:xfrm>
                  <a:off x="4921" y="3151"/>
                  <a:ext cx="15" cy="16"/>
                </a:xfrm>
                <a:custGeom>
                  <a:avLst/>
                  <a:gdLst>
                    <a:gd name="T0" fmla="*/ 15 w 35"/>
                    <a:gd name="T1" fmla="*/ 7 h 36"/>
                    <a:gd name="T2" fmla="*/ 10 w 35"/>
                    <a:gd name="T3" fmla="*/ 25 h 36"/>
                    <a:gd name="T4" fmla="*/ 31 w 35"/>
                    <a:gd name="T5" fmla="*/ 28 h 36"/>
                    <a:gd name="T6" fmla="*/ 31 w 35"/>
                    <a:gd name="T7" fmla="*/ 12 h 36"/>
                    <a:gd name="T8" fmla="*/ 15 w 35"/>
                    <a:gd name="T9" fmla="*/ 7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5" h="36">
                      <a:moveTo>
                        <a:pt x="15" y="7"/>
                      </a:moveTo>
                      <a:cubicBezTo>
                        <a:pt x="10" y="17"/>
                        <a:pt x="0" y="19"/>
                        <a:pt x="10" y="25"/>
                      </a:cubicBezTo>
                      <a:cubicBezTo>
                        <a:pt x="20" y="32"/>
                        <a:pt x="31" y="36"/>
                        <a:pt x="31" y="28"/>
                      </a:cubicBezTo>
                      <a:cubicBezTo>
                        <a:pt x="32" y="21"/>
                        <a:pt x="35" y="18"/>
                        <a:pt x="31" y="12"/>
                      </a:cubicBezTo>
                      <a:cubicBezTo>
                        <a:pt x="27" y="6"/>
                        <a:pt x="19" y="0"/>
                        <a:pt x="15" y="7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426" name="Freeform 153"/>
                <p:cNvSpPr/>
                <p:nvPr>
                  <p:custDataLst>
                    <p:tags r:id="rId224"/>
                  </p:custDataLst>
                </p:nvPr>
              </p:nvSpPr>
              <p:spPr bwMode="auto">
                <a:xfrm>
                  <a:off x="5201" y="2584"/>
                  <a:ext cx="4" cy="4"/>
                </a:xfrm>
                <a:custGeom>
                  <a:avLst/>
                  <a:gdLst>
                    <a:gd name="T0" fmla="*/ 11 w 11"/>
                    <a:gd name="T1" fmla="*/ 6 h 9"/>
                    <a:gd name="T2" fmla="*/ 4 w 11"/>
                    <a:gd name="T3" fmla="*/ 2 h 9"/>
                    <a:gd name="T4" fmla="*/ 4 w 11"/>
                    <a:gd name="T5" fmla="*/ 8 h 9"/>
                    <a:gd name="T6" fmla="*/ 11 w 11"/>
                    <a:gd name="T7" fmla="*/ 6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1" h="9">
                      <a:moveTo>
                        <a:pt x="11" y="6"/>
                      </a:moveTo>
                      <a:cubicBezTo>
                        <a:pt x="11" y="3"/>
                        <a:pt x="8" y="0"/>
                        <a:pt x="4" y="2"/>
                      </a:cubicBezTo>
                      <a:cubicBezTo>
                        <a:pt x="2" y="5"/>
                        <a:pt x="0" y="9"/>
                        <a:pt x="4" y="8"/>
                      </a:cubicBezTo>
                      <a:cubicBezTo>
                        <a:pt x="8" y="8"/>
                        <a:pt x="11" y="9"/>
                        <a:pt x="11" y="6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427" name="Freeform 154"/>
                <p:cNvSpPr/>
                <p:nvPr>
                  <p:custDataLst>
                    <p:tags r:id="rId225"/>
                  </p:custDataLst>
                </p:nvPr>
              </p:nvSpPr>
              <p:spPr bwMode="auto">
                <a:xfrm>
                  <a:off x="5172" y="2562"/>
                  <a:ext cx="5" cy="6"/>
                </a:xfrm>
                <a:custGeom>
                  <a:avLst/>
                  <a:gdLst>
                    <a:gd name="T0" fmla="*/ 0 w 11"/>
                    <a:gd name="T1" fmla="*/ 5 h 14"/>
                    <a:gd name="T2" fmla="*/ 5 w 11"/>
                    <a:gd name="T3" fmla="*/ 12 h 14"/>
                    <a:gd name="T4" fmla="*/ 9 w 11"/>
                    <a:gd name="T5" fmla="*/ 9 h 14"/>
                    <a:gd name="T6" fmla="*/ 0 w 11"/>
                    <a:gd name="T7" fmla="*/ 5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1" h="14">
                      <a:moveTo>
                        <a:pt x="0" y="5"/>
                      </a:moveTo>
                      <a:cubicBezTo>
                        <a:pt x="0" y="9"/>
                        <a:pt x="3" y="14"/>
                        <a:pt x="5" y="12"/>
                      </a:cubicBezTo>
                      <a:cubicBezTo>
                        <a:pt x="8" y="11"/>
                        <a:pt x="11" y="13"/>
                        <a:pt x="9" y="9"/>
                      </a:cubicBezTo>
                      <a:cubicBezTo>
                        <a:pt x="7" y="5"/>
                        <a:pt x="0" y="0"/>
                        <a:pt x="0" y="5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428" name="Freeform 155"/>
                <p:cNvSpPr/>
                <p:nvPr>
                  <p:custDataLst>
                    <p:tags r:id="rId226"/>
                  </p:custDataLst>
                </p:nvPr>
              </p:nvSpPr>
              <p:spPr bwMode="auto">
                <a:xfrm>
                  <a:off x="5225" y="2596"/>
                  <a:ext cx="6" cy="4"/>
                </a:xfrm>
                <a:custGeom>
                  <a:avLst/>
                  <a:gdLst>
                    <a:gd name="T0" fmla="*/ 5 w 14"/>
                    <a:gd name="T1" fmla="*/ 5 h 10"/>
                    <a:gd name="T2" fmla="*/ 4 w 14"/>
                    <a:gd name="T3" fmla="*/ 10 h 10"/>
                    <a:gd name="T4" fmla="*/ 13 w 14"/>
                    <a:gd name="T5" fmla="*/ 6 h 10"/>
                    <a:gd name="T6" fmla="*/ 5 w 14"/>
                    <a:gd name="T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4" h="10">
                      <a:moveTo>
                        <a:pt x="5" y="5"/>
                      </a:moveTo>
                      <a:cubicBezTo>
                        <a:pt x="4" y="7"/>
                        <a:pt x="0" y="10"/>
                        <a:pt x="4" y="10"/>
                      </a:cubicBezTo>
                      <a:cubicBezTo>
                        <a:pt x="8" y="10"/>
                        <a:pt x="14" y="8"/>
                        <a:pt x="13" y="6"/>
                      </a:cubicBezTo>
                      <a:cubicBezTo>
                        <a:pt x="12" y="4"/>
                        <a:pt x="9" y="0"/>
                        <a:pt x="5" y="5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429" name="Freeform 156"/>
                <p:cNvSpPr/>
                <p:nvPr>
                  <p:custDataLst>
                    <p:tags r:id="rId227"/>
                  </p:custDataLst>
                </p:nvPr>
              </p:nvSpPr>
              <p:spPr bwMode="auto">
                <a:xfrm>
                  <a:off x="5211" y="2568"/>
                  <a:ext cx="4" cy="4"/>
                </a:xfrm>
                <a:custGeom>
                  <a:avLst/>
                  <a:gdLst>
                    <a:gd name="T0" fmla="*/ 10 w 10"/>
                    <a:gd name="T1" fmla="*/ 7 h 10"/>
                    <a:gd name="T2" fmla="*/ 9 w 10"/>
                    <a:gd name="T3" fmla="*/ 2 h 10"/>
                    <a:gd name="T4" fmla="*/ 2 w 10"/>
                    <a:gd name="T5" fmla="*/ 3 h 10"/>
                    <a:gd name="T6" fmla="*/ 3 w 10"/>
                    <a:gd name="T7" fmla="*/ 9 h 10"/>
                    <a:gd name="T8" fmla="*/ 10 w 10"/>
                    <a:gd name="T9" fmla="*/ 7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" h="10">
                      <a:moveTo>
                        <a:pt x="10" y="7"/>
                      </a:moveTo>
                      <a:cubicBezTo>
                        <a:pt x="9" y="5"/>
                        <a:pt x="10" y="4"/>
                        <a:pt x="9" y="2"/>
                      </a:cubicBezTo>
                      <a:cubicBezTo>
                        <a:pt x="7" y="0"/>
                        <a:pt x="2" y="0"/>
                        <a:pt x="2" y="3"/>
                      </a:cubicBezTo>
                      <a:cubicBezTo>
                        <a:pt x="0" y="6"/>
                        <a:pt x="0" y="9"/>
                        <a:pt x="3" y="9"/>
                      </a:cubicBezTo>
                      <a:cubicBezTo>
                        <a:pt x="6" y="10"/>
                        <a:pt x="10" y="10"/>
                        <a:pt x="10" y="7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430" name="Freeform 157"/>
                <p:cNvSpPr/>
                <p:nvPr>
                  <p:custDataLst>
                    <p:tags r:id="rId228"/>
                  </p:custDataLst>
                </p:nvPr>
              </p:nvSpPr>
              <p:spPr bwMode="auto">
                <a:xfrm>
                  <a:off x="5092" y="3521"/>
                  <a:ext cx="8" cy="7"/>
                </a:xfrm>
                <a:custGeom>
                  <a:avLst/>
                  <a:gdLst>
                    <a:gd name="T0" fmla="*/ 10 w 19"/>
                    <a:gd name="T1" fmla="*/ 2 h 16"/>
                    <a:gd name="T2" fmla="*/ 3 w 19"/>
                    <a:gd name="T3" fmla="*/ 10 h 16"/>
                    <a:gd name="T4" fmla="*/ 11 w 19"/>
                    <a:gd name="T5" fmla="*/ 12 h 16"/>
                    <a:gd name="T6" fmla="*/ 18 w 19"/>
                    <a:gd name="T7" fmla="*/ 5 h 16"/>
                    <a:gd name="T8" fmla="*/ 10 w 19"/>
                    <a:gd name="T9" fmla="*/ 2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9" h="16">
                      <a:moveTo>
                        <a:pt x="10" y="2"/>
                      </a:moveTo>
                      <a:cubicBezTo>
                        <a:pt x="4" y="5"/>
                        <a:pt x="0" y="6"/>
                        <a:pt x="3" y="10"/>
                      </a:cubicBezTo>
                      <a:cubicBezTo>
                        <a:pt x="7" y="13"/>
                        <a:pt x="8" y="16"/>
                        <a:pt x="11" y="12"/>
                      </a:cubicBezTo>
                      <a:cubicBezTo>
                        <a:pt x="14" y="8"/>
                        <a:pt x="19" y="8"/>
                        <a:pt x="18" y="5"/>
                      </a:cubicBezTo>
                      <a:cubicBezTo>
                        <a:pt x="17" y="2"/>
                        <a:pt x="18" y="0"/>
                        <a:pt x="10" y="2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431" name="Freeform 159"/>
                <p:cNvSpPr/>
                <p:nvPr>
                  <p:custDataLst>
                    <p:tags r:id="rId229"/>
                  </p:custDataLst>
                </p:nvPr>
              </p:nvSpPr>
              <p:spPr bwMode="auto">
                <a:xfrm>
                  <a:off x="2040" y="1283"/>
                  <a:ext cx="11" cy="14"/>
                </a:xfrm>
                <a:custGeom>
                  <a:avLst/>
                  <a:gdLst>
                    <a:gd name="T0" fmla="*/ 21 w 24"/>
                    <a:gd name="T1" fmla="*/ 0 h 32"/>
                    <a:gd name="T2" fmla="*/ 13 w 24"/>
                    <a:gd name="T3" fmla="*/ 11 h 32"/>
                    <a:gd name="T4" fmla="*/ 9 w 24"/>
                    <a:gd name="T5" fmla="*/ 16 h 32"/>
                    <a:gd name="T6" fmla="*/ 0 w 24"/>
                    <a:gd name="T7" fmla="*/ 29 h 32"/>
                    <a:gd name="T8" fmla="*/ 15 w 24"/>
                    <a:gd name="T9" fmla="*/ 19 h 32"/>
                    <a:gd name="T10" fmla="*/ 23 w 24"/>
                    <a:gd name="T11" fmla="*/ 10 h 32"/>
                    <a:gd name="T12" fmla="*/ 21 w 24"/>
                    <a:gd name="T13" fmla="*/ 0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4" h="32">
                      <a:moveTo>
                        <a:pt x="21" y="0"/>
                      </a:moveTo>
                      <a:cubicBezTo>
                        <a:pt x="19" y="0"/>
                        <a:pt x="17" y="3"/>
                        <a:pt x="13" y="11"/>
                      </a:cubicBezTo>
                      <a:cubicBezTo>
                        <a:pt x="11" y="14"/>
                        <a:pt x="12" y="11"/>
                        <a:pt x="9" y="16"/>
                      </a:cubicBezTo>
                      <a:cubicBezTo>
                        <a:pt x="5" y="22"/>
                        <a:pt x="0" y="23"/>
                        <a:pt x="0" y="29"/>
                      </a:cubicBezTo>
                      <a:cubicBezTo>
                        <a:pt x="0" y="32"/>
                        <a:pt x="11" y="22"/>
                        <a:pt x="15" y="19"/>
                      </a:cubicBezTo>
                      <a:cubicBezTo>
                        <a:pt x="19" y="16"/>
                        <a:pt x="22" y="13"/>
                        <a:pt x="23" y="10"/>
                      </a:cubicBezTo>
                      <a:cubicBezTo>
                        <a:pt x="23" y="6"/>
                        <a:pt x="24" y="1"/>
                        <a:pt x="21" y="0"/>
                      </a:cubicBezTo>
                      <a:close/>
                    </a:path>
                  </a:pathLst>
                </a:custGeom>
                <a:solidFill>
                  <a:srgbClr val="E7E6E6"/>
                </a:solidFill>
                <a:ln w="1588" cap="flat">
                  <a:solidFill>
                    <a:srgbClr val="FFFFFF"/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486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972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459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19456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74320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29184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84048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389120" algn="l" defTabSz="1097280" rtl="0" eaLnBrk="1" latinLnBrk="0" hangingPunct="1">
                    <a:defRPr sz="216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097236"/>
                  <a:endParaRPr lang="en-US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</p:grpSp>
          <p:sp>
            <p:nvSpPr>
              <p:cNvPr id="272" name="TextBox 271">
                <a:extLst>
                  <a:ext uri="{FF2B5EF4-FFF2-40B4-BE49-F238E27FC236}">
                    <a16:creationId xmlns:a16="http://schemas.microsoft.com/office/drawing/2014/main" id="{8987CB73-908A-034F-BA4E-2FD85B84259D}"/>
                  </a:ext>
                </a:extLst>
              </p:cNvPr>
              <p:cNvSpPr txBox="1"/>
              <p:nvPr>
                <p:custDataLst>
                  <p:tags r:id="rId75"/>
                </p:custDataLst>
              </p:nvPr>
            </p:nvSpPr>
            <p:spPr>
              <a:xfrm>
                <a:off x="10277155" y="3440438"/>
                <a:ext cx="164592" cy="164592"/>
              </a:xfrm>
              <a:prstGeom prst="ellipse">
                <a:avLst/>
              </a:prstGeom>
              <a:solidFill>
                <a:schemeClr val="bg1"/>
              </a:solidFill>
              <a:ln w="6350">
                <a:solidFill>
                  <a:schemeClr val="accent1"/>
                </a:solidFill>
              </a:ln>
              <a:effectLst/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marR="0" indent="0" algn="ctr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840" b="1" i="0" u="none" strike="noStrike" kern="1200" cap="none" spc="0" normalizeH="0" baseline="0" noProof="0">
                    <a:solidFill>
                      <a:schemeClr val="accent1">
                        <a:lumMod val="75000"/>
                      </a:schemeClr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Calibri" panose="020F0502020204030204" pitchFamily="34" charset="0"/>
                    <a:sym typeface="Wingdings" charset="2"/>
                  </a:defRPr>
                </a:lvl1pPr>
                <a:lvl2pPr marL="5486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2pPr>
                <a:lvl3pPr marL="10972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3pPr>
                <a:lvl4pPr marL="16459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4pPr>
                <a:lvl5pPr marL="219456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5pPr>
                <a:lvl6pPr marL="274320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6pPr>
                <a:lvl7pPr marL="32918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7pPr>
                <a:lvl8pPr marL="38404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8pPr>
                <a:lvl9pPr marL="43891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9pPr>
              </a:lstStyle>
              <a:p>
                <a:pPr defTabSz="1097236">
                  <a:defRPr kumimoji="0" sz="840" b="1" i="0" u="none" strike="noStrike" cap="none" spc="0" normalizeH="0" baseline="0" noProof="0">
                    <a:solidFill>
                      <a:srgbClr val="471B77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Calibri" panose="020F0502020204030204" pitchFamily="34" charset="0"/>
                    <a:sym typeface="Wingdings" charset="2"/>
                  </a:defRPr>
                </a:pPr>
                <a:r>
                  <a:rPr lang="en-US">
                    <a:solidFill>
                      <a:srgbClr val="6F2C91">
                        <a:lumMod val="75000"/>
                      </a:srgbClr>
                    </a:solidFill>
                  </a:rPr>
                  <a:t>8</a:t>
                </a:r>
              </a:p>
            </p:txBody>
          </p:sp>
        </p:grpSp>
        <p:grpSp>
          <p:nvGrpSpPr>
            <p:cNvPr id="15" name="Группа 14"/>
            <p:cNvGrpSpPr/>
            <p:nvPr>
              <p:custDataLst>
                <p:tags r:id="rId57"/>
              </p:custDataLst>
            </p:nvPr>
          </p:nvGrpSpPr>
          <p:grpSpPr>
            <a:xfrm>
              <a:off x="8728175" y="2819188"/>
              <a:ext cx="3077264" cy="2694842"/>
              <a:chOff x="8728175" y="2819188"/>
              <a:chExt cx="3077264" cy="2694842"/>
            </a:xfrm>
          </p:grpSpPr>
          <p:sp>
            <p:nvSpPr>
              <p:cNvPr id="108" name="Rectangle 168">
                <a:extLst>
                  <a:ext uri="{FF2B5EF4-FFF2-40B4-BE49-F238E27FC236}">
                    <a16:creationId xmlns:a16="http://schemas.microsoft.com/office/drawing/2014/main" id="{702C5E1A-AAB9-B04C-B3A3-BAFED8C6F93F}"/>
                  </a:ext>
                </a:extLst>
              </p:cNvPr>
              <p:cNvSpPr/>
              <p:nvPr>
                <p:custDataLst>
                  <p:tags r:id="rId58"/>
                </p:custDataLst>
              </p:nvPr>
            </p:nvSpPr>
            <p:spPr>
              <a:xfrm>
                <a:off x="9210527" y="3903794"/>
                <a:ext cx="788999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>
                <a:defPPr>
                  <a:defRPr lang="en-US"/>
                </a:defPPr>
                <a:lvl1pPr marL="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486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972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459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19456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4320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918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404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3891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1097236">
                  <a:spcBef>
                    <a:spcPct val="0"/>
                  </a:spcBef>
                  <a:spcAft>
                    <a:spcPct val="0"/>
                  </a:spcAft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r>
                  <a:rPr lang="en-US" sz="1200">
                    <a:solidFill>
                      <a:srgbClr val="6F2C91">
                        <a:lumMod val="75000"/>
                      </a:srgbClr>
                    </a:solidFill>
                    <a:latin typeface="Arial" pitchFamily="34" charset="0"/>
                    <a:cs typeface="Arial" pitchFamily="34" charset="0"/>
                  </a:rPr>
                  <a:t>Malaysia</a:t>
                </a:r>
              </a:p>
            </p:txBody>
          </p:sp>
          <p:sp>
            <p:nvSpPr>
              <p:cNvPr id="82" name="Rectangle 127">
                <a:extLst>
                  <a:ext uri="{FF2B5EF4-FFF2-40B4-BE49-F238E27FC236}">
                    <a16:creationId xmlns:a16="http://schemas.microsoft.com/office/drawing/2014/main" id="{70D344D1-52C3-3E45-9779-304E163A1534}"/>
                  </a:ext>
                </a:extLst>
              </p:cNvPr>
              <p:cNvSpPr/>
              <p:nvPr>
                <p:custDataLst>
                  <p:tags r:id="rId59"/>
                </p:custDataLst>
              </p:nvPr>
            </p:nvSpPr>
            <p:spPr>
              <a:xfrm>
                <a:off x="9692684" y="2915203"/>
                <a:ext cx="583814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>
                <a:defPPr>
                  <a:defRPr lang="en-US"/>
                </a:defPPr>
                <a:lvl1pPr marL="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486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972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459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19456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4320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918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404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3891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1097236">
                  <a:spcBef>
                    <a:spcPct val="0"/>
                  </a:spcBef>
                  <a:spcAft>
                    <a:spcPct val="0"/>
                  </a:spcAft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r>
                  <a:rPr lang="pl-PL" sz="1200">
                    <a:solidFill>
                      <a:srgbClr val="6F2C91">
                        <a:lumMod val="75000"/>
                      </a:srgbClr>
                    </a:solidFill>
                    <a:latin typeface="Arial" pitchFamily="34" charset="0"/>
                    <a:cs typeface="Arial" pitchFamily="34" charset="0"/>
                  </a:rPr>
                  <a:t>China</a:t>
                </a:r>
                <a:endParaRPr lang="en-US" sz="1200">
                  <a:solidFill>
                    <a:srgbClr val="6F2C91">
                      <a:lumMod val="75000"/>
                    </a:srgbClr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05" name="Rectangle 165">
                <a:extLst>
                  <a:ext uri="{FF2B5EF4-FFF2-40B4-BE49-F238E27FC236}">
                    <a16:creationId xmlns:a16="http://schemas.microsoft.com/office/drawing/2014/main" id="{23CCDBCC-3C01-994F-837A-A4FA576548AB}"/>
                  </a:ext>
                </a:extLst>
              </p:cNvPr>
              <p:cNvSpPr/>
              <p:nvPr>
                <p:custDataLst>
                  <p:tags r:id="rId60"/>
                </p:custDataLst>
              </p:nvPr>
            </p:nvSpPr>
            <p:spPr>
              <a:xfrm>
                <a:off x="10797323" y="5237031"/>
                <a:ext cx="780983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>
                <a:defPPr>
                  <a:defRPr lang="en-US"/>
                </a:defPPr>
                <a:lvl1pPr marL="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486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972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459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19456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4320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918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404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3891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1097236">
                  <a:spcBef>
                    <a:spcPct val="0"/>
                  </a:spcBef>
                  <a:spcAft>
                    <a:spcPct val="0"/>
                  </a:spcAft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r>
                  <a:rPr lang="en-US" sz="1200">
                    <a:solidFill>
                      <a:srgbClr val="6F2C91">
                        <a:lumMod val="75000"/>
                      </a:srgbClr>
                    </a:solidFill>
                    <a:latin typeface="Arial" pitchFamily="34" charset="0"/>
                    <a:cs typeface="Arial" pitchFamily="34" charset="0"/>
                  </a:rPr>
                  <a:t>Australia</a:t>
                </a:r>
              </a:p>
            </p:txBody>
          </p:sp>
          <p:sp>
            <p:nvSpPr>
              <p:cNvPr id="103" name="TextBox 102">
                <a:extLst>
                  <a:ext uri="{FF2B5EF4-FFF2-40B4-BE49-F238E27FC236}">
                    <a16:creationId xmlns:a16="http://schemas.microsoft.com/office/drawing/2014/main" id="{FECA3C40-E754-F840-A6C1-2E1764EA0CE6}"/>
                  </a:ext>
                </a:extLst>
              </p:cNvPr>
              <p:cNvSpPr txBox="1"/>
              <p:nvPr>
                <p:custDataLst>
                  <p:tags r:id="rId61"/>
                </p:custDataLst>
              </p:nvPr>
            </p:nvSpPr>
            <p:spPr>
              <a:xfrm>
                <a:off x="11003944" y="2953897"/>
                <a:ext cx="164592" cy="164592"/>
              </a:xfrm>
              <a:prstGeom prst="ellipse">
                <a:avLst/>
              </a:prstGeom>
              <a:solidFill>
                <a:schemeClr val="bg1"/>
              </a:solidFill>
              <a:ln w="6350">
                <a:solidFill>
                  <a:schemeClr val="accent1"/>
                </a:solidFill>
              </a:ln>
              <a:effectLst/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marR="0" indent="0" algn="ctr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840" b="1" i="0" u="none" strike="noStrike" kern="1200" cap="none" spc="0" normalizeH="0" baseline="0" noProof="0">
                    <a:solidFill>
                      <a:schemeClr val="accent1">
                        <a:lumMod val="75000"/>
                      </a:schemeClr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Calibri" panose="020F0502020204030204" pitchFamily="34" charset="0"/>
                    <a:sym typeface="Wingdings" charset="2"/>
                  </a:defRPr>
                </a:lvl1pPr>
                <a:lvl2pPr marL="5486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2pPr>
                <a:lvl3pPr marL="10972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3pPr>
                <a:lvl4pPr marL="16459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4pPr>
                <a:lvl5pPr marL="219456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5pPr>
                <a:lvl6pPr marL="274320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6pPr>
                <a:lvl7pPr marL="32918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7pPr>
                <a:lvl8pPr marL="38404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8pPr>
                <a:lvl9pPr marL="43891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9pPr>
              </a:lstStyle>
              <a:p>
                <a:pPr defTabSz="1097236">
                  <a:defRPr kumimoji="0" sz="840" b="1" i="0" u="none" strike="noStrike" cap="none" spc="0" normalizeH="0" baseline="0" noProof="0">
                    <a:solidFill>
                      <a:srgbClr val="471B77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Calibri" panose="020F0502020204030204" pitchFamily="34" charset="0"/>
                    <a:sym typeface="Wingdings" charset="2"/>
                  </a:defRPr>
                </a:pPr>
                <a:r>
                  <a:rPr lang="en-US">
                    <a:solidFill>
                      <a:srgbClr val="6F2C91">
                        <a:lumMod val="75000"/>
                      </a:srgbClr>
                    </a:solidFill>
                  </a:rPr>
                  <a:t>1</a:t>
                </a:r>
              </a:p>
            </p:txBody>
          </p:sp>
          <p:sp>
            <p:nvSpPr>
              <p:cNvPr id="106" name="TextBox 105">
                <a:extLst>
                  <a:ext uri="{FF2B5EF4-FFF2-40B4-BE49-F238E27FC236}">
                    <a16:creationId xmlns:a16="http://schemas.microsoft.com/office/drawing/2014/main" id="{8987CB73-908A-034F-BA4E-2FD85B84259D}"/>
                  </a:ext>
                </a:extLst>
              </p:cNvPr>
              <p:cNvSpPr txBox="1"/>
              <p:nvPr>
                <p:custDataLst>
                  <p:tags r:id="rId62"/>
                </p:custDataLst>
              </p:nvPr>
            </p:nvSpPr>
            <p:spPr>
              <a:xfrm>
                <a:off x="10064092" y="3754291"/>
                <a:ext cx="164592" cy="164592"/>
              </a:xfrm>
              <a:prstGeom prst="ellipse">
                <a:avLst/>
              </a:prstGeom>
              <a:solidFill>
                <a:schemeClr val="bg1"/>
              </a:solidFill>
              <a:ln w="6350">
                <a:solidFill>
                  <a:schemeClr val="accent1"/>
                </a:solidFill>
              </a:ln>
              <a:effectLst/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marR="0" indent="0" algn="ctr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840" b="1" i="0" u="none" strike="noStrike" kern="1200" cap="none" spc="0" normalizeH="0" baseline="0" noProof="0">
                    <a:solidFill>
                      <a:schemeClr val="accent1">
                        <a:lumMod val="75000"/>
                      </a:schemeClr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Calibri" panose="020F0502020204030204" pitchFamily="34" charset="0"/>
                    <a:sym typeface="Wingdings" charset="2"/>
                  </a:defRPr>
                </a:lvl1pPr>
                <a:lvl2pPr marL="5486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2pPr>
                <a:lvl3pPr marL="10972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3pPr>
                <a:lvl4pPr marL="16459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4pPr>
                <a:lvl5pPr marL="219456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5pPr>
                <a:lvl6pPr marL="274320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6pPr>
                <a:lvl7pPr marL="32918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7pPr>
                <a:lvl8pPr marL="38404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8pPr>
                <a:lvl9pPr marL="43891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9pPr>
              </a:lstStyle>
              <a:p>
                <a:pPr defTabSz="1097236">
                  <a:defRPr kumimoji="0" sz="840" b="1" i="0" u="none" strike="noStrike" cap="none" spc="0" normalizeH="0" baseline="0" noProof="0">
                    <a:solidFill>
                      <a:srgbClr val="471B77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Calibri" panose="020F0502020204030204" pitchFamily="34" charset="0"/>
                    <a:sym typeface="Wingdings" charset="2"/>
                  </a:defRPr>
                </a:pPr>
                <a:r>
                  <a:rPr lang="en-US">
                    <a:solidFill>
                      <a:srgbClr val="6F2C91">
                        <a:lumMod val="75000"/>
                      </a:srgbClr>
                    </a:solidFill>
                  </a:rPr>
                  <a:t>2</a:t>
                </a:r>
              </a:p>
            </p:txBody>
          </p:sp>
          <p:sp>
            <p:nvSpPr>
              <p:cNvPr id="113" name="TextBox 112">
                <a:extLst>
                  <a:ext uri="{FF2B5EF4-FFF2-40B4-BE49-F238E27FC236}">
                    <a16:creationId xmlns:a16="http://schemas.microsoft.com/office/drawing/2014/main" id="{EB4E4BCC-29F4-E447-AFC8-48589AD1A6D0}"/>
                  </a:ext>
                </a:extLst>
              </p:cNvPr>
              <p:cNvSpPr txBox="1"/>
              <p:nvPr>
                <p:custDataLst>
                  <p:tags r:id="rId63"/>
                </p:custDataLst>
              </p:nvPr>
            </p:nvSpPr>
            <p:spPr>
              <a:xfrm>
                <a:off x="10657660" y="5302466"/>
                <a:ext cx="164592" cy="164592"/>
              </a:xfrm>
              <a:prstGeom prst="ellipse">
                <a:avLst/>
              </a:prstGeom>
              <a:solidFill>
                <a:schemeClr val="bg1"/>
              </a:solidFill>
              <a:ln w="6350">
                <a:solidFill>
                  <a:schemeClr val="accent1"/>
                </a:solidFill>
              </a:ln>
              <a:effectLst/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marR="0" indent="0" algn="ctr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840" b="1" i="0" u="none" strike="noStrike" kern="1200" cap="none" spc="0" normalizeH="0" baseline="0" noProof="0">
                    <a:solidFill>
                      <a:schemeClr val="accent1">
                        <a:lumMod val="75000"/>
                      </a:schemeClr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Calibri" panose="020F0502020204030204" pitchFamily="34" charset="0"/>
                    <a:sym typeface="Wingdings" charset="2"/>
                  </a:defRPr>
                </a:lvl1pPr>
                <a:lvl2pPr marL="5486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2pPr>
                <a:lvl3pPr marL="10972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3pPr>
                <a:lvl4pPr marL="16459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4pPr>
                <a:lvl5pPr marL="219456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5pPr>
                <a:lvl6pPr marL="274320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6pPr>
                <a:lvl7pPr marL="32918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7pPr>
                <a:lvl8pPr marL="38404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8pPr>
                <a:lvl9pPr marL="43891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9pPr>
              </a:lstStyle>
              <a:p>
                <a:pPr defTabSz="1097236">
                  <a:defRPr kumimoji="0" sz="840" b="1" i="0" u="none" strike="noStrike" cap="none" spc="0" normalizeH="0" baseline="0" noProof="0">
                    <a:solidFill>
                      <a:srgbClr val="471B77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Calibri" panose="020F0502020204030204" pitchFamily="34" charset="0"/>
                    <a:sym typeface="Wingdings" charset="2"/>
                  </a:defRPr>
                </a:pPr>
                <a:r>
                  <a:rPr lang="en-US">
                    <a:solidFill>
                      <a:srgbClr val="6F2C91">
                        <a:lumMod val="75000"/>
                      </a:srgbClr>
                    </a:solidFill>
                  </a:rPr>
                  <a:t>3</a:t>
                </a:r>
              </a:p>
            </p:txBody>
          </p:sp>
          <p:sp>
            <p:nvSpPr>
              <p:cNvPr id="114" name="TextBox 113">
                <a:extLst>
                  <a:ext uri="{FF2B5EF4-FFF2-40B4-BE49-F238E27FC236}">
                    <a16:creationId xmlns:a16="http://schemas.microsoft.com/office/drawing/2014/main" id="{B0FFB168-DDA2-414D-977C-01889404956A}"/>
                  </a:ext>
                </a:extLst>
              </p:cNvPr>
              <p:cNvSpPr txBox="1"/>
              <p:nvPr>
                <p:custDataLst>
                  <p:tags r:id="rId64"/>
                </p:custDataLst>
              </p:nvPr>
            </p:nvSpPr>
            <p:spPr>
              <a:xfrm>
                <a:off x="9924059" y="4064327"/>
                <a:ext cx="164592" cy="164592"/>
              </a:xfrm>
              <a:prstGeom prst="ellipse">
                <a:avLst/>
              </a:prstGeom>
              <a:solidFill>
                <a:schemeClr val="bg1"/>
              </a:solidFill>
              <a:ln w="6350">
                <a:solidFill>
                  <a:schemeClr val="accent1"/>
                </a:solidFill>
              </a:ln>
              <a:effectLst/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marR="0" indent="0" algn="ctr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840" b="1" i="0" u="none" strike="noStrike" kern="1200" cap="none" spc="0" normalizeH="0" baseline="0" noProof="0">
                    <a:solidFill>
                      <a:schemeClr val="accent1">
                        <a:lumMod val="75000"/>
                      </a:schemeClr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Calibri" panose="020F0502020204030204" pitchFamily="34" charset="0"/>
                    <a:sym typeface="Wingdings" charset="2"/>
                  </a:defRPr>
                </a:lvl1pPr>
                <a:lvl2pPr marL="5486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2pPr>
                <a:lvl3pPr marL="10972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3pPr>
                <a:lvl4pPr marL="16459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4pPr>
                <a:lvl5pPr marL="219456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5pPr>
                <a:lvl6pPr marL="274320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6pPr>
                <a:lvl7pPr marL="32918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7pPr>
                <a:lvl8pPr marL="38404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8pPr>
                <a:lvl9pPr marL="43891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9pPr>
              </a:lstStyle>
              <a:p>
                <a:pPr defTabSz="1097236">
                  <a:defRPr kumimoji="0" sz="840" b="1" i="0" u="none" strike="noStrike" cap="none" spc="0" normalizeH="0" baseline="0" noProof="0">
                    <a:solidFill>
                      <a:srgbClr val="471B77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Calibri" panose="020F0502020204030204" pitchFamily="34" charset="0"/>
                    <a:sym typeface="Wingdings" charset="2"/>
                  </a:defRPr>
                </a:pPr>
                <a:r>
                  <a:rPr lang="en-US">
                    <a:solidFill>
                      <a:srgbClr val="6F2C91">
                        <a:lumMod val="75000"/>
                      </a:srgbClr>
                    </a:solidFill>
                  </a:rPr>
                  <a:t>4</a:t>
                </a:r>
              </a:p>
            </p:txBody>
          </p:sp>
          <p:sp>
            <p:nvSpPr>
              <p:cNvPr id="124" name="TextBox 123">
                <a:extLst>
                  <a:ext uri="{FF2B5EF4-FFF2-40B4-BE49-F238E27FC236}">
                    <a16:creationId xmlns:a16="http://schemas.microsoft.com/office/drawing/2014/main" id="{F0DB76B1-5724-B74B-9860-D2367C900D7C}"/>
                  </a:ext>
                </a:extLst>
              </p:cNvPr>
              <p:cNvSpPr txBox="1"/>
              <p:nvPr>
                <p:custDataLst>
                  <p:tags r:id="rId65"/>
                </p:custDataLst>
              </p:nvPr>
            </p:nvSpPr>
            <p:spPr>
              <a:xfrm>
                <a:off x="10027434" y="4363937"/>
                <a:ext cx="164592" cy="164592"/>
              </a:xfrm>
              <a:prstGeom prst="ellipse">
                <a:avLst/>
              </a:prstGeom>
              <a:solidFill>
                <a:schemeClr val="bg1"/>
              </a:solidFill>
              <a:ln w="6350">
                <a:solidFill>
                  <a:schemeClr val="accent1"/>
                </a:solidFill>
              </a:ln>
              <a:effectLst/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marR="0" indent="0" algn="ctr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840" b="1" i="0" u="none" strike="noStrike" kern="1200" cap="none" spc="0" normalizeH="0" baseline="0" noProof="0">
                    <a:solidFill>
                      <a:schemeClr val="accent1">
                        <a:lumMod val="75000"/>
                      </a:schemeClr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Calibri" panose="020F0502020204030204" pitchFamily="34" charset="0"/>
                    <a:sym typeface="Wingdings" charset="2"/>
                  </a:defRPr>
                </a:lvl1pPr>
                <a:lvl2pPr marL="5486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2pPr>
                <a:lvl3pPr marL="10972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3pPr>
                <a:lvl4pPr marL="16459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4pPr>
                <a:lvl5pPr marL="219456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5pPr>
                <a:lvl6pPr marL="274320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6pPr>
                <a:lvl7pPr marL="32918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7pPr>
                <a:lvl8pPr marL="38404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8pPr>
                <a:lvl9pPr marL="43891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9pPr>
              </a:lstStyle>
              <a:p>
                <a:pPr defTabSz="1097236">
                  <a:defRPr kumimoji="0" sz="840" b="1" i="0" u="none" strike="noStrike" cap="none" spc="0" normalizeH="0" baseline="0" noProof="0">
                    <a:solidFill>
                      <a:srgbClr val="471B77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Calibri" panose="020F0502020204030204" pitchFamily="34" charset="0"/>
                    <a:sym typeface="Wingdings" charset="2"/>
                  </a:defRPr>
                </a:pPr>
                <a:r>
                  <a:rPr lang="en-US">
                    <a:solidFill>
                      <a:srgbClr val="6F2C91">
                        <a:lumMod val="75000"/>
                      </a:srgbClr>
                    </a:solidFill>
                  </a:rPr>
                  <a:t>5</a:t>
                </a:r>
              </a:p>
            </p:txBody>
          </p:sp>
          <p:sp>
            <p:nvSpPr>
              <p:cNvPr id="128" name="TextBox 127">
                <a:extLst>
                  <a:ext uri="{FF2B5EF4-FFF2-40B4-BE49-F238E27FC236}">
                    <a16:creationId xmlns:a16="http://schemas.microsoft.com/office/drawing/2014/main" id="{E9BA429C-0C3B-1046-845F-28C47867D3AC}"/>
                  </a:ext>
                </a:extLst>
              </p:cNvPr>
              <p:cNvSpPr txBox="1"/>
              <p:nvPr>
                <p:custDataLst>
                  <p:tags r:id="rId66"/>
                </p:custDataLst>
              </p:nvPr>
            </p:nvSpPr>
            <p:spPr>
              <a:xfrm>
                <a:off x="9557976" y="2819188"/>
                <a:ext cx="164592" cy="164592"/>
              </a:xfrm>
              <a:prstGeom prst="ellipse">
                <a:avLst/>
              </a:prstGeom>
              <a:solidFill>
                <a:schemeClr val="bg1"/>
              </a:solidFill>
              <a:ln w="6350">
                <a:solidFill>
                  <a:schemeClr val="accent1"/>
                </a:solidFill>
              </a:ln>
              <a:effectLst/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marR="0" indent="0" algn="ctr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840" b="1" i="0" u="none" strike="noStrike" kern="1200" cap="none" spc="0" normalizeH="0" baseline="0" noProof="0">
                    <a:solidFill>
                      <a:schemeClr val="accent1">
                        <a:lumMod val="75000"/>
                      </a:schemeClr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Calibri" panose="020F0502020204030204" pitchFamily="34" charset="0"/>
                    <a:sym typeface="Wingdings" charset="2"/>
                  </a:defRPr>
                </a:lvl1pPr>
                <a:lvl2pPr marL="5486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2pPr>
                <a:lvl3pPr marL="10972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3pPr>
                <a:lvl4pPr marL="16459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4pPr>
                <a:lvl5pPr marL="219456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5pPr>
                <a:lvl6pPr marL="274320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6pPr>
                <a:lvl7pPr marL="32918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7pPr>
                <a:lvl8pPr marL="38404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8pPr>
                <a:lvl9pPr marL="43891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9pPr>
              </a:lstStyle>
              <a:p>
                <a:pPr defTabSz="1097236">
                  <a:defRPr kumimoji="0" sz="840" b="1" i="0" u="none" strike="noStrike" cap="none" spc="0" normalizeH="0" baseline="0" noProof="0">
                    <a:solidFill>
                      <a:srgbClr val="471B77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Calibri" panose="020F0502020204030204" pitchFamily="34" charset="0"/>
                    <a:sym typeface="Wingdings" charset="2"/>
                  </a:defRPr>
                </a:pPr>
                <a:r>
                  <a:rPr lang="en-US">
                    <a:solidFill>
                      <a:srgbClr val="6F2C91">
                        <a:lumMod val="75000"/>
                      </a:srgbClr>
                    </a:solidFill>
                  </a:rPr>
                  <a:t>7</a:t>
                </a:r>
              </a:p>
            </p:txBody>
          </p:sp>
          <p:sp>
            <p:nvSpPr>
              <p:cNvPr id="434" name="Freeform 5">
                <a:extLst>
                  <a:ext uri="{FF2B5EF4-FFF2-40B4-BE49-F238E27FC236}">
                    <a16:creationId xmlns:a16="http://schemas.microsoft.com/office/drawing/2014/main" id="{BAE6D8AB-12CA-4C3F-B324-9786F280C35A}"/>
                  </a:ext>
                </a:extLst>
              </p:cNvPr>
              <p:cNvSpPr/>
              <p:nvPr>
                <p:custDataLst>
                  <p:tags r:id="rId67"/>
                </p:custDataLst>
              </p:nvPr>
            </p:nvSpPr>
            <p:spPr bwMode="auto">
              <a:xfrm>
                <a:off x="8728175" y="2988055"/>
                <a:ext cx="1126234" cy="1186219"/>
              </a:xfrm>
              <a:custGeom>
                <a:avLst/>
                <a:gdLst>
                  <a:gd name="T0" fmla="*/ 2398 w 2493"/>
                  <a:gd name="T1" fmla="*/ 714 h 2784"/>
                  <a:gd name="T2" fmla="*/ 2259 w 2493"/>
                  <a:gd name="T3" fmla="*/ 708 h 2784"/>
                  <a:gd name="T4" fmla="*/ 2092 w 2493"/>
                  <a:gd name="T5" fmla="*/ 840 h 2784"/>
                  <a:gd name="T6" fmla="*/ 2031 w 2493"/>
                  <a:gd name="T7" fmla="*/ 900 h 2784"/>
                  <a:gd name="T8" fmla="*/ 1966 w 2493"/>
                  <a:gd name="T9" fmla="*/ 962 h 2784"/>
                  <a:gd name="T10" fmla="*/ 1779 w 2493"/>
                  <a:gd name="T11" fmla="*/ 939 h 2784"/>
                  <a:gd name="T12" fmla="*/ 1723 w 2493"/>
                  <a:gd name="T13" fmla="*/ 870 h 2784"/>
                  <a:gd name="T14" fmla="*/ 1688 w 2493"/>
                  <a:gd name="T15" fmla="*/ 1012 h 2784"/>
                  <a:gd name="T16" fmla="*/ 1517 w 2493"/>
                  <a:gd name="T17" fmla="*/ 997 h 2784"/>
                  <a:gd name="T18" fmla="*/ 1352 w 2493"/>
                  <a:gd name="T19" fmla="*/ 936 h 2784"/>
                  <a:gd name="T20" fmla="*/ 1065 w 2493"/>
                  <a:gd name="T21" fmla="*/ 817 h 2784"/>
                  <a:gd name="T22" fmla="*/ 1099 w 2493"/>
                  <a:gd name="T23" fmla="*/ 686 h 2784"/>
                  <a:gd name="T24" fmla="*/ 937 w 2493"/>
                  <a:gd name="T25" fmla="*/ 550 h 2784"/>
                  <a:gd name="T26" fmla="*/ 983 w 2493"/>
                  <a:gd name="T27" fmla="*/ 447 h 2784"/>
                  <a:gd name="T28" fmla="*/ 955 w 2493"/>
                  <a:gd name="T29" fmla="*/ 324 h 2784"/>
                  <a:gd name="T30" fmla="*/ 1059 w 2493"/>
                  <a:gd name="T31" fmla="*/ 186 h 2784"/>
                  <a:gd name="T32" fmla="*/ 840 w 2493"/>
                  <a:gd name="T33" fmla="*/ 150 h 2784"/>
                  <a:gd name="T34" fmla="*/ 655 w 2493"/>
                  <a:gd name="T35" fmla="*/ 11 h 2784"/>
                  <a:gd name="T36" fmla="*/ 462 w 2493"/>
                  <a:gd name="T37" fmla="*/ 66 h 2784"/>
                  <a:gd name="T38" fmla="*/ 558 w 2493"/>
                  <a:gd name="T39" fmla="*/ 204 h 2784"/>
                  <a:gd name="T40" fmla="*/ 536 w 2493"/>
                  <a:gd name="T41" fmla="*/ 389 h 2784"/>
                  <a:gd name="T42" fmla="*/ 631 w 2493"/>
                  <a:gd name="T43" fmla="*/ 483 h 2784"/>
                  <a:gd name="T44" fmla="*/ 545 w 2493"/>
                  <a:gd name="T45" fmla="*/ 622 h 2784"/>
                  <a:gd name="T46" fmla="*/ 436 w 2493"/>
                  <a:gd name="T47" fmla="*/ 767 h 2784"/>
                  <a:gd name="T48" fmla="*/ 252 w 2493"/>
                  <a:gd name="T49" fmla="*/ 857 h 2784"/>
                  <a:gd name="T50" fmla="*/ 181 w 2493"/>
                  <a:gd name="T51" fmla="*/ 980 h 2784"/>
                  <a:gd name="T52" fmla="*/ 247 w 2493"/>
                  <a:gd name="T53" fmla="*/ 1124 h 2784"/>
                  <a:gd name="T54" fmla="*/ 216 w 2493"/>
                  <a:gd name="T55" fmla="*/ 1187 h 2784"/>
                  <a:gd name="T56" fmla="*/ 54 w 2493"/>
                  <a:gd name="T57" fmla="*/ 1199 h 2784"/>
                  <a:gd name="T58" fmla="*/ 22 w 2493"/>
                  <a:gd name="T59" fmla="*/ 1268 h 2784"/>
                  <a:gd name="T60" fmla="*/ 164 w 2493"/>
                  <a:gd name="T61" fmla="*/ 1364 h 2784"/>
                  <a:gd name="T62" fmla="*/ 63 w 2493"/>
                  <a:gd name="T63" fmla="*/ 1396 h 2784"/>
                  <a:gd name="T64" fmla="*/ 343 w 2493"/>
                  <a:gd name="T65" fmla="*/ 1453 h 2784"/>
                  <a:gd name="T66" fmla="*/ 372 w 2493"/>
                  <a:gd name="T67" fmla="*/ 1458 h 2784"/>
                  <a:gd name="T68" fmla="*/ 373 w 2493"/>
                  <a:gd name="T69" fmla="*/ 1655 h 2784"/>
                  <a:gd name="T70" fmla="*/ 454 w 2493"/>
                  <a:gd name="T71" fmla="*/ 2092 h 2784"/>
                  <a:gd name="T72" fmla="*/ 610 w 2493"/>
                  <a:gd name="T73" fmla="*/ 2468 h 2784"/>
                  <a:gd name="T74" fmla="*/ 806 w 2493"/>
                  <a:gd name="T75" fmla="*/ 2766 h 2784"/>
                  <a:gd name="T76" fmla="*/ 940 w 2493"/>
                  <a:gd name="T77" fmla="*/ 2595 h 2784"/>
                  <a:gd name="T78" fmla="*/ 1050 w 2493"/>
                  <a:gd name="T79" fmla="*/ 2296 h 2784"/>
                  <a:gd name="T80" fmla="*/ 1092 w 2493"/>
                  <a:gd name="T81" fmla="*/ 2043 h 2784"/>
                  <a:gd name="T82" fmla="*/ 1231 w 2493"/>
                  <a:gd name="T83" fmla="*/ 1925 h 2784"/>
                  <a:gd name="T84" fmla="*/ 1452 w 2493"/>
                  <a:gd name="T85" fmla="*/ 1726 h 2784"/>
                  <a:gd name="T86" fmla="*/ 1636 w 2493"/>
                  <a:gd name="T87" fmla="*/ 1577 h 2784"/>
                  <a:gd name="T88" fmla="*/ 1756 w 2493"/>
                  <a:gd name="T89" fmla="*/ 1458 h 2784"/>
                  <a:gd name="T90" fmla="*/ 1788 w 2493"/>
                  <a:gd name="T91" fmla="*/ 1314 h 2784"/>
                  <a:gd name="T92" fmla="*/ 1729 w 2493"/>
                  <a:gd name="T93" fmla="*/ 1190 h 2784"/>
                  <a:gd name="T94" fmla="*/ 1795 w 2493"/>
                  <a:gd name="T95" fmla="*/ 1117 h 2784"/>
                  <a:gd name="T96" fmla="*/ 1796 w 2493"/>
                  <a:gd name="T97" fmla="*/ 1014 h 2784"/>
                  <a:gd name="T98" fmla="*/ 1879 w 2493"/>
                  <a:gd name="T99" fmla="*/ 1119 h 2784"/>
                  <a:gd name="T100" fmla="*/ 2086 w 2493"/>
                  <a:gd name="T101" fmla="*/ 1126 h 2784"/>
                  <a:gd name="T102" fmla="*/ 2026 w 2493"/>
                  <a:gd name="T103" fmla="*/ 1219 h 2784"/>
                  <a:gd name="T104" fmla="*/ 2038 w 2493"/>
                  <a:gd name="T105" fmla="*/ 1332 h 2784"/>
                  <a:gd name="T106" fmla="*/ 2101 w 2493"/>
                  <a:gd name="T107" fmla="*/ 1314 h 2784"/>
                  <a:gd name="T108" fmla="*/ 2181 w 2493"/>
                  <a:gd name="T109" fmla="*/ 1305 h 2784"/>
                  <a:gd name="T110" fmla="*/ 2291 w 2493"/>
                  <a:gd name="T111" fmla="*/ 1111 h 2784"/>
                  <a:gd name="T112" fmla="*/ 2322 w 2493"/>
                  <a:gd name="T113" fmla="*/ 953 h 2784"/>
                  <a:gd name="T114" fmla="*/ 2464 w 2493"/>
                  <a:gd name="T115" fmla="*/ 836 h 2784"/>
                  <a:gd name="connsiteX0" fmla="*/ 9981 w 10000"/>
                  <a:gd name="connsiteY0" fmla="*/ 2893 h 10000"/>
                  <a:gd name="connsiteX1" fmla="*/ 9925 w 10000"/>
                  <a:gd name="connsiteY1" fmla="*/ 2767 h 10000"/>
                  <a:gd name="connsiteX2" fmla="*/ 9792 w 10000"/>
                  <a:gd name="connsiteY2" fmla="*/ 2760 h 10000"/>
                  <a:gd name="connsiteX3" fmla="*/ 9635 w 10000"/>
                  <a:gd name="connsiteY3" fmla="*/ 2771 h 10000"/>
                  <a:gd name="connsiteX4" fmla="*/ 9675 w 10000"/>
                  <a:gd name="connsiteY4" fmla="*/ 2692 h 10000"/>
                  <a:gd name="connsiteX5" fmla="*/ 9571 w 10000"/>
                  <a:gd name="connsiteY5" fmla="*/ 2652 h 10000"/>
                  <a:gd name="connsiteX6" fmla="*/ 9555 w 10000"/>
                  <a:gd name="connsiteY6" fmla="*/ 2559 h 10000"/>
                  <a:gd name="connsiteX7" fmla="*/ 9567 w 10000"/>
                  <a:gd name="connsiteY7" fmla="*/ 2679 h 10000"/>
                  <a:gd name="connsiteX8" fmla="*/ 9501 w 10000"/>
                  <a:gd name="connsiteY8" fmla="*/ 2645 h 10000"/>
                  <a:gd name="connsiteX9" fmla="*/ 9496 w 10000"/>
                  <a:gd name="connsiteY9" fmla="*/ 2652 h 10000"/>
                  <a:gd name="connsiteX10" fmla="*/ 9375 w 10000"/>
                  <a:gd name="connsiteY10" fmla="*/ 2686 h 10000"/>
                  <a:gd name="connsiteX11" fmla="*/ 9299 w 10000"/>
                  <a:gd name="connsiteY11" fmla="*/ 2779 h 10000"/>
                  <a:gd name="connsiteX12" fmla="*/ 9034 w 10000"/>
                  <a:gd name="connsiteY12" fmla="*/ 2699 h 10000"/>
                  <a:gd name="connsiteX13" fmla="*/ 8891 w 10000"/>
                  <a:gd name="connsiteY13" fmla="*/ 2859 h 10000"/>
                  <a:gd name="connsiteX14" fmla="*/ 8669 w 10000"/>
                  <a:gd name="connsiteY14" fmla="*/ 2915 h 10000"/>
                  <a:gd name="connsiteX15" fmla="*/ 8663 w 10000"/>
                  <a:gd name="connsiteY15" fmla="*/ 3016 h 10000"/>
                  <a:gd name="connsiteX16" fmla="*/ 8453 w 10000"/>
                  <a:gd name="connsiteY16" fmla="*/ 3002 h 10000"/>
                  <a:gd name="connsiteX17" fmla="*/ 8494 w 10000"/>
                  <a:gd name="connsiteY17" fmla="*/ 3105 h 10000"/>
                  <a:gd name="connsiteX18" fmla="*/ 8331 w 10000"/>
                  <a:gd name="connsiteY18" fmla="*/ 3182 h 10000"/>
                  <a:gd name="connsiteX19" fmla="*/ 8482 w 10000"/>
                  <a:gd name="connsiteY19" fmla="*/ 3226 h 10000"/>
                  <a:gd name="connsiteX20" fmla="*/ 8452 w 10000"/>
                  <a:gd name="connsiteY20" fmla="*/ 3203 h 10000"/>
                  <a:gd name="connsiteX21" fmla="*/ 8415 w 10000"/>
                  <a:gd name="connsiteY21" fmla="*/ 3222 h 10000"/>
                  <a:gd name="connsiteX22" fmla="*/ 8314 w 10000"/>
                  <a:gd name="connsiteY22" fmla="*/ 3183 h 10000"/>
                  <a:gd name="connsiteX23" fmla="*/ 8282 w 10000"/>
                  <a:gd name="connsiteY23" fmla="*/ 3287 h 10000"/>
                  <a:gd name="connsiteX24" fmla="*/ 8152 w 10000"/>
                  <a:gd name="connsiteY24" fmla="*/ 3227 h 10000"/>
                  <a:gd name="connsiteX25" fmla="*/ 8244 w 10000"/>
                  <a:gd name="connsiteY25" fmla="*/ 3393 h 10000"/>
                  <a:gd name="connsiteX26" fmla="*/ 8240 w 10000"/>
                  <a:gd name="connsiteY26" fmla="*/ 3400 h 10000"/>
                  <a:gd name="connsiteX27" fmla="*/ 8144 w 10000"/>
                  <a:gd name="connsiteY27" fmla="*/ 3404 h 10000"/>
                  <a:gd name="connsiteX28" fmla="*/ 7971 w 10000"/>
                  <a:gd name="connsiteY28" fmla="*/ 3437 h 10000"/>
                  <a:gd name="connsiteX29" fmla="*/ 7903 w 10000"/>
                  <a:gd name="connsiteY29" fmla="*/ 3444 h 10000"/>
                  <a:gd name="connsiteX30" fmla="*/ 7693 w 10000"/>
                  <a:gd name="connsiteY30" fmla="*/ 3444 h 10000"/>
                  <a:gd name="connsiteX31" fmla="*/ 7617 w 10000"/>
                  <a:gd name="connsiteY31" fmla="*/ 3459 h 10000"/>
                  <a:gd name="connsiteX32" fmla="*/ 7397 w 10000"/>
                  <a:gd name="connsiteY32" fmla="*/ 3484 h 10000"/>
                  <a:gd name="connsiteX33" fmla="*/ 7267 w 10000"/>
                  <a:gd name="connsiteY33" fmla="*/ 3491 h 10000"/>
                  <a:gd name="connsiteX34" fmla="*/ 7127 w 10000"/>
                  <a:gd name="connsiteY34" fmla="*/ 3372 h 10000"/>
                  <a:gd name="connsiteX35" fmla="*/ 7151 w 10000"/>
                  <a:gd name="connsiteY35" fmla="*/ 3361 h 10000"/>
                  <a:gd name="connsiteX36" fmla="*/ 7139 w 10000"/>
                  <a:gd name="connsiteY36" fmla="*/ 3289 h 10000"/>
                  <a:gd name="connsiteX37" fmla="*/ 7135 w 10000"/>
                  <a:gd name="connsiteY37" fmla="*/ 3249 h 10000"/>
                  <a:gd name="connsiteX38" fmla="*/ 7125 w 10000"/>
                  <a:gd name="connsiteY38" fmla="*/ 3101 h 10000"/>
                  <a:gd name="connsiteX39" fmla="*/ 7157 w 10000"/>
                  <a:gd name="connsiteY39" fmla="*/ 3322 h 10000"/>
                  <a:gd name="connsiteX40" fmla="*/ 7114 w 10000"/>
                  <a:gd name="connsiteY40" fmla="*/ 3201 h 10000"/>
                  <a:gd name="connsiteX41" fmla="*/ 7095 w 10000"/>
                  <a:gd name="connsiteY41" fmla="*/ 3113 h 10000"/>
                  <a:gd name="connsiteX42" fmla="*/ 6944 w 10000"/>
                  <a:gd name="connsiteY42" fmla="*/ 3159 h 10000"/>
                  <a:gd name="connsiteX43" fmla="*/ 6933 w 10000"/>
                  <a:gd name="connsiteY43" fmla="*/ 3265 h 10000"/>
                  <a:gd name="connsiteX44" fmla="*/ 7019 w 10000"/>
                  <a:gd name="connsiteY44" fmla="*/ 3593 h 10000"/>
                  <a:gd name="connsiteX45" fmla="*/ 6914 w 10000"/>
                  <a:gd name="connsiteY45" fmla="*/ 3556 h 10000"/>
                  <a:gd name="connsiteX46" fmla="*/ 6877 w 10000"/>
                  <a:gd name="connsiteY46" fmla="*/ 3631 h 10000"/>
                  <a:gd name="connsiteX47" fmla="*/ 6785 w 10000"/>
                  <a:gd name="connsiteY47" fmla="*/ 3624 h 10000"/>
                  <a:gd name="connsiteX48" fmla="*/ 6709 w 10000"/>
                  <a:gd name="connsiteY48" fmla="*/ 3642 h 10000"/>
                  <a:gd name="connsiteX49" fmla="*/ 6540 w 10000"/>
                  <a:gd name="connsiteY49" fmla="*/ 3624 h 10000"/>
                  <a:gd name="connsiteX50" fmla="*/ 6508 w 10000"/>
                  <a:gd name="connsiteY50" fmla="*/ 3628 h 10000"/>
                  <a:gd name="connsiteX51" fmla="*/ 6351 w 10000"/>
                  <a:gd name="connsiteY51" fmla="*/ 3620 h 10000"/>
                  <a:gd name="connsiteX52" fmla="*/ 6162 w 10000"/>
                  <a:gd name="connsiteY52" fmla="*/ 3603 h 10000"/>
                  <a:gd name="connsiteX53" fmla="*/ 6098 w 10000"/>
                  <a:gd name="connsiteY53" fmla="*/ 3570 h 10000"/>
                  <a:gd name="connsiteX54" fmla="*/ 6006 w 10000"/>
                  <a:gd name="connsiteY54" fmla="*/ 3538 h 10000"/>
                  <a:gd name="connsiteX55" fmla="*/ 5900 w 10000"/>
                  <a:gd name="connsiteY55" fmla="*/ 3531 h 10000"/>
                  <a:gd name="connsiteX56" fmla="*/ 5744 w 10000"/>
                  <a:gd name="connsiteY56" fmla="*/ 3455 h 10000"/>
                  <a:gd name="connsiteX57" fmla="*/ 5716 w 10000"/>
                  <a:gd name="connsiteY57" fmla="*/ 3372 h 10000"/>
                  <a:gd name="connsiteX58" fmla="*/ 5552 w 10000"/>
                  <a:gd name="connsiteY58" fmla="*/ 3314 h 10000"/>
                  <a:gd name="connsiteX59" fmla="*/ 5434 w 10000"/>
                  <a:gd name="connsiteY59" fmla="*/ 3350 h 10000"/>
                  <a:gd name="connsiteX60" fmla="*/ 5270 w 10000"/>
                  <a:gd name="connsiteY60" fmla="*/ 3346 h 10000"/>
                  <a:gd name="connsiteX61" fmla="*/ 5194 w 10000"/>
                  <a:gd name="connsiteY61" fmla="*/ 3332 h 10000"/>
                  <a:gd name="connsiteX62" fmla="*/ 5113 w 10000"/>
                  <a:gd name="connsiteY62" fmla="*/ 3318 h 10000"/>
                  <a:gd name="connsiteX63" fmla="*/ 4763 w 10000"/>
                  <a:gd name="connsiteY63" fmla="*/ 3185 h 10000"/>
                  <a:gd name="connsiteX64" fmla="*/ 4715 w 10000"/>
                  <a:gd name="connsiteY64" fmla="*/ 3160 h 10000"/>
                  <a:gd name="connsiteX65" fmla="*/ 4281 w 10000"/>
                  <a:gd name="connsiteY65" fmla="*/ 2922 h 10000"/>
                  <a:gd name="connsiteX66" fmla="*/ 4221 w 10000"/>
                  <a:gd name="connsiteY66" fmla="*/ 2889 h 10000"/>
                  <a:gd name="connsiteX67" fmla="*/ 4201 w 10000"/>
                  <a:gd name="connsiteY67" fmla="*/ 2814 h 10000"/>
                  <a:gd name="connsiteX68" fmla="*/ 4297 w 10000"/>
                  <a:gd name="connsiteY68" fmla="*/ 2613 h 10000"/>
                  <a:gd name="connsiteX69" fmla="*/ 4305 w 10000"/>
                  <a:gd name="connsiteY69" fmla="*/ 2588 h 10000"/>
                  <a:gd name="connsiteX70" fmla="*/ 4361 w 10000"/>
                  <a:gd name="connsiteY70" fmla="*/ 2509 h 10000"/>
                  <a:gd name="connsiteX71" fmla="*/ 4417 w 10000"/>
                  <a:gd name="connsiteY71" fmla="*/ 2450 h 10000"/>
                  <a:gd name="connsiteX72" fmla="*/ 4373 w 10000"/>
                  <a:gd name="connsiteY72" fmla="*/ 2303 h 10000"/>
                  <a:gd name="connsiteX73" fmla="*/ 4225 w 10000"/>
                  <a:gd name="connsiteY73" fmla="*/ 2209 h 10000"/>
                  <a:gd name="connsiteX74" fmla="*/ 4080 w 10000"/>
                  <a:gd name="connsiteY74" fmla="*/ 2130 h 10000"/>
                  <a:gd name="connsiteX75" fmla="*/ 3919 w 10000"/>
                  <a:gd name="connsiteY75" fmla="*/ 2029 h 10000"/>
                  <a:gd name="connsiteX76" fmla="*/ 3831 w 10000"/>
                  <a:gd name="connsiteY76" fmla="*/ 2000 h 10000"/>
                  <a:gd name="connsiteX77" fmla="*/ 3767 w 10000"/>
                  <a:gd name="connsiteY77" fmla="*/ 1961 h 10000"/>
                  <a:gd name="connsiteX78" fmla="*/ 3750 w 10000"/>
                  <a:gd name="connsiteY78" fmla="*/ 1810 h 10000"/>
                  <a:gd name="connsiteX79" fmla="*/ 3714 w 10000"/>
                  <a:gd name="connsiteY79" fmla="*/ 1731 h 10000"/>
                  <a:gd name="connsiteX80" fmla="*/ 3646 w 10000"/>
                  <a:gd name="connsiteY80" fmla="*/ 1598 h 10000"/>
                  <a:gd name="connsiteX81" fmla="*/ 3767 w 10000"/>
                  <a:gd name="connsiteY81" fmla="*/ 1609 h 10000"/>
                  <a:gd name="connsiteX82" fmla="*/ 3899 w 10000"/>
                  <a:gd name="connsiteY82" fmla="*/ 1619 h 10000"/>
                  <a:gd name="connsiteX83" fmla="*/ 3951 w 10000"/>
                  <a:gd name="connsiteY83" fmla="*/ 1590 h 10000"/>
                  <a:gd name="connsiteX84" fmla="*/ 4003 w 10000"/>
                  <a:gd name="connsiteY84" fmla="*/ 1471 h 10000"/>
                  <a:gd name="connsiteX85" fmla="*/ 3975 w 10000"/>
                  <a:gd name="connsiteY85" fmla="*/ 1378 h 10000"/>
                  <a:gd name="connsiteX86" fmla="*/ 3943 w 10000"/>
                  <a:gd name="connsiteY86" fmla="*/ 1331 h 10000"/>
                  <a:gd name="connsiteX87" fmla="*/ 3867 w 10000"/>
                  <a:gd name="connsiteY87" fmla="*/ 1313 h 10000"/>
                  <a:gd name="connsiteX88" fmla="*/ 3835 w 10000"/>
                  <a:gd name="connsiteY88" fmla="*/ 1248 h 10000"/>
                  <a:gd name="connsiteX89" fmla="*/ 3839 w 10000"/>
                  <a:gd name="connsiteY89" fmla="*/ 1148 h 10000"/>
                  <a:gd name="connsiteX90" fmla="*/ 3871 w 10000"/>
                  <a:gd name="connsiteY90" fmla="*/ 1086 h 10000"/>
                  <a:gd name="connsiteX91" fmla="*/ 3931 w 10000"/>
                  <a:gd name="connsiteY91" fmla="*/ 1075 h 10000"/>
                  <a:gd name="connsiteX92" fmla="*/ 4011 w 10000"/>
                  <a:gd name="connsiteY92" fmla="*/ 1000 h 10000"/>
                  <a:gd name="connsiteX93" fmla="*/ 4060 w 10000"/>
                  <a:gd name="connsiteY93" fmla="*/ 931 h 10000"/>
                  <a:gd name="connsiteX94" fmla="*/ 4201 w 10000"/>
                  <a:gd name="connsiteY94" fmla="*/ 784 h 10000"/>
                  <a:gd name="connsiteX95" fmla="*/ 4156 w 10000"/>
                  <a:gd name="connsiteY95" fmla="*/ 650 h 10000"/>
                  <a:gd name="connsiteX96" fmla="*/ 4185 w 10000"/>
                  <a:gd name="connsiteY96" fmla="*/ 496 h 10000"/>
                  <a:gd name="connsiteX97" fmla="*/ 4027 w 10000"/>
                  <a:gd name="connsiteY97" fmla="*/ 435 h 10000"/>
                  <a:gd name="connsiteX98" fmla="*/ 3923 w 10000"/>
                  <a:gd name="connsiteY98" fmla="*/ 431 h 10000"/>
                  <a:gd name="connsiteX99" fmla="*/ 3875 w 10000"/>
                  <a:gd name="connsiteY99" fmla="*/ 438 h 10000"/>
                  <a:gd name="connsiteX100" fmla="*/ 3574 w 10000"/>
                  <a:gd name="connsiteY100" fmla="*/ 528 h 10000"/>
                  <a:gd name="connsiteX101" fmla="*/ 3376 w 10000"/>
                  <a:gd name="connsiteY101" fmla="*/ 521 h 10000"/>
                  <a:gd name="connsiteX102" fmla="*/ 3292 w 10000"/>
                  <a:gd name="connsiteY102" fmla="*/ 474 h 10000"/>
                  <a:gd name="connsiteX103" fmla="*/ 3180 w 10000"/>
                  <a:gd name="connsiteY103" fmla="*/ 374 h 10000"/>
                  <a:gd name="connsiteX104" fmla="*/ 3148 w 10000"/>
                  <a:gd name="connsiteY104" fmla="*/ 334 h 10000"/>
                  <a:gd name="connsiteX105" fmla="*/ 2890 w 10000"/>
                  <a:gd name="connsiteY105" fmla="*/ 161 h 10000"/>
                  <a:gd name="connsiteX106" fmla="*/ 2806 w 10000"/>
                  <a:gd name="connsiteY106" fmla="*/ 92 h 10000"/>
                  <a:gd name="connsiteX107" fmla="*/ 2633 w 10000"/>
                  <a:gd name="connsiteY107" fmla="*/ 21 h 10000"/>
                  <a:gd name="connsiteX108" fmla="*/ 2600 w 10000"/>
                  <a:gd name="connsiteY108" fmla="*/ 17 h 10000"/>
                  <a:gd name="connsiteX109" fmla="*/ 2299 w 10000"/>
                  <a:gd name="connsiteY109" fmla="*/ 49 h 10000"/>
                  <a:gd name="connsiteX110" fmla="*/ 2155 w 10000"/>
                  <a:gd name="connsiteY110" fmla="*/ 74 h 10000"/>
                  <a:gd name="connsiteX111" fmla="*/ 2054 w 10000"/>
                  <a:gd name="connsiteY111" fmla="*/ 71 h 10000"/>
                  <a:gd name="connsiteX112" fmla="*/ 1982 w 10000"/>
                  <a:gd name="connsiteY112" fmla="*/ 110 h 10000"/>
                  <a:gd name="connsiteX113" fmla="*/ 1857 w 10000"/>
                  <a:gd name="connsiteY113" fmla="*/ 218 h 10000"/>
                  <a:gd name="connsiteX114" fmla="*/ 1809 w 10000"/>
                  <a:gd name="connsiteY114" fmla="*/ 320 h 10000"/>
                  <a:gd name="connsiteX115" fmla="*/ 1897 w 10000"/>
                  <a:gd name="connsiteY115" fmla="*/ 384 h 10000"/>
                  <a:gd name="connsiteX116" fmla="*/ 2006 w 10000"/>
                  <a:gd name="connsiteY116" fmla="*/ 438 h 10000"/>
                  <a:gd name="connsiteX117" fmla="*/ 2126 w 10000"/>
                  <a:gd name="connsiteY117" fmla="*/ 528 h 10000"/>
                  <a:gd name="connsiteX118" fmla="*/ 2255 w 10000"/>
                  <a:gd name="connsiteY118" fmla="*/ 672 h 10000"/>
                  <a:gd name="connsiteX119" fmla="*/ 2243 w 10000"/>
                  <a:gd name="connsiteY119" fmla="*/ 716 h 10000"/>
                  <a:gd name="connsiteX120" fmla="*/ 2130 w 10000"/>
                  <a:gd name="connsiteY120" fmla="*/ 838 h 10000"/>
                  <a:gd name="connsiteX121" fmla="*/ 2114 w 10000"/>
                  <a:gd name="connsiteY121" fmla="*/ 849 h 10000"/>
                  <a:gd name="connsiteX122" fmla="*/ 2078 w 10000"/>
                  <a:gd name="connsiteY122" fmla="*/ 938 h 10000"/>
                  <a:gd name="connsiteX123" fmla="*/ 2094 w 10000"/>
                  <a:gd name="connsiteY123" fmla="*/ 1000 h 10000"/>
                  <a:gd name="connsiteX124" fmla="*/ 2094 w 10000"/>
                  <a:gd name="connsiteY124" fmla="*/ 1184 h 10000"/>
                  <a:gd name="connsiteX125" fmla="*/ 2155 w 10000"/>
                  <a:gd name="connsiteY125" fmla="*/ 1381 h 10000"/>
                  <a:gd name="connsiteX126" fmla="*/ 2424 w 10000"/>
                  <a:gd name="connsiteY126" fmla="*/ 1503 h 10000"/>
                  <a:gd name="connsiteX127" fmla="*/ 2536 w 10000"/>
                  <a:gd name="connsiteY127" fmla="*/ 1590 h 10000"/>
                  <a:gd name="connsiteX128" fmla="*/ 2560 w 10000"/>
                  <a:gd name="connsiteY128" fmla="*/ 1594 h 10000"/>
                  <a:gd name="connsiteX129" fmla="*/ 2637 w 10000"/>
                  <a:gd name="connsiteY129" fmla="*/ 1666 h 10000"/>
                  <a:gd name="connsiteX130" fmla="*/ 2548 w 10000"/>
                  <a:gd name="connsiteY130" fmla="*/ 1720 h 10000"/>
                  <a:gd name="connsiteX131" fmla="*/ 2536 w 10000"/>
                  <a:gd name="connsiteY131" fmla="*/ 1720 h 10000"/>
                  <a:gd name="connsiteX132" fmla="*/ 2368 w 10000"/>
                  <a:gd name="connsiteY132" fmla="*/ 1817 h 10000"/>
                  <a:gd name="connsiteX133" fmla="*/ 2368 w 10000"/>
                  <a:gd name="connsiteY133" fmla="*/ 1878 h 10000"/>
                  <a:gd name="connsiteX134" fmla="*/ 2384 w 10000"/>
                  <a:gd name="connsiteY134" fmla="*/ 1939 h 10000"/>
                  <a:gd name="connsiteX135" fmla="*/ 2364 w 10000"/>
                  <a:gd name="connsiteY135" fmla="*/ 2048 h 10000"/>
                  <a:gd name="connsiteX136" fmla="*/ 2243 w 10000"/>
                  <a:gd name="connsiteY136" fmla="*/ 2170 h 10000"/>
                  <a:gd name="connsiteX137" fmla="*/ 2191 w 10000"/>
                  <a:gd name="connsiteY137" fmla="*/ 2220 h 10000"/>
                  <a:gd name="connsiteX138" fmla="*/ 2159 w 10000"/>
                  <a:gd name="connsiteY138" fmla="*/ 2360 h 10000"/>
                  <a:gd name="connsiteX139" fmla="*/ 2014 w 10000"/>
                  <a:gd name="connsiteY139" fmla="*/ 2400 h 10000"/>
                  <a:gd name="connsiteX140" fmla="*/ 1937 w 10000"/>
                  <a:gd name="connsiteY140" fmla="*/ 2468 h 10000"/>
                  <a:gd name="connsiteX141" fmla="*/ 1841 w 10000"/>
                  <a:gd name="connsiteY141" fmla="*/ 2649 h 10000"/>
                  <a:gd name="connsiteX142" fmla="*/ 1789 w 10000"/>
                  <a:gd name="connsiteY142" fmla="*/ 2713 h 10000"/>
                  <a:gd name="connsiteX143" fmla="*/ 1753 w 10000"/>
                  <a:gd name="connsiteY143" fmla="*/ 2742 h 10000"/>
                  <a:gd name="connsiteX144" fmla="*/ 1543 w 10000"/>
                  <a:gd name="connsiteY144" fmla="*/ 2907 h 10000"/>
                  <a:gd name="connsiteX145" fmla="*/ 1491 w 10000"/>
                  <a:gd name="connsiteY145" fmla="*/ 2962 h 10000"/>
                  <a:gd name="connsiteX146" fmla="*/ 1423 w 10000"/>
                  <a:gd name="connsiteY146" fmla="*/ 3034 h 10000"/>
                  <a:gd name="connsiteX147" fmla="*/ 1291 w 10000"/>
                  <a:gd name="connsiteY147" fmla="*/ 3102 h 10000"/>
                  <a:gd name="connsiteX148" fmla="*/ 1121 w 10000"/>
                  <a:gd name="connsiteY148" fmla="*/ 3124 h 10000"/>
                  <a:gd name="connsiteX149" fmla="*/ 1013 w 10000"/>
                  <a:gd name="connsiteY149" fmla="*/ 3066 h 10000"/>
                  <a:gd name="connsiteX150" fmla="*/ 937 w 10000"/>
                  <a:gd name="connsiteY150" fmla="*/ 3012 h 10000"/>
                  <a:gd name="connsiteX151" fmla="*/ 796 w 10000"/>
                  <a:gd name="connsiteY151" fmla="*/ 3113 h 10000"/>
                  <a:gd name="connsiteX152" fmla="*/ 736 w 10000"/>
                  <a:gd name="connsiteY152" fmla="*/ 3192 h 10000"/>
                  <a:gd name="connsiteX153" fmla="*/ 639 w 10000"/>
                  <a:gd name="connsiteY153" fmla="*/ 3257 h 10000"/>
                  <a:gd name="connsiteX154" fmla="*/ 571 w 10000"/>
                  <a:gd name="connsiteY154" fmla="*/ 3434 h 10000"/>
                  <a:gd name="connsiteX155" fmla="*/ 728 w 10000"/>
                  <a:gd name="connsiteY155" fmla="*/ 3509 h 10000"/>
                  <a:gd name="connsiteX156" fmla="*/ 780 w 10000"/>
                  <a:gd name="connsiteY156" fmla="*/ 3556 h 10000"/>
                  <a:gd name="connsiteX157" fmla="*/ 752 w 10000"/>
                  <a:gd name="connsiteY157" fmla="*/ 3653 h 10000"/>
                  <a:gd name="connsiteX158" fmla="*/ 744 w 10000"/>
                  <a:gd name="connsiteY158" fmla="*/ 3692 h 10000"/>
                  <a:gd name="connsiteX159" fmla="*/ 917 w 10000"/>
                  <a:gd name="connsiteY159" fmla="*/ 3829 h 10000"/>
                  <a:gd name="connsiteX160" fmla="*/ 989 w 10000"/>
                  <a:gd name="connsiteY160" fmla="*/ 4009 h 10000"/>
                  <a:gd name="connsiteX161" fmla="*/ 993 w 10000"/>
                  <a:gd name="connsiteY161" fmla="*/ 4027 h 10000"/>
                  <a:gd name="connsiteX162" fmla="*/ 1041 w 10000"/>
                  <a:gd name="connsiteY162" fmla="*/ 4185 h 10000"/>
                  <a:gd name="connsiteX163" fmla="*/ 1017 w 10000"/>
                  <a:gd name="connsiteY163" fmla="*/ 4225 h 10000"/>
                  <a:gd name="connsiteX164" fmla="*/ 1041 w 10000"/>
                  <a:gd name="connsiteY164" fmla="*/ 4275 h 10000"/>
                  <a:gd name="connsiteX165" fmla="*/ 981 w 10000"/>
                  <a:gd name="connsiteY165" fmla="*/ 4300 h 10000"/>
                  <a:gd name="connsiteX166" fmla="*/ 897 w 10000"/>
                  <a:gd name="connsiteY166" fmla="*/ 4315 h 10000"/>
                  <a:gd name="connsiteX167" fmla="*/ 868 w 10000"/>
                  <a:gd name="connsiteY167" fmla="*/ 4254 h 10000"/>
                  <a:gd name="connsiteX168" fmla="*/ 848 w 10000"/>
                  <a:gd name="connsiteY168" fmla="*/ 4250 h 10000"/>
                  <a:gd name="connsiteX169" fmla="*/ 675 w 10000"/>
                  <a:gd name="connsiteY169" fmla="*/ 4311 h 10000"/>
                  <a:gd name="connsiteX170" fmla="*/ 587 w 10000"/>
                  <a:gd name="connsiteY170" fmla="*/ 4315 h 10000"/>
                  <a:gd name="connsiteX171" fmla="*/ 386 w 10000"/>
                  <a:gd name="connsiteY171" fmla="*/ 4275 h 10000"/>
                  <a:gd name="connsiteX172" fmla="*/ 282 w 10000"/>
                  <a:gd name="connsiteY172" fmla="*/ 4257 h 10000"/>
                  <a:gd name="connsiteX173" fmla="*/ 217 w 10000"/>
                  <a:gd name="connsiteY173" fmla="*/ 4297 h 10000"/>
                  <a:gd name="connsiteX174" fmla="*/ 132 w 10000"/>
                  <a:gd name="connsiteY174" fmla="*/ 4359 h 10000"/>
                  <a:gd name="connsiteX175" fmla="*/ 72 w 10000"/>
                  <a:gd name="connsiteY175" fmla="*/ 4352 h 10000"/>
                  <a:gd name="connsiteX176" fmla="*/ 16 w 10000"/>
                  <a:gd name="connsiteY176" fmla="*/ 4391 h 10000"/>
                  <a:gd name="connsiteX177" fmla="*/ 0 w 10000"/>
                  <a:gd name="connsiteY177" fmla="*/ 4492 h 10000"/>
                  <a:gd name="connsiteX178" fmla="*/ 80 w 10000"/>
                  <a:gd name="connsiteY178" fmla="*/ 4488 h 10000"/>
                  <a:gd name="connsiteX179" fmla="*/ 88 w 10000"/>
                  <a:gd name="connsiteY179" fmla="*/ 4546 h 10000"/>
                  <a:gd name="connsiteX180" fmla="*/ 278 w 10000"/>
                  <a:gd name="connsiteY180" fmla="*/ 4740 h 10000"/>
                  <a:gd name="connsiteX181" fmla="*/ 639 w 10000"/>
                  <a:gd name="connsiteY181" fmla="*/ 4761 h 10000"/>
                  <a:gd name="connsiteX182" fmla="*/ 703 w 10000"/>
                  <a:gd name="connsiteY182" fmla="*/ 4696 h 10000"/>
                  <a:gd name="connsiteX183" fmla="*/ 768 w 10000"/>
                  <a:gd name="connsiteY183" fmla="*/ 4679 h 10000"/>
                  <a:gd name="connsiteX184" fmla="*/ 860 w 10000"/>
                  <a:gd name="connsiteY184" fmla="*/ 4693 h 10000"/>
                  <a:gd name="connsiteX185" fmla="*/ 659 w 10000"/>
                  <a:gd name="connsiteY185" fmla="*/ 4891 h 10000"/>
                  <a:gd name="connsiteX186" fmla="*/ 607 w 10000"/>
                  <a:gd name="connsiteY186" fmla="*/ 4863 h 10000"/>
                  <a:gd name="connsiteX187" fmla="*/ 607 w 10000"/>
                  <a:gd name="connsiteY187" fmla="*/ 4881 h 10000"/>
                  <a:gd name="connsiteX188" fmla="*/ 486 w 10000"/>
                  <a:gd name="connsiteY188" fmla="*/ 4902 h 10000"/>
                  <a:gd name="connsiteX189" fmla="*/ 330 w 10000"/>
                  <a:gd name="connsiteY189" fmla="*/ 4952 h 10000"/>
                  <a:gd name="connsiteX190" fmla="*/ 286 w 10000"/>
                  <a:gd name="connsiteY190" fmla="*/ 4866 h 10000"/>
                  <a:gd name="connsiteX191" fmla="*/ 254 w 10000"/>
                  <a:gd name="connsiteY191" fmla="*/ 5006 h 10000"/>
                  <a:gd name="connsiteX192" fmla="*/ 518 w 10000"/>
                  <a:gd name="connsiteY192" fmla="*/ 5288 h 10000"/>
                  <a:gd name="connsiteX193" fmla="*/ 748 w 10000"/>
                  <a:gd name="connsiteY193" fmla="*/ 5492 h 10000"/>
                  <a:gd name="connsiteX194" fmla="*/ 989 w 10000"/>
                  <a:gd name="connsiteY194" fmla="*/ 5687 h 10000"/>
                  <a:gd name="connsiteX195" fmla="*/ 1335 w 10000"/>
                  <a:gd name="connsiteY195" fmla="*/ 5565 h 10000"/>
                  <a:gd name="connsiteX196" fmla="*/ 1383 w 10000"/>
                  <a:gd name="connsiteY196" fmla="*/ 5298 h 10000"/>
                  <a:gd name="connsiteX197" fmla="*/ 1480 w 10000"/>
                  <a:gd name="connsiteY197" fmla="*/ 5261 h 10000"/>
                  <a:gd name="connsiteX198" fmla="*/ 1359 w 10000"/>
                  <a:gd name="connsiteY198" fmla="*/ 5118 h 10000"/>
                  <a:gd name="connsiteX199" fmla="*/ 1419 w 10000"/>
                  <a:gd name="connsiteY199" fmla="*/ 5039 h 10000"/>
                  <a:gd name="connsiteX200" fmla="*/ 1491 w 10000"/>
                  <a:gd name="connsiteY200" fmla="*/ 5046 h 10000"/>
                  <a:gd name="connsiteX201" fmla="*/ 1511 w 10000"/>
                  <a:gd name="connsiteY201" fmla="*/ 5146 h 10000"/>
                  <a:gd name="connsiteX202" fmla="*/ 1503 w 10000"/>
                  <a:gd name="connsiteY202" fmla="*/ 5172 h 10000"/>
                  <a:gd name="connsiteX203" fmla="*/ 1495 w 10000"/>
                  <a:gd name="connsiteY203" fmla="*/ 5230 h 10000"/>
                  <a:gd name="connsiteX204" fmla="*/ 1543 w 10000"/>
                  <a:gd name="connsiteY204" fmla="*/ 5248 h 10000"/>
                  <a:gd name="connsiteX205" fmla="*/ 1487 w 10000"/>
                  <a:gd name="connsiteY205" fmla="*/ 5385 h 10000"/>
                  <a:gd name="connsiteX206" fmla="*/ 1503 w 10000"/>
                  <a:gd name="connsiteY206" fmla="*/ 5410 h 10000"/>
                  <a:gd name="connsiteX207" fmla="*/ 1571 w 10000"/>
                  <a:gd name="connsiteY207" fmla="*/ 5535 h 10000"/>
                  <a:gd name="connsiteX208" fmla="*/ 1511 w 10000"/>
                  <a:gd name="connsiteY208" fmla="*/ 5788 h 10000"/>
                  <a:gd name="connsiteX209" fmla="*/ 1499 w 10000"/>
                  <a:gd name="connsiteY209" fmla="*/ 5939 h 10000"/>
                  <a:gd name="connsiteX210" fmla="*/ 1511 w 10000"/>
                  <a:gd name="connsiteY210" fmla="*/ 5985 h 10000"/>
                  <a:gd name="connsiteX211" fmla="*/ 1587 w 10000"/>
                  <a:gd name="connsiteY211" fmla="*/ 6547 h 10000"/>
                  <a:gd name="connsiteX212" fmla="*/ 1648 w 10000"/>
                  <a:gd name="connsiteY212" fmla="*/ 6997 h 10000"/>
                  <a:gd name="connsiteX213" fmla="*/ 1745 w 10000"/>
                  <a:gd name="connsiteY213" fmla="*/ 7256 h 10000"/>
                  <a:gd name="connsiteX214" fmla="*/ 1757 w 10000"/>
                  <a:gd name="connsiteY214" fmla="*/ 7292 h 10000"/>
                  <a:gd name="connsiteX215" fmla="*/ 1825 w 10000"/>
                  <a:gd name="connsiteY215" fmla="*/ 7512 h 10000"/>
                  <a:gd name="connsiteX216" fmla="*/ 1833 w 10000"/>
                  <a:gd name="connsiteY216" fmla="*/ 7527 h 10000"/>
                  <a:gd name="connsiteX217" fmla="*/ 1925 w 10000"/>
                  <a:gd name="connsiteY217" fmla="*/ 7631 h 10000"/>
                  <a:gd name="connsiteX218" fmla="*/ 1998 w 10000"/>
                  <a:gd name="connsiteY218" fmla="*/ 7789 h 10000"/>
                  <a:gd name="connsiteX219" fmla="*/ 2086 w 10000"/>
                  <a:gd name="connsiteY219" fmla="*/ 8135 h 10000"/>
                  <a:gd name="connsiteX220" fmla="*/ 2332 w 10000"/>
                  <a:gd name="connsiteY220" fmla="*/ 8678 h 10000"/>
                  <a:gd name="connsiteX221" fmla="*/ 2452 w 10000"/>
                  <a:gd name="connsiteY221" fmla="*/ 8866 h 10000"/>
                  <a:gd name="connsiteX222" fmla="*/ 2608 w 10000"/>
                  <a:gd name="connsiteY222" fmla="*/ 9275 h 10000"/>
                  <a:gd name="connsiteX223" fmla="*/ 2621 w 10000"/>
                  <a:gd name="connsiteY223" fmla="*/ 9373 h 10000"/>
                  <a:gd name="connsiteX224" fmla="*/ 2730 w 10000"/>
                  <a:gd name="connsiteY224" fmla="*/ 9700 h 10000"/>
                  <a:gd name="connsiteX225" fmla="*/ 3006 w 10000"/>
                  <a:gd name="connsiteY225" fmla="*/ 9978 h 10000"/>
                  <a:gd name="connsiteX226" fmla="*/ 3136 w 10000"/>
                  <a:gd name="connsiteY226" fmla="*/ 9999 h 10000"/>
                  <a:gd name="connsiteX227" fmla="*/ 3240 w 10000"/>
                  <a:gd name="connsiteY227" fmla="*/ 9938 h 10000"/>
                  <a:gd name="connsiteX228" fmla="*/ 3352 w 10000"/>
                  <a:gd name="connsiteY228" fmla="*/ 9777 h 10000"/>
                  <a:gd name="connsiteX229" fmla="*/ 3401 w 10000"/>
                  <a:gd name="connsiteY229" fmla="*/ 9675 h 10000"/>
                  <a:gd name="connsiteX230" fmla="*/ 3682 w 10000"/>
                  <a:gd name="connsiteY230" fmla="*/ 9607 h 10000"/>
                  <a:gd name="connsiteX231" fmla="*/ 3750 w 10000"/>
                  <a:gd name="connsiteY231" fmla="*/ 9600 h 10000"/>
                  <a:gd name="connsiteX232" fmla="*/ 3726 w 10000"/>
                  <a:gd name="connsiteY232" fmla="*/ 9399 h 10000"/>
                  <a:gd name="connsiteX233" fmla="*/ 3779 w 10000"/>
                  <a:gd name="connsiteY233" fmla="*/ 9323 h 10000"/>
                  <a:gd name="connsiteX234" fmla="*/ 3939 w 10000"/>
                  <a:gd name="connsiteY234" fmla="*/ 9240 h 10000"/>
                  <a:gd name="connsiteX235" fmla="*/ 4027 w 10000"/>
                  <a:gd name="connsiteY235" fmla="*/ 9175 h 10000"/>
                  <a:gd name="connsiteX236" fmla="*/ 3991 w 10000"/>
                  <a:gd name="connsiteY236" fmla="*/ 8700 h 10000"/>
                  <a:gd name="connsiteX237" fmla="*/ 4019 w 10000"/>
                  <a:gd name="connsiteY237" fmla="*/ 8635 h 10000"/>
                  <a:gd name="connsiteX238" fmla="*/ 4173 w 10000"/>
                  <a:gd name="connsiteY238" fmla="*/ 8404 h 10000"/>
                  <a:gd name="connsiteX239" fmla="*/ 4221 w 10000"/>
                  <a:gd name="connsiteY239" fmla="*/ 8246 h 10000"/>
                  <a:gd name="connsiteX240" fmla="*/ 4217 w 10000"/>
                  <a:gd name="connsiteY240" fmla="*/ 8171 h 10000"/>
                  <a:gd name="connsiteX241" fmla="*/ 4157 w 10000"/>
                  <a:gd name="connsiteY241" fmla="*/ 7886 h 10000"/>
                  <a:gd name="connsiteX242" fmla="*/ 4125 w 10000"/>
                  <a:gd name="connsiteY242" fmla="*/ 7613 h 10000"/>
                  <a:gd name="connsiteX243" fmla="*/ 4177 w 10000"/>
                  <a:gd name="connsiteY243" fmla="*/ 7461 h 10000"/>
                  <a:gd name="connsiteX244" fmla="*/ 4213 w 10000"/>
                  <a:gd name="connsiteY244" fmla="*/ 7396 h 10000"/>
                  <a:gd name="connsiteX245" fmla="*/ 4389 w 10000"/>
                  <a:gd name="connsiteY245" fmla="*/ 7335 h 10000"/>
                  <a:gd name="connsiteX246" fmla="*/ 4482 w 10000"/>
                  <a:gd name="connsiteY246" fmla="*/ 7321 h 10000"/>
                  <a:gd name="connsiteX247" fmla="*/ 4567 w 10000"/>
                  <a:gd name="connsiteY247" fmla="*/ 7199 h 10000"/>
                  <a:gd name="connsiteX248" fmla="*/ 4687 w 10000"/>
                  <a:gd name="connsiteY248" fmla="*/ 7138 h 10000"/>
                  <a:gd name="connsiteX249" fmla="*/ 4892 w 10000"/>
                  <a:gd name="connsiteY249" fmla="*/ 7084 h 10000"/>
                  <a:gd name="connsiteX250" fmla="*/ 4984 w 10000"/>
                  <a:gd name="connsiteY250" fmla="*/ 6961 h 10000"/>
                  <a:gd name="connsiteX251" fmla="*/ 4948 w 10000"/>
                  <a:gd name="connsiteY251" fmla="*/ 6911 h 10000"/>
                  <a:gd name="connsiteX252" fmla="*/ 5097 w 10000"/>
                  <a:gd name="connsiteY252" fmla="*/ 6806 h 10000"/>
                  <a:gd name="connsiteX253" fmla="*/ 5306 w 10000"/>
                  <a:gd name="connsiteY253" fmla="*/ 6670 h 10000"/>
                  <a:gd name="connsiteX254" fmla="*/ 5560 w 10000"/>
                  <a:gd name="connsiteY254" fmla="*/ 6489 h 10000"/>
                  <a:gd name="connsiteX255" fmla="*/ 5620 w 10000"/>
                  <a:gd name="connsiteY255" fmla="*/ 6457 h 10000"/>
                  <a:gd name="connsiteX256" fmla="*/ 5788 w 10000"/>
                  <a:gd name="connsiteY256" fmla="*/ 6252 h 10000"/>
                  <a:gd name="connsiteX257" fmla="*/ 5836 w 10000"/>
                  <a:gd name="connsiteY257" fmla="*/ 6195 h 10000"/>
                  <a:gd name="connsiteX258" fmla="*/ 6046 w 10000"/>
                  <a:gd name="connsiteY258" fmla="*/ 6011 h 10000"/>
                  <a:gd name="connsiteX259" fmla="*/ 6287 w 10000"/>
                  <a:gd name="connsiteY259" fmla="*/ 5921 h 10000"/>
                  <a:gd name="connsiteX260" fmla="*/ 6456 w 10000"/>
                  <a:gd name="connsiteY260" fmla="*/ 5809 h 10000"/>
                  <a:gd name="connsiteX261" fmla="*/ 6484 w 10000"/>
                  <a:gd name="connsiteY261" fmla="*/ 5788 h 10000"/>
                  <a:gd name="connsiteX262" fmla="*/ 6548 w 10000"/>
                  <a:gd name="connsiteY262" fmla="*/ 5694 h 10000"/>
                  <a:gd name="connsiteX263" fmla="*/ 6576 w 10000"/>
                  <a:gd name="connsiteY263" fmla="*/ 5658 h 10000"/>
                  <a:gd name="connsiteX264" fmla="*/ 6592 w 10000"/>
                  <a:gd name="connsiteY264" fmla="*/ 5514 h 10000"/>
                  <a:gd name="connsiteX265" fmla="*/ 6572 w 10000"/>
                  <a:gd name="connsiteY265" fmla="*/ 5424 h 10000"/>
                  <a:gd name="connsiteX266" fmla="*/ 6697 w 10000"/>
                  <a:gd name="connsiteY266" fmla="*/ 5327 h 10000"/>
                  <a:gd name="connsiteX267" fmla="*/ 6974 w 10000"/>
                  <a:gd name="connsiteY267" fmla="*/ 5168 h 10000"/>
                  <a:gd name="connsiteX268" fmla="*/ 6978 w 10000"/>
                  <a:gd name="connsiteY268" fmla="*/ 5161 h 10000"/>
                  <a:gd name="connsiteX269" fmla="*/ 7059 w 10000"/>
                  <a:gd name="connsiteY269" fmla="*/ 5230 h 10000"/>
                  <a:gd name="connsiteX270" fmla="*/ 7191 w 10000"/>
                  <a:gd name="connsiteY270" fmla="*/ 5143 h 10000"/>
                  <a:gd name="connsiteX271" fmla="*/ 7303 w 10000"/>
                  <a:gd name="connsiteY271" fmla="*/ 5168 h 10000"/>
                  <a:gd name="connsiteX272" fmla="*/ 7323 w 10000"/>
                  <a:gd name="connsiteY272" fmla="*/ 5078 h 10000"/>
                  <a:gd name="connsiteX273" fmla="*/ 7271 w 10000"/>
                  <a:gd name="connsiteY273" fmla="*/ 4884 h 10000"/>
                  <a:gd name="connsiteX274" fmla="*/ 7259 w 10000"/>
                  <a:gd name="connsiteY274" fmla="*/ 4798 h 10000"/>
                  <a:gd name="connsiteX275" fmla="*/ 7187 w 10000"/>
                  <a:gd name="connsiteY275" fmla="*/ 4711 h 10000"/>
                  <a:gd name="connsiteX276" fmla="*/ 7147 w 10000"/>
                  <a:gd name="connsiteY276" fmla="*/ 4596 h 10000"/>
                  <a:gd name="connsiteX277" fmla="*/ 7143 w 10000"/>
                  <a:gd name="connsiteY277" fmla="*/ 4517 h 10000"/>
                  <a:gd name="connsiteX278" fmla="*/ 7163 w 10000"/>
                  <a:gd name="connsiteY278" fmla="*/ 4423 h 10000"/>
                  <a:gd name="connsiteX279" fmla="*/ 7163 w 10000"/>
                  <a:gd name="connsiteY279" fmla="*/ 4398 h 10000"/>
                  <a:gd name="connsiteX280" fmla="*/ 7103 w 10000"/>
                  <a:gd name="connsiteY280" fmla="*/ 4341 h 10000"/>
                  <a:gd name="connsiteX281" fmla="*/ 6950 w 10000"/>
                  <a:gd name="connsiteY281" fmla="*/ 4264 h 10000"/>
                  <a:gd name="connsiteX282" fmla="*/ 6950 w 10000"/>
                  <a:gd name="connsiteY282" fmla="*/ 4203 h 10000"/>
                  <a:gd name="connsiteX283" fmla="*/ 7011 w 10000"/>
                  <a:gd name="connsiteY283" fmla="*/ 4175 h 10000"/>
                  <a:gd name="connsiteX284" fmla="*/ 7079 w 10000"/>
                  <a:gd name="connsiteY284" fmla="*/ 4070 h 10000"/>
                  <a:gd name="connsiteX285" fmla="*/ 7167 w 10000"/>
                  <a:gd name="connsiteY285" fmla="*/ 4070 h 10000"/>
                  <a:gd name="connsiteX286" fmla="*/ 7223 w 10000"/>
                  <a:gd name="connsiteY286" fmla="*/ 4042 h 10000"/>
                  <a:gd name="connsiteX287" fmla="*/ 7215 w 10000"/>
                  <a:gd name="connsiteY287" fmla="*/ 4002 h 10000"/>
                  <a:gd name="connsiteX288" fmla="*/ 7155 w 10000"/>
                  <a:gd name="connsiteY288" fmla="*/ 3934 h 10000"/>
                  <a:gd name="connsiteX289" fmla="*/ 7043 w 10000"/>
                  <a:gd name="connsiteY289" fmla="*/ 3894 h 10000"/>
                  <a:gd name="connsiteX290" fmla="*/ 6930 w 10000"/>
                  <a:gd name="connsiteY290" fmla="*/ 3822 h 10000"/>
                  <a:gd name="connsiteX291" fmla="*/ 7067 w 10000"/>
                  <a:gd name="connsiteY291" fmla="*/ 3638 h 10000"/>
                  <a:gd name="connsiteX292" fmla="*/ 7127 w 10000"/>
                  <a:gd name="connsiteY292" fmla="*/ 3746 h 10000"/>
                  <a:gd name="connsiteX293" fmla="*/ 7219 w 10000"/>
                  <a:gd name="connsiteY293" fmla="*/ 3631 h 10000"/>
                  <a:gd name="connsiteX294" fmla="*/ 7348 w 10000"/>
                  <a:gd name="connsiteY294" fmla="*/ 3768 h 10000"/>
                  <a:gd name="connsiteX295" fmla="*/ 7457 w 10000"/>
                  <a:gd name="connsiteY295" fmla="*/ 3699 h 10000"/>
                  <a:gd name="connsiteX296" fmla="*/ 7493 w 10000"/>
                  <a:gd name="connsiteY296" fmla="*/ 3807 h 10000"/>
                  <a:gd name="connsiteX297" fmla="*/ 7497 w 10000"/>
                  <a:gd name="connsiteY297" fmla="*/ 3850 h 10000"/>
                  <a:gd name="connsiteX298" fmla="*/ 7509 w 10000"/>
                  <a:gd name="connsiteY298" fmla="*/ 3948 h 10000"/>
                  <a:gd name="connsiteX299" fmla="*/ 7485 w 10000"/>
                  <a:gd name="connsiteY299" fmla="*/ 4142 h 10000"/>
                  <a:gd name="connsiteX300" fmla="*/ 7733 w 10000"/>
                  <a:gd name="connsiteY300" fmla="*/ 4203 h 10000"/>
                  <a:gd name="connsiteX301" fmla="*/ 7795 w 10000"/>
                  <a:gd name="connsiteY301" fmla="*/ 4252 h 10000"/>
                  <a:gd name="connsiteX302" fmla="*/ 8241 w 10000"/>
                  <a:gd name="connsiteY302" fmla="*/ 4173 h 10000"/>
                  <a:gd name="connsiteX303" fmla="*/ 8375 w 10000"/>
                  <a:gd name="connsiteY303" fmla="*/ 4125 h 10000"/>
                  <a:gd name="connsiteX304" fmla="*/ 8308 w 10000"/>
                  <a:gd name="connsiteY304" fmla="*/ 4009 h 10000"/>
                  <a:gd name="connsiteX305" fmla="*/ 8385 w 10000"/>
                  <a:gd name="connsiteY305" fmla="*/ 4035 h 10000"/>
                  <a:gd name="connsiteX306" fmla="*/ 8426 w 10000"/>
                  <a:gd name="connsiteY306" fmla="*/ 4074 h 10000"/>
                  <a:gd name="connsiteX307" fmla="*/ 8357 w 10000"/>
                  <a:gd name="connsiteY307" fmla="*/ 4117 h 10000"/>
                  <a:gd name="connsiteX308" fmla="*/ 8353 w 10000"/>
                  <a:gd name="connsiteY308" fmla="*/ 4193 h 10000"/>
                  <a:gd name="connsiteX309" fmla="*/ 8308 w 10000"/>
                  <a:gd name="connsiteY309" fmla="*/ 4254 h 10000"/>
                  <a:gd name="connsiteX310" fmla="*/ 8220 w 10000"/>
                  <a:gd name="connsiteY310" fmla="*/ 4319 h 10000"/>
                  <a:gd name="connsiteX311" fmla="*/ 8144 w 10000"/>
                  <a:gd name="connsiteY311" fmla="*/ 4370 h 10000"/>
                  <a:gd name="connsiteX312" fmla="*/ 8035 w 10000"/>
                  <a:gd name="connsiteY312" fmla="*/ 4603 h 10000"/>
                  <a:gd name="connsiteX313" fmla="*/ 8047 w 10000"/>
                  <a:gd name="connsiteY313" fmla="*/ 4635 h 10000"/>
                  <a:gd name="connsiteX314" fmla="*/ 8100 w 10000"/>
                  <a:gd name="connsiteY314" fmla="*/ 4750 h 10000"/>
                  <a:gd name="connsiteX315" fmla="*/ 8136 w 10000"/>
                  <a:gd name="connsiteY315" fmla="*/ 4689 h 10000"/>
                  <a:gd name="connsiteX316" fmla="*/ 8152 w 10000"/>
                  <a:gd name="connsiteY316" fmla="*/ 4736 h 10000"/>
                  <a:gd name="connsiteX317" fmla="*/ 8192 w 10000"/>
                  <a:gd name="connsiteY317" fmla="*/ 4776 h 10000"/>
                  <a:gd name="connsiteX318" fmla="*/ 8248 w 10000"/>
                  <a:gd name="connsiteY318" fmla="*/ 4750 h 10000"/>
                  <a:gd name="connsiteX319" fmla="*/ 8276 w 10000"/>
                  <a:gd name="connsiteY319" fmla="*/ 4657 h 10000"/>
                  <a:gd name="connsiteX320" fmla="*/ 8280 w 10000"/>
                  <a:gd name="connsiteY320" fmla="*/ 4614 h 10000"/>
                  <a:gd name="connsiteX321" fmla="*/ 8324 w 10000"/>
                  <a:gd name="connsiteY321" fmla="*/ 4524 h 10000"/>
                  <a:gd name="connsiteX322" fmla="*/ 8401 w 10000"/>
                  <a:gd name="connsiteY322" fmla="*/ 4510 h 10000"/>
                  <a:gd name="connsiteX323" fmla="*/ 8446 w 10000"/>
                  <a:gd name="connsiteY323" fmla="*/ 4711 h 10000"/>
                  <a:gd name="connsiteX324" fmla="*/ 8558 w 10000"/>
                  <a:gd name="connsiteY324" fmla="*/ 5039 h 10000"/>
                  <a:gd name="connsiteX325" fmla="*/ 8594 w 10000"/>
                  <a:gd name="connsiteY325" fmla="*/ 5064 h 10000"/>
                  <a:gd name="connsiteX326" fmla="*/ 8674 w 10000"/>
                  <a:gd name="connsiteY326" fmla="*/ 5064 h 10000"/>
                  <a:gd name="connsiteX327" fmla="*/ 8710 w 10000"/>
                  <a:gd name="connsiteY327" fmla="*/ 5064 h 10000"/>
                  <a:gd name="connsiteX328" fmla="*/ 8758 w 10000"/>
                  <a:gd name="connsiteY328" fmla="*/ 4902 h 10000"/>
                  <a:gd name="connsiteX329" fmla="*/ 8766 w 10000"/>
                  <a:gd name="connsiteY329" fmla="*/ 4679 h 10000"/>
                  <a:gd name="connsiteX330" fmla="*/ 8799 w 10000"/>
                  <a:gd name="connsiteY330" fmla="*/ 4603 h 10000"/>
                  <a:gd name="connsiteX331" fmla="*/ 8795 w 10000"/>
                  <a:gd name="connsiteY331" fmla="*/ 4366 h 10000"/>
                  <a:gd name="connsiteX332" fmla="*/ 9020 w 10000"/>
                  <a:gd name="connsiteY332" fmla="*/ 4391 h 10000"/>
                  <a:gd name="connsiteX333" fmla="*/ 9092 w 10000"/>
                  <a:gd name="connsiteY333" fmla="*/ 4323 h 10000"/>
                  <a:gd name="connsiteX334" fmla="*/ 9112 w 10000"/>
                  <a:gd name="connsiteY334" fmla="*/ 4225 h 10000"/>
                  <a:gd name="connsiteX335" fmla="*/ 9209 w 10000"/>
                  <a:gd name="connsiteY335" fmla="*/ 3981 h 10000"/>
                  <a:gd name="connsiteX336" fmla="*/ 9197 w 10000"/>
                  <a:gd name="connsiteY336" fmla="*/ 3927 h 10000"/>
                  <a:gd name="connsiteX337" fmla="*/ 9213 w 10000"/>
                  <a:gd name="connsiteY337" fmla="*/ 3832 h 10000"/>
                  <a:gd name="connsiteX338" fmla="*/ 9338 w 10000"/>
                  <a:gd name="connsiteY338" fmla="*/ 3603 h 10000"/>
                  <a:gd name="connsiteX339" fmla="*/ 9402 w 10000"/>
                  <a:gd name="connsiteY339" fmla="*/ 3585 h 10000"/>
                  <a:gd name="connsiteX340" fmla="*/ 9306 w 10000"/>
                  <a:gd name="connsiteY340" fmla="*/ 3484 h 10000"/>
                  <a:gd name="connsiteX341" fmla="*/ 9486 w 10000"/>
                  <a:gd name="connsiteY341" fmla="*/ 3478 h 10000"/>
                  <a:gd name="connsiteX342" fmla="*/ 9693 w 10000"/>
                  <a:gd name="connsiteY342" fmla="*/ 3457 h 10000"/>
                  <a:gd name="connsiteX343" fmla="*/ 9836 w 10000"/>
                  <a:gd name="connsiteY343" fmla="*/ 3461 h 10000"/>
                  <a:gd name="connsiteX344" fmla="*/ 9921 w 10000"/>
                  <a:gd name="connsiteY344" fmla="*/ 3333 h 10000"/>
                  <a:gd name="connsiteX345" fmla="*/ 9929 w 10000"/>
                  <a:gd name="connsiteY345" fmla="*/ 3188 h 10000"/>
                  <a:gd name="connsiteX346" fmla="*/ 9909 w 10000"/>
                  <a:gd name="connsiteY346" fmla="*/ 3113 h 10000"/>
                  <a:gd name="connsiteX347" fmla="*/ 9905 w 10000"/>
                  <a:gd name="connsiteY347" fmla="*/ 2991 h 10000"/>
                  <a:gd name="connsiteX348" fmla="*/ 9981 w 10000"/>
                  <a:gd name="connsiteY348" fmla="*/ 2893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</a:cxnLst>
                <a:rect l="l" t="t" r="r" b="b"/>
                <a:pathLst>
                  <a:path w="10000" h="10000">
                    <a:moveTo>
                      <a:pt x="9981" y="2893"/>
                    </a:moveTo>
                    <a:cubicBezTo>
                      <a:pt x="10021" y="2835"/>
                      <a:pt x="9997" y="2778"/>
                      <a:pt x="9925" y="2767"/>
                    </a:cubicBezTo>
                    <a:cubicBezTo>
                      <a:pt x="9881" y="2760"/>
                      <a:pt x="9828" y="2774"/>
                      <a:pt x="9792" y="2760"/>
                    </a:cubicBezTo>
                    <a:cubicBezTo>
                      <a:pt x="9735" y="2742"/>
                      <a:pt x="9691" y="2724"/>
                      <a:pt x="9635" y="2771"/>
                    </a:cubicBezTo>
                    <a:cubicBezTo>
                      <a:pt x="9647" y="2738"/>
                      <a:pt x="9659" y="2713"/>
                      <a:pt x="9675" y="2692"/>
                    </a:cubicBezTo>
                    <a:cubicBezTo>
                      <a:pt x="9715" y="2641"/>
                      <a:pt x="9639" y="2706"/>
                      <a:pt x="9571" y="2652"/>
                    </a:cubicBezTo>
                    <a:cubicBezTo>
                      <a:pt x="9559" y="2641"/>
                      <a:pt x="9587" y="2555"/>
                      <a:pt x="9555" y="2559"/>
                    </a:cubicBezTo>
                    <a:cubicBezTo>
                      <a:pt x="9555" y="2552"/>
                      <a:pt x="9576" y="2665"/>
                      <a:pt x="9567" y="2679"/>
                    </a:cubicBezTo>
                    <a:cubicBezTo>
                      <a:pt x="9558" y="2693"/>
                      <a:pt x="9521" y="2677"/>
                      <a:pt x="9501" y="2645"/>
                    </a:cubicBezTo>
                    <a:cubicBezTo>
                      <a:pt x="9497" y="2637"/>
                      <a:pt x="9516" y="2641"/>
                      <a:pt x="9496" y="2652"/>
                    </a:cubicBezTo>
                    <a:cubicBezTo>
                      <a:pt x="9424" y="2695"/>
                      <a:pt x="9444" y="2643"/>
                      <a:pt x="9375" y="2686"/>
                    </a:cubicBezTo>
                    <a:cubicBezTo>
                      <a:pt x="9319" y="2675"/>
                      <a:pt x="9360" y="2797"/>
                      <a:pt x="9299" y="2779"/>
                    </a:cubicBezTo>
                    <a:cubicBezTo>
                      <a:pt x="9235" y="2761"/>
                      <a:pt x="9074" y="2656"/>
                      <a:pt x="9034" y="2699"/>
                    </a:cubicBezTo>
                    <a:cubicBezTo>
                      <a:pt x="8986" y="2752"/>
                      <a:pt x="8939" y="2806"/>
                      <a:pt x="8891" y="2859"/>
                    </a:cubicBezTo>
                    <a:cubicBezTo>
                      <a:pt x="8858" y="2902"/>
                      <a:pt x="8729" y="2915"/>
                      <a:pt x="8669" y="2915"/>
                    </a:cubicBezTo>
                    <a:cubicBezTo>
                      <a:pt x="8597" y="2919"/>
                      <a:pt x="8679" y="2955"/>
                      <a:pt x="8663" y="3016"/>
                    </a:cubicBezTo>
                    <a:cubicBezTo>
                      <a:pt x="8659" y="3030"/>
                      <a:pt x="8469" y="2998"/>
                      <a:pt x="8453" y="3002"/>
                    </a:cubicBezTo>
                    <a:cubicBezTo>
                      <a:pt x="8389" y="3027"/>
                      <a:pt x="8519" y="3047"/>
                      <a:pt x="8494" y="3105"/>
                    </a:cubicBezTo>
                    <a:cubicBezTo>
                      <a:pt x="8474" y="3163"/>
                      <a:pt x="8396" y="3193"/>
                      <a:pt x="8331" y="3182"/>
                    </a:cubicBezTo>
                    <a:cubicBezTo>
                      <a:pt x="8315" y="3179"/>
                      <a:pt x="8498" y="3219"/>
                      <a:pt x="8482" y="3226"/>
                    </a:cubicBezTo>
                    <a:cubicBezTo>
                      <a:pt x="8458" y="3240"/>
                      <a:pt x="8472" y="3192"/>
                      <a:pt x="8452" y="3203"/>
                    </a:cubicBezTo>
                    <a:cubicBezTo>
                      <a:pt x="8416" y="3185"/>
                      <a:pt x="8455" y="3240"/>
                      <a:pt x="8415" y="3222"/>
                    </a:cubicBezTo>
                    <a:lnTo>
                      <a:pt x="8314" y="3183"/>
                    </a:lnTo>
                    <a:cubicBezTo>
                      <a:pt x="8293" y="3276"/>
                      <a:pt x="8309" y="3280"/>
                      <a:pt x="8282" y="3287"/>
                    </a:cubicBezTo>
                    <a:cubicBezTo>
                      <a:pt x="8255" y="3294"/>
                      <a:pt x="8156" y="3216"/>
                      <a:pt x="8152" y="3227"/>
                    </a:cubicBezTo>
                    <a:cubicBezTo>
                      <a:pt x="8140" y="3274"/>
                      <a:pt x="8232" y="3350"/>
                      <a:pt x="8244" y="3393"/>
                    </a:cubicBezTo>
                    <a:cubicBezTo>
                      <a:pt x="8244" y="3397"/>
                      <a:pt x="8240" y="3404"/>
                      <a:pt x="8240" y="3400"/>
                    </a:cubicBezTo>
                    <a:cubicBezTo>
                      <a:pt x="8204" y="3400"/>
                      <a:pt x="8160" y="3390"/>
                      <a:pt x="8144" y="3404"/>
                    </a:cubicBezTo>
                    <a:cubicBezTo>
                      <a:pt x="8092" y="3452"/>
                      <a:pt x="8031" y="3430"/>
                      <a:pt x="7971" y="3437"/>
                    </a:cubicBezTo>
                    <a:cubicBezTo>
                      <a:pt x="7951" y="3441"/>
                      <a:pt x="7927" y="3441"/>
                      <a:pt x="7903" y="3444"/>
                    </a:cubicBezTo>
                    <a:cubicBezTo>
                      <a:pt x="7834" y="3452"/>
                      <a:pt x="7766" y="3495"/>
                      <a:pt x="7693" y="3444"/>
                    </a:cubicBezTo>
                    <a:cubicBezTo>
                      <a:pt x="7681" y="3434"/>
                      <a:pt x="7637" y="3444"/>
                      <a:pt x="7617" y="3459"/>
                    </a:cubicBezTo>
                    <a:cubicBezTo>
                      <a:pt x="7565" y="3502"/>
                      <a:pt x="7453" y="3523"/>
                      <a:pt x="7397" y="3484"/>
                    </a:cubicBezTo>
                    <a:cubicBezTo>
                      <a:pt x="7352" y="3455"/>
                      <a:pt x="7315" y="3452"/>
                      <a:pt x="7267" y="3491"/>
                    </a:cubicBezTo>
                    <a:cubicBezTo>
                      <a:pt x="7219" y="3448"/>
                      <a:pt x="7171" y="3412"/>
                      <a:pt x="7127" y="3372"/>
                    </a:cubicBezTo>
                    <a:cubicBezTo>
                      <a:pt x="7135" y="3368"/>
                      <a:pt x="7143" y="3364"/>
                      <a:pt x="7151" y="3361"/>
                    </a:cubicBezTo>
                    <a:cubicBezTo>
                      <a:pt x="7147" y="3339"/>
                      <a:pt x="7143" y="3314"/>
                      <a:pt x="7139" y="3289"/>
                    </a:cubicBezTo>
                    <a:cubicBezTo>
                      <a:pt x="7135" y="3278"/>
                      <a:pt x="7131" y="3260"/>
                      <a:pt x="7135" y="3249"/>
                    </a:cubicBezTo>
                    <a:cubicBezTo>
                      <a:pt x="7139" y="3221"/>
                      <a:pt x="7117" y="3130"/>
                      <a:pt x="7125" y="3101"/>
                    </a:cubicBezTo>
                    <a:cubicBezTo>
                      <a:pt x="7145" y="3054"/>
                      <a:pt x="7159" y="3305"/>
                      <a:pt x="7157" y="3322"/>
                    </a:cubicBezTo>
                    <a:cubicBezTo>
                      <a:pt x="7155" y="3339"/>
                      <a:pt x="7124" y="3236"/>
                      <a:pt x="7114" y="3201"/>
                    </a:cubicBezTo>
                    <a:cubicBezTo>
                      <a:pt x="7104" y="3166"/>
                      <a:pt x="7123" y="3120"/>
                      <a:pt x="7095" y="3113"/>
                    </a:cubicBezTo>
                    <a:cubicBezTo>
                      <a:pt x="7067" y="3106"/>
                      <a:pt x="6960" y="3148"/>
                      <a:pt x="6944" y="3159"/>
                    </a:cubicBezTo>
                    <a:cubicBezTo>
                      <a:pt x="6993" y="3209"/>
                      <a:pt x="6933" y="3218"/>
                      <a:pt x="6933" y="3265"/>
                    </a:cubicBezTo>
                    <a:cubicBezTo>
                      <a:pt x="6929" y="3329"/>
                      <a:pt x="6931" y="3539"/>
                      <a:pt x="7019" y="3593"/>
                    </a:cubicBezTo>
                    <a:cubicBezTo>
                      <a:pt x="7036" y="3607"/>
                      <a:pt x="6922" y="3531"/>
                      <a:pt x="6914" y="3556"/>
                    </a:cubicBezTo>
                    <a:cubicBezTo>
                      <a:pt x="6910" y="3585"/>
                      <a:pt x="6889" y="3613"/>
                      <a:pt x="6877" y="3631"/>
                    </a:cubicBezTo>
                    <a:cubicBezTo>
                      <a:pt x="6841" y="3628"/>
                      <a:pt x="6797" y="3613"/>
                      <a:pt x="6785" y="3624"/>
                    </a:cubicBezTo>
                    <a:cubicBezTo>
                      <a:pt x="6757" y="3653"/>
                      <a:pt x="6733" y="3638"/>
                      <a:pt x="6709" y="3642"/>
                    </a:cubicBezTo>
                    <a:cubicBezTo>
                      <a:pt x="6645" y="3653"/>
                      <a:pt x="6592" y="3649"/>
                      <a:pt x="6540" y="3624"/>
                    </a:cubicBezTo>
                    <a:cubicBezTo>
                      <a:pt x="6532" y="3620"/>
                      <a:pt x="6516" y="3624"/>
                      <a:pt x="6508" y="3628"/>
                    </a:cubicBezTo>
                    <a:cubicBezTo>
                      <a:pt x="6456" y="3653"/>
                      <a:pt x="6403" y="3642"/>
                      <a:pt x="6351" y="3620"/>
                    </a:cubicBezTo>
                    <a:cubicBezTo>
                      <a:pt x="6291" y="3595"/>
                      <a:pt x="6230" y="3581"/>
                      <a:pt x="6162" y="3603"/>
                    </a:cubicBezTo>
                    <a:cubicBezTo>
                      <a:pt x="6130" y="3613"/>
                      <a:pt x="6106" y="3606"/>
                      <a:pt x="6098" y="3570"/>
                    </a:cubicBezTo>
                    <a:cubicBezTo>
                      <a:pt x="6082" y="3509"/>
                      <a:pt x="6070" y="3502"/>
                      <a:pt x="6006" y="3538"/>
                    </a:cubicBezTo>
                    <a:cubicBezTo>
                      <a:pt x="5966" y="3556"/>
                      <a:pt x="5933" y="3552"/>
                      <a:pt x="5900" y="3531"/>
                    </a:cubicBezTo>
                    <a:cubicBezTo>
                      <a:pt x="5848" y="3502"/>
                      <a:pt x="5796" y="3480"/>
                      <a:pt x="5744" y="3455"/>
                    </a:cubicBezTo>
                    <a:cubicBezTo>
                      <a:pt x="5736" y="3430"/>
                      <a:pt x="5736" y="3393"/>
                      <a:pt x="5716" y="3372"/>
                    </a:cubicBezTo>
                    <a:cubicBezTo>
                      <a:pt x="5676" y="3336"/>
                      <a:pt x="5604" y="3350"/>
                      <a:pt x="5552" y="3314"/>
                    </a:cubicBezTo>
                    <a:cubicBezTo>
                      <a:pt x="5535" y="3303"/>
                      <a:pt x="5474" y="3336"/>
                      <a:pt x="5434" y="3350"/>
                    </a:cubicBezTo>
                    <a:cubicBezTo>
                      <a:pt x="5358" y="3307"/>
                      <a:pt x="5302" y="3307"/>
                      <a:pt x="5270" y="3346"/>
                    </a:cubicBezTo>
                    <a:cubicBezTo>
                      <a:pt x="5242" y="3339"/>
                      <a:pt x="5218" y="3336"/>
                      <a:pt x="5194" y="3332"/>
                    </a:cubicBezTo>
                    <a:cubicBezTo>
                      <a:pt x="5165" y="3325"/>
                      <a:pt x="5137" y="3325"/>
                      <a:pt x="5113" y="3318"/>
                    </a:cubicBezTo>
                    <a:cubicBezTo>
                      <a:pt x="4996" y="3275"/>
                      <a:pt x="4880" y="3232"/>
                      <a:pt x="4763" y="3185"/>
                    </a:cubicBezTo>
                    <a:cubicBezTo>
                      <a:pt x="4743" y="3181"/>
                      <a:pt x="4727" y="3170"/>
                      <a:pt x="4715" y="3160"/>
                    </a:cubicBezTo>
                    <a:cubicBezTo>
                      <a:pt x="4587" y="3056"/>
                      <a:pt x="4449" y="2962"/>
                      <a:pt x="4281" y="2922"/>
                    </a:cubicBezTo>
                    <a:cubicBezTo>
                      <a:pt x="4257" y="2914"/>
                      <a:pt x="4241" y="2900"/>
                      <a:pt x="4221" y="2889"/>
                    </a:cubicBezTo>
                    <a:cubicBezTo>
                      <a:pt x="4193" y="2868"/>
                      <a:pt x="4181" y="2846"/>
                      <a:pt x="4201" y="2814"/>
                    </a:cubicBezTo>
                    <a:cubicBezTo>
                      <a:pt x="4241" y="2753"/>
                      <a:pt x="4225" y="2667"/>
                      <a:pt x="4297" y="2613"/>
                    </a:cubicBezTo>
                    <a:cubicBezTo>
                      <a:pt x="4301" y="2606"/>
                      <a:pt x="4301" y="2595"/>
                      <a:pt x="4305" y="2588"/>
                    </a:cubicBezTo>
                    <a:cubicBezTo>
                      <a:pt x="4321" y="2559"/>
                      <a:pt x="4341" y="2534"/>
                      <a:pt x="4361" y="2509"/>
                    </a:cubicBezTo>
                    <a:cubicBezTo>
                      <a:pt x="4377" y="2486"/>
                      <a:pt x="4401" y="2472"/>
                      <a:pt x="4417" y="2450"/>
                    </a:cubicBezTo>
                    <a:cubicBezTo>
                      <a:pt x="4465" y="2393"/>
                      <a:pt x="4441" y="2335"/>
                      <a:pt x="4373" y="2303"/>
                    </a:cubicBezTo>
                    <a:cubicBezTo>
                      <a:pt x="4321" y="2278"/>
                      <a:pt x="4273" y="2242"/>
                      <a:pt x="4225" y="2209"/>
                    </a:cubicBezTo>
                    <a:cubicBezTo>
                      <a:pt x="4177" y="2181"/>
                      <a:pt x="4133" y="2134"/>
                      <a:pt x="4080" y="2130"/>
                    </a:cubicBezTo>
                    <a:cubicBezTo>
                      <a:pt x="3999" y="2120"/>
                      <a:pt x="3951" y="2087"/>
                      <a:pt x="3919" y="2029"/>
                    </a:cubicBezTo>
                    <a:cubicBezTo>
                      <a:pt x="3899" y="1996"/>
                      <a:pt x="3871" y="1982"/>
                      <a:pt x="3831" y="2000"/>
                    </a:cubicBezTo>
                    <a:cubicBezTo>
                      <a:pt x="3783" y="2022"/>
                      <a:pt x="3771" y="1989"/>
                      <a:pt x="3767" y="1961"/>
                    </a:cubicBezTo>
                    <a:cubicBezTo>
                      <a:pt x="3759" y="1910"/>
                      <a:pt x="3759" y="1860"/>
                      <a:pt x="3750" y="1810"/>
                    </a:cubicBezTo>
                    <a:cubicBezTo>
                      <a:pt x="3742" y="1781"/>
                      <a:pt x="3726" y="1756"/>
                      <a:pt x="3714" y="1731"/>
                    </a:cubicBezTo>
                    <a:cubicBezTo>
                      <a:pt x="3694" y="1688"/>
                      <a:pt x="3670" y="1641"/>
                      <a:pt x="3646" y="1598"/>
                    </a:cubicBezTo>
                    <a:cubicBezTo>
                      <a:pt x="3702" y="1564"/>
                      <a:pt x="3734" y="1561"/>
                      <a:pt x="3767" y="1609"/>
                    </a:cubicBezTo>
                    <a:cubicBezTo>
                      <a:pt x="3803" y="1666"/>
                      <a:pt x="3847" y="1662"/>
                      <a:pt x="3899" y="1619"/>
                    </a:cubicBezTo>
                    <a:cubicBezTo>
                      <a:pt x="3915" y="1605"/>
                      <a:pt x="3931" y="1594"/>
                      <a:pt x="3951" y="1590"/>
                    </a:cubicBezTo>
                    <a:cubicBezTo>
                      <a:pt x="4019" y="1575"/>
                      <a:pt x="4047" y="1521"/>
                      <a:pt x="4003" y="1471"/>
                    </a:cubicBezTo>
                    <a:cubicBezTo>
                      <a:pt x="3979" y="1442"/>
                      <a:pt x="3967" y="1417"/>
                      <a:pt x="3975" y="1378"/>
                    </a:cubicBezTo>
                    <a:cubicBezTo>
                      <a:pt x="3979" y="1363"/>
                      <a:pt x="3959" y="1342"/>
                      <a:pt x="3943" y="1331"/>
                    </a:cubicBezTo>
                    <a:cubicBezTo>
                      <a:pt x="3923" y="1320"/>
                      <a:pt x="3891" y="1313"/>
                      <a:pt x="3867" y="1313"/>
                    </a:cubicBezTo>
                    <a:cubicBezTo>
                      <a:pt x="3815" y="1306"/>
                      <a:pt x="3811" y="1266"/>
                      <a:pt x="3835" y="1248"/>
                    </a:cubicBezTo>
                    <a:cubicBezTo>
                      <a:pt x="3871" y="1212"/>
                      <a:pt x="3863" y="1180"/>
                      <a:pt x="3839" y="1148"/>
                    </a:cubicBezTo>
                    <a:cubicBezTo>
                      <a:pt x="3819" y="1111"/>
                      <a:pt x="3835" y="1093"/>
                      <a:pt x="3871" y="1086"/>
                    </a:cubicBezTo>
                    <a:cubicBezTo>
                      <a:pt x="3891" y="1079"/>
                      <a:pt x="3911" y="1075"/>
                      <a:pt x="3931" y="1075"/>
                    </a:cubicBezTo>
                    <a:cubicBezTo>
                      <a:pt x="3991" y="1075"/>
                      <a:pt x="4015" y="1046"/>
                      <a:pt x="4011" y="1000"/>
                    </a:cubicBezTo>
                    <a:cubicBezTo>
                      <a:pt x="4011" y="967"/>
                      <a:pt x="4027" y="953"/>
                      <a:pt x="4060" y="931"/>
                    </a:cubicBezTo>
                    <a:cubicBezTo>
                      <a:pt x="4112" y="888"/>
                      <a:pt x="4181" y="856"/>
                      <a:pt x="4201" y="784"/>
                    </a:cubicBezTo>
                    <a:cubicBezTo>
                      <a:pt x="4217" y="737"/>
                      <a:pt x="4136" y="694"/>
                      <a:pt x="4156" y="650"/>
                    </a:cubicBezTo>
                    <a:cubicBezTo>
                      <a:pt x="4192" y="571"/>
                      <a:pt x="4273" y="532"/>
                      <a:pt x="4185" y="496"/>
                    </a:cubicBezTo>
                    <a:cubicBezTo>
                      <a:pt x="4133" y="478"/>
                      <a:pt x="4084" y="449"/>
                      <a:pt x="4027" y="435"/>
                    </a:cubicBezTo>
                    <a:cubicBezTo>
                      <a:pt x="3995" y="424"/>
                      <a:pt x="3959" y="431"/>
                      <a:pt x="3923" y="431"/>
                    </a:cubicBezTo>
                    <a:cubicBezTo>
                      <a:pt x="3907" y="431"/>
                      <a:pt x="3891" y="438"/>
                      <a:pt x="3875" y="438"/>
                    </a:cubicBezTo>
                    <a:cubicBezTo>
                      <a:pt x="3759" y="424"/>
                      <a:pt x="3662" y="460"/>
                      <a:pt x="3574" y="528"/>
                    </a:cubicBezTo>
                    <a:cubicBezTo>
                      <a:pt x="3509" y="578"/>
                      <a:pt x="3441" y="571"/>
                      <a:pt x="3376" y="521"/>
                    </a:cubicBezTo>
                    <a:cubicBezTo>
                      <a:pt x="3352" y="503"/>
                      <a:pt x="3324" y="485"/>
                      <a:pt x="3292" y="474"/>
                    </a:cubicBezTo>
                    <a:cubicBezTo>
                      <a:pt x="3236" y="456"/>
                      <a:pt x="3184" y="438"/>
                      <a:pt x="3180" y="374"/>
                    </a:cubicBezTo>
                    <a:cubicBezTo>
                      <a:pt x="3180" y="359"/>
                      <a:pt x="3160" y="345"/>
                      <a:pt x="3148" y="334"/>
                    </a:cubicBezTo>
                    <a:lnTo>
                      <a:pt x="2890" y="161"/>
                    </a:lnTo>
                    <a:cubicBezTo>
                      <a:pt x="2862" y="139"/>
                      <a:pt x="2830" y="121"/>
                      <a:pt x="2806" y="92"/>
                    </a:cubicBezTo>
                    <a:cubicBezTo>
                      <a:pt x="2762" y="38"/>
                      <a:pt x="2718" y="-8"/>
                      <a:pt x="2633" y="21"/>
                    </a:cubicBezTo>
                    <a:cubicBezTo>
                      <a:pt x="2625" y="24"/>
                      <a:pt x="2608" y="21"/>
                      <a:pt x="2600" y="17"/>
                    </a:cubicBezTo>
                    <a:cubicBezTo>
                      <a:pt x="2492" y="-19"/>
                      <a:pt x="2396" y="10"/>
                      <a:pt x="2299" y="49"/>
                    </a:cubicBezTo>
                    <a:cubicBezTo>
                      <a:pt x="2255" y="67"/>
                      <a:pt x="2203" y="71"/>
                      <a:pt x="2155" y="74"/>
                    </a:cubicBezTo>
                    <a:cubicBezTo>
                      <a:pt x="2122" y="78"/>
                      <a:pt x="2086" y="67"/>
                      <a:pt x="2054" y="71"/>
                    </a:cubicBezTo>
                    <a:cubicBezTo>
                      <a:pt x="2026" y="78"/>
                      <a:pt x="1990" y="92"/>
                      <a:pt x="1982" y="110"/>
                    </a:cubicBezTo>
                    <a:cubicBezTo>
                      <a:pt x="1953" y="164"/>
                      <a:pt x="1913" y="197"/>
                      <a:pt x="1857" y="218"/>
                    </a:cubicBezTo>
                    <a:cubicBezTo>
                      <a:pt x="1805" y="237"/>
                      <a:pt x="1801" y="277"/>
                      <a:pt x="1809" y="320"/>
                    </a:cubicBezTo>
                    <a:cubicBezTo>
                      <a:pt x="1817" y="366"/>
                      <a:pt x="1845" y="388"/>
                      <a:pt x="1897" y="384"/>
                    </a:cubicBezTo>
                    <a:cubicBezTo>
                      <a:pt x="1945" y="381"/>
                      <a:pt x="1974" y="406"/>
                      <a:pt x="2006" y="438"/>
                    </a:cubicBezTo>
                    <a:cubicBezTo>
                      <a:pt x="2042" y="471"/>
                      <a:pt x="2090" y="496"/>
                      <a:pt x="2126" y="528"/>
                    </a:cubicBezTo>
                    <a:cubicBezTo>
                      <a:pt x="2175" y="575"/>
                      <a:pt x="2215" y="621"/>
                      <a:pt x="2255" y="672"/>
                    </a:cubicBezTo>
                    <a:cubicBezTo>
                      <a:pt x="2263" y="679"/>
                      <a:pt x="2255" y="705"/>
                      <a:pt x="2243" y="716"/>
                    </a:cubicBezTo>
                    <a:cubicBezTo>
                      <a:pt x="2215" y="762"/>
                      <a:pt x="2134" y="770"/>
                      <a:pt x="2130" y="838"/>
                    </a:cubicBezTo>
                    <a:cubicBezTo>
                      <a:pt x="2130" y="841"/>
                      <a:pt x="2118" y="845"/>
                      <a:pt x="2114" y="849"/>
                    </a:cubicBezTo>
                    <a:cubicBezTo>
                      <a:pt x="2074" y="870"/>
                      <a:pt x="2062" y="899"/>
                      <a:pt x="2078" y="938"/>
                    </a:cubicBezTo>
                    <a:cubicBezTo>
                      <a:pt x="2086" y="956"/>
                      <a:pt x="2094" y="978"/>
                      <a:pt x="2094" y="1000"/>
                    </a:cubicBezTo>
                    <a:lnTo>
                      <a:pt x="2094" y="1184"/>
                    </a:lnTo>
                    <a:cubicBezTo>
                      <a:pt x="2090" y="1256"/>
                      <a:pt x="2078" y="1335"/>
                      <a:pt x="2155" y="1381"/>
                    </a:cubicBezTo>
                    <a:cubicBezTo>
                      <a:pt x="2235" y="1428"/>
                      <a:pt x="2332" y="1464"/>
                      <a:pt x="2424" y="1503"/>
                    </a:cubicBezTo>
                    <a:cubicBezTo>
                      <a:pt x="2432" y="1586"/>
                      <a:pt x="2436" y="1586"/>
                      <a:pt x="2536" y="1590"/>
                    </a:cubicBezTo>
                    <a:cubicBezTo>
                      <a:pt x="2544" y="1590"/>
                      <a:pt x="2556" y="1590"/>
                      <a:pt x="2560" y="1594"/>
                    </a:cubicBezTo>
                    <a:cubicBezTo>
                      <a:pt x="2588" y="1616"/>
                      <a:pt x="2633" y="1641"/>
                      <a:pt x="2637" y="1666"/>
                    </a:cubicBezTo>
                    <a:cubicBezTo>
                      <a:pt x="2641" y="1706"/>
                      <a:pt x="2596" y="1724"/>
                      <a:pt x="2548" y="1720"/>
                    </a:cubicBezTo>
                    <a:lnTo>
                      <a:pt x="2536" y="1720"/>
                    </a:lnTo>
                    <a:cubicBezTo>
                      <a:pt x="2460" y="1727"/>
                      <a:pt x="2400" y="1756"/>
                      <a:pt x="2368" y="1817"/>
                    </a:cubicBezTo>
                    <a:cubicBezTo>
                      <a:pt x="2356" y="1835"/>
                      <a:pt x="2364" y="1860"/>
                      <a:pt x="2368" y="1878"/>
                    </a:cubicBezTo>
                    <a:cubicBezTo>
                      <a:pt x="2372" y="1900"/>
                      <a:pt x="2392" y="1932"/>
                      <a:pt x="2384" y="1939"/>
                    </a:cubicBezTo>
                    <a:cubicBezTo>
                      <a:pt x="2340" y="1979"/>
                      <a:pt x="2352" y="2018"/>
                      <a:pt x="2364" y="2048"/>
                    </a:cubicBezTo>
                    <a:cubicBezTo>
                      <a:pt x="2315" y="2094"/>
                      <a:pt x="2279" y="2134"/>
                      <a:pt x="2243" y="2170"/>
                    </a:cubicBezTo>
                    <a:cubicBezTo>
                      <a:pt x="2227" y="2188"/>
                      <a:pt x="2215" y="2209"/>
                      <a:pt x="2191" y="2220"/>
                    </a:cubicBezTo>
                    <a:cubicBezTo>
                      <a:pt x="2130" y="2253"/>
                      <a:pt x="2118" y="2292"/>
                      <a:pt x="2159" y="2360"/>
                    </a:cubicBezTo>
                    <a:cubicBezTo>
                      <a:pt x="2106" y="2375"/>
                      <a:pt x="2062" y="2389"/>
                      <a:pt x="2014" y="2400"/>
                    </a:cubicBezTo>
                    <a:cubicBezTo>
                      <a:pt x="1970" y="2411"/>
                      <a:pt x="1953" y="2432"/>
                      <a:pt x="1937" y="2468"/>
                    </a:cubicBezTo>
                    <a:cubicBezTo>
                      <a:pt x="1913" y="2534"/>
                      <a:pt x="1877" y="2591"/>
                      <a:pt x="1841" y="2649"/>
                    </a:cubicBezTo>
                    <a:cubicBezTo>
                      <a:pt x="1825" y="2670"/>
                      <a:pt x="1809" y="2692"/>
                      <a:pt x="1789" y="2713"/>
                    </a:cubicBezTo>
                    <a:cubicBezTo>
                      <a:pt x="1781" y="2724"/>
                      <a:pt x="1769" y="2738"/>
                      <a:pt x="1753" y="2742"/>
                    </a:cubicBezTo>
                    <a:cubicBezTo>
                      <a:pt x="1660" y="2774"/>
                      <a:pt x="1567" y="2803"/>
                      <a:pt x="1543" y="2907"/>
                    </a:cubicBezTo>
                    <a:cubicBezTo>
                      <a:pt x="1535" y="2929"/>
                      <a:pt x="1511" y="2943"/>
                      <a:pt x="1491" y="2962"/>
                    </a:cubicBezTo>
                    <a:cubicBezTo>
                      <a:pt x="1467" y="2987"/>
                      <a:pt x="1435" y="3005"/>
                      <a:pt x="1423" y="3034"/>
                    </a:cubicBezTo>
                    <a:cubicBezTo>
                      <a:pt x="1399" y="3088"/>
                      <a:pt x="1347" y="3099"/>
                      <a:pt x="1291" y="3102"/>
                    </a:cubicBezTo>
                    <a:cubicBezTo>
                      <a:pt x="1234" y="3109"/>
                      <a:pt x="1177" y="3109"/>
                      <a:pt x="1121" y="3124"/>
                    </a:cubicBezTo>
                    <a:cubicBezTo>
                      <a:pt x="1037" y="3145"/>
                      <a:pt x="1029" y="3145"/>
                      <a:pt x="1013" y="3066"/>
                    </a:cubicBezTo>
                    <a:cubicBezTo>
                      <a:pt x="1005" y="3027"/>
                      <a:pt x="977" y="3016"/>
                      <a:pt x="937" y="3012"/>
                    </a:cubicBezTo>
                    <a:cubicBezTo>
                      <a:pt x="901" y="3012"/>
                      <a:pt x="812" y="3081"/>
                      <a:pt x="796" y="3113"/>
                    </a:cubicBezTo>
                    <a:cubicBezTo>
                      <a:pt x="780" y="3142"/>
                      <a:pt x="760" y="3170"/>
                      <a:pt x="736" y="3192"/>
                    </a:cubicBezTo>
                    <a:cubicBezTo>
                      <a:pt x="707" y="3217"/>
                      <a:pt x="671" y="3235"/>
                      <a:pt x="639" y="3257"/>
                    </a:cubicBezTo>
                    <a:cubicBezTo>
                      <a:pt x="583" y="3296"/>
                      <a:pt x="543" y="3386"/>
                      <a:pt x="571" y="3434"/>
                    </a:cubicBezTo>
                    <a:cubicBezTo>
                      <a:pt x="603" y="3484"/>
                      <a:pt x="655" y="3516"/>
                      <a:pt x="728" y="3509"/>
                    </a:cubicBezTo>
                    <a:cubicBezTo>
                      <a:pt x="764" y="3506"/>
                      <a:pt x="784" y="3520"/>
                      <a:pt x="780" y="3556"/>
                    </a:cubicBezTo>
                    <a:cubicBezTo>
                      <a:pt x="772" y="3588"/>
                      <a:pt x="760" y="3620"/>
                      <a:pt x="752" y="3653"/>
                    </a:cubicBezTo>
                    <a:cubicBezTo>
                      <a:pt x="748" y="3667"/>
                      <a:pt x="740" y="3682"/>
                      <a:pt x="744" y="3692"/>
                    </a:cubicBezTo>
                    <a:cubicBezTo>
                      <a:pt x="756" y="3793"/>
                      <a:pt x="804" y="3829"/>
                      <a:pt x="917" y="3829"/>
                    </a:cubicBezTo>
                    <a:cubicBezTo>
                      <a:pt x="933" y="3891"/>
                      <a:pt x="905" y="3970"/>
                      <a:pt x="989" y="4009"/>
                    </a:cubicBezTo>
                    <a:cubicBezTo>
                      <a:pt x="993" y="4013"/>
                      <a:pt x="993" y="4020"/>
                      <a:pt x="993" y="4027"/>
                    </a:cubicBezTo>
                    <a:cubicBezTo>
                      <a:pt x="1009" y="4078"/>
                      <a:pt x="1025" y="4128"/>
                      <a:pt x="1041" y="4185"/>
                    </a:cubicBezTo>
                    <a:cubicBezTo>
                      <a:pt x="1037" y="4193"/>
                      <a:pt x="1017" y="4211"/>
                      <a:pt x="1017" y="4225"/>
                    </a:cubicBezTo>
                    <a:cubicBezTo>
                      <a:pt x="1017" y="4243"/>
                      <a:pt x="1033" y="4261"/>
                      <a:pt x="1041" y="4275"/>
                    </a:cubicBezTo>
                    <a:cubicBezTo>
                      <a:pt x="1021" y="4286"/>
                      <a:pt x="1001" y="4297"/>
                      <a:pt x="981" y="4300"/>
                    </a:cubicBezTo>
                    <a:cubicBezTo>
                      <a:pt x="953" y="4311"/>
                      <a:pt x="921" y="4319"/>
                      <a:pt x="897" y="4315"/>
                    </a:cubicBezTo>
                    <a:cubicBezTo>
                      <a:pt x="884" y="4311"/>
                      <a:pt x="880" y="4279"/>
                      <a:pt x="868" y="4254"/>
                    </a:cubicBezTo>
                    <a:cubicBezTo>
                      <a:pt x="868" y="4254"/>
                      <a:pt x="856" y="4250"/>
                      <a:pt x="848" y="4250"/>
                    </a:cubicBezTo>
                    <a:cubicBezTo>
                      <a:pt x="792" y="4272"/>
                      <a:pt x="736" y="4297"/>
                      <a:pt x="675" y="4311"/>
                    </a:cubicBezTo>
                    <a:cubicBezTo>
                      <a:pt x="647" y="4323"/>
                      <a:pt x="599" y="4330"/>
                      <a:pt x="587" y="4315"/>
                    </a:cubicBezTo>
                    <a:cubicBezTo>
                      <a:pt x="526" y="4257"/>
                      <a:pt x="454" y="4279"/>
                      <a:pt x="386" y="4275"/>
                    </a:cubicBezTo>
                    <a:cubicBezTo>
                      <a:pt x="350" y="4275"/>
                      <a:pt x="314" y="4272"/>
                      <a:pt x="282" y="4257"/>
                    </a:cubicBezTo>
                    <a:cubicBezTo>
                      <a:pt x="229" y="4236"/>
                      <a:pt x="213" y="4246"/>
                      <a:pt x="217" y="4297"/>
                    </a:cubicBezTo>
                    <a:cubicBezTo>
                      <a:pt x="217" y="4352"/>
                      <a:pt x="193" y="4366"/>
                      <a:pt x="132" y="4359"/>
                    </a:cubicBezTo>
                    <a:cubicBezTo>
                      <a:pt x="112" y="4355"/>
                      <a:pt x="88" y="4344"/>
                      <a:pt x="72" y="4352"/>
                    </a:cubicBezTo>
                    <a:cubicBezTo>
                      <a:pt x="48" y="4359"/>
                      <a:pt x="24" y="4373"/>
                      <a:pt x="16" y="4391"/>
                    </a:cubicBezTo>
                    <a:cubicBezTo>
                      <a:pt x="4" y="4420"/>
                      <a:pt x="4" y="4452"/>
                      <a:pt x="0" y="4492"/>
                    </a:cubicBezTo>
                    <a:cubicBezTo>
                      <a:pt x="20" y="4492"/>
                      <a:pt x="48" y="4488"/>
                      <a:pt x="80" y="4488"/>
                    </a:cubicBezTo>
                    <a:cubicBezTo>
                      <a:pt x="80" y="4506"/>
                      <a:pt x="80" y="4528"/>
                      <a:pt x="88" y="4546"/>
                    </a:cubicBezTo>
                    <a:cubicBezTo>
                      <a:pt x="124" y="4632"/>
                      <a:pt x="193" y="4686"/>
                      <a:pt x="278" y="4740"/>
                    </a:cubicBezTo>
                    <a:cubicBezTo>
                      <a:pt x="398" y="4816"/>
                      <a:pt x="518" y="4791"/>
                      <a:pt x="639" y="4761"/>
                    </a:cubicBezTo>
                    <a:cubicBezTo>
                      <a:pt x="663" y="4754"/>
                      <a:pt x="711" y="4747"/>
                      <a:pt x="703" y="4696"/>
                    </a:cubicBezTo>
                    <a:cubicBezTo>
                      <a:pt x="703" y="4693"/>
                      <a:pt x="744" y="4675"/>
                      <a:pt x="768" y="4679"/>
                    </a:cubicBezTo>
                    <a:cubicBezTo>
                      <a:pt x="800" y="4679"/>
                      <a:pt x="828" y="4689"/>
                      <a:pt x="860" y="4693"/>
                    </a:cubicBezTo>
                    <a:cubicBezTo>
                      <a:pt x="792" y="4754"/>
                      <a:pt x="687" y="4791"/>
                      <a:pt x="659" y="4891"/>
                    </a:cubicBezTo>
                    <a:cubicBezTo>
                      <a:pt x="635" y="4881"/>
                      <a:pt x="623" y="4870"/>
                      <a:pt x="607" y="4863"/>
                    </a:cubicBezTo>
                    <a:lnTo>
                      <a:pt x="607" y="4881"/>
                    </a:lnTo>
                    <a:cubicBezTo>
                      <a:pt x="567" y="4888"/>
                      <a:pt x="526" y="4891"/>
                      <a:pt x="486" y="4902"/>
                    </a:cubicBezTo>
                    <a:lnTo>
                      <a:pt x="330" y="4952"/>
                    </a:lnTo>
                    <a:cubicBezTo>
                      <a:pt x="310" y="4917"/>
                      <a:pt x="298" y="4891"/>
                      <a:pt x="286" y="4866"/>
                    </a:cubicBezTo>
                    <a:cubicBezTo>
                      <a:pt x="213" y="4909"/>
                      <a:pt x="201" y="4945"/>
                      <a:pt x="254" y="5006"/>
                    </a:cubicBezTo>
                    <a:cubicBezTo>
                      <a:pt x="338" y="5100"/>
                      <a:pt x="426" y="5193"/>
                      <a:pt x="518" y="5288"/>
                    </a:cubicBezTo>
                    <a:cubicBezTo>
                      <a:pt x="591" y="5359"/>
                      <a:pt x="663" y="5431"/>
                      <a:pt x="748" y="5492"/>
                    </a:cubicBezTo>
                    <a:cubicBezTo>
                      <a:pt x="784" y="5525"/>
                      <a:pt x="933" y="5705"/>
                      <a:pt x="989" y="5687"/>
                    </a:cubicBezTo>
                    <a:cubicBezTo>
                      <a:pt x="1082" y="5655"/>
                      <a:pt x="1242" y="5587"/>
                      <a:pt x="1335" y="5565"/>
                    </a:cubicBezTo>
                    <a:cubicBezTo>
                      <a:pt x="1432" y="5540"/>
                      <a:pt x="1331" y="5370"/>
                      <a:pt x="1383" y="5298"/>
                    </a:cubicBezTo>
                    <a:cubicBezTo>
                      <a:pt x="1399" y="5270"/>
                      <a:pt x="1512" y="5294"/>
                      <a:pt x="1480" y="5261"/>
                    </a:cubicBezTo>
                    <a:cubicBezTo>
                      <a:pt x="1448" y="5236"/>
                      <a:pt x="1331" y="5154"/>
                      <a:pt x="1359" y="5118"/>
                    </a:cubicBezTo>
                    <a:cubicBezTo>
                      <a:pt x="1383" y="5085"/>
                      <a:pt x="1403" y="5057"/>
                      <a:pt x="1419" y="5039"/>
                    </a:cubicBezTo>
                    <a:cubicBezTo>
                      <a:pt x="1451" y="5042"/>
                      <a:pt x="1479" y="5046"/>
                      <a:pt x="1491" y="5046"/>
                    </a:cubicBezTo>
                    <a:cubicBezTo>
                      <a:pt x="1499" y="5082"/>
                      <a:pt x="1503" y="5114"/>
                      <a:pt x="1511" y="5146"/>
                    </a:cubicBezTo>
                    <a:cubicBezTo>
                      <a:pt x="1511" y="5154"/>
                      <a:pt x="1507" y="5161"/>
                      <a:pt x="1503" y="5172"/>
                    </a:cubicBezTo>
                    <a:cubicBezTo>
                      <a:pt x="1499" y="5190"/>
                      <a:pt x="1487" y="5215"/>
                      <a:pt x="1495" y="5230"/>
                    </a:cubicBezTo>
                    <a:cubicBezTo>
                      <a:pt x="1499" y="5241"/>
                      <a:pt x="1531" y="5244"/>
                      <a:pt x="1543" y="5248"/>
                    </a:cubicBezTo>
                    <a:cubicBezTo>
                      <a:pt x="1523" y="5295"/>
                      <a:pt x="1503" y="5338"/>
                      <a:pt x="1487" y="5385"/>
                    </a:cubicBezTo>
                    <a:cubicBezTo>
                      <a:pt x="1487" y="5392"/>
                      <a:pt x="1495" y="5410"/>
                      <a:pt x="1503" y="5410"/>
                    </a:cubicBezTo>
                    <a:cubicBezTo>
                      <a:pt x="1587" y="5424"/>
                      <a:pt x="1575" y="5499"/>
                      <a:pt x="1571" y="5535"/>
                    </a:cubicBezTo>
                    <a:cubicBezTo>
                      <a:pt x="1571" y="5618"/>
                      <a:pt x="1547" y="5709"/>
                      <a:pt x="1511" y="5788"/>
                    </a:cubicBezTo>
                    <a:cubicBezTo>
                      <a:pt x="1487" y="5842"/>
                      <a:pt x="1479" y="5885"/>
                      <a:pt x="1499" y="5939"/>
                    </a:cubicBezTo>
                    <a:cubicBezTo>
                      <a:pt x="1507" y="5953"/>
                      <a:pt x="1511" y="5971"/>
                      <a:pt x="1511" y="5985"/>
                    </a:cubicBezTo>
                    <a:cubicBezTo>
                      <a:pt x="1523" y="6173"/>
                      <a:pt x="1515" y="6364"/>
                      <a:pt x="1587" y="6547"/>
                    </a:cubicBezTo>
                    <a:cubicBezTo>
                      <a:pt x="1644" y="6691"/>
                      <a:pt x="1636" y="6846"/>
                      <a:pt x="1648" y="6997"/>
                    </a:cubicBezTo>
                    <a:cubicBezTo>
                      <a:pt x="1656" y="7091"/>
                      <a:pt x="1669" y="7181"/>
                      <a:pt x="1745" y="7256"/>
                    </a:cubicBezTo>
                    <a:cubicBezTo>
                      <a:pt x="1753" y="7267"/>
                      <a:pt x="1757" y="7281"/>
                      <a:pt x="1757" y="7292"/>
                    </a:cubicBezTo>
                    <a:cubicBezTo>
                      <a:pt x="1781" y="7368"/>
                      <a:pt x="1801" y="7440"/>
                      <a:pt x="1825" y="7512"/>
                    </a:cubicBezTo>
                    <a:cubicBezTo>
                      <a:pt x="1825" y="7520"/>
                      <a:pt x="1829" y="7523"/>
                      <a:pt x="1833" y="7527"/>
                    </a:cubicBezTo>
                    <a:cubicBezTo>
                      <a:pt x="1865" y="7559"/>
                      <a:pt x="1905" y="7584"/>
                      <a:pt x="1925" y="7631"/>
                    </a:cubicBezTo>
                    <a:cubicBezTo>
                      <a:pt x="1949" y="7681"/>
                      <a:pt x="1990" y="7728"/>
                      <a:pt x="1998" y="7789"/>
                    </a:cubicBezTo>
                    <a:cubicBezTo>
                      <a:pt x="2010" y="7904"/>
                      <a:pt x="2074" y="8013"/>
                      <a:pt x="2086" y="8135"/>
                    </a:cubicBezTo>
                    <a:cubicBezTo>
                      <a:pt x="2106" y="8332"/>
                      <a:pt x="2191" y="8517"/>
                      <a:pt x="2332" y="8678"/>
                    </a:cubicBezTo>
                    <a:cubicBezTo>
                      <a:pt x="2380" y="8736"/>
                      <a:pt x="2424" y="8800"/>
                      <a:pt x="2452" y="8866"/>
                    </a:cubicBezTo>
                    <a:cubicBezTo>
                      <a:pt x="2508" y="9002"/>
                      <a:pt x="2556" y="9139"/>
                      <a:pt x="2608" y="9275"/>
                    </a:cubicBezTo>
                    <a:cubicBezTo>
                      <a:pt x="2616" y="9308"/>
                      <a:pt x="2621" y="9341"/>
                      <a:pt x="2621" y="9373"/>
                    </a:cubicBezTo>
                    <a:cubicBezTo>
                      <a:pt x="2616" y="9492"/>
                      <a:pt x="2677" y="9596"/>
                      <a:pt x="2730" y="9700"/>
                    </a:cubicBezTo>
                    <a:cubicBezTo>
                      <a:pt x="2786" y="9816"/>
                      <a:pt x="2890" y="9906"/>
                      <a:pt x="3006" y="9978"/>
                    </a:cubicBezTo>
                    <a:cubicBezTo>
                      <a:pt x="3038" y="9999"/>
                      <a:pt x="3096" y="10003"/>
                      <a:pt x="3136" y="9999"/>
                    </a:cubicBezTo>
                    <a:cubicBezTo>
                      <a:pt x="3176" y="9992"/>
                      <a:pt x="3204" y="9953"/>
                      <a:pt x="3240" y="9938"/>
                    </a:cubicBezTo>
                    <a:cubicBezTo>
                      <a:pt x="3316" y="9906"/>
                      <a:pt x="3352" y="9856"/>
                      <a:pt x="3352" y="9777"/>
                    </a:cubicBezTo>
                    <a:cubicBezTo>
                      <a:pt x="3352" y="9740"/>
                      <a:pt x="3372" y="9682"/>
                      <a:pt x="3401" y="9675"/>
                    </a:cubicBezTo>
                    <a:cubicBezTo>
                      <a:pt x="3493" y="9650"/>
                      <a:pt x="3578" y="9596"/>
                      <a:pt x="3682" y="9607"/>
                    </a:cubicBezTo>
                    <a:cubicBezTo>
                      <a:pt x="3702" y="9610"/>
                      <a:pt x="3722" y="9603"/>
                      <a:pt x="3750" y="9600"/>
                    </a:cubicBezTo>
                    <a:cubicBezTo>
                      <a:pt x="3642" y="9521"/>
                      <a:pt x="3642" y="9496"/>
                      <a:pt x="3726" y="9399"/>
                    </a:cubicBezTo>
                    <a:cubicBezTo>
                      <a:pt x="3746" y="9373"/>
                      <a:pt x="3775" y="9352"/>
                      <a:pt x="3779" y="9323"/>
                    </a:cubicBezTo>
                    <a:cubicBezTo>
                      <a:pt x="3795" y="9229"/>
                      <a:pt x="3835" y="9225"/>
                      <a:pt x="3939" y="9240"/>
                    </a:cubicBezTo>
                    <a:cubicBezTo>
                      <a:pt x="4019" y="9250"/>
                      <a:pt x="4023" y="9250"/>
                      <a:pt x="4027" y="9175"/>
                    </a:cubicBezTo>
                    <a:cubicBezTo>
                      <a:pt x="4031" y="9017"/>
                      <a:pt x="4019" y="8858"/>
                      <a:pt x="3991" y="8700"/>
                    </a:cubicBezTo>
                    <a:cubicBezTo>
                      <a:pt x="3987" y="8678"/>
                      <a:pt x="3999" y="8649"/>
                      <a:pt x="4019" y="8635"/>
                    </a:cubicBezTo>
                    <a:cubicBezTo>
                      <a:pt x="4096" y="8570"/>
                      <a:pt x="4153" y="8495"/>
                      <a:pt x="4173" y="8404"/>
                    </a:cubicBezTo>
                    <a:cubicBezTo>
                      <a:pt x="4185" y="8350"/>
                      <a:pt x="4185" y="8296"/>
                      <a:pt x="4221" y="8246"/>
                    </a:cubicBezTo>
                    <a:cubicBezTo>
                      <a:pt x="4233" y="8228"/>
                      <a:pt x="4221" y="8196"/>
                      <a:pt x="4217" y="8171"/>
                    </a:cubicBezTo>
                    <a:cubicBezTo>
                      <a:pt x="4197" y="8074"/>
                      <a:pt x="4161" y="7980"/>
                      <a:pt x="4157" y="7886"/>
                    </a:cubicBezTo>
                    <a:cubicBezTo>
                      <a:pt x="4149" y="7793"/>
                      <a:pt x="4161" y="7703"/>
                      <a:pt x="4125" y="7613"/>
                    </a:cubicBezTo>
                    <a:cubicBezTo>
                      <a:pt x="4104" y="7563"/>
                      <a:pt x="4112" y="7502"/>
                      <a:pt x="4177" y="7461"/>
                    </a:cubicBezTo>
                    <a:cubicBezTo>
                      <a:pt x="4197" y="7450"/>
                      <a:pt x="4205" y="7422"/>
                      <a:pt x="4213" y="7396"/>
                    </a:cubicBezTo>
                    <a:cubicBezTo>
                      <a:pt x="4237" y="7332"/>
                      <a:pt x="4325" y="7303"/>
                      <a:pt x="4389" y="7335"/>
                    </a:cubicBezTo>
                    <a:cubicBezTo>
                      <a:pt x="4425" y="7357"/>
                      <a:pt x="4457" y="7357"/>
                      <a:pt x="4482" y="7321"/>
                    </a:cubicBezTo>
                    <a:cubicBezTo>
                      <a:pt x="4510" y="7281"/>
                      <a:pt x="4547" y="7242"/>
                      <a:pt x="4567" y="7199"/>
                    </a:cubicBezTo>
                    <a:cubicBezTo>
                      <a:pt x="4591" y="7145"/>
                      <a:pt x="4635" y="7149"/>
                      <a:pt x="4687" y="7138"/>
                    </a:cubicBezTo>
                    <a:cubicBezTo>
                      <a:pt x="4759" y="7127"/>
                      <a:pt x="4836" y="7116"/>
                      <a:pt x="4892" y="7084"/>
                    </a:cubicBezTo>
                    <a:cubicBezTo>
                      <a:pt x="4936" y="7062"/>
                      <a:pt x="4956" y="7004"/>
                      <a:pt x="4984" y="6961"/>
                    </a:cubicBezTo>
                    <a:cubicBezTo>
                      <a:pt x="4988" y="6954"/>
                      <a:pt x="4968" y="6936"/>
                      <a:pt x="4948" y="6911"/>
                    </a:cubicBezTo>
                    <a:cubicBezTo>
                      <a:pt x="4968" y="6857"/>
                      <a:pt x="5041" y="6842"/>
                      <a:pt x="5097" y="6806"/>
                    </a:cubicBezTo>
                    <a:cubicBezTo>
                      <a:pt x="5169" y="6763"/>
                      <a:pt x="5254" y="6731"/>
                      <a:pt x="5306" y="6670"/>
                    </a:cubicBezTo>
                    <a:cubicBezTo>
                      <a:pt x="5378" y="6590"/>
                      <a:pt x="5458" y="6532"/>
                      <a:pt x="5560" y="6489"/>
                    </a:cubicBezTo>
                    <a:cubicBezTo>
                      <a:pt x="5584" y="6482"/>
                      <a:pt x="5608" y="6471"/>
                      <a:pt x="5620" y="6457"/>
                    </a:cubicBezTo>
                    <a:cubicBezTo>
                      <a:pt x="5680" y="6389"/>
                      <a:pt x="5732" y="6320"/>
                      <a:pt x="5788" y="6252"/>
                    </a:cubicBezTo>
                    <a:cubicBezTo>
                      <a:pt x="5804" y="6234"/>
                      <a:pt x="5820" y="6213"/>
                      <a:pt x="5836" y="6195"/>
                    </a:cubicBezTo>
                    <a:cubicBezTo>
                      <a:pt x="5904" y="6133"/>
                      <a:pt x="5966" y="6061"/>
                      <a:pt x="6046" y="6011"/>
                    </a:cubicBezTo>
                    <a:cubicBezTo>
                      <a:pt x="6114" y="5967"/>
                      <a:pt x="6206" y="5949"/>
                      <a:pt x="6287" y="5921"/>
                    </a:cubicBezTo>
                    <a:cubicBezTo>
                      <a:pt x="6355" y="5899"/>
                      <a:pt x="6427" y="5881"/>
                      <a:pt x="6456" y="5809"/>
                    </a:cubicBezTo>
                    <a:cubicBezTo>
                      <a:pt x="6460" y="5799"/>
                      <a:pt x="6476" y="5791"/>
                      <a:pt x="6484" y="5788"/>
                    </a:cubicBezTo>
                    <a:cubicBezTo>
                      <a:pt x="6524" y="5766"/>
                      <a:pt x="6568" y="5748"/>
                      <a:pt x="6548" y="5694"/>
                    </a:cubicBezTo>
                    <a:cubicBezTo>
                      <a:pt x="6548" y="5684"/>
                      <a:pt x="6564" y="5665"/>
                      <a:pt x="6576" y="5658"/>
                    </a:cubicBezTo>
                    <a:cubicBezTo>
                      <a:pt x="6641" y="5600"/>
                      <a:pt x="6641" y="5582"/>
                      <a:pt x="6592" y="5514"/>
                    </a:cubicBezTo>
                    <a:cubicBezTo>
                      <a:pt x="6576" y="5489"/>
                      <a:pt x="6560" y="5446"/>
                      <a:pt x="6572" y="5424"/>
                    </a:cubicBezTo>
                    <a:cubicBezTo>
                      <a:pt x="6596" y="5377"/>
                      <a:pt x="6633" y="5338"/>
                      <a:pt x="6697" y="5327"/>
                    </a:cubicBezTo>
                    <a:cubicBezTo>
                      <a:pt x="6813" y="5309"/>
                      <a:pt x="6926" y="5280"/>
                      <a:pt x="6974" y="5168"/>
                    </a:cubicBezTo>
                    <a:cubicBezTo>
                      <a:pt x="6978" y="5161"/>
                      <a:pt x="6983" y="5157"/>
                      <a:pt x="6978" y="5161"/>
                    </a:cubicBezTo>
                    <a:cubicBezTo>
                      <a:pt x="7011" y="5186"/>
                      <a:pt x="7047" y="5234"/>
                      <a:pt x="7059" y="5230"/>
                    </a:cubicBezTo>
                    <a:cubicBezTo>
                      <a:pt x="7107" y="5208"/>
                      <a:pt x="7147" y="5172"/>
                      <a:pt x="7191" y="5143"/>
                    </a:cubicBezTo>
                    <a:cubicBezTo>
                      <a:pt x="7211" y="5179"/>
                      <a:pt x="7263" y="5182"/>
                      <a:pt x="7303" y="5168"/>
                    </a:cubicBezTo>
                    <a:cubicBezTo>
                      <a:pt x="7323" y="5161"/>
                      <a:pt x="7327" y="5107"/>
                      <a:pt x="7323" y="5078"/>
                    </a:cubicBezTo>
                    <a:cubicBezTo>
                      <a:pt x="7311" y="5014"/>
                      <a:pt x="7287" y="4949"/>
                      <a:pt x="7271" y="4884"/>
                    </a:cubicBezTo>
                    <a:cubicBezTo>
                      <a:pt x="7263" y="4856"/>
                      <a:pt x="7251" y="4823"/>
                      <a:pt x="7259" y="4798"/>
                    </a:cubicBezTo>
                    <a:cubicBezTo>
                      <a:pt x="7275" y="4740"/>
                      <a:pt x="7283" y="4696"/>
                      <a:pt x="7187" y="4711"/>
                    </a:cubicBezTo>
                    <a:cubicBezTo>
                      <a:pt x="7219" y="4653"/>
                      <a:pt x="7195" y="4621"/>
                      <a:pt x="7147" y="4596"/>
                    </a:cubicBezTo>
                    <a:cubicBezTo>
                      <a:pt x="7107" y="4571"/>
                      <a:pt x="7107" y="4542"/>
                      <a:pt x="7143" y="4517"/>
                    </a:cubicBezTo>
                    <a:cubicBezTo>
                      <a:pt x="7179" y="4488"/>
                      <a:pt x="7191" y="4463"/>
                      <a:pt x="7163" y="4423"/>
                    </a:cubicBezTo>
                    <a:cubicBezTo>
                      <a:pt x="7159" y="4416"/>
                      <a:pt x="7159" y="4406"/>
                      <a:pt x="7163" y="4398"/>
                    </a:cubicBezTo>
                    <a:cubicBezTo>
                      <a:pt x="7183" y="4344"/>
                      <a:pt x="7139" y="4334"/>
                      <a:pt x="7103" y="4341"/>
                    </a:cubicBezTo>
                    <a:cubicBezTo>
                      <a:pt x="7027" y="4352"/>
                      <a:pt x="6983" y="4311"/>
                      <a:pt x="6950" y="4264"/>
                    </a:cubicBezTo>
                    <a:cubicBezTo>
                      <a:pt x="6938" y="4250"/>
                      <a:pt x="6946" y="4221"/>
                      <a:pt x="6950" y="4203"/>
                    </a:cubicBezTo>
                    <a:cubicBezTo>
                      <a:pt x="6958" y="4178"/>
                      <a:pt x="6995" y="4182"/>
                      <a:pt x="7011" y="4175"/>
                    </a:cubicBezTo>
                    <a:cubicBezTo>
                      <a:pt x="7039" y="4149"/>
                      <a:pt x="7055" y="4110"/>
                      <a:pt x="7079" y="4070"/>
                    </a:cubicBezTo>
                    <a:cubicBezTo>
                      <a:pt x="7103" y="4074"/>
                      <a:pt x="7135" y="4078"/>
                      <a:pt x="7167" y="4070"/>
                    </a:cubicBezTo>
                    <a:cubicBezTo>
                      <a:pt x="7187" y="4070"/>
                      <a:pt x="7207" y="4056"/>
                      <a:pt x="7223" y="4042"/>
                    </a:cubicBezTo>
                    <a:cubicBezTo>
                      <a:pt x="7231" y="4035"/>
                      <a:pt x="7223" y="4013"/>
                      <a:pt x="7215" y="4002"/>
                    </a:cubicBezTo>
                    <a:cubicBezTo>
                      <a:pt x="7199" y="3981"/>
                      <a:pt x="7179" y="3963"/>
                      <a:pt x="7155" y="3934"/>
                    </a:cubicBezTo>
                    <a:cubicBezTo>
                      <a:pt x="7119" y="3941"/>
                      <a:pt x="7071" y="3956"/>
                      <a:pt x="7043" y="3894"/>
                    </a:cubicBezTo>
                    <a:cubicBezTo>
                      <a:pt x="7031" y="3866"/>
                      <a:pt x="6978" y="3850"/>
                      <a:pt x="6930" y="3822"/>
                    </a:cubicBezTo>
                    <a:cubicBezTo>
                      <a:pt x="6910" y="3739"/>
                      <a:pt x="7019" y="3707"/>
                      <a:pt x="7067" y="3638"/>
                    </a:cubicBezTo>
                    <a:cubicBezTo>
                      <a:pt x="7087" y="3671"/>
                      <a:pt x="7103" y="3703"/>
                      <a:pt x="7127" y="3746"/>
                    </a:cubicBezTo>
                    <a:cubicBezTo>
                      <a:pt x="7163" y="3699"/>
                      <a:pt x="7191" y="3667"/>
                      <a:pt x="7219" y="3631"/>
                    </a:cubicBezTo>
                    <a:cubicBezTo>
                      <a:pt x="7247" y="3689"/>
                      <a:pt x="7263" y="3757"/>
                      <a:pt x="7348" y="3768"/>
                    </a:cubicBezTo>
                    <a:cubicBezTo>
                      <a:pt x="7405" y="3779"/>
                      <a:pt x="7433" y="3746"/>
                      <a:pt x="7457" y="3699"/>
                    </a:cubicBezTo>
                    <a:cubicBezTo>
                      <a:pt x="7477" y="3735"/>
                      <a:pt x="7485" y="3771"/>
                      <a:pt x="7493" y="3807"/>
                    </a:cubicBezTo>
                    <a:cubicBezTo>
                      <a:pt x="7493" y="3822"/>
                      <a:pt x="7493" y="3836"/>
                      <a:pt x="7497" y="3850"/>
                    </a:cubicBezTo>
                    <a:cubicBezTo>
                      <a:pt x="7501" y="3884"/>
                      <a:pt x="7509" y="3916"/>
                      <a:pt x="7509" y="3948"/>
                    </a:cubicBezTo>
                    <a:cubicBezTo>
                      <a:pt x="7505" y="3981"/>
                      <a:pt x="7445" y="4139"/>
                      <a:pt x="7485" y="4142"/>
                    </a:cubicBezTo>
                    <a:cubicBezTo>
                      <a:pt x="7573" y="4153"/>
                      <a:pt x="7645" y="4250"/>
                      <a:pt x="7733" y="4203"/>
                    </a:cubicBezTo>
                    <a:cubicBezTo>
                      <a:pt x="7741" y="4200"/>
                      <a:pt x="7710" y="4257"/>
                      <a:pt x="7795" y="4252"/>
                    </a:cubicBezTo>
                    <a:cubicBezTo>
                      <a:pt x="7880" y="4247"/>
                      <a:pt x="8144" y="4194"/>
                      <a:pt x="8241" y="4173"/>
                    </a:cubicBezTo>
                    <a:cubicBezTo>
                      <a:pt x="8338" y="4152"/>
                      <a:pt x="8347" y="4129"/>
                      <a:pt x="8375" y="4125"/>
                    </a:cubicBezTo>
                    <a:cubicBezTo>
                      <a:pt x="8399" y="4125"/>
                      <a:pt x="8288" y="4006"/>
                      <a:pt x="8308" y="4009"/>
                    </a:cubicBezTo>
                    <a:cubicBezTo>
                      <a:pt x="8337" y="4013"/>
                      <a:pt x="8361" y="4024"/>
                      <a:pt x="8385" y="4035"/>
                    </a:cubicBezTo>
                    <a:cubicBezTo>
                      <a:pt x="8401" y="4045"/>
                      <a:pt x="8414" y="4060"/>
                      <a:pt x="8426" y="4074"/>
                    </a:cubicBezTo>
                    <a:cubicBezTo>
                      <a:pt x="8373" y="4060"/>
                      <a:pt x="8353" y="4078"/>
                      <a:pt x="8357" y="4117"/>
                    </a:cubicBezTo>
                    <a:cubicBezTo>
                      <a:pt x="8357" y="4142"/>
                      <a:pt x="8361" y="4167"/>
                      <a:pt x="8353" y="4193"/>
                    </a:cubicBezTo>
                    <a:cubicBezTo>
                      <a:pt x="8345" y="4214"/>
                      <a:pt x="8328" y="4236"/>
                      <a:pt x="8308" y="4254"/>
                    </a:cubicBezTo>
                    <a:cubicBezTo>
                      <a:pt x="8284" y="4275"/>
                      <a:pt x="8256" y="4293"/>
                      <a:pt x="8220" y="4319"/>
                    </a:cubicBezTo>
                    <a:cubicBezTo>
                      <a:pt x="8180" y="4290"/>
                      <a:pt x="8184" y="4359"/>
                      <a:pt x="8144" y="4370"/>
                    </a:cubicBezTo>
                    <a:cubicBezTo>
                      <a:pt x="8027" y="4402"/>
                      <a:pt x="7983" y="4506"/>
                      <a:pt x="8035" y="4603"/>
                    </a:cubicBezTo>
                    <a:cubicBezTo>
                      <a:pt x="8043" y="4614"/>
                      <a:pt x="8043" y="4625"/>
                      <a:pt x="8047" y="4635"/>
                    </a:cubicBezTo>
                    <a:cubicBezTo>
                      <a:pt x="8064" y="4671"/>
                      <a:pt x="8080" y="4704"/>
                      <a:pt x="8100" y="4750"/>
                    </a:cubicBezTo>
                    <a:cubicBezTo>
                      <a:pt x="8116" y="4725"/>
                      <a:pt x="8124" y="4711"/>
                      <a:pt x="8136" y="4689"/>
                    </a:cubicBezTo>
                    <a:cubicBezTo>
                      <a:pt x="8144" y="4711"/>
                      <a:pt x="8144" y="4725"/>
                      <a:pt x="8152" y="4736"/>
                    </a:cubicBezTo>
                    <a:cubicBezTo>
                      <a:pt x="8164" y="4750"/>
                      <a:pt x="8176" y="4776"/>
                      <a:pt x="8192" y="4776"/>
                    </a:cubicBezTo>
                    <a:cubicBezTo>
                      <a:pt x="8208" y="4780"/>
                      <a:pt x="8240" y="4765"/>
                      <a:pt x="8248" y="4750"/>
                    </a:cubicBezTo>
                    <a:cubicBezTo>
                      <a:pt x="8260" y="4722"/>
                      <a:pt x="8268" y="4689"/>
                      <a:pt x="8276" y="4657"/>
                    </a:cubicBezTo>
                    <a:cubicBezTo>
                      <a:pt x="8280" y="4643"/>
                      <a:pt x="8276" y="4628"/>
                      <a:pt x="8280" y="4614"/>
                    </a:cubicBezTo>
                    <a:cubicBezTo>
                      <a:pt x="8292" y="4585"/>
                      <a:pt x="8304" y="4560"/>
                      <a:pt x="8324" y="4524"/>
                    </a:cubicBezTo>
                    <a:cubicBezTo>
                      <a:pt x="8337" y="4520"/>
                      <a:pt x="8369" y="4517"/>
                      <a:pt x="8401" y="4510"/>
                    </a:cubicBezTo>
                    <a:cubicBezTo>
                      <a:pt x="8418" y="4582"/>
                      <a:pt x="8426" y="4646"/>
                      <a:pt x="8446" y="4711"/>
                    </a:cubicBezTo>
                    <a:cubicBezTo>
                      <a:pt x="8486" y="4820"/>
                      <a:pt x="8542" y="4920"/>
                      <a:pt x="8558" y="5039"/>
                    </a:cubicBezTo>
                    <a:cubicBezTo>
                      <a:pt x="8558" y="5046"/>
                      <a:pt x="8590" y="5064"/>
                      <a:pt x="8594" y="5064"/>
                    </a:cubicBezTo>
                    <a:cubicBezTo>
                      <a:pt x="8622" y="5032"/>
                      <a:pt x="8646" y="5057"/>
                      <a:pt x="8674" y="5064"/>
                    </a:cubicBezTo>
                    <a:cubicBezTo>
                      <a:pt x="8686" y="5067"/>
                      <a:pt x="8702" y="5071"/>
                      <a:pt x="8710" y="5064"/>
                    </a:cubicBezTo>
                    <a:cubicBezTo>
                      <a:pt x="8746" y="5046"/>
                      <a:pt x="8779" y="4938"/>
                      <a:pt x="8758" y="4902"/>
                    </a:cubicBezTo>
                    <a:cubicBezTo>
                      <a:pt x="8714" y="4827"/>
                      <a:pt x="8710" y="4750"/>
                      <a:pt x="8766" y="4679"/>
                    </a:cubicBezTo>
                    <a:cubicBezTo>
                      <a:pt x="8783" y="4657"/>
                      <a:pt x="8799" y="4628"/>
                      <a:pt x="8799" y="4603"/>
                    </a:cubicBezTo>
                    <a:cubicBezTo>
                      <a:pt x="8799" y="4520"/>
                      <a:pt x="8795" y="4438"/>
                      <a:pt x="8795" y="4366"/>
                    </a:cubicBezTo>
                    <a:cubicBezTo>
                      <a:pt x="8860" y="4373"/>
                      <a:pt x="8940" y="4388"/>
                      <a:pt x="9020" y="4391"/>
                    </a:cubicBezTo>
                    <a:cubicBezTo>
                      <a:pt x="9064" y="4395"/>
                      <a:pt x="9088" y="4366"/>
                      <a:pt x="9092" y="4323"/>
                    </a:cubicBezTo>
                    <a:cubicBezTo>
                      <a:pt x="9092" y="4290"/>
                      <a:pt x="9100" y="4254"/>
                      <a:pt x="9112" y="4225"/>
                    </a:cubicBezTo>
                    <a:cubicBezTo>
                      <a:pt x="9145" y="4142"/>
                      <a:pt x="9181" y="4063"/>
                      <a:pt x="9209" y="3981"/>
                    </a:cubicBezTo>
                    <a:cubicBezTo>
                      <a:pt x="9217" y="3966"/>
                      <a:pt x="9209" y="3941"/>
                      <a:pt x="9197" y="3927"/>
                    </a:cubicBezTo>
                    <a:cubicBezTo>
                      <a:pt x="9165" y="3891"/>
                      <a:pt x="9161" y="3854"/>
                      <a:pt x="9213" y="3832"/>
                    </a:cubicBezTo>
                    <a:cubicBezTo>
                      <a:pt x="9318" y="3782"/>
                      <a:pt x="9298" y="3678"/>
                      <a:pt x="9338" y="3603"/>
                    </a:cubicBezTo>
                    <a:cubicBezTo>
                      <a:pt x="9342" y="3599"/>
                      <a:pt x="9402" y="3592"/>
                      <a:pt x="9402" y="3585"/>
                    </a:cubicBezTo>
                    <a:cubicBezTo>
                      <a:pt x="9390" y="3552"/>
                      <a:pt x="9306" y="3520"/>
                      <a:pt x="9306" y="3484"/>
                    </a:cubicBezTo>
                    <a:cubicBezTo>
                      <a:pt x="9302" y="3462"/>
                      <a:pt x="9470" y="3496"/>
                      <a:pt x="9486" y="3478"/>
                    </a:cubicBezTo>
                    <a:cubicBezTo>
                      <a:pt x="9510" y="3456"/>
                      <a:pt x="9665" y="3475"/>
                      <a:pt x="9693" y="3457"/>
                    </a:cubicBezTo>
                    <a:cubicBezTo>
                      <a:pt x="9794" y="3382"/>
                      <a:pt x="9692" y="3490"/>
                      <a:pt x="9836" y="3461"/>
                    </a:cubicBezTo>
                    <a:cubicBezTo>
                      <a:pt x="9885" y="3454"/>
                      <a:pt x="9906" y="3379"/>
                      <a:pt x="9921" y="3333"/>
                    </a:cubicBezTo>
                    <a:cubicBezTo>
                      <a:pt x="9937" y="3288"/>
                      <a:pt x="9901" y="3181"/>
                      <a:pt x="9929" y="3188"/>
                    </a:cubicBezTo>
                    <a:cubicBezTo>
                      <a:pt x="9921" y="3163"/>
                      <a:pt x="9925" y="3131"/>
                      <a:pt x="9909" y="3113"/>
                    </a:cubicBezTo>
                    <a:cubicBezTo>
                      <a:pt x="9861" y="3066"/>
                      <a:pt x="9857" y="3041"/>
                      <a:pt x="9905" y="2991"/>
                    </a:cubicBezTo>
                    <a:cubicBezTo>
                      <a:pt x="9933" y="2959"/>
                      <a:pt x="9957" y="2929"/>
                      <a:pt x="9981" y="2893"/>
                    </a:cubicBezTo>
                    <a:close/>
                  </a:path>
                </a:pathLst>
              </a:custGeom>
              <a:solidFill>
                <a:srgbClr val="603093"/>
              </a:solidFill>
              <a:ln w="9525">
                <a:noFill/>
                <a:round/>
              </a:ln>
            </p:spPr>
            <p:txBody>
              <a:bodyPr vert="horz" wrap="square" lIns="109728" tIns="54864" rIns="109728" bIns="54864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486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972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459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19456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4320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918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404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3891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1097194">
                  <a:spcBef>
                    <a:spcPct val="0"/>
                  </a:spcBef>
                  <a:spcAft>
                    <a:spcPct val="0"/>
                  </a:spcAft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lang="en-US" sz="960">
                  <a:solidFill>
                    <a:prstClr val="black"/>
                  </a:solidFill>
                  <a:latin typeface="Arial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435" name="Rectangle 159">
                <a:extLst>
                  <a:ext uri="{FF2B5EF4-FFF2-40B4-BE49-F238E27FC236}">
                    <a16:creationId xmlns:a16="http://schemas.microsoft.com/office/drawing/2014/main" id="{BBEDF2F8-CBA3-4F5F-BAD6-6306E96BEB95}"/>
                  </a:ext>
                </a:extLst>
              </p:cNvPr>
              <p:cNvSpPr/>
              <p:nvPr>
                <p:custDataLst>
                  <p:tags r:id="rId68"/>
                </p:custDataLst>
              </p:nvPr>
            </p:nvSpPr>
            <p:spPr>
              <a:xfrm>
                <a:off x="8955862" y="3450044"/>
                <a:ext cx="516488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>
                <a:defPPr>
                  <a:defRPr lang="en-US"/>
                </a:defPPr>
                <a:lvl1pPr marL="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486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972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459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19456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4320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918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404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3891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1097236">
                  <a:spcBef>
                    <a:spcPct val="0"/>
                  </a:spcBef>
                  <a:spcAft>
                    <a:spcPct val="0"/>
                  </a:spcAft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r>
                  <a:rPr lang="en-US" sz="1200">
                    <a:solidFill>
                      <a:srgbClr val="FFFFFF"/>
                    </a:solidFill>
                    <a:latin typeface="Arial" pitchFamily="34" charset="0"/>
                    <a:cs typeface="Arial" pitchFamily="34" charset="0"/>
                  </a:rPr>
                  <a:t>India</a:t>
                </a:r>
              </a:p>
            </p:txBody>
          </p:sp>
          <p:sp>
            <p:nvSpPr>
              <p:cNvPr id="436" name="TextBox 435">
                <a:extLst>
                  <a:ext uri="{FF2B5EF4-FFF2-40B4-BE49-F238E27FC236}">
                    <a16:creationId xmlns:a16="http://schemas.microsoft.com/office/drawing/2014/main" id="{80D4B218-ECE1-4F8C-BD28-FBB179224464}"/>
                  </a:ext>
                </a:extLst>
              </p:cNvPr>
              <p:cNvSpPr txBox="1"/>
              <p:nvPr>
                <p:custDataLst>
                  <p:tags r:id="rId69"/>
                </p:custDataLst>
              </p:nvPr>
            </p:nvSpPr>
            <p:spPr>
              <a:xfrm>
                <a:off x="9023134" y="3328076"/>
                <a:ext cx="164592" cy="164592"/>
              </a:xfrm>
              <a:prstGeom prst="ellipse">
                <a:avLst/>
              </a:prstGeom>
              <a:solidFill>
                <a:schemeClr val="bg1"/>
              </a:solidFill>
              <a:ln w="6350">
                <a:solidFill>
                  <a:schemeClr val="accent1"/>
                </a:solidFill>
              </a:ln>
              <a:effectLst/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marR="0" indent="0" algn="ctr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840" b="1" i="0" u="none" strike="noStrike" kern="1200" cap="none" spc="0" normalizeH="0" baseline="0" noProof="0">
                    <a:solidFill>
                      <a:schemeClr val="accent1">
                        <a:lumMod val="75000"/>
                      </a:schemeClr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Calibri" panose="020F0502020204030204" pitchFamily="34" charset="0"/>
                    <a:sym typeface="Wingdings" charset="2"/>
                  </a:defRPr>
                </a:lvl1pPr>
                <a:lvl2pPr marL="5486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2pPr>
                <a:lvl3pPr marL="10972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3pPr>
                <a:lvl4pPr marL="16459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4pPr>
                <a:lvl5pPr marL="219456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5pPr>
                <a:lvl6pPr marL="274320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6pPr>
                <a:lvl7pPr marL="32918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7pPr>
                <a:lvl8pPr marL="38404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8pPr>
                <a:lvl9pPr marL="43891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9pPr>
              </a:lstStyle>
              <a:p>
                <a:pPr defTabSz="1097236">
                  <a:defRPr kumimoji="0" sz="840" b="1" i="0" u="none" strike="noStrike" cap="none" spc="0" normalizeH="0" baseline="0" noProof="0">
                    <a:solidFill>
                      <a:srgbClr val="471B77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Calibri" panose="020F0502020204030204" pitchFamily="34" charset="0"/>
                    <a:sym typeface="Wingdings" charset="2"/>
                  </a:defRPr>
                </a:pPr>
                <a:r>
                  <a:rPr lang="en-US">
                    <a:solidFill>
                      <a:srgbClr val="6F2C91">
                        <a:lumMod val="75000"/>
                      </a:srgbClr>
                    </a:solidFill>
                  </a:rPr>
                  <a:t>6</a:t>
                </a:r>
              </a:p>
            </p:txBody>
          </p:sp>
          <p:sp>
            <p:nvSpPr>
              <p:cNvPr id="102" name="Rectangle 162">
                <a:extLst>
                  <a:ext uri="{FF2B5EF4-FFF2-40B4-BE49-F238E27FC236}">
                    <a16:creationId xmlns:a16="http://schemas.microsoft.com/office/drawing/2014/main" id="{6891CDFD-69A2-244E-92AB-A2F5BA502D5B}"/>
                  </a:ext>
                </a:extLst>
              </p:cNvPr>
              <p:cNvSpPr/>
              <p:nvPr>
                <p:custDataLst>
                  <p:tags r:id="rId70"/>
                </p:custDataLst>
              </p:nvPr>
            </p:nvSpPr>
            <p:spPr>
              <a:xfrm>
                <a:off x="10696727" y="3061736"/>
                <a:ext cx="1037463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>
                <a:defPPr>
                  <a:defRPr lang="en-US"/>
                </a:defPPr>
                <a:lvl1pPr marL="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486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972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459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19456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4320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918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404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3891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1097236">
                  <a:spcBef>
                    <a:spcPct val="0"/>
                  </a:spcBef>
                  <a:spcAft>
                    <a:spcPct val="0"/>
                  </a:spcAft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r>
                  <a:rPr lang="en-US" sz="1200">
                    <a:solidFill>
                      <a:srgbClr val="6F2C91">
                        <a:lumMod val="75000"/>
                      </a:srgbClr>
                    </a:solidFill>
                    <a:latin typeface="Arial" pitchFamily="34" charset="0"/>
                    <a:cs typeface="Arial" pitchFamily="34" charset="0"/>
                  </a:rPr>
                  <a:t>South Korea</a:t>
                </a:r>
              </a:p>
            </p:txBody>
          </p:sp>
          <p:sp>
            <p:nvSpPr>
              <p:cNvPr id="101" name="Rectangle 161">
                <a:extLst>
                  <a:ext uri="{FF2B5EF4-FFF2-40B4-BE49-F238E27FC236}">
                    <a16:creationId xmlns:a16="http://schemas.microsoft.com/office/drawing/2014/main" id="{6AA74DDD-0BA1-1442-A2F8-A55DDDB2FC88}"/>
                  </a:ext>
                </a:extLst>
              </p:cNvPr>
              <p:cNvSpPr/>
              <p:nvPr>
                <p:custDataLst>
                  <p:tags r:id="rId71"/>
                </p:custDataLst>
              </p:nvPr>
            </p:nvSpPr>
            <p:spPr>
              <a:xfrm>
                <a:off x="10316642" y="3700403"/>
                <a:ext cx="744563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>
                <a:defPPr>
                  <a:defRPr lang="en-US"/>
                </a:defPPr>
                <a:lvl1pPr marL="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486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972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459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19456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4320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918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404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3891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1097236">
                  <a:spcBef>
                    <a:spcPct val="0"/>
                  </a:spcBef>
                  <a:spcAft>
                    <a:spcPct val="0"/>
                  </a:spcAft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r>
                  <a:rPr lang="en-US" sz="1200">
                    <a:solidFill>
                      <a:srgbClr val="6F2C91">
                        <a:lumMod val="75000"/>
                      </a:srgbClr>
                    </a:solidFill>
                    <a:latin typeface="Arial" pitchFamily="34" charset="0"/>
                    <a:cs typeface="Arial" pitchFamily="34" charset="0"/>
                  </a:rPr>
                  <a:t>Vietnam</a:t>
                </a:r>
              </a:p>
            </p:txBody>
          </p:sp>
          <p:sp>
            <p:nvSpPr>
              <p:cNvPr id="107" name="Rectangle 167">
                <a:extLst>
                  <a:ext uri="{FF2B5EF4-FFF2-40B4-BE49-F238E27FC236}">
                    <a16:creationId xmlns:a16="http://schemas.microsoft.com/office/drawing/2014/main" id="{01373C67-42CC-BB4C-9A66-C331FD09AC60}"/>
                  </a:ext>
                </a:extLst>
              </p:cNvPr>
              <p:cNvSpPr/>
              <p:nvPr>
                <p:custDataLst>
                  <p:tags r:id="rId72"/>
                </p:custDataLst>
              </p:nvPr>
            </p:nvSpPr>
            <p:spPr>
              <a:xfrm>
                <a:off x="9215976" y="4295985"/>
                <a:ext cx="881973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>
                <a:defPPr>
                  <a:defRPr lang="en-US"/>
                </a:defPPr>
                <a:lvl1pPr marL="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486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972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459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19456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4320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918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404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3891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1097236">
                  <a:spcBef>
                    <a:spcPct val="0"/>
                  </a:spcBef>
                  <a:spcAft>
                    <a:spcPct val="0"/>
                  </a:spcAft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r>
                  <a:rPr lang="en-US" sz="1200">
                    <a:solidFill>
                      <a:srgbClr val="6F2C91">
                        <a:lumMod val="75000"/>
                      </a:srgbClr>
                    </a:solidFill>
                    <a:latin typeface="Arial" pitchFamily="34" charset="0"/>
                    <a:cs typeface="Arial" pitchFamily="34" charset="0"/>
                  </a:rPr>
                  <a:t>Singapore</a:t>
                </a:r>
              </a:p>
            </p:txBody>
          </p:sp>
          <p:sp>
            <p:nvSpPr>
              <p:cNvPr id="438" name="Rectangle 161">
                <a:extLst>
                  <a:ext uri="{FF2B5EF4-FFF2-40B4-BE49-F238E27FC236}">
                    <a16:creationId xmlns:a16="http://schemas.microsoft.com/office/drawing/2014/main" id="{6AA74DDD-0BA1-1442-A2F8-A55DDDB2FC88}"/>
                  </a:ext>
                </a:extLst>
              </p:cNvPr>
              <p:cNvSpPr/>
              <p:nvPr>
                <p:custDataLst>
                  <p:tags r:id="rId73"/>
                </p:custDataLst>
              </p:nvPr>
            </p:nvSpPr>
            <p:spPr>
              <a:xfrm>
                <a:off x="10392873" y="3473860"/>
                <a:ext cx="1412566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>
                <a:defPPr>
                  <a:defRPr lang="en-US"/>
                </a:defPPr>
                <a:lvl1pPr marL="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486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972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459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19456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4320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918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404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3891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1097236">
                  <a:spcBef>
                    <a:spcPct val="0"/>
                  </a:spcBef>
                  <a:spcAft>
                    <a:spcPct val="0"/>
                  </a:spcAft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r>
                  <a:rPr lang="en-US" sz="1200">
                    <a:solidFill>
                      <a:srgbClr val="6F2C91">
                        <a:lumMod val="75000"/>
                      </a:srgbClr>
                    </a:solidFill>
                    <a:latin typeface="Arial" pitchFamily="34" charset="0"/>
                    <a:cs typeface="Arial" pitchFamily="34" charset="0"/>
                  </a:rPr>
                  <a:t>Hong Kong (SAR)</a:t>
                </a:r>
              </a:p>
            </p:txBody>
          </p:sp>
        </p:grpSp>
      </p:grpSp>
      <p:pic>
        <p:nvPicPr>
          <p:cNvPr id="437" name="Рисунок 436"/>
          <p:cNvPicPr>
            <a:picLocks noChangeAspect="1"/>
          </p:cNvPicPr>
          <p:nvPr>
            <p:custDataLst>
              <p:tags r:id="rId41"/>
            </p:custDataLst>
          </p:nvPr>
        </p:nvPicPr>
        <p:blipFill>
          <a:blip r:embed="rId318"/>
          <a:stretch>
            <a:fillRect/>
          </a:stretch>
        </p:blipFill>
        <p:spPr>
          <a:xfrm>
            <a:off x="12355481" y="3972398"/>
            <a:ext cx="1757078" cy="1061022"/>
          </a:xfrm>
          <a:prstGeom prst="rect">
            <a:avLst/>
          </a:prstGeom>
          <a:ln>
            <a:noFill/>
          </a:ln>
        </p:spPr>
      </p:pic>
      <p:grpSp>
        <p:nvGrpSpPr>
          <p:cNvPr id="19" name="Группа 18"/>
          <p:cNvGrpSpPr/>
          <p:nvPr>
            <p:custDataLst>
              <p:tags r:id="rId42"/>
            </p:custDataLst>
          </p:nvPr>
        </p:nvGrpSpPr>
        <p:grpSpPr>
          <a:xfrm>
            <a:off x="12356902" y="4711930"/>
            <a:ext cx="1170345" cy="928918"/>
            <a:chOff x="12273688" y="6067612"/>
            <a:chExt cx="1170345" cy="928917"/>
          </a:xfrm>
        </p:grpSpPr>
        <p:sp>
          <p:nvSpPr>
            <p:cNvPr id="88" name="Rectangle 88">
              <a:extLst>
                <a:ext uri="{FF2B5EF4-FFF2-40B4-BE49-F238E27FC236}">
                  <a16:creationId xmlns:a16="http://schemas.microsoft.com/office/drawing/2014/main" id="{D55C790C-9334-B445-9860-6E5CE563901B}"/>
                </a:ext>
              </a:extLst>
            </p:cNvPr>
            <p:cNvSpPr/>
            <p:nvPr>
              <p:custDataLst>
                <p:tags r:id="rId52"/>
              </p:custDataLst>
            </p:nvPr>
          </p:nvSpPr>
          <p:spPr>
            <a:xfrm>
              <a:off x="12676842" y="6440992"/>
              <a:ext cx="741357" cy="307777"/>
            </a:xfrm>
            <a:prstGeom prst="rect">
              <a:avLst/>
            </a:prstGeom>
            <a:solidFill>
              <a:schemeClr val="accent1"/>
            </a:solidFill>
          </p:spPr>
          <p:txBody>
            <a:bodyPr wrap="none" lIns="219456" tIns="45720" rIns="219456" bIns="45720" anchor="ctr">
              <a:spAutoFit/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097236">
                <a:spcBef>
                  <a:spcPct val="0"/>
                </a:spcBef>
                <a:spcAft>
                  <a:spcPct val="0"/>
                </a:spcAft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lang="en-US" sz="1400" b="1" dirty="0">
                  <a:solidFill>
                    <a:srgbClr val="FFFFFF"/>
                  </a:solidFill>
                  <a:latin typeface="Arial"/>
                  <a:cs typeface="Arial"/>
                </a:rPr>
                <a:t>174</a:t>
              </a:r>
              <a:endParaRPr lang="en-US" sz="144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9" name="Rectangle 89">
              <a:extLst>
                <a:ext uri="{FF2B5EF4-FFF2-40B4-BE49-F238E27FC236}">
                  <a16:creationId xmlns:a16="http://schemas.microsoft.com/office/drawing/2014/main" id="{76F42444-9476-B349-BC8F-55834A78DE17}"/>
                </a:ext>
              </a:extLst>
            </p:cNvPr>
            <p:cNvSpPr/>
            <p:nvPr>
              <p:custDataLst>
                <p:tags r:id="rId53"/>
              </p:custDataLst>
            </p:nvPr>
          </p:nvSpPr>
          <p:spPr>
            <a:xfrm>
              <a:off x="12645417" y="6737997"/>
              <a:ext cx="798616" cy="258532"/>
            </a:xfrm>
            <a:prstGeom prst="rect">
              <a:avLst/>
            </a:prstGeom>
          </p:spPr>
          <p:txBody>
            <a:bodyPr wrap="none">
              <a:spAutoFit/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97236">
                <a:spcBef>
                  <a:spcPct val="0"/>
                </a:spcBef>
                <a:spcAft>
                  <a:spcPct val="0"/>
                </a:spcAft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lang="pl-PL" sz="108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uxoft</a:t>
              </a:r>
              <a:r>
                <a:rPr lang="en-US" sz="108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HC</a:t>
              </a:r>
            </a:p>
          </p:txBody>
        </p:sp>
        <p:pic>
          <p:nvPicPr>
            <p:cNvPr id="95" name="Picture 125">
              <a:extLst>
                <a:ext uri="{FF2B5EF4-FFF2-40B4-BE49-F238E27FC236}">
                  <a16:creationId xmlns:a16="http://schemas.microsoft.com/office/drawing/2014/main" id="{C5FCAB62-7011-5D4C-98B5-3BADD3AB5B86}"/>
                </a:ext>
              </a:extLst>
            </p:cNvPr>
            <p:cNvPicPr>
              <a:picLocks noChangeAspect="1"/>
            </p:cNvPicPr>
            <p:nvPr>
              <p:custDataLst>
                <p:tags r:id="rId54"/>
              </p:custDataLst>
            </p:nvPr>
          </p:nvPicPr>
          <p:blipFill>
            <a:blip r:embed="rId31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273688" y="6447153"/>
              <a:ext cx="296780" cy="296780"/>
            </a:xfrm>
            <a:prstGeom prst="rect">
              <a:avLst/>
            </a:prstGeom>
          </p:spPr>
        </p:pic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AF0A278D-8686-9E42-A0F7-0BE9291BAD84}"/>
                </a:ext>
              </a:extLst>
            </p:cNvPr>
            <p:cNvSpPr txBox="1"/>
            <p:nvPr>
              <p:custDataLst>
                <p:tags r:id="rId55"/>
              </p:custDataLst>
            </p:nvPr>
          </p:nvSpPr>
          <p:spPr>
            <a:xfrm>
              <a:off x="12330502" y="6067612"/>
              <a:ext cx="164592" cy="164592"/>
            </a:xfrm>
            <a:prstGeom prst="ellipse">
              <a:avLst/>
            </a:prstGeom>
            <a:solidFill>
              <a:schemeClr val="bg1"/>
            </a:solidFill>
            <a:ln w="6350">
              <a:noFill/>
            </a:ln>
            <a:effectLst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marR="0" indent="0" algn="ctr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840" b="1" i="0" u="none" strike="noStrike" kern="1200" cap="none" spc="0" normalizeH="0" baseline="0" noProof="0">
                  <a:solidFill>
                    <a:schemeClr val="accent1">
                      <a:lumMod val="75000"/>
                    </a:schemeClr>
                  </a:solidFill>
                  <a:uLnTx/>
                  <a:uFillTx/>
                  <a:latin typeface="Arial" pitchFamily="34" charset="0"/>
                  <a:ea typeface="Arial" pitchFamily="34" charset="0"/>
                  <a:cs typeface="Calibri" panose="020F0502020204030204" pitchFamily="34" charset="0"/>
                  <a:sym typeface="Wingdings" charset="2"/>
                </a:defRPr>
              </a:lvl1pPr>
              <a:lvl2pPr marL="5486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10972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6459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219456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274320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32918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38404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43891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defTabSz="1097236">
                <a:defRPr kumimoji="0" sz="840" b="1" i="0" u="none" strike="noStrike" cap="none" spc="0" normalizeH="0" baseline="0" noProof="0">
                  <a:solidFill>
                    <a:srgbClr val="471B77"/>
                  </a:solidFill>
                  <a:uLnTx/>
                  <a:uFillTx/>
                  <a:latin typeface="Arial" pitchFamily="34" charset="0"/>
                  <a:ea typeface="Arial" pitchFamily="34" charset="0"/>
                  <a:cs typeface="Calibri" panose="020F0502020204030204" pitchFamily="34" charset="0"/>
                  <a:sym typeface="Wingdings" charset="2"/>
                </a:defRPr>
              </a:pPr>
              <a:r>
                <a:rPr lang="en-US">
                  <a:solidFill>
                    <a:srgbClr val="6F2C91">
                      <a:lumMod val="75000"/>
                    </a:srgbClr>
                  </a:solidFill>
                </a:rPr>
                <a:t>3</a:t>
              </a:r>
            </a:p>
          </p:txBody>
        </p:sp>
      </p:grpSp>
      <p:sp>
        <p:nvSpPr>
          <p:cNvPr id="28" name="Rectangle 27">
            <a:extLst>
              <a:ext uri="{FF2B5EF4-FFF2-40B4-BE49-F238E27FC236}">
                <a16:creationId xmlns:a16="http://schemas.microsoft.com/office/drawing/2014/main" id="{4B547906-E677-2A0A-BFD2-92CFA648162B}"/>
              </a:ext>
            </a:extLst>
          </p:cNvPr>
          <p:cNvSpPr/>
          <p:nvPr>
            <p:custDataLst>
              <p:tags r:id="rId43"/>
            </p:custDataLst>
          </p:nvPr>
        </p:nvSpPr>
        <p:spPr>
          <a:xfrm>
            <a:off x="634063" y="1080903"/>
            <a:ext cx="4018209" cy="380300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1pPr>
            <a:lvl2pPr marL="54864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2pPr>
            <a:lvl3pPr marL="109728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3pPr>
            <a:lvl4pPr marL="164592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4pPr>
            <a:lvl5pPr marL="219456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5pPr>
            <a:lvl6pPr marL="274320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6pPr>
            <a:lvl7pPr marL="329184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7pPr>
            <a:lvl8pPr marL="384048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8pPr>
            <a:lvl9pPr marL="438912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9pPr>
          </a:lstStyle>
          <a:p>
            <a:pPr defTabSz="1097236">
              <a:defRPr kumimoji="0" sz="2160" b="0" i="0" u="none" strike="noStrike" cap="none" spc="0" normalizeH="0" baseline="0" noProof="0">
                <a:solidFill>
                  <a:srgbClr val="FFFFFF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pPr>
            <a:r>
              <a:rPr kumimoji="0" lang="en-US" sz="1050" b="0" i="1" u="none" strike="noStrike" cap="none" spc="0" normalizeH="0" baseline="0" noProof="0">
                <a:solidFill>
                  <a:schemeClr val="bg1">
                    <a:lumMod val="65000"/>
                  </a:schemeClr>
                </a:solidFill>
                <a:uLnTx/>
                <a:uFillTx/>
                <a:latin typeface="Arial"/>
                <a:ea typeface="+mn-ea"/>
                <a:cs typeface="Arial"/>
              </a:rPr>
              <a:t>Note: Headcount data as of </a:t>
            </a:r>
            <a:r>
              <a:rPr lang="en-US" sz="1050" i="1">
                <a:solidFill>
                  <a:schemeClr val="bg1">
                    <a:lumMod val="65000"/>
                  </a:schemeClr>
                </a:solidFill>
                <a:latin typeface="Arial"/>
                <a:ea typeface="+mn-ea"/>
                <a:cs typeface="Arial"/>
              </a:rPr>
              <a:t>April 2025 </a:t>
            </a:r>
            <a:r>
              <a:rPr kumimoji="0" lang="en-US" sz="1050" b="0" i="1" u="none" strike="noStrike" cap="none" spc="0" normalizeH="0" baseline="0" noProof="0">
                <a:solidFill>
                  <a:schemeClr val="bg1">
                    <a:lumMod val="65000"/>
                  </a:schemeClr>
                </a:solidFill>
                <a:uLnTx/>
                <a:uFillTx/>
                <a:latin typeface="Arial"/>
                <a:ea typeface="+mn-ea"/>
                <a:cs typeface="Arial"/>
              </a:rPr>
              <a:t>and rounded</a:t>
            </a:r>
            <a:endParaRPr lang="en-US" sz="1050">
              <a:solidFill>
                <a:schemeClr val="bg1">
                  <a:lumMod val="65000"/>
                </a:schemeClr>
              </a:solidFill>
              <a:latin typeface="Arial"/>
              <a:ea typeface="+mn-ea"/>
              <a:cs typeface="Arial"/>
            </a:endParaRPr>
          </a:p>
        </p:txBody>
      </p:sp>
      <p:pic>
        <p:nvPicPr>
          <p:cNvPr id="12" name="Picture 28">
            <a:extLst>
              <a:ext uri="{FF2B5EF4-FFF2-40B4-BE49-F238E27FC236}">
                <a16:creationId xmlns:a16="http://schemas.microsoft.com/office/drawing/2014/main" id="{CB7F5A06-8CAE-DCC1-D4A3-7E5913984F51}"/>
              </a:ext>
            </a:extLst>
          </p:cNvPr>
          <p:cNvPicPr>
            <a:picLocks noChangeAspect="1"/>
          </p:cNvPicPr>
          <p:nvPr>
            <p:custDataLst>
              <p:tags r:id="rId44"/>
            </p:custDataLst>
          </p:nvPr>
        </p:nvPicPr>
        <p:blipFill>
          <a:blip r:embed="rId320"/>
          <a:stretch>
            <a:fillRect/>
          </a:stretch>
        </p:blipFill>
        <p:spPr>
          <a:xfrm>
            <a:off x="12337266" y="1946658"/>
            <a:ext cx="351520" cy="313260"/>
          </a:xfrm>
          <a:prstGeom prst="rect">
            <a:avLst/>
          </a:prstGeom>
          <a:noFill/>
        </p:spPr>
      </p:pic>
      <p:pic>
        <p:nvPicPr>
          <p:cNvPr id="22" name="Picture 28">
            <a:extLst>
              <a:ext uri="{FF2B5EF4-FFF2-40B4-BE49-F238E27FC236}">
                <a16:creationId xmlns:a16="http://schemas.microsoft.com/office/drawing/2014/main" id="{3CA2BF3C-36B7-DD7D-4A11-24C5191E402C}"/>
              </a:ext>
            </a:extLst>
          </p:cNvPr>
          <p:cNvPicPr>
            <a:picLocks noChangeAspect="1"/>
          </p:cNvPicPr>
          <p:nvPr>
            <p:custDataLst>
              <p:tags r:id="rId45"/>
            </p:custDataLst>
          </p:nvPr>
        </p:nvPicPr>
        <p:blipFill>
          <a:blip r:embed="rId320"/>
          <a:stretch>
            <a:fillRect/>
          </a:stretch>
        </p:blipFill>
        <p:spPr>
          <a:xfrm>
            <a:off x="6475666" y="7241386"/>
            <a:ext cx="351520" cy="313260"/>
          </a:xfrm>
          <a:prstGeom prst="rect">
            <a:avLst/>
          </a:prstGeom>
          <a:noFill/>
        </p:spPr>
      </p:pic>
      <p:pic>
        <p:nvPicPr>
          <p:cNvPr id="26" name="Picture 32">
            <a:extLst>
              <a:ext uri="{FF2B5EF4-FFF2-40B4-BE49-F238E27FC236}">
                <a16:creationId xmlns:a16="http://schemas.microsoft.com/office/drawing/2014/main" id="{D1699878-A4B2-8290-63E5-1857A53D775D}"/>
              </a:ext>
            </a:extLst>
          </p:cNvPr>
          <p:cNvPicPr>
            <a:picLocks noChangeAspect="1"/>
          </p:cNvPicPr>
          <p:nvPr>
            <p:custDataLst>
              <p:tags r:id="rId46"/>
            </p:custDataLst>
          </p:nvPr>
        </p:nvPicPr>
        <p:blipFill>
          <a:blip r:embed="rId321"/>
          <a:stretch>
            <a:fillRect/>
          </a:stretch>
        </p:blipFill>
        <p:spPr>
          <a:xfrm>
            <a:off x="6479913" y="1838734"/>
            <a:ext cx="356482" cy="313418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8A75D7F7-CE8E-E254-A3E4-66E7D469BBAC}"/>
              </a:ext>
            </a:extLst>
          </p:cNvPr>
          <p:cNvPicPr>
            <a:picLocks noChangeAspect="1"/>
          </p:cNvPicPr>
          <p:nvPr>
            <p:custDataLst>
              <p:tags r:id="rId47"/>
            </p:custDataLst>
          </p:nvPr>
        </p:nvPicPr>
        <p:blipFill>
          <a:blip r:embed="rId322"/>
          <a:stretch>
            <a:fillRect/>
          </a:stretch>
        </p:blipFill>
        <p:spPr>
          <a:xfrm>
            <a:off x="12329404" y="3626262"/>
            <a:ext cx="365876" cy="320736"/>
          </a:xfrm>
          <a:prstGeom prst="rect">
            <a:avLst/>
          </a:prstGeom>
        </p:spPr>
      </p:pic>
      <p:pic>
        <p:nvPicPr>
          <p:cNvPr id="30" name="Picture 28">
            <a:extLst>
              <a:ext uri="{FF2B5EF4-FFF2-40B4-BE49-F238E27FC236}">
                <a16:creationId xmlns:a16="http://schemas.microsoft.com/office/drawing/2014/main" id="{3C3B074C-BAFF-FDFB-6A12-5B202CB9F44B}"/>
              </a:ext>
            </a:extLst>
          </p:cNvPr>
          <p:cNvPicPr>
            <a:picLocks noChangeAspect="1"/>
          </p:cNvPicPr>
          <p:nvPr>
            <p:custDataLst>
              <p:tags r:id="rId48"/>
            </p:custDataLst>
          </p:nvPr>
        </p:nvPicPr>
        <p:blipFill>
          <a:blip r:embed="rId320"/>
          <a:stretch>
            <a:fillRect/>
          </a:stretch>
        </p:blipFill>
        <p:spPr>
          <a:xfrm>
            <a:off x="6479913" y="3504847"/>
            <a:ext cx="365877" cy="326054"/>
          </a:xfrm>
          <a:prstGeom prst="rect">
            <a:avLst/>
          </a:prstGeom>
          <a:noFill/>
        </p:spPr>
      </p:pic>
      <p:pic>
        <p:nvPicPr>
          <p:cNvPr id="31" name="Picture 24">
            <a:extLst>
              <a:ext uri="{FF2B5EF4-FFF2-40B4-BE49-F238E27FC236}">
                <a16:creationId xmlns:a16="http://schemas.microsoft.com/office/drawing/2014/main" id="{91E371AC-0F9E-68EA-F3B9-827F66B884A1}"/>
              </a:ext>
            </a:extLst>
          </p:cNvPr>
          <p:cNvPicPr>
            <a:picLocks noChangeAspect="1"/>
          </p:cNvPicPr>
          <p:nvPr>
            <p:custDataLst>
              <p:tags r:id="rId49"/>
            </p:custDataLst>
          </p:nvPr>
        </p:nvPicPr>
        <p:blipFill>
          <a:blip r:embed="rId323"/>
          <a:stretch>
            <a:fillRect/>
          </a:stretch>
        </p:blipFill>
        <p:spPr>
          <a:xfrm>
            <a:off x="6408450" y="5357249"/>
            <a:ext cx="401740" cy="355971"/>
          </a:xfrm>
          <a:prstGeom prst="rect">
            <a:avLst/>
          </a:prstGeom>
        </p:spPr>
      </p:pic>
      <p:pic>
        <p:nvPicPr>
          <p:cNvPr id="33" name="Picture 24">
            <a:extLst>
              <a:ext uri="{FF2B5EF4-FFF2-40B4-BE49-F238E27FC236}">
                <a16:creationId xmlns:a16="http://schemas.microsoft.com/office/drawing/2014/main" id="{F09483EB-21FF-F689-CAB9-995FBC4B15DD}"/>
              </a:ext>
            </a:extLst>
          </p:cNvPr>
          <p:cNvPicPr>
            <a:picLocks noChangeAspect="1"/>
          </p:cNvPicPr>
          <p:nvPr>
            <p:custDataLst>
              <p:tags r:id="rId50"/>
            </p:custDataLst>
          </p:nvPr>
        </p:nvPicPr>
        <p:blipFill>
          <a:blip r:embed="rId323"/>
          <a:stretch>
            <a:fillRect/>
          </a:stretch>
        </p:blipFill>
        <p:spPr>
          <a:xfrm>
            <a:off x="12327523" y="7171319"/>
            <a:ext cx="401740" cy="355971"/>
          </a:xfrm>
          <a:prstGeom prst="rect">
            <a:avLst/>
          </a:prstGeom>
        </p:spPr>
      </p:pic>
      <p:pic>
        <p:nvPicPr>
          <p:cNvPr id="35" name="Picture 28">
            <a:extLst>
              <a:ext uri="{FF2B5EF4-FFF2-40B4-BE49-F238E27FC236}">
                <a16:creationId xmlns:a16="http://schemas.microsoft.com/office/drawing/2014/main" id="{46F76A70-E8F9-FE37-C981-E6D516178DDD}"/>
              </a:ext>
            </a:extLst>
          </p:cNvPr>
          <p:cNvPicPr>
            <a:picLocks noChangeAspect="1"/>
          </p:cNvPicPr>
          <p:nvPr>
            <p:custDataLst>
              <p:tags r:id="rId51"/>
            </p:custDataLst>
          </p:nvPr>
        </p:nvPicPr>
        <p:blipFill>
          <a:blip r:embed="rId320"/>
          <a:stretch>
            <a:fillRect/>
          </a:stretch>
        </p:blipFill>
        <p:spPr>
          <a:xfrm>
            <a:off x="12338272" y="5407381"/>
            <a:ext cx="365877" cy="32605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193136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Объект 2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3" imgW="425" imgH="424" progId="TCLayout.ActiveDocument.1">
                  <p:embed/>
                </p:oleObj>
              </mc:Choice>
              <mc:Fallback>
                <p:oleObj name="think-cell Slide" r:id="rId123" imgW="425" imgH="424" progId="TCLayout.ActiveDocument.1">
                  <p:embed/>
                  <p:pic>
                    <p:nvPicPr>
                      <p:cNvPr id="25" name="Объект 24" hidden="1"/>
                      <p:cNvPicPr/>
                      <p:nvPr/>
                    </p:nvPicPr>
                    <p:blipFill>
                      <a:blip r:embed="rId12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0" name="Picture 2">
            <a:extLst>
              <a:ext uri="{FF2B5EF4-FFF2-40B4-BE49-F238E27FC236}">
                <a16:creationId xmlns:a16="http://schemas.microsoft.com/office/drawing/2014/main" id="{1E28E2EA-9CE2-9ED0-48A3-58C7BD90E9B8}"/>
              </a:ext>
            </a:extLst>
          </p:cNvPr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642773" y="3658579"/>
            <a:ext cx="1095848" cy="995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6" name="Rectangle: Single Corner Rounded 55">
            <a:extLst>
              <a:ext uri="{FF2B5EF4-FFF2-40B4-BE49-F238E27FC236}">
                <a16:creationId xmlns:a16="http://schemas.microsoft.com/office/drawing/2014/main" id="{1637010B-39FB-9342-8EEB-10FEFCC18BF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7092777" y="1223442"/>
            <a:ext cx="7070941" cy="465602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1pPr>
            <a:lvl2pPr marL="54864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2pPr>
            <a:lvl3pPr marL="109728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3pPr>
            <a:lvl4pPr marL="164592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4pPr>
            <a:lvl5pPr marL="219456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5pPr>
            <a:lvl6pPr marL="274320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6pPr>
            <a:lvl7pPr marL="329184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7pPr>
            <a:lvl8pPr marL="384048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8pPr>
            <a:lvl9pPr marL="438912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9pPr>
          </a:lstStyle>
          <a:p>
            <a:pPr algn="ctr" defTabSz="1097192">
              <a:defRPr kumimoji="0" sz="2160" b="0" i="0" u="none" strike="noStrike" cap="none" spc="0" normalizeH="0" baseline="0" noProof="0">
                <a:solidFill>
                  <a:srgbClr val="FFFFFF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pPr>
            <a:endParaRPr lang="en-US" sz="1800">
              <a:solidFill>
                <a:srgbClr val="FFFFFF"/>
              </a:solidFill>
              <a:ea typeface="+mn-ea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E7787FF-B1F1-BE45-A7E1-048B85EFE12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 vert="horz">
            <a:normAutofit/>
          </a:bodyPr>
          <a:lstStyle/>
          <a:p>
            <a:pPr>
              <a:spcAft>
                <a:spcPct val="0"/>
              </a:spcAft>
              <a:defRPr kumimoji="0" sz="3600" b="1" i="0" u="none" strike="noStrike" cap="none" spc="0" normalizeH="0" baseline="0" noProof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5F249F"/>
                </a:solidFill>
                <a:uLnTx/>
                <a:uFillTx/>
                <a:latin typeface="+mj-lt"/>
                <a:ea typeface="+mj-ea"/>
                <a:cs typeface="+mj-cs"/>
                <a:sym typeface="Wingdings" charset="2"/>
              </a:defRPr>
            </a:pPr>
            <a:r>
              <a:rPr lang="en-GB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5F249F"/>
                </a:solidFill>
                <a:sym typeface="Wingdings" charset="2"/>
              </a:rPr>
              <a:t>India: Location Key Facts</a:t>
            </a:r>
            <a:endParaRPr lang="ru-RU"/>
          </a:p>
        </p:txBody>
      </p:sp>
      <p:grpSp>
        <p:nvGrpSpPr>
          <p:cNvPr id="46" name="Grupa 212">
            <a:extLst>
              <a:ext uri="{FF2B5EF4-FFF2-40B4-BE49-F238E27FC236}">
                <a16:creationId xmlns:a16="http://schemas.microsoft.com/office/drawing/2014/main" id="{A6BF9ADE-315A-184E-96A6-08EA7B229E8D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06877" y="1470783"/>
            <a:ext cx="484519" cy="529360"/>
            <a:chOff x="7087402" y="2920603"/>
            <a:chExt cx="741046" cy="809625"/>
          </a:xfrm>
        </p:grpSpPr>
        <p:sp>
          <p:nvSpPr>
            <p:cNvPr id="47" name="Freeform 64">
              <a:extLst>
                <a:ext uri="{FF2B5EF4-FFF2-40B4-BE49-F238E27FC236}">
                  <a16:creationId xmlns:a16="http://schemas.microsoft.com/office/drawing/2014/main" id="{C26BEE6B-45EE-EC47-ABBF-FD35B5E69F92}"/>
                </a:ext>
              </a:extLst>
            </p:cNvPr>
            <p:cNvSpPr/>
            <p:nvPr>
              <p:custDataLst>
                <p:tags r:id="rId110"/>
              </p:custDataLst>
            </p:nvPr>
          </p:nvSpPr>
          <p:spPr bwMode="auto">
            <a:xfrm>
              <a:off x="7289332" y="3149204"/>
              <a:ext cx="337186" cy="318136"/>
            </a:xfrm>
            <a:custGeom>
              <a:avLst/>
              <a:gdLst>
                <a:gd name="T0" fmla="*/ 64 w 80"/>
                <a:gd name="T1" fmla="*/ 72 h 72"/>
                <a:gd name="T2" fmla="*/ 80 w 80"/>
                <a:gd name="T3" fmla="*/ 56 h 72"/>
                <a:gd name="T4" fmla="*/ 80 w 80"/>
                <a:gd name="T5" fmla="*/ 20 h 72"/>
                <a:gd name="T6" fmla="*/ 40 w 80"/>
                <a:gd name="T7" fmla="*/ 0 h 72"/>
                <a:gd name="T8" fmla="*/ 0 w 80"/>
                <a:gd name="T9" fmla="*/ 20 h 72"/>
                <a:gd name="T10" fmla="*/ 0 w 80"/>
                <a:gd name="T11" fmla="*/ 56 h 72"/>
                <a:gd name="T12" fmla="*/ 16 w 80"/>
                <a:gd name="T13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72">
                  <a:moveTo>
                    <a:pt x="64" y="72"/>
                  </a:moveTo>
                  <a:cubicBezTo>
                    <a:pt x="73" y="72"/>
                    <a:pt x="80" y="64"/>
                    <a:pt x="80" y="56"/>
                  </a:cubicBezTo>
                  <a:cubicBezTo>
                    <a:pt x="80" y="20"/>
                    <a:pt x="80" y="20"/>
                    <a:pt x="80" y="20"/>
                  </a:cubicBezTo>
                  <a:cubicBezTo>
                    <a:pt x="80" y="7"/>
                    <a:pt x="54" y="0"/>
                    <a:pt x="40" y="0"/>
                  </a:cubicBezTo>
                  <a:cubicBezTo>
                    <a:pt x="26" y="0"/>
                    <a:pt x="0" y="7"/>
                    <a:pt x="0" y="20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4"/>
                    <a:pt x="7" y="72"/>
                    <a:pt x="16" y="72"/>
                  </a:cubicBezTo>
                </a:path>
              </a:pathLst>
            </a:custGeom>
            <a:noFill/>
            <a:ln w="15875" cap="flat">
              <a:solidFill>
                <a:schemeClr val="accent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097192">
                <a:spcBef>
                  <a:spcPct val="0"/>
                </a:spcBef>
                <a:spcAft>
                  <a:spcPct val="0"/>
                </a:spcAft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lang="pl-PL" sz="2592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8" name="Freeform 65">
              <a:extLst>
                <a:ext uri="{FF2B5EF4-FFF2-40B4-BE49-F238E27FC236}">
                  <a16:creationId xmlns:a16="http://schemas.microsoft.com/office/drawing/2014/main" id="{AEC00ABC-F256-2143-811C-6BF54FD5DCA5}"/>
                </a:ext>
              </a:extLst>
            </p:cNvPr>
            <p:cNvSpPr/>
            <p:nvPr>
              <p:custDataLst>
                <p:tags r:id="rId111"/>
              </p:custDataLst>
            </p:nvPr>
          </p:nvSpPr>
          <p:spPr bwMode="auto">
            <a:xfrm>
              <a:off x="7660808" y="3202543"/>
              <a:ext cx="167640" cy="299086"/>
            </a:xfrm>
            <a:custGeom>
              <a:avLst/>
              <a:gdLst>
                <a:gd name="T0" fmla="*/ 24 w 40"/>
                <a:gd name="T1" fmla="*/ 68 h 68"/>
                <a:gd name="T2" fmla="*/ 40 w 40"/>
                <a:gd name="T3" fmla="*/ 56 h 68"/>
                <a:gd name="T4" fmla="*/ 40 w 40"/>
                <a:gd name="T5" fmla="*/ 20 h 68"/>
                <a:gd name="T6" fmla="*/ 4 w 40"/>
                <a:gd name="T7" fmla="*/ 0 h 68"/>
                <a:gd name="T8" fmla="*/ 0 w 40"/>
                <a:gd name="T9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68">
                  <a:moveTo>
                    <a:pt x="24" y="68"/>
                  </a:moveTo>
                  <a:cubicBezTo>
                    <a:pt x="32" y="68"/>
                    <a:pt x="40" y="64"/>
                    <a:pt x="40" y="56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7"/>
                    <a:pt x="17" y="0"/>
                    <a:pt x="4" y="0"/>
                  </a:cubicBezTo>
                  <a:cubicBezTo>
                    <a:pt x="3" y="0"/>
                    <a:pt x="1" y="0"/>
                    <a:pt x="0" y="0"/>
                  </a:cubicBezTo>
                </a:path>
              </a:pathLst>
            </a:custGeom>
            <a:noFill/>
            <a:ln w="15875" cap="flat">
              <a:solidFill>
                <a:schemeClr val="accent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097192">
                <a:spcBef>
                  <a:spcPct val="0"/>
                </a:spcBef>
                <a:spcAft>
                  <a:spcPct val="0"/>
                </a:spcAft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lang="pl-PL" sz="2592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9" name="Freeform 66">
              <a:extLst>
                <a:ext uri="{FF2B5EF4-FFF2-40B4-BE49-F238E27FC236}">
                  <a16:creationId xmlns:a16="http://schemas.microsoft.com/office/drawing/2014/main" id="{B6A4B149-B163-3640-B4F7-1087FE8F9538}"/>
                </a:ext>
              </a:extLst>
            </p:cNvPr>
            <p:cNvSpPr/>
            <p:nvPr>
              <p:custDataLst>
                <p:tags r:id="rId112"/>
              </p:custDataLst>
            </p:nvPr>
          </p:nvSpPr>
          <p:spPr bwMode="auto">
            <a:xfrm>
              <a:off x="7390297" y="2920603"/>
              <a:ext cx="135256" cy="177166"/>
            </a:xfrm>
            <a:custGeom>
              <a:avLst/>
              <a:gdLst>
                <a:gd name="T0" fmla="*/ 16 w 32"/>
                <a:gd name="T1" fmla="*/ 40 h 40"/>
                <a:gd name="T2" fmla="*/ 32 w 32"/>
                <a:gd name="T3" fmla="*/ 24 h 40"/>
                <a:gd name="T4" fmla="*/ 32 w 32"/>
                <a:gd name="T5" fmla="*/ 16 h 40"/>
                <a:gd name="T6" fmla="*/ 16 w 32"/>
                <a:gd name="T7" fmla="*/ 0 h 40"/>
                <a:gd name="T8" fmla="*/ 0 w 32"/>
                <a:gd name="T9" fmla="*/ 16 h 40"/>
                <a:gd name="T10" fmla="*/ 0 w 32"/>
                <a:gd name="T11" fmla="*/ 24 h 40"/>
                <a:gd name="T12" fmla="*/ 16 w 32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40">
                  <a:moveTo>
                    <a:pt x="16" y="40"/>
                  </a:moveTo>
                  <a:cubicBezTo>
                    <a:pt x="25" y="40"/>
                    <a:pt x="32" y="33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2" y="7"/>
                    <a:pt x="25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33"/>
                    <a:pt x="7" y="40"/>
                    <a:pt x="16" y="40"/>
                  </a:cubicBezTo>
                  <a:close/>
                </a:path>
              </a:pathLst>
            </a:custGeom>
            <a:noFill/>
            <a:ln w="15875" cap="flat">
              <a:solidFill>
                <a:schemeClr val="accent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097192">
                <a:spcBef>
                  <a:spcPct val="0"/>
                </a:spcBef>
                <a:spcAft>
                  <a:spcPct val="0"/>
                </a:spcAft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lang="pl-PL" sz="2592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0" name="Line 67">
              <a:extLst>
                <a:ext uri="{FF2B5EF4-FFF2-40B4-BE49-F238E27FC236}">
                  <a16:creationId xmlns:a16="http://schemas.microsoft.com/office/drawing/2014/main" id="{500ED9C7-D1D9-9A4C-BAA8-87777B940F09}"/>
                </a:ext>
              </a:extLst>
            </p:cNvPr>
            <p:cNvSpPr>
              <a:spLocks noChangeShapeType="1"/>
            </p:cNvSpPr>
            <p:nvPr>
              <p:custDataLst>
                <p:tags r:id="rId113"/>
              </p:custDataLst>
            </p:nvPr>
          </p:nvSpPr>
          <p:spPr bwMode="auto">
            <a:xfrm flipH="1" flipV="1">
              <a:off x="7761773" y="3326368"/>
              <a:ext cx="0" cy="403860"/>
            </a:xfrm>
            <a:prstGeom prst="line">
              <a:avLst/>
            </a:prstGeom>
            <a:noFill/>
            <a:ln w="15875" cap="flat">
              <a:solidFill>
                <a:schemeClr val="accent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097192">
                <a:spcBef>
                  <a:spcPct val="0"/>
                </a:spcBef>
                <a:spcAft>
                  <a:spcPct val="0"/>
                </a:spcAft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lang="pl-PL" sz="2592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1" name="Line 68">
              <a:extLst>
                <a:ext uri="{FF2B5EF4-FFF2-40B4-BE49-F238E27FC236}">
                  <a16:creationId xmlns:a16="http://schemas.microsoft.com/office/drawing/2014/main" id="{467C9073-D240-0A40-861A-F94493DD22A2}"/>
                </a:ext>
              </a:extLst>
            </p:cNvPr>
            <p:cNvSpPr>
              <a:spLocks noChangeShapeType="1"/>
            </p:cNvSpPr>
            <p:nvPr>
              <p:custDataLst>
                <p:tags r:id="rId114"/>
              </p:custDataLst>
            </p:nvPr>
          </p:nvSpPr>
          <p:spPr bwMode="auto">
            <a:xfrm flipH="1" flipV="1">
              <a:off x="7559842" y="3273028"/>
              <a:ext cx="0" cy="457200"/>
            </a:xfrm>
            <a:prstGeom prst="line">
              <a:avLst/>
            </a:prstGeom>
            <a:noFill/>
            <a:ln w="15875" cap="flat">
              <a:solidFill>
                <a:schemeClr val="accent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097192">
                <a:spcBef>
                  <a:spcPct val="0"/>
                </a:spcBef>
                <a:spcAft>
                  <a:spcPct val="0"/>
                </a:spcAft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lang="pl-PL" sz="2592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2" name="Line 69">
              <a:extLst>
                <a:ext uri="{FF2B5EF4-FFF2-40B4-BE49-F238E27FC236}">
                  <a16:creationId xmlns:a16="http://schemas.microsoft.com/office/drawing/2014/main" id="{E656FF06-343F-9D4D-898A-F759525CB5C2}"/>
                </a:ext>
              </a:extLst>
            </p:cNvPr>
            <p:cNvSpPr>
              <a:spLocks noChangeShapeType="1"/>
            </p:cNvSpPr>
            <p:nvPr>
              <p:custDataLst>
                <p:tags r:id="rId115"/>
              </p:custDataLst>
            </p:nvPr>
          </p:nvSpPr>
          <p:spPr bwMode="auto">
            <a:xfrm flipH="1">
              <a:off x="7357913" y="3273028"/>
              <a:ext cx="0" cy="457200"/>
            </a:xfrm>
            <a:prstGeom prst="line">
              <a:avLst/>
            </a:prstGeom>
            <a:noFill/>
            <a:ln w="15875" cap="flat">
              <a:solidFill>
                <a:schemeClr val="accent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097192">
                <a:spcBef>
                  <a:spcPct val="0"/>
                </a:spcBef>
                <a:spcAft>
                  <a:spcPct val="0"/>
                </a:spcAft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lang="pl-PL" sz="2592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3" name="Line 70">
              <a:extLst>
                <a:ext uri="{FF2B5EF4-FFF2-40B4-BE49-F238E27FC236}">
                  <a16:creationId xmlns:a16="http://schemas.microsoft.com/office/drawing/2014/main" id="{EDA70B7E-671E-1D48-8DC6-0E769959B7A8}"/>
                </a:ext>
              </a:extLst>
            </p:cNvPr>
            <p:cNvSpPr>
              <a:spLocks noChangeShapeType="1"/>
            </p:cNvSpPr>
            <p:nvPr>
              <p:custDataLst>
                <p:tags r:id="rId116"/>
              </p:custDataLst>
            </p:nvPr>
          </p:nvSpPr>
          <p:spPr bwMode="auto">
            <a:xfrm flipH="1">
              <a:off x="7458877" y="3448288"/>
              <a:ext cx="0" cy="281940"/>
            </a:xfrm>
            <a:prstGeom prst="line">
              <a:avLst/>
            </a:prstGeom>
            <a:noFill/>
            <a:ln w="15875" cap="flat">
              <a:solidFill>
                <a:schemeClr val="accent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097192">
                <a:spcBef>
                  <a:spcPct val="0"/>
                </a:spcBef>
                <a:spcAft>
                  <a:spcPct val="0"/>
                </a:spcAft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lang="pl-PL" sz="2592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4" name="Freeform 71">
              <a:extLst>
                <a:ext uri="{FF2B5EF4-FFF2-40B4-BE49-F238E27FC236}">
                  <a16:creationId xmlns:a16="http://schemas.microsoft.com/office/drawing/2014/main" id="{EB530589-4F2F-2A42-9178-0697AC8BFE3C}"/>
                </a:ext>
              </a:extLst>
            </p:cNvPr>
            <p:cNvSpPr/>
            <p:nvPr>
              <p:custDataLst>
                <p:tags r:id="rId117"/>
              </p:custDataLst>
            </p:nvPr>
          </p:nvSpPr>
          <p:spPr bwMode="auto">
            <a:xfrm>
              <a:off x="7609372" y="2973943"/>
              <a:ext cx="135256" cy="175260"/>
            </a:xfrm>
            <a:custGeom>
              <a:avLst/>
              <a:gdLst>
                <a:gd name="T0" fmla="*/ 16 w 32"/>
                <a:gd name="T1" fmla="*/ 40 h 40"/>
                <a:gd name="T2" fmla="*/ 32 w 32"/>
                <a:gd name="T3" fmla="*/ 24 h 40"/>
                <a:gd name="T4" fmla="*/ 32 w 32"/>
                <a:gd name="T5" fmla="*/ 16 h 40"/>
                <a:gd name="T6" fmla="*/ 16 w 32"/>
                <a:gd name="T7" fmla="*/ 0 h 40"/>
                <a:gd name="T8" fmla="*/ 0 w 32"/>
                <a:gd name="T9" fmla="*/ 16 h 40"/>
                <a:gd name="T10" fmla="*/ 0 w 32"/>
                <a:gd name="T11" fmla="*/ 24 h 40"/>
                <a:gd name="T12" fmla="*/ 16 w 32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40">
                  <a:moveTo>
                    <a:pt x="16" y="40"/>
                  </a:moveTo>
                  <a:cubicBezTo>
                    <a:pt x="25" y="40"/>
                    <a:pt x="32" y="33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2" y="7"/>
                    <a:pt x="25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33"/>
                    <a:pt x="7" y="40"/>
                    <a:pt x="16" y="40"/>
                  </a:cubicBezTo>
                  <a:close/>
                </a:path>
              </a:pathLst>
            </a:custGeom>
            <a:noFill/>
            <a:ln w="15875" cap="flat">
              <a:solidFill>
                <a:schemeClr val="accent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097192">
                <a:spcBef>
                  <a:spcPct val="0"/>
                </a:spcBef>
                <a:spcAft>
                  <a:spcPct val="0"/>
                </a:spcAft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lang="pl-PL" sz="2592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5" name="Freeform 72">
              <a:extLst>
                <a:ext uri="{FF2B5EF4-FFF2-40B4-BE49-F238E27FC236}">
                  <a16:creationId xmlns:a16="http://schemas.microsoft.com/office/drawing/2014/main" id="{48139C26-6E37-9E4B-B156-B38237A550A0}"/>
                </a:ext>
              </a:extLst>
            </p:cNvPr>
            <p:cNvSpPr/>
            <p:nvPr>
              <p:custDataLst>
                <p:tags r:id="rId118"/>
              </p:custDataLst>
            </p:nvPr>
          </p:nvSpPr>
          <p:spPr bwMode="auto">
            <a:xfrm>
              <a:off x="7087402" y="3202543"/>
              <a:ext cx="169546" cy="299086"/>
            </a:xfrm>
            <a:custGeom>
              <a:avLst/>
              <a:gdLst>
                <a:gd name="T0" fmla="*/ 16 w 40"/>
                <a:gd name="T1" fmla="*/ 68 h 68"/>
                <a:gd name="T2" fmla="*/ 0 w 40"/>
                <a:gd name="T3" fmla="*/ 56 h 68"/>
                <a:gd name="T4" fmla="*/ 0 w 40"/>
                <a:gd name="T5" fmla="*/ 20 h 68"/>
                <a:gd name="T6" fmla="*/ 36 w 40"/>
                <a:gd name="T7" fmla="*/ 0 h 68"/>
                <a:gd name="T8" fmla="*/ 40 w 40"/>
                <a:gd name="T9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68">
                  <a:moveTo>
                    <a:pt x="16" y="68"/>
                  </a:moveTo>
                  <a:cubicBezTo>
                    <a:pt x="8" y="68"/>
                    <a:pt x="0" y="64"/>
                    <a:pt x="0" y="56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7"/>
                    <a:pt x="23" y="0"/>
                    <a:pt x="36" y="0"/>
                  </a:cubicBezTo>
                  <a:cubicBezTo>
                    <a:pt x="37" y="0"/>
                    <a:pt x="39" y="0"/>
                    <a:pt x="40" y="0"/>
                  </a:cubicBezTo>
                </a:path>
              </a:pathLst>
            </a:custGeom>
            <a:noFill/>
            <a:ln w="15875" cap="flat">
              <a:solidFill>
                <a:schemeClr val="accent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097192">
                <a:spcBef>
                  <a:spcPct val="0"/>
                </a:spcBef>
                <a:spcAft>
                  <a:spcPct val="0"/>
                </a:spcAft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lang="pl-PL" sz="2592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6" name="Line 73">
              <a:extLst>
                <a:ext uri="{FF2B5EF4-FFF2-40B4-BE49-F238E27FC236}">
                  <a16:creationId xmlns:a16="http://schemas.microsoft.com/office/drawing/2014/main" id="{C8F44FBE-A55D-F846-AAA3-DF47B386CEA5}"/>
                </a:ext>
              </a:extLst>
            </p:cNvPr>
            <p:cNvSpPr>
              <a:spLocks noChangeShapeType="1"/>
            </p:cNvSpPr>
            <p:nvPr>
              <p:custDataLst>
                <p:tags r:id="rId119"/>
              </p:custDataLst>
            </p:nvPr>
          </p:nvSpPr>
          <p:spPr bwMode="auto">
            <a:xfrm flipH="1" flipV="1">
              <a:off x="7155983" y="3326368"/>
              <a:ext cx="0" cy="403860"/>
            </a:xfrm>
            <a:prstGeom prst="line">
              <a:avLst/>
            </a:prstGeom>
            <a:noFill/>
            <a:ln w="15875" cap="flat">
              <a:solidFill>
                <a:schemeClr val="accent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097192">
                <a:spcBef>
                  <a:spcPct val="0"/>
                </a:spcBef>
                <a:spcAft>
                  <a:spcPct val="0"/>
                </a:spcAft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lang="pl-PL" sz="2592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7" name="Freeform 74">
              <a:extLst>
                <a:ext uri="{FF2B5EF4-FFF2-40B4-BE49-F238E27FC236}">
                  <a16:creationId xmlns:a16="http://schemas.microsoft.com/office/drawing/2014/main" id="{59C63BAB-D6F5-C144-A9B5-94F5236C646E}"/>
                </a:ext>
              </a:extLst>
            </p:cNvPr>
            <p:cNvSpPr/>
            <p:nvPr>
              <p:custDataLst>
                <p:tags r:id="rId120"/>
              </p:custDataLst>
            </p:nvPr>
          </p:nvSpPr>
          <p:spPr bwMode="auto">
            <a:xfrm>
              <a:off x="7173128" y="2973943"/>
              <a:ext cx="133350" cy="175260"/>
            </a:xfrm>
            <a:custGeom>
              <a:avLst/>
              <a:gdLst>
                <a:gd name="T0" fmla="*/ 16 w 32"/>
                <a:gd name="T1" fmla="*/ 40 h 40"/>
                <a:gd name="T2" fmla="*/ 0 w 32"/>
                <a:gd name="T3" fmla="*/ 24 h 40"/>
                <a:gd name="T4" fmla="*/ 0 w 32"/>
                <a:gd name="T5" fmla="*/ 16 h 40"/>
                <a:gd name="T6" fmla="*/ 16 w 32"/>
                <a:gd name="T7" fmla="*/ 0 h 40"/>
                <a:gd name="T8" fmla="*/ 32 w 32"/>
                <a:gd name="T9" fmla="*/ 16 h 40"/>
                <a:gd name="T10" fmla="*/ 32 w 32"/>
                <a:gd name="T11" fmla="*/ 24 h 40"/>
                <a:gd name="T12" fmla="*/ 16 w 32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40">
                  <a:moveTo>
                    <a:pt x="16" y="40"/>
                  </a:moveTo>
                  <a:cubicBezTo>
                    <a:pt x="7" y="40"/>
                    <a:pt x="0" y="33"/>
                    <a:pt x="0" y="24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25" y="0"/>
                    <a:pt x="32" y="7"/>
                    <a:pt x="32" y="16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33"/>
                    <a:pt x="25" y="40"/>
                    <a:pt x="16" y="40"/>
                  </a:cubicBezTo>
                  <a:close/>
                </a:path>
              </a:pathLst>
            </a:custGeom>
            <a:noFill/>
            <a:ln w="15875" cap="flat">
              <a:solidFill>
                <a:schemeClr val="accent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097192">
                <a:spcBef>
                  <a:spcPct val="0"/>
                </a:spcBef>
                <a:spcAft>
                  <a:spcPct val="0"/>
                </a:spcAft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lang="pl-PL" sz="2592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98" name="Rectangle 38">
            <a:extLst>
              <a:ext uri="{FF2B5EF4-FFF2-40B4-BE49-F238E27FC236}">
                <a16:creationId xmlns:a16="http://schemas.microsoft.com/office/drawing/2014/main" id="{AB957304-046A-BA40-8E69-6C25C644C94D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08902" y="1308366"/>
            <a:ext cx="3132396" cy="313932"/>
          </a:xfrm>
          <a:prstGeom prst="rect">
            <a:avLst/>
          </a:prstGeom>
        </p:spPr>
        <p:txBody>
          <a:bodyPr wrap="none" anchor="ctr">
            <a:spAutoFit/>
          </a:bodyPr>
          <a:lstStyle>
            <a:defPPr>
              <a:defRPr lang="en-US"/>
            </a:defPPr>
            <a:lvl1pPr marL="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97192">
              <a:spcBef>
                <a:spcPct val="0"/>
              </a:spcBef>
              <a:spcAft>
                <a:spcPct val="0"/>
              </a:spcAft>
              <a:defRPr kumimoji="0" sz="2160" b="0" i="0" normalizeH="0" noProof="0">
                <a:solidFill>
                  <a:srgbClr val="000000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lang="en-US" sz="144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LOCATION VALUE PROPOSITION</a:t>
            </a:r>
          </a:p>
        </p:txBody>
      </p:sp>
      <p:grpSp>
        <p:nvGrpSpPr>
          <p:cNvPr id="99" name="Group 4">
            <a:extLst>
              <a:ext uri="{FF2B5EF4-FFF2-40B4-BE49-F238E27FC236}">
                <a16:creationId xmlns:a16="http://schemas.microsoft.com/office/drawing/2014/main" id="{F3E22362-9343-0741-90D3-1277D7F971BE}"/>
              </a:ext>
            </a:extLst>
          </p:cNvPr>
          <p:cNvGrpSpPr>
            <a:grpSpLocks noChangeAspect="1"/>
          </p:cNvGrpSpPr>
          <p:nvPr>
            <p:custDataLst>
              <p:tags r:id="rId7"/>
            </p:custDataLst>
          </p:nvPr>
        </p:nvGrpSpPr>
        <p:grpSpPr>
          <a:xfrm>
            <a:off x="7197679" y="1298320"/>
            <a:ext cx="221537" cy="313932"/>
            <a:chOff x="5103" y="2214"/>
            <a:chExt cx="253" cy="359"/>
          </a:xfrm>
        </p:grpSpPr>
        <p:sp>
          <p:nvSpPr>
            <p:cNvPr id="100" name="Freeform 6">
              <a:extLst>
                <a:ext uri="{FF2B5EF4-FFF2-40B4-BE49-F238E27FC236}">
                  <a16:creationId xmlns:a16="http://schemas.microsoft.com/office/drawing/2014/main" id="{E7043AA9-6AD9-5143-9861-984A6499B810}"/>
                </a:ext>
              </a:extLst>
            </p:cNvPr>
            <p:cNvSpPr/>
            <p:nvPr>
              <p:custDataLst>
                <p:tags r:id="rId108"/>
              </p:custDataLst>
            </p:nvPr>
          </p:nvSpPr>
          <p:spPr bwMode="auto">
            <a:xfrm>
              <a:off x="5183" y="2295"/>
              <a:ext cx="92" cy="94"/>
            </a:xfrm>
            <a:custGeom>
              <a:avLst/>
              <a:gdLst>
                <a:gd name="T0" fmla="*/ 16 w 32"/>
                <a:gd name="T1" fmla="*/ 0 h 32"/>
                <a:gd name="T2" fmla="*/ 16 w 32"/>
                <a:gd name="T3" fmla="*/ 0 h 32"/>
                <a:gd name="T4" fmla="*/ 16 w 32"/>
                <a:gd name="T5" fmla="*/ 0 h 32"/>
                <a:gd name="T6" fmla="*/ 32 w 32"/>
                <a:gd name="T7" fmla="*/ 16 h 32"/>
                <a:gd name="T8" fmla="*/ 16 w 32"/>
                <a:gd name="T9" fmla="*/ 32 h 32"/>
                <a:gd name="T10" fmla="*/ 16 w 32"/>
                <a:gd name="T11" fmla="*/ 32 h 32"/>
                <a:gd name="T12" fmla="*/ 16 w 32"/>
                <a:gd name="T13" fmla="*/ 32 h 32"/>
                <a:gd name="T14" fmla="*/ 0 w 32"/>
                <a:gd name="T15" fmla="*/ 16 h 32"/>
                <a:gd name="T16" fmla="*/ 16 w 32"/>
                <a:gd name="T17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32"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25" y="0"/>
                    <a:pt x="32" y="7"/>
                    <a:pt x="32" y="16"/>
                  </a:cubicBezTo>
                  <a:cubicBezTo>
                    <a:pt x="32" y="25"/>
                    <a:pt x="25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lose/>
                </a:path>
              </a:pathLst>
            </a:custGeom>
            <a:noFill/>
            <a:ln w="158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097192">
                <a:spcBef>
                  <a:spcPct val="0"/>
                </a:spcBef>
                <a:spcAft>
                  <a:spcPct val="0"/>
                </a:spcAft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lang="en-US" sz="2592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1" name="Freeform 7">
              <a:extLst>
                <a:ext uri="{FF2B5EF4-FFF2-40B4-BE49-F238E27FC236}">
                  <a16:creationId xmlns:a16="http://schemas.microsoft.com/office/drawing/2014/main" id="{895F4D91-8EBB-3D40-B159-C98F2E3E6D78}"/>
                </a:ext>
              </a:extLst>
            </p:cNvPr>
            <p:cNvSpPr/>
            <p:nvPr>
              <p:custDataLst>
                <p:tags r:id="rId109"/>
              </p:custDataLst>
            </p:nvPr>
          </p:nvSpPr>
          <p:spPr bwMode="auto">
            <a:xfrm>
              <a:off x="5103" y="2214"/>
              <a:ext cx="253" cy="359"/>
            </a:xfrm>
            <a:custGeom>
              <a:avLst/>
              <a:gdLst>
                <a:gd name="T0" fmla="*/ 44 w 88"/>
                <a:gd name="T1" fmla="*/ 0 h 124"/>
                <a:gd name="T2" fmla="*/ 88 w 88"/>
                <a:gd name="T3" fmla="*/ 44 h 124"/>
                <a:gd name="T4" fmla="*/ 80 w 88"/>
                <a:gd name="T5" fmla="*/ 71 h 124"/>
                <a:gd name="T6" fmla="*/ 44 w 88"/>
                <a:gd name="T7" fmla="*/ 124 h 124"/>
                <a:gd name="T8" fmla="*/ 8 w 88"/>
                <a:gd name="T9" fmla="*/ 71 h 124"/>
                <a:gd name="T10" fmla="*/ 0 w 88"/>
                <a:gd name="T11" fmla="*/ 44 h 124"/>
                <a:gd name="T12" fmla="*/ 44 w 88"/>
                <a:gd name="T13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" h="124">
                  <a:moveTo>
                    <a:pt x="44" y="0"/>
                  </a:moveTo>
                  <a:cubicBezTo>
                    <a:pt x="68" y="0"/>
                    <a:pt x="88" y="19"/>
                    <a:pt x="88" y="44"/>
                  </a:cubicBezTo>
                  <a:cubicBezTo>
                    <a:pt x="88" y="54"/>
                    <a:pt x="86" y="61"/>
                    <a:pt x="80" y="71"/>
                  </a:cubicBezTo>
                  <a:cubicBezTo>
                    <a:pt x="74" y="80"/>
                    <a:pt x="44" y="124"/>
                    <a:pt x="44" y="124"/>
                  </a:cubicBezTo>
                  <a:cubicBezTo>
                    <a:pt x="44" y="124"/>
                    <a:pt x="14" y="80"/>
                    <a:pt x="8" y="71"/>
                  </a:cubicBezTo>
                  <a:cubicBezTo>
                    <a:pt x="2" y="61"/>
                    <a:pt x="0" y="54"/>
                    <a:pt x="0" y="44"/>
                  </a:cubicBezTo>
                  <a:cubicBezTo>
                    <a:pt x="0" y="19"/>
                    <a:pt x="20" y="0"/>
                    <a:pt x="44" y="0"/>
                  </a:cubicBezTo>
                  <a:close/>
                </a:path>
              </a:pathLst>
            </a:custGeom>
            <a:noFill/>
            <a:ln w="15875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097192">
                <a:spcBef>
                  <a:spcPct val="0"/>
                </a:spcBef>
                <a:spcAft>
                  <a:spcPct val="0"/>
                </a:spcAft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lang="en-US" sz="2592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84" name="Rectangle 30">
            <a:extLst>
              <a:ext uri="{FF2B5EF4-FFF2-40B4-BE49-F238E27FC236}">
                <a16:creationId xmlns:a16="http://schemas.microsoft.com/office/drawing/2014/main" id="{75687A43-8D3E-A848-8A12-62FA4282329A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92455" y="1470783"/>
            <a:ext cx="1420422" cy="646331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 marL="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97192">
              <a:spcBef>
                <a:spcPct val="0"/>
              </a:spcBef>
              <a:spcAft>
                <a:spcPct val="0"/>
              </a:spcAft>
              <a:defRPr kumimoji="0" sz="2160" b="0" i="0" normalizeH="0" noProof="0">
                <a:solidFill>
                  <a:srgbClr val="000000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lang="en-US" sz="2400" b="1" dirty="0">
                <a:solidFill>
                  <a:srgbClr val="5F249F"/>
                </a:solidFill>
                <a:latin typeface="Arial"/>
                <a:cs typeface="Arial"/>
              </a:rPr>
              <a:t>2,486</a:t>
            </a:r>
            <a:endParaRPr lang="en-US" sz="2400" b="1" dirty="0">
              <a:solidFill>
                <a:srgbClr val="5F249F"/>
              </a:solidFill>
              <a:latin typeface="Arial" pitchFamily="34" charset="0"/>
              <a:cs typeface="Arial" pitchFamily="34" charset="0"/>
            </a:endParaRPr>
          </a:p>
          <a:p>
            <a:pPr defTabSz="1097192">
              <a:spcBef>
                <a:spcPct val="0"/>
              </a:spcBef>
              <a:spcAft>
                <a:spcPct val="0"/>
              </a:spcAft>
              <a:defRPr kumimoji="0" sz="2160" b="0" i="0" normalizeH="0" noProof="0">
                <a:solidFill>
                  <a:srgbClr val="000000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lang="en-US" sz="1200" dirty="0">
                <a:solidFill>
                  <a:srgbClr val="000000"/>
                </a:solidFill>
                <a:latin typeface="Arial"/>
                <a:cs typeface="Arial"/>
              </a:rPr>
              <a:t>Employees</a:t>
            </a:r>
          </a:p>
        </p:txBody>
      </p:sp>
      <p:sp>
        <p:nvSpPr>
          <p:cNvPr id="85" name="Rectangle 35">
            <a:extLst>
              <a:ext uri="{FF2B5EF4-FFF2-40B4-BE49-F238E27FC236}">
                <a16:creationId xmlns:a16="http://schemas.microsoft.com/office/drawing/2014/main" id="{F30939A1-3AA7-574A-9E25-F85A4E1E5AB6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3021143" y="1470783"/>
            <a:ext cx="1267486" cy="646331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 marL="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97192">
              <a:spcBef>
                <a:spcPct val="0"/>
              </a:spcBef>
              <a:spcAft>
                <a:spcPct val="0"/>
              </a:spcAft>
              <a:defRPr kumimoji="0" sz="2160" b="0" i="0" normalizeH="0" noProof="0">
                <a:solidFill>
                  <a:srgbClr val="000000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lang="en-US" sz="2400" b="1">
                <a:solidFill>
                  <a:srgbClr val="5F249F"/>
                </a:solidFill>
                <a:latin typeface="Arial"/>
                <a:cs typeface="Arial"/>
              </a:rPr>
              <a:t>142</a:t>
            </a:r>
            <a:endParaRPr lang="en-US" sz="2400" b="1">
              <a:solidFill>
                <a:srgbClr val="5F249F"/>
              </a:solidFill>
              <a:latin typeface="Arial" pitchFamily="34" charset="0"/>
              <a:cs typeface="Arial" pitchFamily="34" charset="0"/>
            </a:endParaRPr>
          </a:p>
          <a:p>
            <a:pPr defTabSz="1097192">
              <a:spcBef>
                <a:spcPct val="0"/>
              </a:spcBef>
              <a:spcAft>
                <a:spcPct val="0"/>
              </a:spcAft>
              <a:defRPr kumimoji="0" sz="2160" b="0" i="0" normalizeH="0" noProof="0">
                <a:solidFill>
                  <a:srgbClr val="000000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lang="en-US" sz="1200">
                <a:solidFill>
                  <a:srgbClr val="000000"/>
                </a:solidFill>
                <a:latin typeface="Arial"/>
                <a:cs typeface="Arial"/>
              </a:rPr>
              <a:t> Clients</a:t>
            </a:r>
          </a:p>
        </p:txBody>
      </p:sp>
      <p:sp>
        <p:nvSpPr>
          <p:cNvPr id="86" name="Rectangle 36">
            <a:extLst>
              <a:ext uri="{FF2B5EF4-FFF2-40B4-BE49-F238E27FC236}">
                <a16:creationId xmlns:a16="http://schemas.microsoft.com/office/drawing/2014/main" id="{88D01C47-5C12-4A4E-ADAC-9B4A431F184E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4416784" y="1461673"/>
            <a:ext cx="1267486" cy="83099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97192">
              <a:spcBef>
                <a:spcPct val="0"/>
              </a:spcBef>
              <a:spcAft>
                <a:spcPct val="0"/>
              </a:spcAft>
              <a:defRPr kumimoji="0" sz="2160" b="0" i="0" normalizeH="0" noProof="0">
                <a:solidFill>
                  <a:srgbClr val="000000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lang="en-US" sz="2400" b="1">
                <a:solidFill>
                  <a:srgbClr val="5F249F"/>
                </a:solidFill>
                <a:latin typeface="Arial" pitchFamily="34" charset="0"/>
                <a:cs typeface="Arial" pitchFamily="34" charset="0"/>
              </a:rPr>
              <a:t>17</a:t>
            </a:r>
          </a:p>
          <a:p>
            <a:pPr defTabSz="1097192">
              <a:spcBef>
                <a:spcPct val="0"/>
              </a:spcBef>
              <a:spcAft>
                <a:spcPct val="0"/>
              </a:spcAft>
              <a:defRPr kumimoji="0" sz="2160" b="0" i="0" normalizeH="0" noProof="0">
                <a:solidFill>
                  <a:srgbClr val="000000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lang="en-US" sz="120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Years </a:t>
            </a:r>
            <a:br>
              <a:rPr lang="en-US" sz="120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en-US" sz="120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on the Market</a:t>
            </a:r>
          </a:p>
        </p:txBody>
      </p:sp>
      <p:sp>
        <p:nvSpPr>
          <p:cNvPr id="122" name="Rectangle 32">
            <a:extLst>
              <a:ext uri="{FF2B5EF4-FFF2-40B4-BE49-F238E27FC236}">
                <a16:creationId xmlns:a16="http://schemas.microsoft.com/office/drawing/2014/main" id="{696C4985-49F1-4A48-AFA9-6C79C9621797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468281" y="5540385"/>
            <a:ext cx="2415325" cy="182203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97192">
              <a:spcBef>
                <a:spcPts val="240"/>
              </a:spcBef>
              <a:spcAft>
                <a:spcPts val="240"/>
              </a:spcAft>
              <a:defRPr kumimoji="0" sz="2160" b="0" i="0" normalizeH="0" noProof="0">
                <a:solidFill>
                  <a:srgbClr val="000000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lang="pl-PL" sz="1440" b="1">
                <a:solidFill>
                  <a:srgbClr val="5F249F"/>
                </a:solidFill>
                <a:latin typeface="Arial" pitchFamily="34" charset="0"/>
                <a:cs typeface="Arial" pitchFamily="34" charset="0"/>
              </a:rPr>
              <a:t>Luxoft </a:t>
            </a:r>
            <a:r>
              <a:rPr lang="en-US" sz="1440" b="1">
                <a:solidFill>
                  <a:srgbClr val="5F249F"/>
                </a:solidFill>
                <a:latin typeface="Arial" pitchFamily="34" charset="0"/>
                <a:cs typeface="Arial" pitchFamily="34" charset="0"/>
              </a:rPr>
              <a:t>in location:</a:t>
            </a:r>
          </a:p>
          <a:p>
            <a:pPr marL="219431" indent="-219431" defTabSz="1097148">
              <a:spcBef>
                <a:spcPts val="240"/>
              </a:spcBef>
              <a:spcAft>
                <a:spcPts val="240"/>
              </a:spcAft>
              <a:buFont typeface="Arial" pitchFamily="34" charset="0"/>
              <a:buChar char="•"/>
            </a:pPr>
            <a:r>
              <a:rPr lang="en-US" sz="1100">
                <a:solidFill>
                  <a:srgbClr val="000000"/>
                </a:solidFill>
                <a:latin typeface="Arial"/>
                <a:cs typeface="Arial" pitchFamily="34" charset="0"/>
              </a:rPr>
              <a:t>Luxoft started operations in 2017 after the acquisition of DerivIT, which had been operational since 2008</a:t>
            </a:r>
          </a:p>
          <a:p>
            <a:pPr marL="219431" indent="-219431" defTabSz="1097148">
              <a:spcBef>
                <a:spcPts val="240"/>
              </a:spcBef>
              <a:spcAft>
                <a:spcPts val="240"/>
              </a:spcAft>
              <a:buFont typeface="Arial" pitchFamily="34" charset="0"/>
              <a:buChar char="•"/>
            </a:pPr>
            <a:r>
              <a:rPr lang="en-US" sz="1100">
                <a:solidFill>
                  <a:srgbClr val="000000"/>
                </a:solidFill>
                <a:latin typeface="Arial"/>
                <a:cs typeface="Arial" pitchFamily="34" charset="0"/>
              </a:rPr>
              <a:t>Well-established Luxoft support system: all corporate functions’ representatives in location </a:t>
            </a:r>
          </a:p>
          <a:p>
            <a:pPr marL="219431" indent="-219431" defTabSz="1097148">
              <a:spcBef>
                <a:spcPts val="240"/>
              </a:spcBef>
              <a:spcAft>
                <a:spcPts val="240"/>
              </a:spcAft>
              <a:buFont typeface="Arial" pitchFamily="34" charset="0"/>
              <a:buChar char="•"/>
            </a:pPr>
            <a:r>
              <a:rPr lang="en-US" sz="1100">
                <a:solidFill>
                  <a:srgbClr val="000000"/>
                </a:solidFill>
                <a:latin typeface="Arial"/>
                <a:cs typeface="Arial" pitchFamily="34" charset="0"/>
              </a:rPr>
              <a:t>Locally based relocation support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9FF2029-3157-4E60-AEAD-0EF136CBC1A9}"/>
              </a:ext>
            </a:extLst>
          </p:cNvPr>
          <p:cNvGrpSpPr/>
          <p:nvPr>
            <p:custDataLst>
              <p:tags r:id="rId12"/>
            </p:custDataLst>
          </p:nvPr>
        </p:nvGrpSpPr>
        <p:grpSpPr>
          <a:xfrm>
            <a:off x="552961" y="2507454"/>
            <a:ext cx="572860" cy="573313"/>
            <a:chOff x="706880" y="2376817"/>
            <a:chExt cx="572860" cy="573313"/>
          </a:xfrm>
        </p:grpSpPr>
        <p:pic>
          <p:nvPicPr>
            <p:cNvPr id="121" name="Picture 90">
              <a:extLst>
                <a:ext uri="{FF2B5EF4-FFF2-40B4-BE49-F238E27FC236}">
                  <a16:creationId xmlns:a16="http://schemas.microsoft.com/office/drawing/2014/main" id="{7B259134-6D08-E447-A131-983C8CC9481E}"/>
                </a:ext>
              </a:extLst>
            </p:cNvPr>
            <p:cNvPicPr>
              <a:picLocks noChangeAspect="1"/>
            </p:cNvPicPr>
            <p:nvPr>
              <p:custDataLst>
                <p:tags r:id="rId106"/>
              </p:custDataLst>
            </p:nvPr>
          </p:nvPicPr>
          <p:blipFill>
            <a:blip r:embed="rId12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20941" y="2391330"/>
              <a:ext cx="558799" cy="558800"/>
            </a:xfrm>
            <a:prstGeom prst="rect">
              <a:avLst/>
            </a:prstGeom>
            <a:ln>
              <a:noFill/>
            </a:ln>
          </p:spPr>
        </p:pic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2D9AEB32-CA2E-D240-8C43-81D9942B6520}"/>
                </a:ext>
              </a:extLst>
            </p:cNvPr>
            <p:cNvSpPr/>
            <p:nvPr>
              <p:custDataLst>
                <p:tags r:id="rId107"/>
              </p:custDataLst>
            </p:nvPr>
          </p:nvSpPr>
          <p:spPr>
            <a:xfrm>
              <a:off x="706880" y="2376817"/>
              <a:ext cx="558800" cy="558800"/>
            </a:xfrm>
            <a:prstGeom prst="ellipse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5486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10972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6459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219456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274320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32918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38404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43891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algn="ctr" defTabSz="1097192">
                <a:defRPr kumimoji="0" sz="2160" b="0" i="0" u="none" strike="noStrike" cap="none" spc="0" normalizeH="0" baseline="0" noProof="0">
                  <a:solidFill>
                    <a:srgbClr val="FFFFFF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pPr>
              <a:endParaRPr lang="ru-RU">
                <a:solidFill>
                  <a:srgbClr val="FFFFFF"/>
                </a:solidFill>
                <a:ea typeface="+mn-ea"/>
              </a:endParaRPr>
            </a:p>
          </p:txBody>
        </p:sp>
      </p:grpSp>
      <p:grpSp>
        <p:nvGrpSpPr>
          <p:cNvPr id="145" name="Graphic 2">
            <a:extLst>
              <a:ext uri="{FF2B5EF4-FFF2-40B4-BE49-F238E27FC236}">
                <a16:creationId xmlns:a16="http://schemas.microsoft.com/office/drawing/2014/main" id="{8C3890F2-A59E-6242-9A73-4304601D7921}"/>
              </a:ext>
            </a:extLst>
          </p:cNvPr>
          <p:cNvGrpSpPr/>
          <p:nvPr>
            <p:custDataLst>
              <p:tags r:id="rId13"/>
            </p:custDataLst>
          </p:nvPr>
        </p:nvGrpSpPr>
        <p:grpSpPr>
          <a:xfrm>
            <a:off x="2382047" y="1533846"/>
            <a:ext cx="664518" cy="491961"/>
            <a:chOff x="6993238" y="3003672"/>
            <a:chExt cx="525779" cy="389248"/>
          </a:xfrm>
          <a:noFill/>
        </p:grpSpPr>
        <p:sp>
          <p:nvSpPr>
            <p:cNvPr id="146" name="Freeform 145">
              <a:extLst>
                <a:ext uri="{FF2B5EF4-FFF2-40B4-BE49-F238E27FC236}">
                  <a16:creationId xmlns:a16="http://schemas.microsoft.com/office/drawing/2014/main" id="{C9D3CFC3-755D-FE4F-AA59-96ED8EF94E49}"/>
                </a:ext>
              </a:extLst>
            </p:cNvPr>
            <p:cNvSpPr/>
            <p:nvPr>
              <p:custDataLst>
                <p:tags r:id="rId90"/>
              </p:custDataLst>
            </p:nvPr>
          </p:nvSpPr>
          <p:spPr>
            <a:xfrm>
              <a:off x="7107539" y="3106542"/>
              <a:ext cx="270652" cy="241973"/>
            </a:xfrm>
            <a:custGeom>
              <a:avLst/>
              <a:gdLst>
                <a:gd name="connsiteX0" fmla="*/ 92964 w 225543"/>
                <a:gd name="connsiteY0" fmla="*/ 24098 h 201644"/>
                <a:gd name="connsiteX1" fmla="*/ 66675 w 225543"/>
                <a:gd name="connsiteY1" fmla="*/ 0 h 201644"/>
                <a:gd name="connsiteX2" fmla="*/ 0 w 225543"/>
                <a:gd name="connsiteY2" fmla="*/ 57150 h 201644"/>
                <a:gd name="connsiteX3" fmla="*/ 19050 w 225543"/>
                <a:gd name="connsiteY3" fmla="*/ 76200 h 201644"/>
                <a:gd name="connsiteX4" fmla="*/ 28575 w 225543"/>
                <a:gd name="connsiteY4" fmla="*/ 114300 h 201644"/>
                <a:gd name="connsiteX5" fmla="*/ 104775 w 225543"/>
                <a:gd name="connsiteY5" fmla="*/ 190500 h 201644"/>
                <a:gd name="connsiteX6" fmla="*/ 152400 w 225543"/>
                <a:gd name="connsiteY6" fmla="*/ 190500 h 201644"/>
                <a:gd name="connsiteX7" fmla="*/ 180975 w 225543"/>
                <a:gd name="connsiteY7" fmla="*/ 171450 h 201644"/>
                <a:gd name="connsiteX8" fmla="*/ 209550 w 225543"/>
                <a:gd name="connsiteY8" fmla="*/ 152400 h 201644"/>
                <a:gd name="connsiteX9" fmla="*/ 219075 w 225543"/>
                <a:gd name="connsiteY9" fmla="*/ 114300 h 201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543" h="201644">
                  <a:moveTo>
                    <a:pt x="92964" y="24098"/>
                  </a:moveTo>
                  <a:lnTo>
                    <a:pt x="66675" y="0"/>
                  </a:lnTo>
                  <a:lnTo>
                    <a:pt x="0" y="57150"/>
                  </a:lnTo>
                  <a:lnTo>
                    <a:pt x="19050" y="76200"/>
                  </a:lnTo>
                  <a:cubicBezTo>
                    <a:pt x="14002" y="91630"/>
                    <a:pt x="17907" y="102775"/>
                    <a:pt x="28575" y="114300"/>
                  </a:cubicBezTo>
                  <a:lnTo>
                    <a:pt x="104775" y="190500"/>
                  </a:lnTo>
                  <a:cubicBezTo>
                    <a:pt x="122015" y="205359"/>
                    <a:pt x="139065" y="205359"/>
                    <a:pt x="152400" y="190500"/>
                  </a:cubicBezTo>
                  <a:cubicBezTo>
                    <a:pt x="167640" y="190119"/>
                    <a:pt x="178022" y="181356"/>
                    <a:pt x="180975" y="171450"/>
                  </a:cubicBezTo>
                  <a:cubicBezTo>
                    <a:pt x="197263" y="168688"/>
                    <a:pt x="204597" y="161163"/>
                    <a:pt x="209550" y="152400"/>
                  </a:cubicBezTo>
                  <a:cubicBezTo>
                    <a:pt x="227647" y="144304"/>
                    <a:pt x="229743" y="126206"/>
                    <a:pt x="219075" y="114300"/>
                  </a:cubicBez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097192">
                <a:spcBef>
                  <a:spcPct val="0"/>
                </a:spcBef>
                <a:spcAft>
                  <a:spcPct val="0"/>
                </a:spcAft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lang="en-US" sz="2592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7" name="Freeform 146">
              <a:extLst>
                <a:ext uri="{FF2B5EF4-FFF2-40B4-BE49-F238E27FC236}">
                  <a16:creationId xmlns:a16="http://schemas.microsoft.com/office/drawing/2014/main" id="{8411FC8A-3BC6-C440-A0D9-FAE9DCDD2F57}"/>
                </a:ext>
              </a:extLst>
            </p:cNvPr>
            <p:cNvSpPr/>
            <p:nvPr>
              <p:custDataLst>
                <p:tags r:id="rId91"/>
              </p:custDataLst>
            </p:nvPr>
          </p:nvSpPr>
          <p:spPr>
            <a:xfrm>
              <a:off x="7194410" y="3117754"/>
              <a:ext cx="221736" cy="125946"/>
            </a:xfrm>
            <a:custGeom>
              <a:avLst/>
              <a:gdLst>
                <a:gd name="connsiteX0" fmla="*/ 137156 w 184780"/>
                <a:gd name="connsiteY0" fmla="*/ 9706 h 104955"/>
                <a:gd name="connsiteX1" fmla="*/ 118106 w 184780"/>
                <a:gd name="connsiteY1" fmla="*/ 9706 h 104955"/>
                <a:gd name="connsiteX2" fmla="*/ 71814 w 184780"/>
                <a:gd name="connsiteY2" fmla="*/ 86 h 104955"/>
                <a:gd name="connsiteX3" fmla="*/ 663 w 184780"/>
                <a:gd name="connsiteY3" fmla="*/ 25136 h 104955"/>
                <a:gd name="connsiteX4" fmla="*/ 32381 w 184780"/>
                <a:gd name="connsiteY4" fmla="*/ 49997 h 104955"/>
                <a:gd name="connsiteX5" fmla="*/ 82577 w 184780"/>
                <a:gd name="connsiteY5" fmla="*/ 46853 h 104955"/>
                <a:gd name="connsiteX6" fmla="*/ 146681 w 184780"/>
                <a:gd name="connsiteY6" fmla="*/ 104956 h 104955"/>
                <a:gd name="connsiteX7" fmla="*/ 156206 w 184780"/>
                <a:gd name="connsiteY7" fmla="*/ 101622 h 104955"/>
                <a:gd name="connsiteX8" fmla="*/ 165731 w 184780"/>
                <a:gd name="connsiteY8" fmla="*/ 95526 h 104955"/>
                <a:gd name="connsiteX9" fmla="*/ 184781 w 184780"/>
                <a:gd name="connsiteY9" fmla="*/ 66856 h 104955"/>
                <a:gd name="connsiteX10" fmla="*/ 137156 w 184780"/>
                <a:gd name="connsiteY10" fmla="*/ 9706 h 104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4780" h="104953">
                  <a:moveTo>
                    <a:pt x="137156" y="9706"/>
                  </a:moveTo>
                  <a:cubicBezTo>
                    <a:pt x="137156" y="9706"/>
                    <a:pt x="123344" y="9706"/>
                    <a:pt x="118106" y="9706"/>
                  </a:cubicBezTo>
                  <a:cubicBezTo>
                    <a:pt x="102294" y="9706"/>
                    <a:pt x="77815" y="1610"/>
                    <a:pt x="71814" y="86"/>
                  </a:cubicBezTo>
                  <a:cubicBezTo>
                    <a:pt x="65718" y="-1438"/>
                    <a:pt x="5234" y="17802"/>
                    <a:pt x="663" y="25136"/>
                  </a:cubicBezTo>
                  <a:cubicBezTo>
                    <a:pt x="-3814" y="32471"/>
                    <a:pt x="15236" y="52187"/>
                    <a:pt x="32381" y="49997"/>
                  </a:cubicBezTo>
                  <a:cubicBezTo>
                    <a:pt x="49621" y="47806"/>
                    <a:pt x="75053" y="39424"/>
                    <a:pt x="82577" y="46853"/>
                  </a:cubicBezTo>
                  <a:cubicBezTo>
                    <a:pt x="82577" y="46853"/>
                    <a:pt x="130012" y="90287"/>
                    <a:pt x="146681" y="104956"/>
                  </a:cubicBezTo>
                  <a:cubicBezTo>
                    <a:pt x="150110" y="104194"/>
                    <a:pt x="153253" y="103051"/>
                    <a:pt x="156206" y="101622"/>
                  </a:cubicBezTo>
                  <a:cubicBezTo>
                    <a:pt x="159730" y="99908"/>
                    <a:pt x="162968" y="97812"/>
                    <a:pt x="165731" y="95526"/>
                  </a:cubicBezTo>
                  <a:cubicBezTo>
                    <a:pt x="179828" y="83906"/>
                    <a:pt x="184781" y="66856"/>
                    <a:pt x="184781" y="66856"/>
                  </a:cubicBezTo>
                  <a:lnTo>
                    <a:pt x="137156" y="9706"/>
                  </a:lnTo>
                  <a:close/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097192">
                <a:spcBef>
                  <a:spcPct val="0"/>
                </a:spcBef>
                <a:spcAft>
                  <a:spcPct val="0"/>
                </a:spcAft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lang="en-US" sz="2592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8" name="Freeform 147">
              <a:extLst>
                <a:ext uri="{FF2B5EF4-FFF2-40B4-BE49-F238E27FC236}">
                  <a16:creationId xmlns:a16="http://schemas.microsoft.com/office/drawing/2014/main" id="{F296B56E-339B-744F-B189-9935A0CF9F3F}"/>
                </a:ext>
              </a:extLst>
            </p:cNvPr>
            <p:cNvSpPr/>
            <p:nvPr>
              <p:custDataLst>
                <p:tags r:id="rId92"/>
              </p:custDataLst>
            </p:nvPr>
          </p:nvSpPr>
          <p:spPr>
            <a:xfrm>
              <a:off x="7124154" y="3243702"/>
              <a:ext cx="109115" cy="107602"/>
            </a:xfrm>
            <a:custGeom>
              <a:avLst/>
              <a:gdLst>
                <a:gd name="connsiteX0" fmla="*/ 14730 w 90929"/>
                <a:gd name="connsiteY0" fmla="*/ 0 h 89668"/>
                <a:gd name="connsiteX1" fmla="*/ 4252 w 90929"/>
                <a:gd name="connsiteY1" fmla="*/ 10478 h 89668"/>
                <a:gd name="connsiteX2" fmla="*/ 5205 w 90929"/>
                <a:gd name="connsiteY2" fmla="*/ 38100 h 89668"/>
                <a:gd name="connsiteX3" fmla="*/ 53306 w 90929"/>
                <a:gd name="connsiteY3" fmla="*/ 85725 h 89668"/>
                <a:gd name="connsiteX4" fmla="*/ 81405 w 90929"/>
                <a:gd name="connsiteY4" fmla="*/ 85725 h 89668"/>
                <a:gd name="connsiteX5" fmla="*/ 90930 w 90929"/>
                <a:gd name="connsiteY5" fmla="*/ 76200 h 8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0929" h="89668">
                  <a:moveTo>
                    <a:pt x="14730" y="0"/>
                  </a:moveTo>
                  <a:lnTo>
                    <a:pt x="4252" y="10478"/>
                  </a:lnTo>
                  <a:cubicBezTo>
                    <a:pt x="-2320" y="17050"/>
                    <a:pt x="-701" y="30861"/>
                    <a:pt x="5205" y="38100"/>
                  </a:cubicBezTo>
                  <a:cubicBezTo>
                    <a:pt x="17397" y="53245"/>
                    <a:pt x="31303" y="74676"/>
                    <a:pt x="53306" y="85725"/>
                  </a:cubicBezTo>
                  <a:cubicBezTo>
                    <a:pt x="61307" y="89726"/>
                    <a:pt x="75023" y="92107"/>
                    <a:pt x="81405" y="85725"/>
                  </a:cubicBezTo>
                  <a:lnTo>
                    <a:pt x="90930" y="76200"/>
                  </a:ln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097192">
                <a:spcBef>
                  <a:spcPct val="0"/>
                </a:spcBef>
                <a:spcAft>
                  <a:spcPct val="0"/>
                </a:spcAft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lang="en-US" sz="2592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9" name="Freeform 148">
              <a:extLst>
                <a:ext uri="{FF2B5EF4-FFF2-40B4-BE49-F238E27FC236}">
                  <a16:creationId xmlns:a16="http://schemas.microsoft.com/office/drawing/2014/main" id="{C825B611-91B5-4641-898A-B9A53434C342}"/>
                </a:ext>
              </a:extLst>
            </p:cNvPr>
            <p:cNvSpPr/>
            <p:nvPr>
              <p:custDataLst>
                <p:tags r:id="rId93"/>
              </p:custDataLst>
            </p:nvPr>
          </p:nvSpPr>
          <p:spPr>
            <a:xfrm>
              <a:off x="7256129" y="3300852"/>
              <a:ext cx="34290" cy="34290"/>
            </a:xfrm>
            <a:custGeom>
              <a:avLst/>
              <a:gdLst>
                <a:gd name="connsiteX0" fmla="*/ 28575 w 28575"/>
                <a:gd name="connsiteY0" fmla="*/ 28575 h 28575"/>
                <a:gd name="connsiteX1" fmla="*/ 0 w 28575"/>
                <a:gd name="connsiteY1" fmla="*/ 0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575" h="28575">
                  <a:moveTo>
                    <a:pt x="28575" y="28575"/>
                  </a:moveTo>
                  <a:lnTo>
                    <a:pt x="0" y="0"/>
                  </a:lnTo>
                </a:path>
              </a:pathLst>
            </a:custGeom>
            <a:ln w="15875" cap="rnd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097192">
                <a:spcBef>
                  <a:spcPct val="0"/>
                </a:spcBef>
                <a:spcAft>
                  <a:spcPct val="0"/>
                </a:spcAft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lang="en-US" sz="2592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0" name="Freeform 149">
              <a:extLst>
                <a:ext uri="{FF2B5EF4-FFF2-40B4-BE49-F238E27FC236}">
                  <a16:creationId xmlns:a16="http://schemas.microsoft.com/office/drawing/2014/main" id="{A7BAE096-2182-FE4D-88BD-C92900627D71}"/>
                </a:ext>
              </a:extLst>
            </p:cNvPr>
            <p:cNvSpPr/>
            <p:nvPr>
              <p:custDataLst>
                <p:tags r:id="rId94"/>
              </p:custDataLst>
            </p:nvPr>
          </p:nvSpPr>
          <p:spPr>
            <a:xfrm>
              <a:off x="7290419" y="3277992"/>
              <a:ext cx="34290" cy="34290"/>
            </a:xfrm>
            <a:custGeom>
              <a:avLst/>
              <a:gdLst>
                <a:gd name="connsiteX0" fmla="*/ 28575 w 28575"/>
                <a:gd name="connsiteY0" fmla="*/ 28575 h 28575"/>
                <a:gd name="connsiteX1" fmla="*/ 0 w 28575"/>
                <a:gd name="connsiteY1" fmla="*/ 0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575" h="28575">
                  <a:moveTo>
                    <a:pt x="28575" y="28575"/>
                  </a:moveTo>
                  <a:lnTo>
                    <a:pt x="0" y="0"/>
                  </a:lnTo>
                </a:path>
              </a:pathLst>
            </a:custGeom>
            <a:ln w="15875" cap="rnd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097192">
                <a:spcBef>
                  <a:spcPct val="0"/>
                </a:spcBef>
                <a:spcAft>
                  <a:spcPct val="0"/>
                </a:spcAft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lang="en-US" sz="2592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1" name="Freeform 150">
              <a:extLst>
                <a:ext uri="{FF2B5EF4-FFF2-40B4-BE49-F238E27FC236}">
                  <a16:creationId xmlns:a16="http://schemas.microsoft.com/office/drawing/2014/main" id="{4D57A75F-370E-A24E-A346-128142F814E8}"/>
                </a:ext>
              </a:extLst>
            </p:cNvPr>
            <p:cNvSpPr/>
            <p:nvPr>
              <p:custDataLst>
                <p:tags r:id="rId95"/>
              </p:custDataLst>
            </p:nvPr>
          </p:nvSpPr>
          <p:spPr>
            <a:xfrm>
              <a:off x="7324709" y="3255132"/>
              <a:ext cx="34290" cy="34290"/>
            </a:xfrm>
            <a:custGeom>
              <a:avLst/>
              <a:gdLst>
                <a:gd name="connsiteX0" fmla="*/ 28575 w 28575"/>
                <a:gd name="connsiteY0" fmla="*/ 28575 h 28575"/>
                <a:gd name="connsiteX1" fmla="*/ 0 w 28575"/>
                <a:gd name="connsiteY1" fmla="*/ 0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575" h="28575">
                  <a:moveTo>
                    <a:pt x="28575" y="28575"/>
                  </a:moveTo>
                  <a:lnTo>
                    <a:pt x="0" y="0"/>
                  </a:lnTo>
                </a:path>
              </a:pathLst>
            </a:custGeom>
            <a:ln w="15875" cap="rnd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097192">
                <a:spcBef>
                  <a:spcPct val="0"/>
                </a:spcBef>
                <a:spcAft>
                  <a:spcPct val="0"/>
                </a:spcAft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lang="en-US" sz="2592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2" name="Freeform 151">
              <a:extLst>
                <a:ext uri="{FF2B5EF4-FFF2-40B4-BE49-F238E27FC236}">
                  <a16:creationId xmlns:a16="http://schemas.microsoft.com/office/drawing/2014/main" id="{1448A649-F2EC-194C-BF53-775E175CE5EE}"/>
                </a:ext>
              </a:extLst>
            </p:cNvPr>
            <p:cNvSpPr/>
            <p:nvPr>
              <p:custDataLst>
                <p:tags r:id="rId96"/>
              </p:custDataLst>
            </p:nvPr>
          </p:nvSpPr>
          <p:spPr>
            <a:xfrm>
              <a:off x="6997124" y="3274339"/>
              <a:ext cx="81839" cy="47315"/>
            </a:xfrm>
            <a:custGeom>
              <a:avLst/>
              <a:gdLst>
                <a:gd name="connsiteX0" fmla="*/ 26575 w 68199"/>
                <a:gd name="connsiteY0" fmla="*/ 39429 h 39429"/>
                <a:gd name="connsiteX1" fmla="*/ 0 w 68199"/>
                <a:gd name="connsiteY1" fmla="*/ 7235 h 39429"/>
                <a:gd name="connsiteX2" fmla="*/ 68199 w 68199"/>
                <a:gd name="connsiteY2" fmla="*/ 33714 h 39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199" h="39429">
                  <a:moveTo>
                    <a:pt x="26575" y="39429"/>
                  </a:moveTo>
                  <a:cubicBezTo>
                    <a:pt x="16573" y="35048"/>
                    <a:pt x="9049" y="24761"/>
                    <a:pt x="0" y="7235"/>
                  </a:cubicBezTo>
                  <a:cubicBezTo>
                    <a:pt x="24289" y="-8101"/>
                    <a:pt x="50959" y="1044"/>
                    <a:pt x="68199" y="33714"/>
                  </a:cubicBez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097192">
                <a:spcBef>
                  <a:spcPct val="0"/>
                </a:spcBef>
                <a:spcAft>
                  <a:spcPct val="0"/>
                </a:spcAft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lang="en-US" sz="2592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3" name="Freeform 152">
              <a:extLst>
                <a:ext uri="{FF2B5EF4-FFF2-40B4-BE49-F238E27FC236}">
                  <a16:creationId xmlns:a16="http://schemas.microsoft.com/office/drawing/2014/main" id="{5D8742AA-F1E1-7445-8A85-BD1702CC65EB}"/>
                </a:ext>
              </a:extLst>
            </p:cNvPr>
            <p:cNvSpPr/>
            <p:nvPr>
              <p:custDataLst>
                <p:tags r:id="rId97"/>
              </p:custDataLst>
            </p:nvPr>
          </p:nvSpPr>
          <p:spPr>
            <a:xfrm>
              <a:off x="7030958" y="3346562"/>
              <a:ext cx="89611" cy="46358"/>
            </a:xfrm>
            <a:custGeom>
              <a:avLst/>
              <a:gdLst>
                <a:gd name="connsiteX0" fmla="*/ 74676 w 74676"/>
                <a:gd name="connsiteY0" fmla="*/ 21724 h 38632"/>
                <a:gd name="connsiteX1" fmla="*/ 0 w 74676"/>
                <a:gd name="connsiteY1" fmla="*/ 15152 h 38632"/>
                <a:gd name="connsiteX2" fmla="*/ 74676 w 74676"/>
                <a:gd name="connsiteY2" fmla="*/ 21724 h 38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4676" h="38632">
                  <a:moveTo>
                    <a:pt x="74676" y="21724"/>
                  </a:moveTo>
                  <a:cubicBezTo>
                    <a:pt x="57531" y="39346"/>
                    <a:pt x="32099" y="51252"/>
                    <a:pt x="0" y="15152"/>
                  </a:cubicBezTo>
                  <a:cubicBezTo>
                    <a:pt x="21146" y="-6565"/>
                    <a:pt x="50483" y="-5422"/>
                    <a:pt x="74676" y="21724"/>
                  </a:cubicBezTo>
                  <a:close/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097192">
                <a:spcBef>
                  <a:spcPct val="0"/>
                </a:spcBef>
                <a:spcAft>
                  <a:spcPct val="0"/>
                </a:spcAft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lang="en-US" sz="2592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4" name="Freeform 153">
              <a:extLst>
                <a:ext uri="{FF2B5EF4-FFF2-40B4-BE49-F238E27FC236}">
                  <a16:creationId xmlns:a16="http://schemas.microsoft.com/office/drawing/2014/main" id="{BBFC4E43-FE39-BA42-8B96-9F79E9531B27}"/>
                </a:ext>
              </a:extLst>
            </p:cNvPr>
            <p:cNvSpPr/>
            <p:nvPr>
              <p:custDataLst>
                <p:tags r:id="rId98"/>
              </p:custDataLst>
            </p:nvPr>
          </p:nvSpPr>
          <p:spPr>
            <a:xfrm>
              <a:off x="6993238" y="3177464"/>
              <a:ext cx="64008" cy="67951"/>
            </a:xfrm>
            <a:custGeom>
              <a:avLst/>
              <a:gdLst>
                <a:gd name="connsiteX0" fmla="*/ 20193 w 53340"/>
                <a:gd name="connsiteY0" fmla="*/ 48625 h 56626"/>
                <a:gd name="connsiteX1" fmla="*/ 0 w 53340"/>
                <a:gd name="connsiteY1" fmla="*/ 143 h 56626"/>
                <a:gd name="connsiteX2" fmla="*/ 53340 w 53340"/>
                <a:gd name="connsiteY2" fmla="*/ 56626 h 56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3340" h="56626">
                  <a:moveTo>
                    <a:pt x="20193" y="48625"/>
                  </a:moveTo>
                  <a:cubicBezTo>
                    <a:pt x="9620" y="40720"/>
                    <a:pt x="1619" y="26051"/>
                    <a:pt x="0" y="143"/>
                  </a:cubicBezTo>
                  <a:cubicBezTo>
                    <a:pt x="29242" y="-1953"/>
                    <a:pt x="51054" y="19098"/>
                    <a:pt x="53340" y="56626"/>
                  </a:cubicBez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097192">
                <a:spcBef>
                  <a:spcPct val="0"/>
                </a:spcBef>
                <a:spcAft>
                  <a:spcPct val="0"/>
                </a:spcAft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lang="en-US" sz="2592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5" name="Freeform 154">
              <a:extLst>
                <a:ext uri="{FF2B5EF4-FFF2-40B4-BE49-F238E27FC236}">
                  <a16:creationId xmlns:a16="http://schemas.microsoft.com/office/drawing/2014/main" id="{407E87F7-0F4E-0145-8175-90AA1FA35FB5}"/>
                </a:ext>
              </a:extLst>
            </p:cNvPr>
            <p:cNvSpPr/>
            <p:nvPr>
              <p:custDataLst>
                <p:tags r:id="rId99"/>
              </p:custDataLst>
            </p:nvPr>
          </p:nvSpPr>
          <p:spPr>
            <a:xfrm>
              <a:off x="7017617" y="3083682"/>
              <a:ext cx="46196" cy="88354"/>
            </a:xfrm>
            <a:custGeom>
              <a:avLst/>
              <a:gdLst>
                <a:gd name="connsiteX0" fmla="*/ 6639 w 38497"/>
                <a:gd name="connsiteY0" fmla="*/ 53054 h 73628"/>
                <a:gd name="connsiteX1" fmla="*/ 4544 w 38497"/>
                <a:gd name="connsiteY1" fmla="*/ 0 h 73628"/>
                <a:gd name="connsiteX2" fmla="*/ 34738 w 38497"/>
                <a:gd name="connsiteY2" fmla="*/ 73628 h 73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497" h="73628">
                  <a:moveTo>
                    <a:pt x="6639" y="53054"/>
                  </a:moveTo>
                  <a:cubicBezTo>
                    <a:pt x="-504" y="41529"/>
                    <a:pt x="-2886" y="24670"/>
                    <a:pt x="4544" y="0"/>
                  </a:cubicBezTo>
                  <a:cubicBezTo>
                    <a:pt x="32452" y="9715"/>
                    <a:pt x="45502" y="37910"/>
                    <a:pt x="34738" y="73628"/>
                  </a:cubicBez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097192">
                <a:spcBef>
                  <a:spcPct val="0"/>
                </a:spcBef>
                <a:spcAft>
                  <a:spcPct val="0"/>
                </a:spcAft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lang="en-US" sz="2592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6" name="Freeform 155">
              <a:extLst>
                <a:ext uri="{FF2B5EF4-FFF2-40B4-BE49-F238E27FC236}">
                  <a16:creationId xmlns:a16="http://schemas.microsoft.com/office/drawing/2014/main" id="{82060E26-5CBC-8E4B-A300-55568F309478}"/>
                </a:ext>
              </a:extLst>
            </p:cNvPr>
            <p:cNvSpPr/>
            <p:nvPr>
              <p:custDataLst>
                <p:tags r:id="rId100"/>
              </p:custDataLst>
            </p:nvPr>
          </p:nvSpPr>
          <p:spPr>
            <a:xfrm>
              <a:off x="7064263" y="3003672"/>
              <a:ext cx="43261" cy="95440"/>
            </a:xfrm>
            <a:custGeom>
              <a:avLst/>
              <a:gdLst>
                <a:gd name="connsiteX0" fmla="*/ 439 w 36051"/>
                <a:gd name="connsiteY0" fmla="*/ 49530 h 79533"/>
                <a:gd name="connsiteX1" fmla="*/ 19679 w 36051"/>
                <a:gd name="connsiteY1" fmla="*/ 0 h 79533"/>
                <a:gd name="connsiteX2" fmla="*/ 18060 w 36051"/>
                <a:gd name="connsiteY2" fmla="*/ 79534 h 79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051" h="79533">
                  <a:moveTo>
                    <a:pt x="439" y="49530"/>
                  </a:moveTo>
                  <a:cubicBezTo>
                    <a:pt x="-1562" y="36100"/>
                    <a:pt x="3010" y="19717"/>
                    <a:pt x="19679" y="0"/>
                  </a:cubicBezTo>
                  <a:cubicBezTo>
                    <a:pt x="41396" y="20003"/>
                    <a:pt x="42158" y="51054"/>
                    <a:pt x="18060" y="79534"/>
                  </a:cubicBez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097192">
                <a:spcBef>
                  <a:spcPct val="0"/>
                </a:spcBef>
                <a:spcAft>
                  <a:spcPct val="0"/>
                </a:spcAft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lang="en-US" sz="2592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7" name="Freeform 156">
              <a:extLst>
                <a:ext uri="{FF2B5EF4-FFF2-40B4-BE49-F238E27FC236}">
                  <a16:creationId xmlns:a16="http://schemas.microsoft.com/office/drawing/2014/main" id="{A358DB1E-2A48-F64F-B410-C22ED50905AA}"/>
                </a:ext>
              </a:extLst>
            </p:cNvPr>
            <p:cNvSpPr/>
            <p:nvPr>
              <p:custDataLst>
                <p:tags r:id="rId101"/>
              </p:custDataLst>
            </p:nvPr>
          </p:nvSpPr>
          <p:spPr>
            <a:xfrm>
              <a:off x="7433293" y="3274339"/>
              <a:ext cx="81839" cy="47315"/>
            </a:xfrm>
            <a:custGeom>
              <a:avLst/>
              <a:gdLst>
                <a:gd name="connsiteX0" fmla="*/ 41624 w 68199"/>
                <a:gd name="connsiteY0" fmla="*/ 39429 h 39429"/>
                <a:gd name="connsiteX1" fmla="*/ 68199 w 68199"/>
                <a:gd name="connsiteY1" fmla="*/ 7235 h 39429"/>
                <a:gd name="connsiteX2" fmla="*/ 0 w 68199"/>
                <a:gd name="connsiteY2" fmla="*/ 33714 h 39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199" h="39429">
                  <a:moveTo>
                    <a:pt x="41624" y="39429"/>
                  </a:moveTo>
                  <a:cubicBezTo>
                    <a:pt x="51626" y="35048"/>
                    <a:pt x="59150" y="24761"/>
                    <a:pt x="68199" y="7235"/>
                  </a:cubicBezTo>
                  <a:cubicBezTo>
                    <a:pt x="43910" y="-8101"/>
                    <a:pt x="17240" y="1044"/>
                    <a:pt x="0" y="33714"/>
                  </a:cubicBez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097192">
                <a:spcBef>
                  <a:spcPct val="0"/>
                </a:spcBef>
                <a:spcAft>
                  <a:spcPct val="0"/>
                </a:spcAft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lang="en-US" sz="2592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8" name="Freeform 157">
              <a:extLst>
                <a:ext uri="{FF2B5EF4-FFF2-40B4-BE49-F238E27FC236}">
                  <a16:creationId xmlns:a16="http://schemas.microsoft.com/office/drawing/2014/main" id="{D3C6BA75-A30F-3745-860E-6EF690106FA5}"/>
                </a:ext>
              </a:extLst>
            </p:cNvPr>
            <p:cNvSpPr/>
            <p:nvPr>
              <p:custDataLst>
                <p:tags r:id="rId102"/>
              </p:custDataLst>
            </p:nvPr>
          </p:nvSpPr>
          <p:spPr>
            <a:xfrm>
              <a:off x="7391688" y="3346562"/>
              <a:ext cx="89611" cy="46358"/>
            </a:xfrm>
            <a:custGeom>
              <a:avLst/>
              <a:gdLst>
                <a:gd name="connsiteX0" fmla="*/ 0 w 74676"/>
                <a:gd name="connsiteY0" fmla="*/ 21724 h 38632"/>
                <a:gd name="connsiteX1" fmla="*/ 74676 w 74676"/>
                <a:gd name="connsiteY1" fmla="*/ 15152 h 38632"/>
                <a:gd name="connsiteX2" fmla="*/ 0 w 74676"/>
                <a:gd name="connsiteY2" fmla="*/ 21724 h 38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4676" h="38632">
                  <a:moveTo>
                    <a:pt x="0" y="21724"/>
                  </a:moveTo>
                  <a:cubicBezTo>
                    <a:pt x="17145" y="39346"/>
                    <a:pt x="42577" y="51252"/>
                    <a:pt x="74676" y="15152"/>
                  </a:cubicBezTo>
                  <a:cubicBezTo>
                    <a:pt x="53531" y="-6565"/>
                    <a:pt x="24194" y="-5422"/>
                    <a:pt x="0" y="21724"/>
                  </a:cubicBezTo>
                  <a:close/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097192">
                <a:spcBef>
                  <a:spcPct val="0"/>
                </a:spcBef>
                <a:spcAft>
                  <a:spcPct val="0"/>
                </a:spcAft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lang="en-US" sz="2592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9" name="Freeform 158">
              <a:extLst>
                <a:ext uri="{FF2B5EF4-FFF2-40B4-BE49-F238E27FC236}">
                  <a16:creationId xmlns:a16="http://schemas.microsoft.com/office/drawing/2014/main" id="{27CBEF73-E28C-E841-9E6C-746B53F2161D}"/>
                </a:ext>
              </a:extLst>
            </p:cNvPr>
            <p:cNvSpPr/>
            <p:nvPr>
              <p:custDataLst>
                <p:tags r:id="rId103"/>
              </p:custDataLst>
            </p:nvPr>
          </p:nvSpPr>
          <p:spPr>
            <a:xfrm>
              <a:off x="7455009" y="3177464"/>
              <a:ext cx="64008" cy="67951"/>
            </a:xfrm>
            <a:custGeom>
              <a:avLst/>
              <a:gdLst>
                <a:gd name="connsiteX0" fmla="*/ 33147 w 53340"/>
                <a:gd name="connsiteY0" fmla="*/ 48625 h 56626"/>
                <a:gd name="connsiteX1" fmla="*/ 53340 w 53340"/>
                <a:gd name="connsiteY1" fmla="*/ 143 h 56626"/>
                <a:gd name="connsiteX2" fmla="*/ 0 w 53340"/>
                <a:gd name="connsiteY2" fmla="*/ 56626 h 56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3340" h="56626">
                  <a:moveTo>
                    <a:pt x="33147" y="48625"/>
                  </a:moveTo>
                  <a:cubicBezTo>
                    <a:pt x="43720" y="40720"/>
                    <a:pt x="51721" y="26051"/>
                    <a:pt x="53340" y="143"/>
                  </a:cubicBezTo>
                  <a:cubicBezTo>
                    <a:pt x="24098" y="-1953"/>
                    <a:pt x="2286" y="19098"/>
                    <a:pt x="0" y="56626"/>
                  </a:cubicBez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097192">
                <a:spcBef>
                  <a:spcPct val="0"/>
                </a:spcBef>
                <a:spcAft>
                  <a:spcPct val="0"/>
                </a:spcAft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lang="en-US" sz="2592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60" name="Freeform 159">
              <a:extLst>
                <a:ext uri="{FF2B5EF4-FFF2-40B4-BE49-F238E27FC236}">
                  <a16:creationId xmlns:a16="http://schemas.microsoft.com/office/drawing/2014/main" id="{92294BCA-CE0E-6447-A285-70ADA7A19F4E}"/>
                </a:ext>
              </a:extLst>
            </p:cNvPr>
            <p:cNvSpPr/>
            <p:nvPr>
              <p:custDataLst>
                <p:tags r:id="rId104"/>
              </p:custDataLst>
            </p:nvPr>
          </p:nvSpPr>
          <p:spPr>
            <a:xfrm>
              <a:off x="7448441" y="3083682"/>
              <a:ext cx="46196" cy="88354"/>
            </a:xfrm>
            <a:custGeom>
              <a:avLst/>
              <a:gdLst>
                <a:gd name="connsiteX0" fmla="*/ 31858 w 38497"/>
                <a:gd name="connsiteY0" fmla="*/ 53054 h 73628"/>
                <a:gd name="connsiteX1" fmla="*/ 33954 w 38497"/>
                <a:gd name="connsiteY1" fmla="*/ 0 h 73628"/>
                <a:gd name="connsiteX2" fmla="*/ 3759 w 38497"/>
                <a:gd name="connsiteY2" fmla="*/ 73628 h 73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497" h="73628">
                  <a:moveTo>
                    <a:pt x="31858" y="53054"/>
                  </a:moveTo>
                  <a:cubicBezTo>
                    <a:pt x="39002" y="41529"/>
                    <a:pt x="41383" y="24670"/>
                    <a:pt x="33954" y="0"/>
                  </a:cubicBezTo>
                  <a:cubicBezTo>
                    <a:pt x="6045" y="9715"/>
                    <a:pt x="-7004" y="37910"/>
                    <a:pt x="3759" y="73628"/>
                  </a:cubicBez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097192">
                <a:spcBef>
                  <a:spcPct val="0"/>
                </a:spcBef>
                <a:spcAft>
                  <a:spcPct val="0"/>
                </a:spcAft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lang="en-US" sz="2592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61" name="Freeform 160">
              <a:extLst>
                <a:ext uri="{FF2B5EF4-FFF2-40B4-BE49-F238E27FC236}">
                  <a16:creationId xmlns:a16="http://schemas.microsoft.com/office/drawing/2014/main" id="{E24CE63E-AE46-4949-8FF5-40FBC9FDF5D3}"/>
                </a:ext>
              </a:extLst>
            </p:cNvPr>
            <p:cNvSpPr/>
            <p:nvPr>
              <p:custDataLst>
                <p:tags r:id="rId105"/>
              </p:custDataLst>
            </p:nvPr>
          </p:nvSpPr>
          <p:spPr>
            <a:xfrm>
              <a:off x="7404730" y="3003672"/>
              <a:ext cx="43261" cy="95440"/>
            </a:xfrm>
            <a:custGeom>
              <a:avLst/>
              <a:gdLst>
                <a:gd name="connsiteX0" fmla="*/ 35613 w 36051"/>
                <a:gd name="connsiteY0" fmla="*/ 49530 h 79533"/>
                <a:gd name="connsiteX1" fmla="*/ 16373 w 36051"/>
                <a:gd name="connsiteY1" fmla="*/ 0 h 79533"/>
                <a:gd name="connsiteX2" fmla="*/ 17992 w 36051"/>
                <a:gd name="connsiteY2" fmla="*/ 79534 h 79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051" h="79533">
                  <a:moveTo>
                    <a:pt x="35613" y="49530"/>
                  </a:moveTo>
                  <a:cubicBezTo>
                    <a:pt x="37613" y="36100"/>
                    <a:pt x="33041" y="19717"/>
                    <a:pt x="16373" y="0"/>
                  </a:cubicBezTo>
                  <a:cubicBezTo>
                    <a:pt x="-5344" y="20003"/>
                    <a:pt x="-6107" y="51054"/>
                    <a:pt x="17992" y="79534"/>
                  </a:cubicBez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097192">
                <a:spcBef>
                  <a:spcPct val="0"/>
                </a:spcBef>
                <a:spcAft>
                  <a:spcPct val="0"/>
                </a:spcAft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lang="en-US" sz="2592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7" name="Группа 6"/>
          <p:cNvGrpSpPr/>
          <p:nvPr>
            <p:custDataLst>
              <p:tags r:id="rId14"/>
            </p:custDataLst>
          </p:nvPr>
        </p:nvGrpSpPr>
        <p:grpSpPr>
          <a:xfrm>
            <a:off x="4602979" y="2613066"/>
            <a:ext cx="1046024" cy="1045536"/>
            <a:chOff x="5373662" y="4133577"/>
            <a:chExt cx="1046024" cy="1045536"/>
          </a:xfrm>
        </p:grpSpPr>
        <p:pic>
          <p:nvPicPr>
            <p:cNvPr id="125" name="Picture 2">
              <a:extLst>
                <a:ext uri="{FF2B5EF4-FFF2-40B4-BE49-F238E27FC236}">
                  <a16:creationId xmlns:a16="http://schemas.microsoft.com/office/drawing/2014/main" id="{071E8D0B-4738-8C4C-9F96-6108621574AC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88"/>
              </p:custDataLst>
            </p:nvPr>
          </p:nvPicPr>
          <p:blipFill>
            <a:blip r:embed="rId12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5373662" y="4133577"/>
              <a:ext cx="1046024" cy="1045536"/>
            </a:xfrm>
            <a:prstGeom prst="rect">
              <a:avLst/>
            </a:prstGeom>
            <a:noFill/>
            <a:ln w="12700" cap="rnd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sp>
          <p:nvSpPr>
            <p:cNvPr id="142" name="Oval 572">
              <a:extLst>
                <a:ext uri="{FF2B5EF4-FFF2-40B4-BE49-F238E27FC236}">
                  <a16:creationId xmlns:a16="http://schemas.microsoft.com/office/drawing/2014/main" id="{3EEA81AB-BA23-C141-8B8B-C1AFA9713408}"/>
                </a:ext>
              </a:extLst>
            </p:cNvPr>
            <p:cNvSpPr/>
            <p:nvPr>
              <p:custDataLst>
                <p:tags r:id="rId89"/>
              </p:custDataLst>
            </p:nvPr>
          </p:nvSpPr>
          <p:spPr>
            <a:xfrm>
              <a:off x="5476637" y="4968492"/>
              <a:ext cx="185760" cy="185760"/>
            </a:xfrm>
            <a:prstGeom prst="ellipse">
              <a:avLst/>
            </a:prstGeom>
            <a:solidFill>
              <a:schemeClr val="bg1"/>
            </a:solidFill>
            <a:ln w="6350">
              <a:noFill/>
            </a:ln>
            <a:effectLst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5486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10972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6459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219456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274320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32918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38404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43891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algn="ctr" defTabSz="1097192">
                <a:defRPr kumimoji="0" sz="2160" b="0" i="0" u="none" strike="noStrike" cap="none" spc="0" normalizeH="0" baseline="0" noProof="0">
                  <a:solidFill>
                    <a:srgbClr val="FFFFFF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pPr>
              <a:r>
                <a:rPr lang="en-US" sz="960" b="1">
                  <a:solidFill>
                    <a:srgbClr val="6F2C91">
                      <a:lumMod val="75000"/>
                    </a:srgbClr>
                  </a:solidFill>
                  <a:cs typeface="Calibri" panose="020F0502020204030204" pitchFamily="34" charset="0"/>
                </a:rPr>
                <a:t>1</a:t>
              </a:r>
            </a:p>
          </p:txBody>
        </p:sp>
      </p:grpSp>
      <p:grpSp>
        <p:nvGrpSpPr>
          <p:cNvPr id="9" name="Группа 8"/>
          <p:cNvGrpSpPr/>
          <p:nvPr>
            <p:custDataLst>
              <p:tags r:id="rId15"/>
            </p:custDataLst>
          </p:nvPr>
        </p:nvGrpSpPr>
        <p:grpSpPr>
          <a:xfrm>
            <a:off x="5649003" y="2614245"/>
            <a:ext cx="1081744" cy="1044358"/>
            <a:chOff x="1092380" y="3664491"/>
            <a:chExt cx="1081744" cy="1044357"/>
          </a:xfrm>
        </p:grpSpPr>
        <p:pic>
          <p:nvPicPr>
            <p:cNvPr id="126" name="Рисунок 89">
              <a:extLst>
                <a:ext uri="{FF2B5EF4-FFF2-40B4-BE49-F238E27FC236}">
                  <a16:creationId xmlns:a16="http://schemas.microsoft.com/office/drawing/2014/main" id="{5C928270-2784-AF47-A77B-E786FF7A354D}"/>
                </a:ext>
              </a:extLst>
            </p:cNvPr>
            <p:cNvPicPr>
              <a:picLocks noChangeAspect="1"/>
            </p:cNvPicPr>
            <p:nvPr>
              <p:custDataLst>
                <p:tags r:id="rId86"/>
              </p:custDataLst>
            </p:nvPr>
          </p:nvPicPr>
          <p:blipFill>
            <a:blip r:embed="rId12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92380" y="3664491"/>
              <a:ext cx="1081744" cy="1044357"/>
            </a:xfrm>
            <a:prstGeom prst="rect">
              <a:avLst/>
            </a:prstGeom>
            <a:noFill/>
            <a:ln w="12700" cap="rnd">
              <a:noFill/>
              <a:miter lim="800000"/>
            </a:ln>
            <a:effectLst/>
          </p:spPr>
        </p:pic>
        <p:sp>
          <p:nvSpPr>
            <p:cNvPr id="162" name="Oval 572">
              <a:extLst>
                <a:ext uri="{FF2B5EF4-FFF2-40B4-BE49-F238E27FC236}">
                  <a16:creationId xmlns:a16="http://schemas.microsoft.com/office/drawing/2014/main" id="{3EEA81AB-BA23-C141-8B8B-C1AFA9713408}"/>
                </a:ext>
              </a:extLst>
            </p:cNvPr>
            <p:cNvSpPr/>
            <p:nvPr>
              <p:custDataLst>
                <p:tags r:id="rId87"/>
              </p:custDataLst>
            </p:nvPr>
          </p:nvSpPr>
          <p:spPr>
            <a:xfrm>
              <a:off x="1198464" y="4452267"/>
              <a:ext cx="185760" cy="185760"/>
            </a:xfrm>
            <a:prstGeom prst="ellipse">
              <a:avLst/>
            </a:prstGeom>
            <a:solidFill>
              <a:schemeClr val="bg1"/>
            </a:solidFill>
            <a:ln w="6350">
              <a:noFill/>
            </a:ln>
            <a:effectLst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5486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10972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6459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219456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274320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32918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38404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43891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algn="ctr" defTabSz="1097192">
                <a:defRPr kumimoji="0" sz="2160" b="0" i="0" u="none" strike="noStrike" cap="none" spc="0" normalizeH="0" baseline="0" noProof="0">
                  <a:solidFill>
                    <a:srgbClr val="FFFFFF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pPr>
              <a:r>
                <a:rPr lang="en-US" sz="960" b="1">
                  <a:solidFill>
                    <a:srgbClr val="6F2C91">
                      <a:lumMod val="75000"/>
                    </a:srgbClr>
                  </a:solidFill>
                  <a:cs typeface="Calibri" panose="020F0502020204030204" pitchFamily="34" charset="0"/>
                </a:rPr>
                <a:t>2</a:t>
              </a:r>
            </a:p>
          </p:txBody>
        </p:sp>
      </p:grpSp>
      <p:grpSp>
        <p:nvGrpSpPr>
          <p:cNvPr id="8" name="Группа 7"/>
          <p:cNvGrpSpPr/>
          <p:nvPr>
            <p:custDataLst>
              <p:tags r:id="rId16"/>
            </p:custDataLst>
          </p:nvPr>
        </p:nvGrpSpPr>
        <p:grpSpPr>
          <a:xfrm>
            <a:off x="4602979" y="3658603"/>
            <a:ext cx="1042801" cy="995198"/>
            <a:chOff x="5596839" y="2428072"/>
            <a:chExt cx="1075172" cy="995198"/>
          </a:xfrm>
        </p:grpSpPr>
        <p:pic>
          <p:nvPicPr>
            <p:cNvPr id="23" name="Рисунок 22"/>
            <p:cNvPicPr>
              <a:picLocks noChangeAspect="1"/>
            </p:cNvPicPr>
            <p:nvPr>
              <p:custDataLst>
                <p:tags r:id="rId84"/>
              </p:custDataLst>
            </p:nvPr>
          </p:nvPicPr>
          <p:blipFill>
            <a:blip r:embed="rId12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596839" y="2428072"/>
              <a:ext cx="1075172" cy="995198"/>
            </a:xfrm>
            <a:prstGeom prst="rect">
              <a:avLst/>
            </a:prstGeom>
            <a:noFill/>
            <a:ln w="12700" cap="rnd">
              <a:noFill/>
              <a:miter lim="800000"/>
            </a:ln>
            <a:effectLst/>
          </p:spPr>
        </p:pic>
        <p:sp>
          <p:nvSpPr>
            <p:cNvPr id="184" name="Oval 572">
              <a:extLst>
                <a:ext uri="{FF2B5EF4-FFF2-40B4-BE49-F238E27FC236}">
                  <a16:creationId xmlns:a16="http://schemas.microsoft.com/office/drawing/2014/main" id="{3EEA81AB-BA23-C141-8B8B-C1AFA9713408}"/>
                </a:ext>
              </a:extLst>
            </p:cNvPr>
            <p:cNvSpPr/>
            <p:nvPr>
              <p:custDataLst>
                <p:tags r:id="rId85"/>
              </p:custDataLst>
            </p:nvPr>
          </p:nvSpPr>
          <p:spPr>
            <a:xfrm>
              <a:off x="5688986" y="3201716"/>
              <a:ext cx="185760" cy="185760"/>
            </a:xfrm>
            <a:prstGeom prst="ellipse">
              <a:avLst/>
            </a:prstGeom>
            <a:solidFill>
              <a:schemeClr val="bg1"/>
            </a:solidFill>
            <a:ln w="6350">
              <a:noFill/>
            </a:ln>
            <a:effectLst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5486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10972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6459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219456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274320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329184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384048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4389120" marR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algn="ctr" defTabSz="1097192">
                <a:defRPr kumimoji="0" sz="2160" b="0" i="0" u="none" strike="noStrike" cap="none" spc="0" normalizeH="0" baseline="0" noProof="0">
                  <a:solidFill>
                    <a:srgbClr val="FFFFFF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pPr>
              <a:r>
                <a:rPr lang="en-US" sz="960" b="1">
                  <a:solidFill>
                    <a:srgbClr val="6F2C91">
                      <a:lumMod val="75000"/>
                    </a:srgbClr>
                  </a:solidFill>
                  <a:cs typeface="Calibri" panose="020F0502020204030204" pitchFamily="34" charset="0"/>
                </a:rPr>
                <a:t>3</a:t>
              </a:r>
            </a:p>
          </p:txBody>
        </p:sp>
      </p:grpSp>
      <p:sp>
        <p:nvSpPr>
          <p:cNvPr id="188" name="Oval 572">
            <a:extLst>
              <a:ext uri="{FF2B5EF4-FFF2-40B4-BE49-F238E27FC236}">
                <a16:creationId xmlns:a16="http://schemas.microsoft.com/office/drawing/2014/main" id="{3EEA81AB-BA23-C141-8B8B-C1AFA9713408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5742350" y="4432247"/>
            <a:ext cx="185760" cy="185760"/>
          </a:xfrm>
          <a:prstGeom prst="ellipse">
            <a:avLst/>
          </a:prstGeom>
          <a:solidFill>
            <a:schemeClr val="bg1"/>
          </a:solidFill>
          <a:ln w="6350">
            <a:noFill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1pPr>
            <a:lvl2pPr marL="54864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2pPr>
            <a:lvl3pPr marL="109728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3pPr>
            <a:lvl4pPr marL="164592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4pPr>
            <a:lvl5pPr marL="219456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5pPr>
            <a:lvl6pPr marL="274320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6pPr>
            <a:lvl7pPr marL="329184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7pPr>
            <a:lvl8pPr marL="384048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8pPr>
            <a:lvl9pPr marL="438912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9pPr>
          </a:lstStyle>
          <a:p>
            <a:pPr algn="ctr" defTabSz="1097192">
              <a:defRPr kumimoji="0" sz="2160" b="0" i="0" u="none" strike="noStrike" cap="none" spc="0" normalizeH="0" baseline="0" noProof="0">
                <a:solidFill>
                  <a:srgbClr val="FFFFFF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pPr>
            <a:r>
              <a:rPr lang="en-US" sz="960" b="1">
                <a:solidFill>
                  <a:srgbClr val="6F2C91">
                    <a:lumMod val="75000"/>
                  </a:srgbClr>
                </a:solidFill>
                <a:cs typeface="Calibri" panose="020F0502020204030204" pitchFamily="34" charset="0"/>
              </a:rPr>
              <a:t>4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61C9CC6-E392-1FFA-83A5-824C66CF1E00}"/>
              </a:ext>
            </a:extLst>
          </p:cNvPr>
          <p:cNvGrpSpPr/>
          <p:nvPr>
            <p:custDataLst>
              <p:tags r:id="rId18"/>
            </p:custDataLst>
          </p:nvPr>
        </p:nvGrpSpPr>
        <p:grpSpPr>
          <a:xfrm>
            <a:off x="5357323" y="1470783"/>
            <a:ext cx="1632161" cy="1038812"/>
            <a:chOff x="5252866" y="1487245"/>
            <a:chExt cx="1632161" cy="1038812"/>
          </a:xfrm>
        </p:grpSpPr>
        <p:pic>
          <p:nvPicPr>
            <p:cNvPr id="14" name="Graphic 1">
              <a:extLst>
                <a:ext uri="{FF2B5EF4-FFF2-40B4-BE49-F238E27FC236}">
                  <a16:creationId xmlns:a16="http://schemas.microsoft.com/office/drawing/2014/main" id="{5C49E6EE-BE83-9D71-DAA8-68871F79A065}"/>
                </a:ext>
              </a:extLst>
            </p:cNvPr>
            <p:cNvPicPr>
              <a:picLocks noChangeAspect="1"/>
            </p:cNvPicPr>
            <p:nvPr>
              <p:custDataLst>
                <p:tags r:id="rId82"/>
              </p:custDataLst>
            </p:nvPr>
          </p:nvPicPr>
          <p:blipFill>
            <a:blip r:embed="rId130">
              <a:extLst>
                <a:ext uri="{96DAC541-7B7A-43D3-8B79-37D633B846F1}">
                  <asvg:svgBlip xmlns:asvg="http://schemas.microsoft.com/office/drawing/2016/SVG/main" r:embed="rId131"/>
                </a:ext>
              </a:extLst>
            </a:blip>
            <a:stretch>
              <a:fillRect/>
            </a:stretch>
          </p:blipFill>
          <p:spPr>
            <a:xfrm>
              <a:off x="5252866" y="1600272"/>
              <a:ext cx="444500" cy="444500"/>
            </a:xfrm>
            <a:prstGeom prst="rect">
              <a:avLst/>
            </a:prstGeom>
          </p:spPr>
        </p:pic>
        <p:sp>
          <p:nvSpPr>
            <p:cNvPr id="15" name="Rectangle 36">
              <a:extLst>
                <a:ext uri="{FF2B5EF4-FFF2-40B4-BE49-F238E27FC236}">
                  <a16:creationId xmlns:a16="http://schemas.microsoft.com/office/drawing/2014/main" id="{61BF1EDB-E818-8504-6DA7-4F2A728C49D7}"/>
                </a:ext>
              </a:extLst>
            </p:cNvPr>
            <p:cNvSpPr/>
            <p:nvPr>
              <p:custDataLst>
                <p:tags r:id="rId83"/>
              </p:custDataLst>
            </p:nvPr>
          </p:nvSpPr>
          <p:spPr>
            <a:xfrm>
              <a:off x="5781970" y="1487245"/>
              <a:ext cx="1103057" cy="1038812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en-US" sz="2400" b="1">
                  <a:solidFill>
                    <a:srgbClr val="5F249F"/>
                  </a:solidFill>
                  <a:latin typeface="Arial"/>
                  <a:cs typeface="Arial"/>
                </a:rPr>
                <a:t>160+</a:t>
              </a:r>
              <a:endParaRPr lang="en-US" sz="2400" b="1" i="0" u="none" strike="noStrike" kern="1200" cap="none" spc="0" normalizeH="0" baseline="0" noProof="0">
                <a:ln>
                  <a:noFill/>
                </a:ln>
                <a:solidFill>
                  <a:srgbClr val="5F249F"/>
                </a:solidFill>
                <a:effectLst/>
                <a:uLnTx/>
                <a:uFillTx/>
                <a:latin typeface="Arial"/>
                <a:cs typeface="Arial"/>
              </a:endParaRPr>
            </a:p>
            <a:p>
              <a:pPr>
                <a:defRPr/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Hiring Capacity (Monthly)</a:t>
              </a:r>
              <a:endParaRPr lang="en-US"/>
            </a:p>
          </p:txBody>
        </p:sp>
      </p:grpSp>
      <p:grpSp>
        <p:nvGrpSpPr>
          <p:cNvPr id="120" name="Group 4">
            <a:extLst>
              <a:ext uri="{FF2B5EF4-FFF2-40B4-BE49-F238E27FC236}">
                <a16:creationId xmlns:a16="http://schemas.microsoft.com/office/drawing/2014/main" id="{456E45DD-C4D6-3245-A208-69F1DDC14BAB}"/>
              </a:ext>
            </a:extLst>
          </p:cNvPr>
          <p:cNvGrpSpPr>
            <a:grpSpLocks noChangeAspect="1"/>
          </p:cNvGrpSpPr>
          <p:nvPr>
            <p:custDataLst>
              <p:tags r:id="rId19"/>
            </p:custDataLst>
          </p:nvPr>
        </p:nvGrpSpPr>
        <p:grpSpPr>
          <a:xfrm>
            <a:off x="3813006" y="1568307"/>
            <a:ext cx="494106" cy="483839"/>
            <a:chOff x="-738" y="1203"/>
            <a:chExt cx="385" cy="377"/>
          </a:xfrm>
        </p:grpSpPr>
        <p:sp>
          <p:nvSpPr>
            <p:cNvPr id="127" name="Line 5">
              <a:extLst>
                <a:ext uri="{FF2B5EF4-FFF2-40B4-BE49-F238E27FC236}">
                  <a16:creationId xmlns:a16="http://schemas.microsoft.com/office/drawing/2014/main" id="{41816994-A0C2-AE41-8119-625A88A5EB29}"/>
                </a:ext>
              </a:extLst>
            </p:cNvPr>
            <p:cNvSpPr>
              <a:spLocks noChangeShapeType="1"/>
            </p:cNvSpPr>
            <p:nvPr>
              <p:custDataLst>
                <p:tags r:id="rId68"/>
              </p:custDataLst>
            </p:nvPr>
          </p:nvSpPr>
          <p:spPr bwMode="auto">
            <a:xfrm flipH="1">
              <a:off x="-738" y="1319"/>
              <a:ext cx="385" cy="0"/>
            </a:xfrm>
            <a:prstGeom prst="line">
              <a:avLst/>
            </a:prstGeom>
            <a:noFill/>
            <a:ln w="15875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16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8" name="Freeform 6">
              <a:extLst>
                <a:ext uri="{FF2B5EF4-FFF2-40B4-BE49-F238E27FC236}">
                  <a16:creationId xmlns:a16="http://schemas.microsoft.com/office/drawing/2014/main" id="{B46C4809-2C88-0149-BE42-5BCD224394D6}"/>
                </a:ext>
              </a:extLst>
            </p:cNvPr>
            <p:cNvSpPr/>
            <p:nvPr>
              <p:custDataLst>
                <p:tags r:id="rId69"/>
              </p:custDataLst>
            </p:nvPr>
          </p:nvSpPr>
          <p:spPr bwMode="auto">
            <a:xfrm>
              <a:off x="-680" y="1261"/>
              <a:ext cx="48" cy="20"/>
            </a:xfrm>
            <a:custGeom>
              <a:avLst/>
              <a:gdLst>
                <a:gd name="T0" fmla="*/ 0 w 48"/>
                <a:gd name="T1" fmla="*/ 0 h 20"/>
                <a:gd name="T2" fmla="*/ 0 w 48"/>
                <a:gd name="T3" fmla="*/ 20 h 20"/>
                <a:gd name="T4" fmla="*/ 48 w 48"/>
                <a:gd name="T5" fmla="*/ 20 h 20"/>
                <a:gd name="T6" fmla="*/ 48 w 48"/>
                <a:gd name="T7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" h="20">
                  <a:moveTo>
                    <a:pt x="0" y="0"/>
                  </a:moveTo>
                  <a:lnTo>
                    <a:pt x="0" y="20"/>
                  </a:lnTo>
                  <a:lnTo>
                    <a:pt x="48" y="20"/>
                  </a:lnTo>
                  <a:lnTo>
                    <a:pt x="48" y="0"/>
                  </a:lnTo>
                </a:path>
              </a:pathLst>
            </a:custGeom>
            <a:noFill/>
            <a:ln w="15875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16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1" name="Freeform 7">
              <a:extLst>
                <a:ext uri="{FF2B5EF4-FFF2-40B4-BE49-F238E27FC236}">
                  <a16:creationId xmlns:a16="http://schemas.microsoft.com/office/drawing/2014/main" id="{F2A86CC4-6D32-3841-9A20-17F036289BE4}"/>
                </a:ext>
              </a:extLst>
            </p:cNvPr>
            <p:cNvSpPr/>
            <p:nvPr>
              <p:custDataLst>
                <p:tags r:id="rId70"/>
              </p:custDataLst>
            </p:nvPr>
          </p:nvSpPr>
          <p:spPr bwMode="auto">
            <a:xfrm>
              <a:off x="-459" y="1261"/>
              <a:ext cx="49" cy="20"/>
            </a:xfrm>
            <a:custGeom>
              <a:avLst/>
              <a:gdLst>
                <a:gd name="T0" fmla="*/ 0 w 49"/>
                <a:gd name="T1" fmla="*/ 0 h 20"/>
                <a:gd name="T2" fmla="*/ 0 w 49"/>
                <a:gd name="T3" fmla="*/ 20 h 20"/>
                <a:gd name="T4" fmla="*/ 49 w 49"/>
                <a:gd name="T5" fmla="*/ 20 h 20"/>
                <a:gd name="T6" fmla="*/ 49 w 49"/>
                <a:gd name="T7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9" h="20">
                  <a:moveTo>
                    <a:pt x="0" y="0"/>
                  </a:moveTo>
                  <a:lnTo>
                    <a:pt x="0" y="20"/>
                  </a:lnTo>
                  <a:lnTo>
                    <a:pt x="49" y="20"/>
                  </a:lnTo>
                  <a:lnTo>
                    <a:pt x="49" y="0"/>
                  </a:lnTo>
                </a:path>
              </a:pathLst>
            </a:custGeom>
            <a:noFill/>
            <a:ln w="15875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16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2" name="Freeform 8">
              <a:extLst>
                <a:ext uri="{FF2B5EF4-FFF2-40B4-BE49-F238E27FC236}">
                  <a16:creationId xmlns:a16="http://schemas.microsoft.com/office/drawing/2014/main" id="{70C43560-F030-9749-8736-EE17E31B4B48}"/>
                </a:ext>
              </a:extLst>
            </p:cNvPr>
            <p:cNvSpPr/>
            <p:nvPr>
              <p:custDataLst>
                <p:tags r:id="rId71"/>
              </p:custDataLst>
            </p:nvPr>
          </p:nvSpPr>
          <p:spPr bwMode="auto">
            <a:xfrm>
              <a:off x="-738" y="1203"/>
              <a:ext cx="385" cy="377"/>
            </a:xfrm>
            <a:custGeom>
              <a:avLst/>
              <a:gdLst>
                <a:gd name="T0" fmla="*/ 24 w 160"/>
                <a:gd name="T1" fmla="*/ 16 h 156"/>
                <a:gd name="T2" fmla="*/ 8 w 160"/>
                <a:gd name="T3" fmla="*/ 16 h 156"/>
                <a:gd name="T4" fmla="*/ 0 w 160"/>
                <a:gd name="T5" fmla="*/ 24 h 156"/>
                <a:gd name="T6" fmla="*/ 0 w 160"/>
                <a:gd name="T7" fmla="*/ 148 h 156"/>
                <a:gd name="T8" fmla="*/ 8 w 160"/>
                <a:gd name="T9" fmla="*/ 156 h 156"/>
                <a:gd name="T10" fmla="*/ 152 w 160"/>
                <a:gd name="T11" fmla="*/ 156 h 156"/>
                <a:gd name="T12" fmla="*/ 160 w 160"/>
                <a:gd name="T13" fmla="*/ 148 h 156"/>
                <a:gd name="T14" fmla="*/ 160 w 160"/>
                <a:gd name="T15" fmla="*/ 24 h 156"/>
                <a:gd name="T16" fmla="*/ 152 w 160"/>
                <a:gd name="T17" fmla="*/ 16 h 156"/>
                <a:gd name="T18" fmla="*/ 136 w 160"/>
                <a:gd name="T19" fmla="*/ 16 h 156"/>
                <a:gd name="T20" fmla="*/ 136 w 160"/>
                <a:gd name="T21" fmla="*/ 4 h 156"/>
                <a:gd name="T22" fmla="*/ 132 w 160"/>
                <a:gd name="T23" fmla="*/ 0 h 156"/>
                <a:gd name="T24" fmla="*/ 120 w 160"/>
                <a:gd name="T25" fmla="*/ 0 h 156"/>
                <a:gd name="T26" fmla="*/ 116 w 160"/>
                <a:gd name="T27" fmla="*/ 4 h 156"/>
                <a:gd name="T28" fmla="*/ 116 w 160"/>
                <a:gd name="T29" fmla="*/ 16 h 156"/>
                <a:gd name="T30" fmla="*/ 44 w 160"/>
                <a:gd name="T31" fmla="*/ 16 h 156"/>
                <a:gd name="T32" fmla="*/ 44 w 160"/>
                <a:gd name="T33" fmla="*/ 4 h 156"/>
                <a:gd name="T34" fmla="*/ 40 w 160"/>
                <a:gd name="T35" fmla="*/ 0 h 156"/>
                <a:gd name="T36" fmla="*/ 28 w 160"/>
                <a:gd name="T37" fmla="*/ 0 h 156"/>
                <a:gd name="T38" fmla="*/ 24 w 160"/>
                <a:gd name="T39" fmla="*/ 4 h 156"/>
                <a:gd name="T40" fmla="*/ 24 w 160"/>
                <a:gd name="T41" fmla="*/ 1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0" h="156">
                  <a:moveTo>
                    <a:pt x="24" y="16"/>
                  </a:moveTo>
                  <a:cubicBezTo>
                    <a:pt x="8" y="16"/>
                    <a:pt x="8" y="16"/>
                    <a:pt x="8" y="16"/>
                  </a:cubicBezTo>
                  <a:cubicBezTo>
                    <a:pt x="4" y="16"/>
                    <a:pt x="0" y="20"/>
                    <a:pt x="0" y="24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152"/>
                    <a:pt x="4" y="156"/>
                    <a:pt x="8" y="156"/>
                  </a:cubicBezTo>
                  <a:cubicBezTo>
                    <a:pt x="152" y="156"/>
                    <a:pt x="152" y="156"/>
                    <a:pt x="152" y="156"/>
                  </a:cubicBezTo>
                  <a:cubicBezTo>
                    <a:pt x="156" y="156"/>
                    <a:pt x="160" y="152"/>
                    <a:pt x="160" y="148"/>
                  </a:cubicBezTo>
                  <a:cubicBezTo>
                    <a:pt x="160" y="24"/>
                    <a:pt x="160" y="24"/>
                    <a:pt x="160" y="24"/>
                  </a:cubicBezTo>
                  <a:cubicBezTo>
                    <a:pt x="160" y="20"/>
                    <a:pt x="156" y="16"/>
                    <a:pt x="152" y="16"/>
                  </a:cubicBezTo>
                  <a:cubicBezTo>
                    <a:pt x="136" y="16"/>
                    <a:pt x="136" y="16"/>
                    <a:pt x="136" y="16"/>
                  </a:cubicBezTo>
                  <a:cubicBezTo>
                    <a:pt x="136" y="4"/>
                    <a:pt x="136" y="4"/>
                    <a:pt x="136" y="4"/>
                  </a:cubicBezTo>
                  <a:cubicBezTo>
                    <a:pt x="136" y="2"/>
                    <a:pt x="134" y="0"/>
                    <a:pt x="132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18" y="0"/>
                    <a:pt x="116" y="2"/>
                    <a:pt x="116" y="4"/>
                  </a:cubicBezTo>
                  <a:cubicBezTo>
                    <a:pt x="116" y="16"/>
                    <a:pt x="116" y="16"/>
                    <a:pt x="116" y="16"/>
                  </a:cubicBezTo>
                  <a:cubicBezTo>
                    <a:pt x="44" y="16"/>
                    <a:pt x="44" y="16"/>
                    <a:pt x="44" y="16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2"/>
                    <a:pt x="42" y="0"/>
                    <a:pt x="40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6" y="0"/>
                    <a:pt x="24" y="2"/>
                    <a:pt x="24" y="4"/>
                  </a:cubicBezTo>
                  <a:lnTo>
                    <a:pt x="24" y="16"/>
                  </a:lnTo>
                  <a:close/>
                </a:path>
              </a:pathLst>
            </a:custGeom>
            <a:noFill/>
            <a:ln w="15875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16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5" name="Line 9">
              <a:extLst>
                <a:ext uri="{FF2B5EF4-FFF2-40B4-BE49-F238E27FC236}">
                  <a16:creationId xmlns:a16="http://schemas.microsoft.com/office/drawing/2014/main" id="{86D32FAB-B58C-CC48-AF8B-499B0610D078}"/>
                </a:ext>
              </a:extLst>
            </p:cNvPr>
            <p:cNvSpPr>
              <a:spLocks noChangeShapeType="1"/>
            </p:cNvSpPr>
            <p:nvPr>
              <p:custDataLst>
                <p:tags r:id="rId72"/>
              </p:custDataLst>
            </p:nvPr>
          </p:nvSpPr>
          <p:spPr bwMode="auto">
            <a:xfrm>
              <a:off x="-603" y="1397"/>
              <a:ext cx="38" cy="0"/>
            </a:xfrm>
            <a:prstGeom prst="line">
              <a:avLst/>
            </a:prstGeom>
            <a:noFill/>
            <a:ln w="15875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16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6" name="Line 10">
              <a:extLst>
                <a:ext uri="{FF2B5EF4-FFF2-40B4-BE49-F238E27FC236}">
                  <a16:creationId xmlns:a16="http://schemas.microsoft.com/office/drawing/2014/main" id="{11879B0D-C3EA-B24F-BA79-D8304B93A694}"/>
                </a:ext>
              </a:extLst>
            </p:cNvPr>
            <p:cNvSpPr>
              <a:spLocks noChangeShapeType="1"/>
            </p:cNvSpPr>
            <p:nvPr>
              <p:custDataLst>
                <p:tags r:id="rId73"/>
              </p:custDataLst>
            </p:nvPr>
          </p:nvSpPr>
          <p:spPr bwMode="auto">
            <a:xfrm>
              <a:off x="-526" y="1397"/>
              <a:ext cx="38" cy="0"/>
            </a:xfrm>
            <a:prstGeom prst="line">
              <a:avLst/>
            </a:prstGeom>
            <a:noFill/>
            <a:ln w="15875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16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8" name="Line 11">
              <a:extLst>
                <a:ext uri="{FF2B5EF4-FFF2-40B4-BE49-F238E27FC236}">
                  <a16:creationId xmlns:a16="http://schemas.microsoft.com/office/drawing/2014/main" id="{C2FA3E5E-F823-CA44-856C-CFBE40CC5124}"/>
                </a:ext>
              </a:extLst>
            </p:cNvPr>
            <p:cNvSpPr>
              <a:spLocks noChangeShapeType="1"/>
            </p:cNvSpPr>
            <p:nvPr>
              <p:custDataLst>
                <p:tags r:id="rId74"/>
              </p:custDataLst>
            </p:nvPr>
          </p:nvSpPr>
          <p:spPr bwMode="auto">
            <a:xfrm>
              <a:off x="-449" y="1397"/>
              <a:ext cx="39" cy="0"/>
            </a:xfrm>
            <a:prstGeom prst="line">
              <a:avLst/>
            </a:prstGeom>
            <a:noFill/>
            <a:ln w="15875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16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9" name="Line 12">
              <a:extLst>
                <a:ext uri="{FF2B5EF4-FFF2-40B4-BE49-F238E27FC236}">
                  <a16:creationId xmlns:a16="http://schemas.microsoft.com/office/drawing/2014/main" id="{689BADD5-6272-D649-802A-5DEF17D01997}"/>
                </a:ext>
              </a:extLst>
            </p:cNvPr>
            <p:cNvSpPr>
              <a:spLocks noChangeShapeType="1"/>
            </p:cNvSpPr>
            <p:nvPr>
              <p:custDataLst>
                <p:tags r:id="rId75"/>
              </p:custDataLst>
            </p:nvPr>
          </p:nvSpPr>
          <p:spPr bwMode="auto">
            <a:xfrm>
              <a:off x="-680" y="1445"/>
              <a:ext cx="38" cy="0"/>
            </a:xfrm>
            <a:prstGeom prst="line">
              <a:avLst/>
            </a:prstGeom>
            <a:noFill/>
            <a:ln w="15875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16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0" name="Line 13">
              <a:extLst>
                <a:ext uri="{FF2B5EF4-FFF2-40B4-BE49-F238E27FC236}">
                  <a16:creationId xmlns:a16="http://schemas.microsoft.com/office/drawing/2014/main" id="{B2FEEB47-BA56-5546-A4B1-571AF03C002A}"/>
                </a:ext>
              </a:extLst>
            </p:cNvPr>
            <p:cNvSpPr>
              <a:spLocks noChangeShapeType="1"/>
            </p:cNvSpPr>
            <p:nvPr>
              <p:custDataLst>
                <p:tags r:id="rId76"/>
              </p:custDataLst>
            </p:nvPr>
          </p:nvSpPr>
          <p:spPr bwMode="auto">
            <a:xfrm>
              <a:off x="-603" y="1445"/>
              <a:ext cx="38" cy="0"/>
            </a:xfrm>
            <a:prstGeom prst="line">
              <a:avLst/>
            </a:prstGeom>
            <a:noFill/>
            <a:ln w="15875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16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1" name="Line 14">
              <a:extLst>
                <a:ext uri="{FF2B5EF4-FFF2-40B4-BE49-F238E27FC236}">
                  <a16:creationId xmlns:a16="http://schemas.microsoft.com/office/drawing/2014/main" id="{AC3A97B6-AF83-AA46-8C18-EA76B22C4565}"/>
                </a:ext>
              </a:extLst>
            </p:cNvPr>
            <p:cNvSpPr>
              <a:spLocks noChangeShapeType="1"/>
            </p:cNvSpPr>
            <p:nvPr>
              <p:custDataLst>
                <p:tags r:id="rId77"/>
              </p:custDataLst>
            </p:nvPr>
          </p:nvSpPr>
          <p:spPr bwMode="auto">
            <a:xfrm>
              <a:off x="-526" y="1445"/>
              <a:ext cx="38" cy="0"/>
            </a:xfrm>
            <a:prstGeom prst="line">
              <a:avLst/>
            </a:prstGeom>
            <a:noFill/>
            <a:ln w="15875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16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5" name="Line 15">
              <a:extLst>
                <a:ext uri="{FF2B5EF4-FFF2-40B4-BE49-F238E27FC236}">
                  <a16:creationId xmlns:a16="http://schemas.microsoft.com/office/drawing/2014/main" id="{2FAC58A5-16EE-F448-BBFB-9FDA47801786}"/>
                </a:ext>
              </a:extLst>
            </p:cNvPr>
            <p:cNvSpPr>
              <a:spLocks noChangeShapeType="1"/>
            </p:cNvSpPr>
            <p:nvPr>
              <p:custDataLst>
                <p:tags r:id="rId78"/>
              </p:custDataLst>
            </p:nvPr>
          </p:nvSpPr>
          <p:spPr bwMode="auto">
            <a:xfrm>
              <a:off x="-449" y="1445"/>
              <a:ext cx="39" cy="0"/>
            </a:xfrm>
            <a:prstGeom prst="line">
              <a:avLst/>
            </a:prstGeom>
            <a:noFill/>
            <a:ln w="15875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16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6" name="Line 16">
              <a:extLst>
                <a:ext uri="{FF2B5EF4-FFF2-40B4-BE49-F238E27FC236}">
                  <a16:creationId xmlns:a16="http://schemas.microsoft.com/office/drawing/2014/main" id="{AE3EBA37-111F-F145-AF1B-6B9E92DFC5F2}"/>
                </a:ext>
              </a:extLst>
            </p:cNvPr>
            <p:cNvSpPr>
              <a:spLocks noChangeShapeType="1"/>
            </p:cNvSpPr>
            <p:nvPr>
              <p:custDataLst>
                <p:tags r:id="rId79"/>
              </p:custDataLst>
            </p:nvPr>
          </p:nvSpPr>
          <p:spPr bwMode="auto">
            <a:xfrm>
              <a:off x="-680" y="1493"/>
              <a:ext cx="38" cy="0"/>
            </a:xfrm>
            <a:prstGeom prst="line">
              <a:avLst/>
            </a:prstGeom>
            <a:noFill/>
            <a:ln w="15875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16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7" name="Line 17">
              <a:extLst>
                <a:ext uri="{FF2B5EF4-FFF2-40B4-BE49-F238E27FC236}">
                  <a16:creationId xmlns:a16="http://schemas.microsoft.com/office/drawing/2014/main" id="{622DB95F-82E2-D442-A081-15E6E0EA6D22}"/>
                </a:ext>
              </a:extLst>
            </p:cNvPr>
            <p:cNvSpPr>
              <a:spLocks noChangeShapeType="1"/>
            </p:cNvSpPr>
            <p:nvPr>
              <p:custDataLst>
                <p:tags r:id="rId80"/>
              </p:custDataLst>
            </p:nvPr>
          </p:nvSpPr>
          <p:spPr bwMode="auto">
            <a:xfrm>
              <a:off x="-603" y="1493"/>
              <a:ext cx="38" cy="0"/>
            </a:xfrm>
            <a:prstGeom prst="line">
              <a:avLst/>
            </a:prstGeom>
            <a:noFill/>
            <a:ln w="15875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16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9" name="Line 18">
              <a:extLst>
                <a:ext uri="{FF2B5EF4-FFF2-40B4-BE49-F238E27FC236}">
                  <a16:creationId xmlns:a16="http://schemas.microsoft.com/office/drawing/2014/main" id="{333591E6-CC90-B640-93D9-4F56C0A37DF2}"/>
                </a:ext>
              </a:extLst>
            </p:cNvPr>
            <p:cNvSpPr>
              <a:spLocks noChangeShapeType="1"/>
            </p:cNvSpPr>
            <p:nvPr>
              <p:custDataLst>
                <p:tags r:id="rId81"/>
              </p:custDataLst>
            </p:nvPr>
          </p:nvSpPr>
          <p:spPr bwMode="auto">
            <a:xfrm>
              <a:off x="-526" y="1493"/>
              <a:ext cx="38" cy="0"/>
            </a:xfrm>
            <a:prstGeom prst="line">
              <a:avLst/>
            </a:prstGeom>
            <a:noFill/>
            <a:ln w="15875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9728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16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14" name="Rectangle 40">
            <a:extLst>
              <a:ext uri="{FF2B5EF4-FFF2-40B4-BE49-F238E27FC236}">
                <a16:creationId xmlns:a16="http://schemas.microsoft.com/office/drawing/2014/main" id="{577577C0-05E5-4B46-BC44-49AB1E7DB1F0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7103231" y="1669916"/>
            <a:ext cx="7061592" cy="210041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97280" rtl="0" eaLnBrk="1" latinLnBrk="0" hangingPunct="1">
              <a:defRPr sz="216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16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16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16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16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16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16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16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16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1097236">
              <a:defRPr/>
            </a:pPr>
            <a:endParaRPr lang="en-US">
              <a:solidFill>
                <a:srgbClr val="FFFFFF"/>
              </a:solidFill>
              <a:latin typeface="Arial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AEBAA73-D1ED-85ED-5111-0A5ACC7D9EF8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12517463" y="6324841"/>
            <a:ext cx="2220331" cy="561179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>
            <a:spAutoFit/>
          </a:bodyPr>
          <a:lstStyle>
            <a:defPPr>
              <a:defRPr lang="uk-UA"/>
            </a:defPPr>
            <a:lvl1pPr marL="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4" marR="0" lvl="2" indent="0" algn="l" defTabSz="1463004" rtl="0" eaLnBrk="1" fontAlgn="auto" latinLnBrk="0" hangingPunct="1">
              <a:lnSpc>
                <a:spcPct val="100000"/>
              </a:lnSpc>
              <a:spcBef>
                <a:spcPts val="160"/>
              </a:spcBef>
              <a:spcAft>
                <a:spcPts val="160"/>
              </a:spcAft>
              <a:buClr>
                <a:srgbClr val="5C7FCE"/>
              </a:buClr>
              <a:buSzPct val="125000"/>
              <a:buFontTx/>
              <a:buNone/>
              <a:defRPr/>
            </a:pPr>
            <a:r>
              <a:rPr kumimoji="0" lang="en-US" sz="96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Insurance</a:t>
            </a:r>
          </a:p>
          <a:p>
            <a:pPr marL="106680" marR="0" lvl="2" indent="-100966" algn="l" defTabSz="146300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Tx/>
              <a:buFont typeface="Arial" pitchFamily="34" charset="0"/>
              <a:buChar char="•"/>
              <a:defRPr/>
            </a:pPr>
            <a:r>
              <a:rPr kumimoji="0" lang="en-US" sz="96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 Technology Advisory</a:t>
            </a:r>
          </a:p>
          <a:p>
            <a:pPr marL="106680" marR="0" lvl="2" indent="-100966" algn="l" defTabSz="146300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Tx/>
              <a:buFont typeface="Arial" pitchFamily="34" charset="0"/>
              <a:buChar char="•"/>
              <a:defRPr/>
            </a:pPr>
            <a:endParaRPr kumimoji="0" lang="en-US" sz="96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Calibri" panose="020F0502020204030204" pitchFamily="34" charset="0"/>
            </a:endParaRPr>
          </a:p>
        </p:txBody>
      </p:sp>
      <p:sp>
        <p:nvSpPr>
          <p:cNvPr id="119" name="Rectangle 40">
            <a:extLst>
              <a:ext uri="{FF2B5EF4-FFF2-40B4-BE49-F238E27FC236}">
                <a16:creationId xmlns:a16="http://schemas.microsoft.com/office/drawing/2014/main" id="{577577C0-05E5-4B46-BC44-49AB1E7DB1F0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7085737" y="3465922"/>
            <a:ext cx="7079086" cy="41747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97280" rtl="0" eaLnBrk="1" latinLnBrk="0" hangingPunct="1">
              <a:defRPr sz="216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16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16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16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16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16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16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16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16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marR="0" lvl="0" indent="0" algn="ctr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216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3" name="Rectangle 101">
            <a:extLst>
              <a:ext uri="{FF2B5EF4-FFF2-40B4-BE49-F238E27FC236}">
                <a16:creationId xmlns:a16="http://schemas.microsoft.com/office/drawing/2014/main" id="{87F944AC-9201-4F7C-AB60-252161D9708C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9404071" y="4242545"/>
            <a:ext cx="2579725" cy="340328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uk-UA"/>
            </a:defPPr>
            <a:lvl1pPr marL="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97148">
              <a:spcAft>
                <a:spcPts val="120"/>
              </a:spcAft>
            </a:pPr>
            <a:r>
              <a:rPr lang="en-US" sz="1260" b="1">
                <a:solidFill>
                  <a:srgbClr val="5F249F"/>
                </a:solidFill>
                <a:latin typeface="Arial"/>
                <a:cs typeface="Calibri" panose="020F0502020204030204" pitchFamily="34" charset="0"/>
              </a:rPr>
              <a:t>Industrie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B39CC5E-B794-3F4E-5AA8-D7478B8ABBC4}"/>
              </a:ext>
            </a:extLst>
          </p:cNvPr>
          <p:cNvSpPr txBox="1"/>
          <p:nvPr>
            <p:custDataLst>
              <p:tags r:id="rId24"/>
            </p:custDataLst>
          </p:nvPr>
        </p:nvSpPr>
        <p:spPr>
          <a:xfrm>
            <a:off x="7130730" y="4506838"/>
            <a:ext cx="1454496" cy="2038507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>
            <a:spAutoFit/>
          </a:bodyPr>
          <a:lstStyle>
            <a:defPPr>
              <a:defRPr lang="uk-UA"/>
            </a:defPPr>
            <a:lvl1pPr marL="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4" marR="0" lvl="2" indent="0" algn="l" defTabSz="1463004" rtl="0" eaLnBrk="1" fontAlgn="auto" latinLnBrk="0" hangingPunct="1">
              <a:lnSpc>
                <a:spcPct val="100000"/>
              </a:lnSpc>
              <a:spcBef>
                <a:spcPts val="160"/>
              </a:spcBef>
              <a:spcAft>
                <a:spcPts val="160"/>
              </a:spcAft>
              <a:buClr>
                <a:srgbClr val="5C7FCE"/>
              </a:buClr>
              <a:buSzPct val="125000"/>
              <a:buFontTx/>
              <a:buNone/>
              <a:defRPr/>
            </a:pPr>
            <a:r>
              <a:rPr kumimoji="0" lang="en-US" sz="96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Automotive</a:t>
            </a:r>
          </a:p>
          <a:p>
            <a:pPr marL="109728" lvl="2" indent="-100584" defTabSz="1463004">
              <a:buClr>
                <a:srgbClr val="000000"/>
              </a:buClr>
              <a:buSzTx/>
              <a:buFont typeface="Arial" pitchFamily="34" charset="0"/>
              <a:buChar char="•"/>
              <a:defRPr/>
            </a:pPr>
            <a:r>
              <a:rPr lang="en-US" sz="96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AD/ADAS Functions</a:t>
            </a:r>
          </a:p>
          <a:p>
            <a:pPr marL="109728" lvl="2" indent="-100584" defTabSz="1463004">
              <a:buClr>
                <a:srgbClr val="000000"/>
              </a:buClr>
              <a:buSzTx/>
              <a:buFont typeface="Arial" pitchFamily="34" charset="0"/>
              <a:buChar char="•"/>
              <a:defRPr/>
            </a:pPr>
            <a:r>
              <a:rPr lang="en-US" sz="96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Advanced Diagnostics</a:t>
            </a:r>
          </a:p>
          <a:p>
            <a:pPr marL="109728" lvl="2" indent="-100584" defTabSz="1463004">
              <a:buClr>
                <a:srgbClr val="000000"/>
              </a:buClr>
              <a:buSzTx/>
              <a:buFont typeface="Arial" pitchFamily="34" charset="0"/>
              <a:buChar char="•"/>
              <a:defRPr/>
            </a:pPr>
            <a:r>
              <a:rPr lang="en-US" sz="96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Automotive IVI</a:t>
            </a:r>
          </a:p>
          <a:p>
            <a:pPr marL="109728" lvl="2" indent="-100584" defTabSz="1463004">
              <a:buClr>
                <a:srgbClr val="000000"/>
              </a:buClr>
              <a:buSzTx/>
              <a:buFont typeface="Arial" pitchFamily="34" charset="0"/>
              <a:buChar char="•"/>
              <a:defRPr/>
            </a:pPr>
            <a:r>
              <a:rPr lang="en-US" sz="96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Connected Vehicle Platform</a:t>
            </a:r>
          </a:p>
          <a:p>
            <a:pPr marL="109728" lvl="2" indent="-100584" defTabSz="1463004">
              <a:buClr>
                <a:srgbClr val="000000"/>
              </a:buClr>
              <a:buSzTx/>
              <a:buFont typeface="Arial" pitchFamily="34" charset="0"/>
              <a:buChar char="•"/>
              <a:defRPr/>
            </a:pPr>
            <a:r>
              <a:rPr lang="en-US" sz="96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Connected Vehicle Testing</a:t>
            </a:r>
          </a:p>
          <a:p>
            <a:pPr marL="109728" lvl="2" indent="-100584" defTabSz="1463004">
              <a:buClr>
                <a:srgbClr val="000000"/>
              </a:buClr>
              <a:buSzTx/>
              <a:buFont typeface="Arial" pitchFamily="34" charset="0"/>
              <a:buChar char="•"/>
              <a:defRPr/>
            </a:pPr>
            <a:r>
              <a:rPr lang="en-US" sz="96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In-vehicle Platforms</a:t>
            </a:r>
          </a:p>
          <a:p>
            <a:pPr marL="109728" lvl="2" indent="-100584" defTabSz="1463004">
              <a:buClr>
                <a:srgbClr val="000000"/>
              </a:buClr>
              <a:buSzTx/>
              <a:buFont typeface="Arial" pitchFamily="34" charset="0"/>
              <a:buChar char="•"/>
              <a:defRPr/>
            </a:pPr>
            <a:r>
              <a:rPr lang="en-US" sz="96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Sensor-System Validation </a:t>
            </a:r>
          </a:p>
          <a:p>
            <a:pPr marL="109728" lvl="2" indent="-100584" defTabSz="1463004">
              <a:buClr>
                <a:srgbClr val="000000"/>
              </a:buClr>
              <a:buSzTx/>
              <a:buFont typeface="Arial" pitchFamily="34" charset="0"/>
              <a:buChar char="•"/>
              <a:defRPr/>
            </a:pPr>
            <a:r>
              <a:rPr lang="en-US" sz="96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Software Factory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8E983F3-6AB0-8C18-6996-E9C4362BB9AF}"/>
              </a:ext>
            </a:extLst>
          </p:cNvPr>
          <p:cNvSpPr txBox="1"/>
          <p:nvPr>
            <p:custDataLst>
              <p:tags r:id="rId25"/>
            </p:custDataLst>
          </p:nvPr>
        </p:nvSpPr>
        <p:spPr>
          <a:xfrm>
            <a:off x="12802641" y="4484487"/>
            <a:ext cx="1394983" cy="2308324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>
            <a:spAutoFit/>
          </a:bodyPr>
          <a:lstStyle>
            <a:defPPr>
              <a:defRPr lang="uk-UA"/>
            </a:defPPr>
            <a:lvl1pPr marL="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9728" marR="0" lvl="0" indent="-100584" algn="l" defTabSz="109722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B571C"/>
              </a:buClr>
              <a:buSzTx/>
              <a:buFontTx/>
              <a:buNone/>
              <a:tabLst>
                <a:tab pos="640080" algn="l"/>
              </a:tabLst>
              <a:defRPr/>
            </a:pPr>
            <a:r>
              <a:rPr lang="en-US" sz="960" b="1">
                <a:cs typeface="Calibri" panose="020F0502020204030204" pitchFamily="34" charset="0"/>
              </a:rPr>
              <a:t>Consumer Goods &amp; Retail</a:t>
            </a:r>
            <a:endParaRPr kumimoji="0" lang="ru-RU" sz="96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Calibri" panose="020F0502020204030204" pitchFamily="34" charset="0"/>
            </a:endParaRPr>
          </a:p>
          <a:p>
            <a:pPr marL="109728" marR="0" lvl="2" indent="-100584" algn="l" defTabSz="146300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Char char="•"/>
              <a:defRPr/>
            </a:pPr>
            <a:r>
              <a:rPr lang="en-US" sz="96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Omnichannel Composable Commerce adoption</a:t>
            </a:r>
          </a:p>
          <a:p>
            <a:pPr marL="109728" marR="0" lvl="2" indent="-100584" algn="l" defTabSz="146300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Char char="•"/>
              <a:defRPr/>
            </a:pPr>
            <a:r>
              <a:rPr lang="en-US" sz="96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Marketing and Branding </a:t>
            </a:r>
          </a:p>
          <a:p>
            <a:pPr marL="109728" marR="0" lvl="2" indent="-100584" algn="l" defTabSz="146300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Char char="•"/>
              <a:defRPr/>
            </a:pPr>
            <a:r>
              <a:rPr lang="en-US" sz="96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Industry 4.0 adoption</a:t>
            </a:r>
          </a:p>
          <a:p>
            <a:pPr marL="109728" marR="0" lvl="2" indent="-100584" algn="l" defTabSz="146300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Char char="•"/>
              <a:defRPr/>
            </a:pPr>
            <a:r>
              <a:rPr lang="en-US" sz="96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Digitalization and personalization</a:t>
            </a:r>
          </a:p>
          <a:p>
            <a:pPr marL="109728" marR="0" lvl="2" indent="-100584" algn="l" defTabSz="146300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Char char="•"/>
              <a:defRPr/>
            </a:pPr>
            <a:r>
              <a:rPr lang="en-US" sz="96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Supply Chain automation</a:t>
            </a:r>
          </a:p>
          <a:p>
            <a:pPr marL="109728" marR="0" lvl="2" indent="-100584" algn="l" defTabSz="146300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Char char="•"/>
              <a:defRPr/>
            </a:pPr>
            <a:r>
              <a:rPr lang="en-US" sz="96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Gamification in Retail</a:t>
            </a:r>
            <a:endParaRPr lang="ru-RU" sz="960">
              <a:solidFill>
                <a:srgbClr val="000000"/>
              </a:solidFill>
              <a:latin typeface="Arial"/>
              <a:cs typeface="Calibri" panose="020F050202020403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4C138D1-E921-AFF2-657E-B1994A9E6527}"/>
              </a:ext>
            </a:extLst>
          </p:cNvPr>
          <p:cNvSpPr txBox="1"/>
          <p:nvPr>
            <p:custDataLst>
              <p:tags r:id="rId26"/>
            </p:custDataLst>
          </p:nvPr>
        </p:nvSpPr>
        <p:spPr>
          <a:xfrm>
            <a:off x="11222950" y="4506838"/>
            <a:ext cx="1729122" cy="129984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>
            <a:spAutoFit/>
          </a:bodyPr>
          <a:lstStyle>
            <a:defPPr>
              <a:defRPr lang="uk-UA"/>
            </a:defPPr>
            <a:lvl1pPr marL="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9220" marR="0" lvl="2" indent="-100330" algn="l" defTabSz="1463004" rtl="0" eaLnBrk="1" fontAlgn="auto" latinLnBrk="0" hangingPunct="1">
              <a:lnSpc>
                <a:spcPct val="100000"/>
              </a:lnSpc>
              <a:spcAft>
                <a:spcPts val="160"/>
              </a:spcAft>
              <a:buClr>
                <a:srgbClr val="5C7FCE"/>
              </a:buClr>
              <a:buSzPct val="125000"/>
              <a:buFontTx/>
              <a:buNone/>
              <a:defRPr/>
            </a:pPr>
            <a:r>
              <a:rPr kumimoji="0" lang="en-US" sz="96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Calibri"/>
              </a:rPr>
              <a:t>Travel &amp; Transportation</a:t>
            </a:r>
            <a:endParaRPr lang="en-US" sz="960">
              <a:cs typeface="Calibri"/>
            </a:endParaRPr>
          </a:p>
          <a:p>
            <a:pPr marL="109220" marR="0" lvl="2" indent="-100330" algn="l" defTabSz="1463004" rtl="0" eaLnBrk="1" fontAlgn="auto" latinLnBrk="0" hangingPunct="1">
              <a:lnSpc>
                <a:spcPct val="100000"/>
              </a:lnSpc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Char char="•"/>
              <a:defRPr/>
            </a:pPr>
            <a:r>
              <a:rPr kumimoji="0" lang="en-US" sz="96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Calibri"/>
              </a:rPr>
              <a:t>Track and Trace Solutions</a:t>
            </a:r>
          </a:p>
          <a:p>
            <a:pPr marL="109220" marR="0" lvl="2" indent="-100330" algn="l" defTabSz="1463004" rtl="0" eaLnBrk="1" fontAlgn="auto" latinLnBrk="0" hangingPunct="1">
              <a:lnSpc>
                <a:spcPct val="100000"/>
              </a:lnSpc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Char char="•"/>
              <a:defRPr/>
            </a:pPr>
            <a:r>
              <a:rPr lang="en-US" sz="960">
                <a:solidFill>
                  <a:srgbClr val="000000"/>
                </a:solidFill>
                <a:latin typeface="Arial"/>
                <a:cs typeface="Calibri"/>
              </a:rPr>
              <a:t>Public Transport Apps</a:t>
            </a:r>
          </a:p>
          <a:p>
            <a:pPr marL="109220" marR="0" lvl="2" indent="-100330" algn="l" defTabSz="1463004" rtl="0" eaLnBrk="1" fontAlgn="auto" latinLnBrk="0" hangingPunct="1">
              <a:lnSpc>
                <a:spcPct val="100000"/>
              </a:lnSpc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Char char="•"/>
              <a:defRPr/>
            </a:pPr>
            <a:r>
              <a:rPr lang="en-US" sz="960">
                <a:solidFill>
                  <a:srgbClr val="000000"/>
                </a:solidFill>
                <a:latin typeface="Arial"/>
                <a:cs typeface="Calibri"/>
              </a:rPr>
              <a:t>Airline Modernization</a:t>
            </a:r>
            <a:endParaRPr lang="en-US" sz="96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Calibri"/>
            </a:endParaRPr>
          </a:p>
          <a:p>
            <a:pPr marL="109220" marR="0" lvl="2" indent="-100330" algn="l" defTabSz="1463004" rtl="0" eaLnBrk="1" fontAlgn="auto" latinLnBrk="0" hangingPunct="1">
              <a:lnSpc>
                <a:spcPct val="100000"/>
              </a:lnSpc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Char char="•"/>
              <a:defRPr/>
            </a:pPr>
            <a:r>
              <a:rPr kumimoji="0" lang="en-US" sz="96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Calibri"/>
              </a:rPr>
              <a:t>Supply Chain Risk Management</a:t>
            </a:r>
          </a:p>
          <a:p>
            <a:pPr marL="109220" marR="0" lvl="2" indent="-100330" algn="l" defTabSz="1463004" rtl="0" eaLnBrk="1" fontAlgn="auto" latinLnBrk="0" hangingPunct="1">
              <a:lnSpc>
                <a:spcPct val="100000"/>
              </a:lnSpc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Char char="•"/>
              <a:defRPr/>
            </a:pPr>
            <a:r>
              <a:rPr lang="en-US" sz="96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Calibri"/>
              </a:rPr>
              <a:t>Customer Service Solution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042B2EC-289E-3172-02A2-9163F6F5CAC2}"/>
              </a:ext>
            </a:extLst>
          </p:cNvPr>
          <p:cNvSpPr txBox="1"/>
          <p:nvPr>
            <p:custDataLst>
              <p:tags r:id="rId27"/>
            </p:custDataLst>
          </p:nvPr>
        </p:nvSpPr>
        <p:spPr>
          <a:xfrm>
            <a:off x="10400330" y="5794519"/>
            <a:ext cx="2463272" cy="1274195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>
            <a:spAutoFit/>
          </a:bodyPr>
          <a:lstStyle>
            <a:defPPr>
              <a:defRPr lang="uk-UA"/>
            </a:defPPr>
            <a:lvl1pPr marL="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9728" marR="0" lvl="0" indent="-100584" algn="l" defTabSz="109722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B571C"/>
              </a:buClr>
              <a:buSzTx/>
              <a:buFontTx/>
              <a:buNone/>
              <a:defRPr/>
            </a:pPr>
            <a:r>
              <a:rPr kumimoji="0" lang="en-GB" sz="96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Healthcare</a:t>
            </a:r>
            <a:r>
              <a:rPr lang="en-GB" sz="960" b="1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 &amp; Life Sciences</a:t>
            </a:r>
            <a:endParaRPr kumimoji="0" lang="en-GB" sz="96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Calibri" panose="020F0502020204030204" pitchFamily="34" charset="0"/>
            </a:endParaRPr>
          </a:p>
          <a:p>
            <a:pPr marL="109728" marR="0" lvl="2" indent="-100584" algn="l" defTabSz="146300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Char char="•"/>
              <a:defRPr/>
            </a:pPr>
            <a:r>
              <a:rPr kumimoji="0" lang="en-US" sz="96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Medical Devices Software Development</a:t>
            </a:r>
          </a:p>
          <a:p>
            <a:pPr marL="109728" marR="0" lvl="2" indent="-100584" algn="l" defTabSz="146300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Char char="•"/>
              <a:defRPr/>
            </a:pPr>
            <a:r>
              <a:rPr kumimoji="0" lang="en-US" sz="96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Medical Platforms consolidation &amp; modernization</a:t>
            </a:r>
          </a:p>
          <a:p>
            <a:pPr marL="109728" marR="0" lvl="2" indent="-100584" algn="l" defTabSz="146300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Char char="•"/>
              <a:defRPr/>
            </a:pPr>
            <a:r>
              <a:rPr kumimoji="0" lang="en-US" sz="96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Payors digitalization &amp; modernization</a:t>
            </a:r>
            <a:endParaRPr lang="en-US" sz="960">
              <a:solidFill>
                <a:srgbClr val="000000"/>
              </a:solidFill>
              <a:latin typeface="Arial"/>
              <a:cs typeface="Calibri" panose="020F0502020204030204" pitchFamily="34" charset="0"/>
            </a:endParaRPr>
          </a:p>
          <a:p>
            <a:pPr marL="109728" marR="0" lvl="2" indent="-100584" algn="l" defTabSz="146300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Char char="•"/>
              <a:defRPr/>
            </a:pPr>
            <a:r>
              <a:rPr kumimoji="0" lang="en-US" sz="96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Pharma and Biotech systems implementation</a:t>
            </a:r>
          </a:p>
          <a:p>
            <a:pPr marL="109728" marR="0" lvl="2" indent="-100584" algn="l" defTabSz="146300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Char char="•"/>
              <a:defRPr/>
            </a:pPr>
            <a:r>
              <a:rPr kumimoji="0" lang="en-US" sz="96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Regulatory compliance</a:t>
            </a:r>
          </a:p>
        </p:txBody>
      </p:sp>
      <p:grpSp>
        <p:nvGrpSpPr>
          <p:cNvPr id="39" name="Группа 38"/>
          <p:cNvGrpSpPr/>
          <p:nvPr>
            <p:custDataLst>
              <p:tags r:id="rId28"/>
            </p:custDataLst>
          </p:nvPr>
        </p:nvGrpSpPr>
        <p:grpSpPr>
          <a:xfrm>
            <a:off x="7110133" y="7252573"/>
            <a:ext cx="7139397" cy="417135"/>
            <a:chOff x="7116943" y="7293930"/>
            <a:chExt cx="7139397" cy="417135"/>
          </a:xfrm>
        </p:grpSpPr>
        <p:sp>
          <p:nvSpPr>
            <p:cNvPr id="27" name="Rectangle 112">
              <a:extLst>
                <a:ext uri="{FF2B5EF4-FFF2-40B4-BE49-F238E27FC236}">
                  <a16:creationId xmlns:a16="http://schemas.microsoft.com/office/drawing/2014/main" id="{B587C605-D054-D972-AEC6-AEA5D9F23058}"/>
                </a:ext>
              </a:extLst>
            </p:cNvPr>
            <p:cNvSpPr/>
            <p:nvPr>
              <p:custDataLst>
                <p:tags r:id="rId60"/>
              </p:custDataLst>
            </p:nvPr>
          </p:nvSpPr>
          <p:spPr>
            <a:xfrm>
              <a:off x="9651858" y="7293930"/>
              <a:ext cx="1861753" cy="190011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4572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9144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3716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18288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22860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27432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32004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36576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algn="ctr" defTabSz="1097280">
                <a:spcAft>
                  <a:spcPts val="120"/>
                </a:spcAft>
                <a:defRPr/>
              </a:pPr>
              <a:r>
                <a:rPr lang="en-GB" sz="1260" b="1">
                  <a:solidFill>
                    <a:srgbClr val="5F249F"/>
                  </a:solidFill>
                  <a:cs typeface="Calibri" panose="020F0502020204030204" pitchFamily="34" charset="0"/>
                </a:rPr>
                <a:t>Technology</a:t>
              </a:r>
              <a:r>
                <a:rPr lang="ru-RU" sz="1260" b="1">
                  <a:solidFill>
                    <a:srgbClr val="5F249F"/>
                  </a:solidFill>
                  <a:cs typeface="Calibri" panose="020F0502020204030204" pitchFamily="34" charset="0"/>
                </a:rPr>
                <a:t> </a:t>
              </a:r>
              <a:r>
                <a:rPr lang="en-US" sz="1260" b="1">
                  <a:solidFill>
                    <a:srgbClr val="5F249F"/>
                  </a:solidFill>
                  <a:cs typeface="Calibri" panose="020F0502020204030204" pitchFamily="34" charset="0"/>
                </a:rPr>
                <a:t>Solutions</a:t>
              </a:r>
              <a:endParaRPr lang="en-GB" sz="1260" b="1">
                <a:solidFill>
                  <a:srgbClr val="5F249F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28" name="Rounded Rectangle 185">
              <a:extLst>
                <a:ext uri="{FF2B5EF4-FFF2-40B4-BE49-F238E27FC236}">
                  <a16:creationId xmlns:a16="http://schemas.microsoft.com/office/drawing/2014/main" id="{4CB1EDCC-F6C2-AA64-0A05-C9A3D33B532F}"/>
                </a:ext>
              </a:extLst>
            </p:cNvPr>
            <p:cNvSpPr/>
            <p:nvPr>
              <p:custDataLst>
                <p:tags r:id="rId61"/>
              </p:custDataLst>
            </p:nvPr>
          </p:nvSpPr>
          <p:spPr>
            <a:xfrm>
              <a:off x="11962352" y="7502198"/>
              <a:ext cx="1382009" cy="150661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43200" rIns="0" bIns="43200" rtlCol="0" anchor="ctr"/>
            <a:lstStyle>
              <a:defPPr>
                <a:defRPr lang="en-US"/>
              </a:defPPr>
              <a:lvl1pPr marL="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4572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9144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3716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18288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22860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27432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32004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36576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marL="106680" marR="0" lvl="2" indent="-100966" algn="l" defTabSz="146300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Char char="•"/>
                <a:defRPr/>
              </a:pPr>
              <a:r>
                <a:rPr kumimoji="0" lang="en-US" sz="96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Calibri" panose="020F0502020204030204" pitchFamily="34" charset="0"/>
                </a:rPr>
                <a:t>Engineering</a:t>
              </a:r>
              <a:r>
                <a:rPr kumimoji="0" lang="en-US" sz="96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Calibri" panose="020F0502020204030204" pitchFamily="34" charset="0"/>
                  <a:sym typeface="Wingdings" charset="2"/>
                </a:rPr>
                <a:t>  </a:t>
              </a:r>
              <a:endParaRPr kumimoji="0" lang="ru-RU" sz="96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Calibri" panose="020F0502020204030204" pitchFamily="34" charset="0"/>
                <a:sym typeface="Wingdings" charset="2"/>
              </a:endParaRPr>
            </a:p>
          </p:txBody>
        </p:sp>
        <p:sp>
          <p:nvSpPr>
            <p:cNvPr id="29" name="Rounded Rectangle 185">
              <a:extLst>
                <a:ext uri="{FF2B5EF4-FFF2-40B4-BE49-F238E27FC236}">
                  <a16:creationId xmlns:a16="http://schemas.microsoft.com/office/drawing/2014/main" id="{A40A9EB3-FF94-F43C-1EA0-6DA74110B492}"/>
                </a:ext>
              </a:extLst>
            </p:cNvPr>
            <p:cNvSpPr/>
            <p:nvPr>
              <p:custDataLst>
                <p:tags r:id="rId62"/>
              </p:custDataLst>
            </p:nvPr>
          </p:nvSpPr>
          <p:spPr>
            <a:xfrm>
              <a:off x="9609043" y="7495520"/>
              <a:ext cx="1076569" cy="164016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43200" rIns="0" bIns="43200" rtlCol="0" anchor="ctr"/>
            <a:lstStyle>
              <a:defPPr>
                <a:defRPr lang="en-US"/>
              </a:defPPr>
              <a:lvl1pPr marL="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4572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9144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3716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18288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22860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27432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32004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36576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marL="106680" marR="0" lvl="2" indent="-100966" algn="l" defTabSz="146300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Char char="•"/>
                <a:defRPr/>
              </a:pPr>
              <a:r>
                <a:rPr kumimoji="0" lang="en-US" sz="96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Calibri" panose="020F0502020204030204" pitchFamily="34" charset="0"/>
                </a:rPr>
                <a:t>QA Automation</a:t>
              </a:r>
            </a:p>
          </p:txBody>
        </p:sp>
        <p:sp>
          <p:nvSpPr>
            <p:cNvPr id="30" name="Rounded Rectangle 185">
              <a:extLst>
                <a:ext uri="{FF2B5EF4-FFF2-40B4-BE49-F238E27FC236}">
                  <a16:creationId xmlns:a16="http://schemas.microsoft.com/office/drawing/2014/main" id="{7B2006FD-0C54-81E3-16DA-9C695D340082}"/>
                </a:ext>
              </a:extLst>
            </p:cNvPr>
            <p:cNvSpPr/>
            <p:nvPr>
              <p:custDataLst>
                <p:tags r:id="rId63"/>
              </p:custDataLst>
            </p:nvPr>
          </p:nvSpPr>
          <p:spPr>
            <a:xfrm>
              <a:off x="8657882" y="7499464"/>
              <a:ext cx="1400332" cy="156129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43200" rIns="0" bIns="43200" rtlCol="0" anchor="ctr"/>
            <a:lstStyle>
              <a:defPPr>
                <a:defRPr lang="en-US"/>
              </a:defPPr>
              <a:lvl1pPr marL="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4572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9144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3716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18288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22860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27432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32004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36576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marL="106680" lvl="2" indent="-100966" defTabSz="1463004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Char char="•"/>
                <a:defRPr/>
              </a:pPr>
              <a:r>
                <a:rPr kumimoji="0" lang="en-US" sz="96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Calibri" panose="020F0502020204030204" pitchFamily="34" charset="0"/>
                </a:rPr>
                <a:t>Data Analytics</a:t>
              </a:r>
              <a:endParaRPr kumimoji="0" lang="ru-RU" sz="96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Calibri" panose="020F0502020204030204" pitchFamily="34" charset="0"/>
                <a:sym typeface="Wingdings" charset="2"/>
              </a:endParaRPr>
            </a:p>
          </p:txBody>
        </p:sp>
        <p:sp>
          <p:nvSpPr>
            <p:cNvPr id="31" name="Rounded Rectangle 185">
              <a:extLst>
                <a:ext uri="{FF2B5EF4-FFF2-40B4-BE49-F238E27FC236}">
                  <a16:creationId xmlns:a16="http://schemas.microsoft.com/office/drawing/2014/main" id="{D091F5C0-973D-5806-51A0-C9FE058630AC}"/>
                </a:ext>
              </a:extLst>
            </p:cNvPr>
            <p:cNvSpPr/>
            <p:nvPr>
              <p:custDataLst>
                <p:tags r:id="rId64"/>
              </p:custDataLst>
            </p:nvPr>
          </p:nvSpPr>
          <p:spPr>
            <a:xfrm>
              <a:off x="7649222" y="7504723"/>
              <a:ext cx="1211030" cy="145611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43200" rIns="0" bIns="43200" rtlCol="0" anchor="ctr"/>
            <a:lstStyle>
              <a:defPPr>
                <a:defRPr lang="en-US"/>
              </a:defPPr>
              <a:lvl1pPr marL="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4572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9144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3716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18288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22860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27432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32004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36576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marL="106680" lvl="2" indent="-100966" defTabSz="1463004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Char char="•"/>
                <a:defRPr/>
              </a:pPr>
              <a:r>
                <a:rPr kumimoji="0" lang="en-US" sz="96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Calibri" panose="020F0502020204030204" pitchFamily="34" charset="0"/>
                </a:rPr>
                <a:t>Cloud Solutions</a:t>
              </a:r>
              <a:r>
                <a:rPr kumimoji="0" lang="en-US" sz="96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Calibri" panose="020F0502020204030204" pitchFamily="34" charset="0"/>
                  <a:sym typeface="Wingdings" charset="2"/>
                </a:rPr>
                <a:t>  </a:t>
              </a:r>
              <a:endParaRPr kumimoji="0" lang="ru-RU" sz="96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Calibri" panose="020F0502020204030204" pitchFamily="34" charset="0"/>
                <a:sym typeface="Wingdings" charset="2"/>
              </a:endParaRPr>
            </a:p>
          </p:txBody>
        </p:sp>
        <p:sp>
          <p:nvSpPr>
            <p:cNvPr id="32" name="Rounded Rectangle 185">
              <a:extLst>
                <a:ext uri="{FF2B5EF4-FFF2-40B4-BE49-F238E27FC236}">
                  <a16:creationId xmlns:a16="http://schemas.microsoft.com/office/drawing/2014/main" id="{890B588B-1EB3-63FA-AFF8-4A4D5BBBC805}"/>
                </a:ext>
              </a:extLst>
            </p:cNvPr>
            <p:cNvSpPr/>
            <p:nvPr>
              <p:custDataLst>
                <p:tags r:id="rId65"/>
              </p:custDataLst>
            </p:nvPr>
          </p:nvSpPr>
          <p:spPr>
            <a:xfrm>
              <a:off x="7116943" y="7514613"/>
              <a:ext cx="636063" cy="12583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43200" rIns="0" bIns="43200" rtlCol="0" anchor="ctr"/>
            <a:lstStyle>
              <a:defPPr>
                <a:defRPr lang="en-US"/>
              </a:defPPr>
              <a:lvl1pPr marL="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4572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9144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3716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18288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22860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27432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32004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36576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marL="106680" marR="0" lvl="2" indent="-100966" algn="l" defTabSz="146300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Char char="•"/>
                <a:defRPr/>
              </a:pPr>
              <a:r>
                <a:rPr kumimoji="0" lang="en-US" sz="96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Calibri" panose="020F0502020204030204" pitchFamily="34" charset="0"/>
                </a:rPr>
                <a:t>Design</a:t>
              </a:r>
              <a:r>
                <a:rPr kumimoji="0" lang="en-US" sz="96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Calibri" panose="020F0502020204030204" pitchFamily="34" charset="0"/>
                  <a:sym typeface="Wingdings" charset="2"/>
                </a:rPr>
                <a:t>  </a:t>
              </a:r>
              <a:endParaRPr kumimoji="0" lang="ru-RU" sz="96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Calibri" panose="020F0502020204030204" pitchFamily="34" charset="0"/>
                <a:sym typeface="Wingdings" charset="2"/>
              </a:endParaRPr>
            </a:p>
          </p:txBody>
        </p:sp>
        <p:sp>
          <p:nvSpPr>
            <p:cNvPr id="33" name="Rounded Rectangle 185">
              <a:extLst>
                <a:ext uri="{FF2B5EF4-FFF2-40B4-BE49-F238E27FC236}">
                  <a16:creationId xmlns:a16="http://schemas.microsoft.com/office/drawing/2014/main" id="{BAE91C1B-3FED-C498-C4D4-A67275EC3244}"/>
                </a:ext>
              </a:extLst>
            </p:cNvPr>
            <p:cNvSpPr/>
            <p:nvPr>
              <p:custDataLst>
                <p:tags r:id="rId66"/>
              </p:custDataLst>
            </p:nvPr>
          </p:nvSpPr>
          <p:spPr>
            <a:xfrm>
              <a:off x="12846573" y="7443991"/>
              <a:ext cx="1409767" cy="267074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43200" rIns="0" bIns="43200" rtlCol="0" anchor="ctr"/>
            <a:lstStyle>
              <a:defPPr>
                <a:defRPr lang="en-US"/>
              </a:defPPr>
              <a:lvl1pPr marL="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4572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9144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3716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18288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22860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27432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32004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36576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marL="106680" marR="0" lvl="2" indent="-100966" algn="l" defTabSz="146300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Char char="•"/>
                <a:defRPr/>
              </a:pPr>
              <a:r>
                <a:rPr kumimoji="0" lang="en-US" sz="96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Calibri" panose="020F0502020204030204" pitchFamily="34" charset="0"/>
                </a:rPr>
                <a:t>Intelligent Automation</a:t>
              </a:r>
            </a:p>
          </p:txBody>
        </p:sp>
        <p:sp>
          <p:nvSpPr>
            <p:cNvPr id="34" name="Rounded Rectangle 185">
              <a:extLst>
                <a:ext uri="{FF2B5EF4-FFF2-40B4-BE49-F238E27FC236}">
                  <a16:creationId xmlns:a16="http://schemas.microsoft.com/office/drawing/2014/main" id="{B9A2F5C6-3183-5522-01CA-F16EBB0FE1CE}"/>
                </a:ext>
              </a:extLst>
            </p:cNvPr>
            <p:cNvSpPr/>
            <p:nvPr>
              <p:custDataLst>
                <p:tags r:id="rId67"/>
              </p:custDataLst>
            </p:nvPr>
          </p:nvSpPr>
          <p:spPr>
            <a:xfrm>
              <a:off x="10565670" y="7476826"/>
              <a:ext cx="1488858" cy="201404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43200" rIns="0" bIns="43200" rtlCol="0" anchor="ctr"/>
            <a:lstStyle>
              <a:defPPr>
                <a:defRPr lang="en-US"/>
              </a:defPPr>
              <a:lvl1pPr marL="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4572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9144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3716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18288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22860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27432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32004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3657600" marR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8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marL="106680" marR="0" lvl="2" indent="-100966" algn="l" defTabSz="146300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Char char="•"/>
                <a:defRPr/>
              </a:pPr>
              <a:r>
                <a:rPr kumimoji="0" lang="en-US" sz="96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Calibri" panose="020F0502020204030204" pitchFamily="34" charset="0"/>
                </a:rPr>
                <a:t>Legacy Modernization</a:t>
              </a:r>
            </a:p>
          </p:txBody>
        </p:sp>
      </p:grpSp>
      <p:sp>
        <p:nvSpPr>
          <p:cNvPr id="164" name="TextBox 163">
            <a:extLst>
              <a:ext uri="{FF2B5EF4-FFF2-40B4-BE49-F238E27FC236}">
                <a16:creationId xmlns:a16="http://schemas.microsoft.com/office/drawing/2014/main" id="{E4C138D1-E921-AFF2-657E-B1994A9E6527}"/>
              </a:ext>
            </a:extLst>
          </p:cNvPr>
          <p:cNvSpPr txBox="1"/>
          <p:nvPr>
            <p:custDataLst>
              <p:tags r:id="rId29"/>
            </p:custDataLst>
          </p:nvPr>
        </p:nvSpPr>
        <p:spPr>
          <a:xfrm>
            <a:off x="10355625" y="4506838"/>
            <a:ext cx="1438672" cy="1274195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>
            <a:spAutoFit/>
          </a:bodyPr>
          <a:lstStyle>
            <a:defPPr>
              <a:defRPr lang="uk-UA"/>
            </a:defPPr>
            <a:lvl1pPr marL="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9722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B571C"/>
              </a:buClr>
              <a:buSzTx/>
              <a:buFontTx/>
              <a:buNone/>
              <a:tabLst>
                <a:tab pos="640080" algn="l"/>
              </a:tabLst>
              <a:defRPr/>
            </a:pPr>
            <a:r>
              <a:rPr lang="en-US" sz="960" b="1">
                <a:latin typeface="Arial" pitchFamily="34" charset="0"/>
                <a:cs typeface="Arial" pitchFamily="34" charset="0"/>
              </a:rPr>
              <a:t>Oil &amp; Gas</a:t>
            </a:r>
            <a:endParaRPr kumimoji="0" lang="ru-RU" sz="96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106680" lvl="2" indent="-100966" defTabSz="1463004">
              <a:buClr>
                <a:srgbClr val="000000"/>
              </a:buClr>
              <a:buSzTx/>
              <a:buFont typeface="Arial" pitchFamily="34" charset="0"/>
              <a:buChar char="•"/>
              <a:defRPr/>
            </a:pPr>
            <a:r>
              <a:rPr lang="en-US" sz="96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Geosciences</a:t>
            </a:r>
          </a:p>
          <a:p>
            <a:pPr marL="106680" lvl="2" indent="-100966" defTabSz="1463004">
              <a:buClr>
                <a:srgbClr val="000000"/>
              </a:buClr>
              <a:buSzTx/>
              <a:buFont typeface="Arial" pitchFamily="34" charset="0"/>
              <a:buChar char="•"/>
              <a:defRPr/>
            </a:pPr>
            <a:r>
              <a:rPr lang="en-US" sz="96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rilling</a:t>
            </a:r>
          </a:p>
          <a:p>
            <a:pPr marL="106680" lvl="2" indent="-100966" defTabSz="1463004">
              <a:buClr>
                <a:srgbClr val="000000"/>
              </a:buClr>
              <a:buSzTx/>
              <a:buFont typeface="Arial" pitchFamily="34" charset="0"/>
              <a:buChar char="•"/>
              <a:defRPr/>
            </a:pPr>
            <a:r>
              <a:rPr lang="en-US" sz="96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ementing</a:t>
            </a:r>
          </a:p>
          <a:p>
            <a:pPr marL="106680" lvl="2" indent="-100966" defTabSz="1463004">
              <a:buClr>
                <a:srgbClr val="000000"/>
              </a:buClr>
              <a:buSzTx/>
              <a:buFont typeface="Arial" pitchFamily="34" charset="0"/>
              <a:buChar char="•"/>
              <a:defRPr/>
            </a:pPr>
            <a:r>
              <a:rPr lang="en-US" sz="96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ireline and Perforating</a:t>
            </a:r>
          </a:p>
          <a:p>
            <a:pPr marL="106680" lvl="2" indent="-100966" defTabSz="1463004">
              <a:buClr>
                <a:srgbClr val="000000"/>
              </a:buClr>
              <a:buSzTx/>
              <a:buFont typeface="Arial" pitchFamily="34" charset="0"/>
              <a:buChar char="•"/>
              <a:defRPr/>
            </a:pPr>
            <a:r>
              <a:rPr lang="en-US" sz="96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oduction</a:t>
            </a:r>
          </a:p>
          <a:p>
            <a:pPr marL="106680" lvl="2" indent="-100966" defTabSz="1463004">
              <a:buClr>
                <a:srgbClr val="000000"/>
              </a:buClr>
              <a:buSzTx/>
              <a:buFont typeface="Arial" pitchFamily="34" charset="0"/>
              <a:buChar char="•"/>
              <a:defRPr/>
            </a:pPr>
            <a:r>
              <a:rPr lang="en-US" sz="96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SDU</a:t>
            </a:r>
            <a:endParaRPr lang="ru-RU" sz="96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3" name="Freeform 87">
            <a:extLst>
              <a:ext uri="{FF2B5EF4-FFF2-40B4-BE49-F238E27FC236}">
                <a16:creationId xmlns:a16="http://schemas.microsoft.com/office/drawing/2014/main" id="{76790436-9DF9-7A45-B76D-8284AAAA2C66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7205548" y="3878912"/>
            <a:ext cx="309692" cy="299336"/>
          </a:xfrm>
          <a:custGeom>
            <a:avLst/>
            <a:gdLst>
              <a:gd name="T0" fmla="*/ 64 w 122"/>
              <a:gd name="T1" fmla="*/ 3 h 118"/>
              <a:gd name="T2" fmla="*/ 80 w 122"/>
              <a:gd name="T3" fmla="*/ 40 h 118"/>
              <a:gd name="T4" fmla="*/ 118 w 122"/>
              <a:gd name="T5" fmla="*/ 43 h 118"/>
              <a:gd name="T6" fmla="*/ 120 w 122"/>
              <a:gd name="T7" fmla="*/ 48 h 118"/>
              <a:gd name="T8" fmla="*/ 92 w 122"/>
              <a:gd name="T9" fmla="*/ 77 h 118"/>
              <a:gd name="T10" fmla="*/ 99 w 122"/>
              <a:gd name="T11" fmla="*/ 113 h 118"/>
              <a:gd name="T12" fmla="*/ 95 w 122"/>
              <a:gd name="T13" fmla="*/ 117 h 118"/>
              <a:gd name="T14" fmla="*/ 61 w 122"/>
              <a:gd name="T15" fmla="*/ 99 h 118"/>
              <a:gd name="T16" fmla="*/ 27 w 122"/>
              <a:gd name="T17" fmla="*/ 117 h 118"/>
              <a:gd name="T18" fmla="*/ 23 w 122"/>
              <a:gd name="T19" fmla="*/ 113 h 118"/>
              <a:gd name="T20" fmla="*/ 30 w 122"/>
              <a:gd name="T21" fmla="*/ 77 h 118"/>
              <a:gd name="T22" fmla="*/ 2 w 122"/>
              <a:gd name="T23" fmla="*/ 48 h 118"/>
              <a:gd name="T24" fmla="*/ 4 w 122"/>
              <a:gd name="T25" fmla="*/ 43 h 118"/>
              <a:gd name="T26" fmla="*/ 42 w 122"/>
              <a:gd name="T27" fmla="*/ 40 h 118"/>
              <a:gd name="T28" fmla="*/ 58 w 122"/>
              <a:gd name="T29" fmla="*/ 3 h 118"/>
              <a:gd name="T30" fmla="*/ 64 w 122"/>
              <a:gd name="T31" fmla="*/ 3 h 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22" h="118">
                <a:moveTo>
                  <a:pt x="64" y="3"/>
                </a:moveTo>
                <a:cubicBezTo>
                  <a:pt x="80" y="40"/>
                  <a:pt x="80" y="40"/>
                  <a:pt x="80" y="40"/>
                </a:cubicBezTo>
                <a:cubicBezTo>
                  <a:pt x="118" y="43"/>
                  <a:pt x="118" y="43"/>
                  <a:pt x="118" y="43"/>
                </a:cubicBezTo>
                <a:cubicBezTo>
                  <a:pt x="121" y="44"/>
                  <a:pt x="122" y="47"/>
                  <a:pt x="120" y="48"/>
                </a:cubicBezTo>
                <a:cubicBezTo>
                  <a:pt x="92" y="77"/>
                  <a:pt x="92" y="77"/>
                  <a:pt x="92" y="77"/>
                </a:cubicBezTo>
                <a:cubicBezTo>
                  <a:pt x="99" y="113"/>
                  <a:pt x="99" y="113"/>
                  <a:pt x="99" y="113"/>
                </a:cubicBezTo>
                <a:cubicBezTo>
                  <a:pt x="100" y="116"/>
                  <a:pt x="97" y="118"/>
                  <a:pt x="95" y="117"/>
                </a:cubicBezTo>
                <a:cubicBezTo>
                  <a:pt x="61" y="99"/>
                  <a:pt x="61" y="99"/>
                  <a:pt x="61" y="99"/>
                </a:cubicBezTo>
                <a:cubicBezTo>
                  <a:pt x="27" y="117"/>
                  <a:pt x="27" y="117"/>
                  <a:pt x="27" y="117"/>
                </a:cubicBezTo>
                <a:cubicBezTo>
                  <a:pt x="25" y="118"/>
                  <a:pt x="22" y="116"/>
                  <a:pt x="23" y="113"/>
                </a:cubicBezTo>
                <a:cubicBezTo>
                  <a:pt x="30" y="77"/>
                  <a:pt x="30" y="77"/>
                  <a:pt x="30" y="77"/>
                </a:cubicBezTo>
                <a:cubicBezTo>
                  <a:pt x="2" y="48"/>
                  <a:pt x="2" y="48"/>
                  <a:pt x="2" y="48"/>
                </a:cubicBezTo>
                <a:cubicBezTo>
                  <a:pt x="0" y="47"/>
                  <a:pt x="1" y="44"/>
                  <a:pt x="4" y="43"/>
                </a:cubicBezTo>
                <a:cubicBezTo>
                  <a:pt x="42" y="40"/>
                  <a:pt x="42" y="40"/>
                  <a:pt x="42" y="40"/>
                </a:cubicBezTo>
                <a:cubicBezTo>
                  <a:pt x="58" y="3"/>
                  <a:pt x="58" y="3"/>
                  <a:pt x="58" y="3"/>
                </a:cubicBezTo>
                <a:cubicBezTo>
                  <a:pt x="59" y="0"/>
                  <a:pt x="63" y="0"/>
                  <a:pt x="64" y="3"/>
                </a:cubicBezTo>
                <a:close/>
              </a:path>
            </a:pathLst>
          </a:custGeom>
          <a:noFill/>
          <a:ln w="15875" cap="flat">
            <a:solidFill>
              <a:schemeClr val="bg1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09728" tIns="54864" rIns="109728" bIns="54864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97192">
              <a:spcBef>
                <a:spcPct val="0"/>
              </a:spcBef>
              <a:spcAft>
                <a:spcPct val="0"/>
              </a:spcAft>
              <a:defRPr kumimoji="0" sz="2160" b="0" i="0" normalizeH="0" noProof="0">
                <a:solidFill>
                  <a:srgbClr val="000000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endParaRPr lang="en-US" sz="2592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Rectangle: Single Corner Rounded 55">
            <a:extLst>
              <a:ext uri="{FF2B5EF4-FFF2-40B4-BE49-F238E27FC236}">
                <a16:creationId xmlns:a16="http://schemas.microsoft.com/office/drawing/2014/main" id="{50C21B9D-0CE6-F330-DE65-1F70FCB44FE8}"/>
              </a:ext>
            </a:extLst>
          </p:cNvPr>
          <p:cNvSpPr/>
          <p:nvPr>
            <p:custDataLst>
              <p:tags r:id="rId31"/>
            </p:custDataLst>
          </p:nvPr>
        </p:nvSpPr>
        <p:spPr>
          <a:xfrm>
            <a:off x="7092778" y="3797395"/>
            <a:ext cx="7072045" cy="465602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97280" rtl="0" eaLnBrk="1" latinLnBrk="0" hangingPunct="1">
              <a:defRPr sz="216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16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16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16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16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16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16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16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16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1097236">
              <a:defRPr/>
            </a:pPr>
            <a:endParaRPr lang="en-US" sz="18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6" name="Freeform 87">
            <a:extLst>
              <a:ext uri="{FF2B5EF4-FFF2-40B4-BE49-F238E27FC236}">
                <a16:creationId xmlns:a16="http://schemas.microsoft.com/office/drawing/2014/main" id="{1F56A720-EA0B-1BAC-DE72-B143888949E7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7204852" y="3860652"/>
            <a:ext cx="309692" cy="299336"/>
          </a:xfrm>
          <a:custGeom>
            <a:avLst/>
            <a:gdLst>
              <a:gd name="T0" fmla="*/ 64 w 122"/>
              <a:gd name="T1" fmla="*/ 3 h 118"/>
              <a:gd name="T2" fmla="*/ 80 w 122"/>
              <a:gd name="T3" fmla="*/ 40 h 118"/>
              <a:gd name="T4" fmla="*/ 118 w 122"/>
              <a:gd name="T5" fmla="*/ 43 h 118"/>
              <a:gd name="T6" fmla="*/ 120 w 122"/>
              <a:gd name="T7" fmla="*/ 48 h 118"/>
              <a:gd name="T8" fmla="*/ 92 w 122"/>
              <a:gd name="T9" fmla="*/ 77 h 118"/>
              <a:gd name="T10" fmla="*/ 99 w 122"/>
              <a:gd name="T11" fmla="*/ 113 h 118"/>
              <a:gd name="T12" fmla="*/ 95 w 122"/>
              <a:gd name="T13" fmla="*/ 117 h 118"/>
              <a:gd name="T14" fmla="*/ 61 w 122"/>
              <a:gd name="T15" fmla="*/ 99 h 118"/>
              <a:gd name="T16" fmla="*/ 27 w 122"/>
              <a:gd name="T17" fmla="*/ 117 h 118"/>
              <a:gd name="T18" fmla="*/ 23 w 122"/>
              <a:gd name="T19" fmla="*/ 113 h 118"/>
              <a:gd name="T20" fmla="*/ 30 w 122"/>
              <a:gd name="T21" fmla="*/ 77 h 118"/>
              <a:gd name="T22" fmla="*/ 2 w 122"/>
              <a:gd name="T23" fmla="*/ 48 h 118"/>
              <a:gd name="T24" fmla="*/ 4 w 122"/>
              <a:gd name="T25" fmla="*/ 43 h 118"/>
              <a:gd name="T26" fmla="*/ 42 w 122"/>
              <a:gd name="T27" fmla="*/ 40 h 118"/>
              <a:gd name="T28" fmla="*/ 58 w 122"/>
              <a:gd name="T29" fmla="*/ 3 h 118"/>
              <a:gd name="T30" fmla="*/ 64 w 122"/>
              <a:gd name="T31" fmla="*/ 3 h 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22" h="118">
                <a:moveTo>
                  <a:pt x="64" y="3"/>
                </a:moveTo>
                <a:cubicBezTo>
                  <a:pt x="80" y="40"/>
                  <a:pt x="80" y="40"/>
                  <a:pt x="80" y="40"/>
                </a:cubicBezTo>
                <a:cubicBezTo>
                  <a:pt x="118" y="43"/>
                  <a:pt x="118" y="43"/>
                  <a:pt x="118" y="43"/>
                </a:cubicBezTo>
                <a:cubicBezTo>
                  <a:pt x="121" y="44"/>
                  <a:pt x="122" y="47"/>
                  <a:pt x="120" y="48"/>
                </a:cubicBezTo>
                <a:cubicBezTo>
                  <a:pt x="92" y="77"/>
                  <a:pt x="92" y="77"/>
                  <a:pt x="92" y="77"/>
                </a:cubicBezTo>
                <a:cubicBezTo>
                  <a:pt x="99" y="113"/>
                  <a:pt x="99" y="113"/>
                  <a:pt x="99" y="113"/>
                </a:cubicBezTo>
                <a:cubicBezTo>
                  <a:pt x="100" y="116"/>
                  <a:pt x="97" y="118"/>
                  <a:pt x="95" y="117"/>
                </a:cubicBezTo>
                <a:cubicBezTo>
                  <a:pt x="61" y="99"/>
                  <a:pt x="61" y="99"/>
                  <a:pt x="61" y="99"/>
                </a:cubicBezTo>
                <a:cubicBezTo>
                  <a:pt x="27" y="117"/>
                  <a:pt x="27" y="117"/>
                  <a:pt x="27" y="117"/>
                </a:cubicBezTo>
                <a:cubicBezTo>
                  <a:pt x="25" y="118"/>
                  <a:pt x="22" y="116"/>
                  <a:pt x="23" y="113"/>
                </a:cubicBezTo>
                <a:cubicBezTo>
                  <a:pt x="30" y="77"/>
                  <a:pt x="30" y="77"/>
                  <a:pt x="30" y="77"/>
                </a:cubicBezTo>
                <a:cubicBezTo>
                  <a:pt x="2" y="48"/>
                  <a:pt x="2" y="48"/>
                  <a:pt x="2" y="48"/>
                </a:cubicBezTo>
                <a:cubicBezTo>
                  <a:pt x="0" y="47"/>
                  <a:pt x="1" y="44"/>
                  <a:pt x="4" y="43"/>
                </a:cubicBezTo>
                <a:cubicBezTo>
                  <a:pt x="42" y="40"/>
                  <a:pt x="42" y="40"/>
                  <a:pt x="42" y="40"/>
                </a:cubicBezTo>
                <a:cubicBezTo>
                  <a:pt x="58" y="3"/>
                  <a:pt x="58" y="3"/>
                  <a:pt x="58" y="3"/>
                </a:cubicBezTo>
                <a:cubicBezTo>
                  <a:pt x="59" y="0"/>
                  <a:pt x="63" y="0"/>
                  <a:pt x="64" y="3"/>
                </a:cubicBezTo>
                <a:close/>
              </a:path>
            </a:pathLst>
          </a:custGeom>
          <a:noFill/>
          <a:ln w="15875" cap="flat">
            <a:solidFill>
              <a:schemeClr val="bg1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09728" tIns="54864" rIns="109728" bIns="54864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97236">
              <a:defRPr/>
            </a:pPr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Rectangle 39">
            <a:extLst>
              <a:ext uri="{FF2B5EF4-FFF2-40B4-BE49-F238E27FC236}">
                <a16:creationId xmlns:a16="http://schemas.microsoft.com/office/drawing/2014/main" id="{BF26E457-4DDE-BEF1-554C-B5CF9B8FDD3B}"/>
              </a:ext>
            </a:extLst>
          </p:cNvPr>
          <p:cNvSpPr/>
          <p:nvPr>
            <p:custDataLst>
              <p:tags r:id="rId33"/>
            </p:custDataLst>
          </p:nvPr>
        </p:nvSpPr>
        <p:spPr>
          <a:xfrm>
            <a:off x="7527517" y="3846056"/>
            <a:ext cx="2635658" cy="313932"/>
          </a:xfrm>
          <a:prstGeom prst="rect">
            <a:avLst/>
          </a:prstGeom>
        </p:spPr>
        <p:txBody>
          <a:bodyPr wrap="none" anchor="ctr">
            <a:spAutoFit/>
          </a:bodyPr>
          <a:lstStyle>
            <a:defPPr>
              <a:defRPr lang="en-US"/>
            </a:defPPr>
            <a:lvl1pPr marL="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97236">
              <a:defRPr/>
            </a:pPr>
            <a:r>
              <a:rPr lang="en-US" sz="1440" b="1">
                <a:solidFill>
                  <a:srgbClr val="FFFFFF"/>
                </a:solidFill>
                <a:latin typeface="Arial"/>
              </a:rPr>
              <a:t>LUXOFT CORE OFFERINGS</a:t>
            </a:r>
          </a:p>
        </p:txBody>
      </p:sp>
      <p:sp>
        <p:nvSpPr>
          <p:cNvPr id="87" name="Rectangle 4">
            <a:extLst>
              <a:ext uri="{FF2B5EF4-FFF2-40B4-BE49-F238E27FC236}">
                <a16:creationId xmlns:a16="http://schemas.microsoft.com/office/drawing/2014/main" id="{7C853E6C-1EC5-A347-ACDD-7161F62C8562}"/>
              </a:ext>
            </a:extLst>
          </p:cNvPr>
          <p:cNvSpPr/>
          <p:nvPr>
            <p:custDataLst>
              <p:tags r:id="rId34"/>
            </p:custDataLst>
          </p:nvPr>
        </p:nvSpPr>
        <p:spPr>
          <a:xfrm>
            <a:off x="7156101" y="1717529"/>
            <a:ext cx="6785478" cy="206210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5715" indent="-205715" defTabSz="1097148">
              <a:spcBef>
                <a:spcPts val="240"/>
              </a:spcBef>
              <a:spcAft>
                <a:spcPts val="240"/>
              </a:spcAft>
              <a:buFont typeface="Arial" pitchFamily="34" charset="0"/>
              <a:buChar char="•"/>
              <a:defRPr/>
            </a:pPr>
            <a:r>
              <a:rPr lang="en-US" sz="1080">
                <a:solidFill>
                  <a:srgbClr val="000000"/>
                </a:solidFill>
                <a:latin typeface="Arial"/>
                <a:cs typeface="Arial" pitchFamily="34" charset="0"/>
              </a:rPr>
              <a:t>Is the world’s leading offshore destination, accounting for ~60% of global export  IT delivery headcount </a:t>
            </a:r>
          </a:p>
          <a:p>
            <a:pPr marL="205715" indent="-205715" defTabSz="1097148">
              <a:spcBef>
                <a:spcPts val="240"/>
              </a:spcBef>
              <a:spcAft>
                <a:spcPts val="240"/>
              </a:spcAft>
              <a:buFont typeface="Arial" pitchFamily="34" charset="0"/>
              <a:buChar char="•"/>
              <a:defRPr/>
            </a:pPr>
            <a:r>
              <a:rPr lang="en-US" sz="1080">
                <a:solidFill>
                  <a:srgbClr val="000000"/>
                </a:solidFill>
                <a:latin typeface="Arial"/>
                <a:cs typeface="Arial" pitchFamily="34" charset="0"/>
              </a:rPr>
              <a:t>Superior value proposition in terms of cost competitiveness and a scalable IT pool for mainstream skills</a:t>
            </a:r>
          </a:p>
          <a:p>
            <a:pPr marL="205715" indent="-205715" defTabSz="1097148">
              <a:spcBef>
                <a:spcPts val="240"/>
              </a:spcBef>
              <a:spcAft>
                <a:spcPts val="240"/>
              </a:spcAft>
              <a:buFont typeface="Arial" pitchFamily="34" charset="0"/>
              <a:buChar char="•"/>
              <a:defRPr/>
            </a:pPr>
            <a:r>
              <a:rPr lang="en-US" sz="1080">
                <a:solidFill>
                  <a:srgbClr val="000000"/>
                </a:solidFill>
                <a:latin typeface="Arial"/>
                <a:cs typeface="Arial" pitchFamily="34" charset="0"/>
              </a:rPr>
              <a:t>Market scale supports the setting up of the Centers of Competence </a:t>
            </a:r>
          </a:p>
          <a:p>
            <a:pPr marL="205715" indent="-205715" defTabSz="1097148">
              <a:spcBef>
                <a:spcPts val="240"/>
              </a:spcBef>
              <a:spcAft>
                <a:spcPts val="240"/>
              </a:spcAft>
              <a:buFont typeface="Arial" pitchFamily="34" charset="0"/>
              <a:buChar char="•"/>
              <a:defRPr/>
            </a:pPr>
            <a:r>
              <a:rPr lang="en-US" sz="1080">
                <a:solidFill>
                  <a:srgbClr val="000000"/>
                </a:solidFill>
                <a:latin typeface="Arial"/>
                <a:cs typeface="Arial" pitchFamily="34" charset="0"/>
              </a:rPr>
              <a:t>Lower total cost location in Luxoft (for mainstream skills)</a:t>
            </a:r>
          </a:p>
          <a:p>
            <a:pPr marL="205715" indent="-205715" defTabSz="1097148">
              <a:spcBef>
                <a:spcPts val="240"/>
              </a:spcBef>
              <a:spcAft>
                <a:spcPts val="240"/>
              </a:spcAft>
              <a:buFont typeface="Arial" pitchFamily="34" charset="0"/>
              <a:buChar char="•"/>
              <a:defRPr/>
            </a:pPr>
            <a:r>
              <a:rPr lang="en-US" sz="1080">
                <a:solidFill>
                  <a:srgbClr val="000000"/>
                </a:solidFill>
                <a:latin typeface="Arial"/>
                <a:cs typeface="Arial" pitchFamily="34" charset="0"/>
              </a:rPr>
              <a:t>Is best suitable for projects requiring scale of mainstream skills</a:t>
            </a:r>
          </a:p>
          <a:p>
            <a:pPr marL="205715" indent="-205715" defTabSz="1097148">
              <a:spcBef>
                <a:spcPts val="240"/>
              </a:spcBef>
              <a:spcAft>
                <a:spcPts val="240"/>
              </a:spcAft>
              <a:buFont typeface="Arial" pitchFamily="34" charset="0"/>
              <a:buChar char="•"/>
              <a:defRPr/>
            </a:pPr>
            <a:r>
              <a:rPr lang="en-US" sz="1080">
                <a:solidFill>
                  <a:srgbClr val="000000"/>
                </a:solidFill>
                <a:latin typeface="Arial"/>
                <a:cs typeface="Arial" pitchFamily="34" charset="0"/>
              </a:rPr>
              <a:t>Bangalore is India’s tech hub, which hosts most tech startups and offers a wide breadth of niche skills where our main office is located. Have established office in Pune and new locations like Chennai, Noida are in discussion to have our office space</a:t>
            </a:r>
          </a:p>
          <a:p>
            <a:pPr marL="205715" indent="-205715" defTabSz="1097148">
              <a:spcBef>
                <a:spcPts val="240"/>
              </a:spcBef>
              <a:spcAft>
                <a:spcPts val="240"/>
              </a:spcAft>
              <a:buFont typeface="Arial" pitchFamily="34" charset="0"/>
              <a:buChar char="•"/>
              <a:defRPr/>
            </a:pPr>
            <a:r>
              <a:rPr lang="en-US" sz="1080" err="1">
                <a:solidFill>
                  <a:srgbClr val="000000"/>
                </a:solidFill>
                <a:latin typeface="Arial"/>
                <a:cs typeface="Arial" pitchFamily="34" charset="0"/>
              </a:rPr>
              <a:t>Luxoft’s strategy in India is to extend its European-managed, high-quality delivery model for its APAC clients, who demand premium services, and also act as an Offshore location for US / Europe customers</a:t>
            </a:r>
          </a:p>
        </p:txBody>
      </p:sp>
      <p:grpSp>
        <p:nvGrpSpPr>
          <p:cNvPr id="165" name="Группа 164"/>
          <p:cNvGrpSpPr/>
          <p:nvPr>
            <p:custDataLst>
              <p:tags r:id="rId35"/>
            </p:custDataLst>
          </p:nvPr>
        </p:nvGrpSpPr>
        <p:grpSpPr>
          <a:xfrm>
            <a:off x="8390316" y="4506840"/>
            <a:ext cx="2150982" cy="2010830"/>
            <a:chOff x="8224465" y="3907689"/>
            <a:chExt cx="2150982" cy="2187402"/>
          </a:xfrm>
        </p:grpSpPr>
        <p:sp>
          <p:nvSpPr>
            <p:cNvPr id="166" name="TextBox 165">
              <a:extLst>
                <a:ext uri="{FF2B5EF4-FFF2-40B4-BE49-F238E27FC236}">
                  <a16:creationId xmlns:a16="http://schemas.microsoft.com/office/drawing/2014/main" id="{835C7557-C864-7B24-B0A8-ACF56AC04DDB}"/>
                </a:ext>
              </a:extLst>
            </p:cNvPr>
            <p:cNvSpPr txBox="1"/>
            <p:nvPr>
              <p:custDataLst>
                <p:tags r:id="rId58"/>
              </p:custDataLst>
            </p:nvPr>
          </p:nvSpPr>
          <p:spPr>
            <a:xfrm>
              <a:off x="8224466" y="3907689"/>
              <a:ext cx="2120708" cy="42185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91440" tIns="45720" rIns="91440" bIns="45720" rtlCol="0" anchor="t">
              <a:spAutoFit/>
            </a:bodyPr>
            <a:lstStyle>
              <a:defPPr>
                <a:defRPr lang="uk-UA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09220" lvl="2" indent="-100330" defTabSz="1463004">
                <a:spcAft>
                  <a:spcPts val="160"/>
                </a:spcAft>
                <a:buClr>
                  <a:srgbClr val="5C7FCE"/>
                </a:buClr>
                <a:buSzPct val="125000"/>
                <a:defRPr/>
              </a:pPr>
              <a:r>
                <a:rPr lang="en-US" sz="960" b="1">
                  <a:solidFill>
                    <a:srgbClr val="000000"/>
                  </a:solidFill>
                  <a:latin typeface="Arial"/>
                  <a:cs typeface="Calibri"/>
                </a:rPr>
                <a:t>Telecom, Networking, </a:t>
              </a:r>
              <a:r>
                <a:rPr kumimoji="0" lang="en-US" sz="96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Calibri"/>
                </a:rPr>
                <a:t>Technology &amp; </a:t>
              </a:r>
              <a:r>
                <a:rPr lang="en-US" sz="960" b="1">
                  <a:solidFill>
                    <a:srgbClr val="000000"/>
                  </a:solidFill>
                  <a:latin typeface="Arial"/>
                  <a:cs typeface="Calibri"/>
                </a:rPr>
                <a:t>Media</a:t>
              </a:r>
              <a:endParaRPr lang="en-US" sz="960"/>
            </a:p>
          </p:txBody>
        </p:sp>
        <p:sp>
          <p:nvSpPr>
            <p:cNvPr id="167" name="TextBox 166">
              <a:extLst>
                <a:ext uri="{FF2B5EF4-FFF2-40B4-BE49-F238E27FC236}">
                  <a16:creationId xmlns:a16="http://schemas.microsoft.com/office/drawing/2014/main" id="{D6CD083D-B94D-2C33-F2F6-9866E77ECE43}"/>
                </a:ext>
              </a:extLst>
            </p:cNvPr>
            <p:cNvSpPr txBox="1"/>
            <p:nvPr>
              <p:custDataLst>
                <p:tags r:id="rId59"/>
              </p:custDataLst>
            </p:nvPr>
          </p:nvSpPr>
          <p:spPr>
            <a:xfrm>
              <a:off x="8224465" y="4228567"/>
              <a:ext cx="2150982" cy="186652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91440" tIns="45720" rIns="91440" bIns="45720" rtlCol="0" anchor="t">
              <a:spAutoFit/>
            </a:bodyPr>
            <a:lstStyle>
              <a:defPPr>
                <a:defRPr lang="uk-UA"/>
              </a:defPPr>
              <a:lvl1pPr marL="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86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972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459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56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4320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9184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4048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89120" algn="l" defTabSz="1097280" rtl="0" eaLnBrk="1" latinLnBrk="0" hangingPunct="1">
                <a:defRPr sz="21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09220" indent="-100330" defTabSz="1463004">
                <a:buClr>
                  <a:srgbClr val="000000"/>
                </a:buClr>
                <a:buSzTx/>
                <a:buFont typeface="Arial" pitchFamily="34" charset="0"/>
                <a:buChar char="•"/>
                <a:defRPr/>
              </a:pPr>
              <a:r>
                <a:rPr lang="en-US" sz="960">
                  <a:solidFill>
                    <a:srgbClr val="000000"/>
                  </a:solidFill>
                  <a:latin typeface="Arial"/>
                  <a:cs typeface="Calibri"/>
                </a:rPr>
                <a:t>Service and Network Management </a:t>
              </a:r>
              <a:endParaRPr lang="en-US" sz="960">
                <a:cs typeface="Calibri"/>
              </a:endParaRPr>
            </a:p>
            <a:p>
              <a:pPr marL="109220" lvl="2" indent="-100330" defTabSz="1463004">
                <a:buClr>
                  <a:srgbClr val="000000"/>
                </a:buClr>
                <a:buSzTx/>
                <a:buFont typeface="Arial" pitchFamily="34" charset="0"/>
                <a:buChar char="•"/>
                <a:defRPr/>
              </a:pPr>
              <a:r>
                <a:rPr lang="en-US" sz="960">
                  <a:solidFill>
                    <a:srgbClr val="000000"/>
                  </a:solidFill>
                  <a:latin typeface="Arial"/>
                  <a:cs typeface="Arial"/>
                </a:rPr>
                <a:t>Data Center and Networking Management and Orchestration </a:t>
              </a:r>
              <a:endParaRPr lang="en-US" sz="960"/>
            </a:p>
            <a:p>
              <a:pPr marL="109220" lvl="2" indent="-100330" defTabSz="1463004">
                <a:buClr>
                  <a:srgbClr val="000000"/>
                </a:buClr>
                <a:buSzTx/>
                <a:buFont typeface="Arial" pitchFamily="34" charset="0"/>
                <a:buChar char="•"/>
                <a:defRPr/>
              </a:pPr>
              <a:r>
                <a:rPr lang="en-US" sz="960">
                  <a:solidFill>
                    <a:srgbClr val="000000"/>
                  </a:solidFill>
                  <a:latin typeface="Arial"/>
                  <a:cs typeface="Arial"/>
                </a:rPr>
                <a:t>Unified Communications</a:t>
              </a:r>
              <a:endParaRPr lang="en-US" sz="960"/>
            </a:p>
            <a:p>
              <a:pPr marL="109220" lvl="2" indent="-100330" defTabSz="1463004">
                <a:buClr>
                  <a:srgbClr val="000000"/>
                </a:buClr>
                <a:buSzTx/>
                <a:buFont typeface="Arial" pitchFamily="34" charset="0"/>
                <a:buChar char="•"/>
                <a:defRPr/>
              </a:pPr>
              <a:r>
                <a:rPr lang="en-US" sz="960">
                  <a:solidFill>
                    <a:srgbClr val="000000"/>
                  </a:solidFill>
                  <a:latin typeface="Arial"/>
                  <a:cs typeface="Arial"/>
                </a:rPr>
                <a:t>Network &amp; Technology Solutions</a:t>
              </a:r>
              <a:endParaRPr lang="en-US" sz="960"/>
            </a:p>
            <a:p>
              <a:pPr marL="109220" lvl="2" indent="-100330" defTabSz="1463004">
                <a:buClr>
                  <a:srgbClr val="000000"/>
                </a:buClr>
                <a:buSzTx/>
                <a:buFont typeface="Arial" pitchFamily="34" charset="0"/>
                <a:buChar char="•"/>
                <a:defRPr/>
              </a:pPr>
              <a:r>
                <a:rPr lang="en-US" sz="960">
                  <a:solidFill>
                    <a:srgbClr val="000000"/>
                  </a:solidFill>
                  <a:latin typeface="Arial"/>
                  <a:cs typeface="Arial"/>
                </a:rPr>
                <a:t>Software-Defined Connectivity</a:t>
              </a:r>
              <a:endParaRPr lang="en-US" sz="960"/>
            </a:p>
            <a:p>
              <a:pPr marL="109220" lvl="2" indent="-100330" defTabSz="1463004">
                <a:buClr>
                  <a:srgbClr val="000000"/>
                </a:buClr>
                <a:buSzTx/>
                <a:buFont typeface="Arial" pitchFamily="34" charset="0"/>
                <a:buChar char="•"/>
                <a:defRPr/>
              </a:pPr>
              <a:r>
                <a:rPr lang="en-US" sz="960">
                  <a:solidFill>
                    <a:srgbClr val="000000"/>
                  </a:solidFill>
                  <a:latin typeface="Arial"/>
                  <a:cs typeface="Arial"/>
                </a:rPr>
                <a:t>Embedded Platforms</a:t>
              </a:r>
              <a:endParaRPr lang="en-US" sz="960"/>
            </a:p>
            <a:p>
              <a:pPr marL="109220" lvl="2" indent="-100330" defTabSz="1463004">
                <a:buClr>
                  <a:srgbClr val="000000"/>
                </a:buClr>
                <a:buSzTx/>
                <a:buFont typeface="Arial" pitchFamily="34" charset="0"/>
                <a:buChar char="•"/>
                <a:defRPr/>
              </a:pPr>
              <a:r>
                <a:rPr lang="en-US" sz="960">
                  <a:solidFill>
                    <a:srgbClr val="000000"/>
                  </a:solidFill>
                  <a:latin typeface="Arial"/>
                  <a:cs typeface="Arial"/>
                </a:rPr>
                <a:t>Media Content Delivery Services</a:t>
              </a:r>
              <a:endParaRPr lang="en-US" sz="960"/>
            </a:p>
            <a:p>
              <a:pPr marL="109220" lvl="2" indent="-100330" defTabSz="1463004">
                <a:buClr>
                  <a:srgbClr val="000000"/>
                </a:buClr>
                <a:buSzTx/>
                <a:buFont typeface="Arial" pitchFamily="34" charset="0"/>
                <a:buChar char="•"/>
                <a:defRPr/>
              </a:pPr>
              <a:r>
                <a:rPr lang="en-US" sz="960">
                  <a:solidFill>
                    <a:srgbClr val="000000"/>
                  </a:solidFill>
                  <a:latin typeface="Arial"/>
                  <a:cs typeface="Arial"/>
                </a:rPr>
                <a:t>Interactive Media Experience </a:t>
              </a:r>
              <a:endParaRPr lang="en-US" sz="960"/>
            </a:p>
            <a:p>
              <a:pPr marL="109220" lvl="2" indent="-100330" defTabSz="1463004">
                <a:buClr>
                  <a:srgbClr val="000000"/>
                </a:buClr>
                <a:buSzTx/>
                <a:buFont typeface="Arial" pitchFamily="34" charset="0"/>
                <a:buChar char="•"/>
                <a:defRPr/>
              </a:pPr>
              <a:endParaRPr lang="en-US" sz="950">
                <a:solidFill>
                  <a:srgbClr val="000000"/>
                </a:solidFill>
                <a:latin typeface="Arial"/>
                <a:cs typeface="Calibri"/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070A1295-54F7-9CE4-DA4B-8F534D1A418A}"/>
              </a:ext>
            </a:extLst>
          </p:cNvPr>
          <p:cNvSpPr/>
          <p:nvPr>
            <p:custDataLst>
              <p:tags r:id="rId36"/>
            </p:custDataLst>
          </p:nvPr>
        </p:nvSpPr>
        <p:spPr>
          <a:xfrm>
            <a:off x="657212" y="1080903"/>
            <a:ext cx="6286847" cy="368726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1pPr>
            <a:lvl2pPr marL="54864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2pPr>
            <a:lvl3pPr marL="109728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3pPr>
            <a:lvl4pPr marL="164592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4pPr>
            <a:lvl5pPr marL="219456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5pPr>
            <a:lvl6pPr marL="274320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6pPr>
            <a:lvl7pPr marL="329184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7pPr>
            <a:lvl8pPr marL="384048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8pPr>
            <a:lvl9pPr marL="438912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9pPr>
          </a:lstStyle>
          <a:p>
            <a:pPr defTabSz="1097236">
              <a:defRPr kumimoji="0" sz="2160" b="0" i="0" u="none" strike="noStrike" cap="none" spc="0" normalizeH="0" baseline="0" noProof="0">
                <a:solidFill>
                  <a:srgbClr val="FFFFFF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pPr>
            <a:r>
              <a:rPr kumimoji="0" lang="en-US" sz="1050" b="0" i="1" u="none" strike="noStrike" cap="none" spc="0" normalizeH="0" baseline="0" noProof="0">
                <a:solidFill>
                  <a:schemeClr val="bg1">
                    <a:lumMod val="65000"/>
                  </a:schemeClr>
                </a:solidFill>
                <a:uLnTx/>
                <a:uFillTx/>
                <a:latin typeface="Arial"/>
                <a:ea typeface="+mn-ea"/>
                <a:cs typeface="Arial"/>
              </a:rPr>
              <a:t>Note: Headcount data as of </a:t>
            </a:r>
            <a:r>
              <a:rPr lang="en-US" sz="1050" i="1">
                <a:solidFill>
                  <a:schemeClr val="bg1">
                    <a:lumMod val="65000"/>
                  </a:schemeClr>
                </a:solidFill>
                <a:latin typeface="Arial"/>
                <a:ea typeface="+mn-ea"/>
                <a:cs typeface="Arial"/>
              </a:rPr>
              <a:t>April 2025 </a:t>
            </a:r>
            <a:r>
              <a:rPr kumimoji="0" lang="en-US" sz="1050" b="0" i="1" u="none" strike="noStrike" cap="none" spc="0" normalizeH="0" baseline="0" noProof="0">
                <a:solidFill>
                  <a:schemeClr val="bg1">
                    <a:lumMod val="65000"/>
                  </a:schemeClr>
                </a:solidFill>
                <a:uLnTx/>
                <a:uFillTx/>
                <a:latin typeface="Arial"/>
                <a:ea typeface="+mn-ea"/>
                <a:cs typeface="Arial"/>
              </a:rPr>
              <a:t>and rounded</a:t>
            </a:r>
            <a:r>
              <a:rPr lang="en-US" sz="1050" i="1">
                <a:solidFill>
                  <a:schemeClr val="bg1">
                    <a:lumMod val="65000"/>
                  </a:schemeClr>
                </a:solidFill>
                <a:latin typeface="Arial"/>
                <a:ea typeface="+mn-ea"/>
                <a:cs typeface="Arial"/>
              </a:rPr>
              <a:t>, hiring capacity projected till June 2025</a:t>
            </a:r>
            <a:endParaRPr lang="en-US" sz="1050">
              <a:solidFill>
                <a:schemeClr val="bg1">
                  <a:lumMod val="65000"/>
                </a:schemeClr>
              </a:solidFill>
              <a:latin typeface="Arial"/>
              <a:ea typeface="+mn-ea"/>
              <a:cs typeface="Arial"/>
            </a:endParaRPr>
          </a:p>
        </p:txBody>
      </p:sp>
      <p:pic>
        <p:nvPicPr>
          <p:cNvPr id="16" name="Picture 24">
            <a:extLst>
              <a:ext uri="{FF2B5EF4-FFF2-40B4-BE49-F238E27FC236}">
                <a16:creationId xmlns:a16="http://schemas.microsoft.com/office/drawing/2014/main" id="{FC326ED5-A327-EBCA-4AF4-88F0D9B6BB2D}"/>
              </a:ext>
            </a:extLst>
          </p:cNvPr>
          <p:cNvPicPr>
            <a:picLocks noChangeAspect="1"/>
          </p:cNvPicPr>
          <p:nvPr>
            <p:custDataLst>
              <p:tags r:id="rId37"/>
            </p:custDataLst>
          </p:nvPr>
        </p:nvPicPr>
        <p:blipFill>
          <a:blip r:embed="rId132"/>
          <a:stretch>
            <a:fillRect/>
          </a:stretch>
        </p:blipFill>
        <p:spPr>
          <a:xfrm>
            <a:off x="483907" y="3084689"/>
            <a:ext cx="719276" cy="637333"/>
          </a:xfrm>
          <a:prstGeom prst="rect">
            <a:avLst/>
          </a:prstGeom>
        </p:spPr>
      </p:pic>
      <p:grpSp>
        <p:nvGrpSpPr>
          <p:cNvPr id="44" name="Group 43">
            <a:extLst>
              <a:ext uri="{FF2B5EF4-FFF2-40B4-BE49-F238E27FC236}">
                <a16:creationId xmlns:a16="http://schemas.microsoft.com/office/drawing/2014/main" id="{47BAD2AC-8497-6582-5399-187A15316297}"/>
              </a:ext>
            </a:extLst>
          </p:cNvPr>
          <p:cNvGrpSpPr/>
          <p:nvPr>
            <p:custDataLst>
              <p:tags r:id="rId38"/>
            </p:custDataLst>
          </p:nvPr>
        </p:nvGrpSpPr>
        <p:grpSpPr>
          <a:xfrm>
            <a:off x="1354858" y="2172025"/>
            <a:ext cx="2822414" cy="3171997"/>
            <a:chOff x="1593618" y="2172025"/>
            <a:chExt cx="2822414" cy="3171997"/>
          </a:xfrm>
        </p:grpSpPr>
        <p:grpSp>
          <p:nvGrpSpPr>
            <p:cNvPr id="10" name="Группа 9"/>
            <p:cNvGrpSpPr/>
            <p:nvPr>
              <p:custDataLst>
                <p:tags r:id="rId42"/>
              </p:custDataLst>
            </p:nvPr>
          </p:nvGrpSpPr>
          <p:grpSpPr>
            <a:xfrm>
              <a:off x="1593618" y="2172025"/>
              <a:ext cx="2822414" cy="3171997"/>
              <a:chOff x="2578740" y="2193366"/>
              <a:chExt cx="2822414" cy="3171997"/>
            </a:xfrm>
          </p:grpSpPr>
          <p:grpSp>
            <p:nvGrpSpPr>
              <p:cNvPr id="115" name="Группа 4">
                <a:extLst>
                  <a:ext uri="{FF2B5EF4-FFF2-40B4-BE49-F238E27FC236}">
                    <a16:creationId xmlns:a16="http://schemas.microsoft.com/office/drawing/2014/main" id="{FDD1ACF9-F971-DD41-B226-1590F6D0D22C}"/>
                  </a:ext>
                </a:extLst>
              </p:cNvPr>
              <p:cNvGrpSpPr/>
              <p:nvPr>
                <p:custDataLst>
                  <p:tags r:id="rId47"/>
                </p:custDataLst>
              </p:nvPr>
            </p:nvGrpSpPr>
            <p:grpSpPr>
              <a:xfrm>
                <a:off x="2682685" y="2193366"/>
                <a:ext cx="2718469" cy="3171997"/>
                <a:chOff x="3552634" y="2606496"/>
                <a:chExt cx="2718469" cy="3171997"/>
              </a:xfrm>
              <a:solidFill>
                <a:schemeClr val="bg1"/>
              </a:solidFill>
            </p:grpSpPr>
            <p:pic>
              <p:nvPicPr>
                <p:cNvPr id="116" name="Picture 115">
                  <a:extLst>
                    <a:ext uri="{FF2B5EF4-FFF2-40B4-BE49-F238E27FC236}">
                      <a16:creationId xmlns:a16="http://schemas.microsoft.com/office/drawing/2014/main" id="{AD208085-F2AB-8A4E-98FE-F5DF6E03DA79}"/>
                    </a:ext>
                  </a:extLst>
                </p:cNvPr>
                <p:cNvPicPr>
                  <a:picLocks noChangeAspect="1"/>
                </p:cNvPicPr>
                <p:nvPr>
                  <p:custDataLst>
                    <p:tags r:id="rId56"/>
                  </p:custDataLst>
                </p:nvPr>
              </p:nvPicPr>
              <p:blipFill>
                <a:blip r:embed="rId133">
                  <a:duotone>
                    <a:schemeClr val="accent1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552634" y="2606496"/>
                  <a:ext cx="2718469" cy="3171997"/>
                </a:xfrm>
                <a:prstGeom prst="rect">
                  <a:avLst/>
                </a:prstGeom>
                <a:grpFill/>
              </p:spPr>
            </p:pic>
            <p:sp>
              <p:nvSpPr>
                <p:cNvPr id="117" name="Oval 572">
                  <a:extLst>
                    <a:ext uri="{FF2B5EF4-FFF2-40B4-BE49-F238E27FC236}">
                      <a16:creationId xmlns:a16="http://schemas.microsoft.com/office/drawing/2014/main" id="{EE0E180A-8079-4344-AC19-EAE0D7373D17}"/>
                    </a:ext>
                  </a:extLst>
                </p:cNvPr>
                <p:cNvSpPr/>
                <p:nvPr>
                  <p:custDataLst>
                    <p:tags r:id="rId57"/>
                  </p:custDataLst>
                </p:nvPr>
              </p:nvSpPr>
              <p:spPr>
                <a:xfrm>
                  <a:off x="4293449" y="5118363"/>
                  <a:ext cx="159134" cy="159134"/>
                </a:xfrm>
                <a:prstGeom prst="ellipse">
                  <a:avLst/>
                </a:prstGeom>
                <a:grpFill/>
                <a:ln w="6350">
                  <a:solidFill>
                    <a:schemeClr val="accent1">
                      <a:lumMod val="75000"/>
                    </a:schemeClr>
                  </a:solidFill>
                </a:ln>
                <a:effectLst/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1pPr>
                  <a:lvl2pPr marL="54864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2pPr>
                  <a:lvl3pPr marL="109728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3pPr>
                  <a:lvl4pPr marL="164592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4pPr>
                  <a:lvl5pPr marL="219456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5pPr>
                  <a:lvl6pPr marL="274320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6pPr>
                  <a:lvl7pPr marL="329184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7pPr>
                  <a:lvl8pPr marL="384048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8pPr>
                  <a:lvl9pPr marL="4389120" marR="0" indent="0" algn="l" defTabSz="109728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160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9pPr>
                </a:lstStyle>
                <a:p>
                  <a:pPr algn="ctr" defTabSz="1097192">
                    <a:defRPr kumimoji="0" sz="2160" b="0" i="0" u="none" strike="noStrike" cap="none" spc="0" normalizeH="0" baseline="0" noProof="0">
                      <a:solidFill>
                        <a:srgbClr val="FFFFFF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pPr>
                  <a:endParaRPr lang="en-US" sz="840" b="1">
                    <a:solidFill>
                      <a:srgbClr val="6F2C91">
                        <a:lumMod val="75000"/>
                      </a:srgbClr>
                    </a:solidFill>
                    <a:ea typeface="+mn-ea"/>
                    <a:cs typeface="Calibri" panose="020F0502020204030204" pitchFamily="34" charset="0"/>
                  </a:endParaRPr>
                </a:p>
              </p:txBody>
            </p:sp>
          </p:grpSp>
          <p:sp>
            <p:nvSpPr>
              <p:cNvPr id="123" name="TextBox 122">
                <a:extLst>
                  <a:ext uri="{FF2B5EF4-FFF2-40B4-BE49-F238E27FC236}">
                    <a16:creationId xmlns:a16="http://schemas.microsoft.com/office/drawing/2014/main" id="{CC3778C9-0C7E-134D-8DBC-C3D3E9C8B2D6}"/>
                  </a:ext>
                </a:extLst>
              </p:cNvPr>
              <p:cNvSpPr txBox="1"/>
              <p:nvPr>
                <p:custDataLst>
                  <p:tags r:id="rId48"/>
                </p:custDataLst>
              </p:nvPr>
            </p:nvSpPr>
            <p:spPr>
              <a:xfrm>
                <a:off x="2578740" y="4739247"/>
                <a:ext cx="889899" cy="132985"/>
              </a:xfrm>
              <a:prstGeom prst="rect">
                <a:avLst/>
              </a:prstGeom>
              <a:effectLst/>
            </p:spPr>
            <p:txBody>
              <a:bodyPr vert="horz" wrap="square" lIns="0" tIns="0" rIns="0" bIns="0" rtlCol="0" anchor="ctr">
                <a:spAutoFit/>
              </a:bodyPr>
              <a:lstStyle>
                <a:defPPr>
                  <a:defRPr lang="en-US"/>
                </a:defPPr>
                <a:lvl1pPr marL="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486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972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459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19456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4320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918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404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3891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1097192">
                  <a:lnSpc>
                    <a:spcPct val="80000"/>
                  </a:lnSpc>
                  <a:spcBef>
                    <a:spcPct val="0"/>
                  </a:spcBef>
                  <a:spcAft>
                    <a:spcPct val="0"/>
                  </a:spcAft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r>
                  <a:rPr lang="en-US" sz="1080">
                    <a:solidFill>
                      <a:srgbClr val="6F2C91">
                        <a:lumMod val="75000"/>
                      </a:srgbClr>
                    </a:solidFill>
                    <a:latin typeface="Arial" pitchFamily="34" charset="0"/>
                    <a:ea typeface="Open Sans" panose="020B0606030504020204" pitchFamily="34" charset="0"/>
                    <a:cs typeface="Calibri" panose="020F0502020204030204" pitchFamily="34" charset="0"/>
                    <a:sym typeface="Arial" pitchFamily="34" charset="0"/>
                  </a:rPr>
                  <a:t>Bangalore</a:t>
                </a:r>
              </a:p>
            </p:txBody>
          </p:sp>
          <p:sp>
            <p:nvSpPr>
              <p:cNvPr id="124" name="TextBox 123">
                <a:extLst>
                  <a:ext uri="{FF2B5EF4-FFF2-40B4-BE49-F238E27FC236}">
                    <a16:creationId xmlns:a16="http://schemas.microsoft.com/office/drawing/2014/main" id="{AD48D335-EF7D-184B-88EA-2985C5AE1006}"/>
                  </a:ext>
                </a:extLst>
              </p:cNvPr>
              <p:cNvSpPr txBox="1"/>
              <p:nvPr>
                <p:custDataLst>
                  <p:tags r:id="rId49"/>
                </p:custDataLst>
              </p:nvPr>
            </p:nvSpPr>
            <p:spPr>
              <a:xfrm>
                <a:off x="2721733" y="3991108"/>
                <a:ext cx="944181" cy="132985"/>
              </a:xfrm>
              <a:prstGeom prst="rect">
                <a:avLst/>
              </a:prstGeom>
              <a:effectLst/>
            </p:spPr>
            <p:txBody>
              <a:bodyPr vert="horz" wrap="square" lIns="0" tIns="0" rIns="0" bIns="0" rtlCol="0" anchor="ctr">
                <a:spAutoFit/>
              </a:bodyPr>
              <a:lstStyle>
                <a:defPPr>
                  <a:defRPr lang="en-US"/>
                </a:defPPr>
                <a:lvl1pPr marL="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486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972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459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19456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4320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918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404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3891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1097192">
                  <a:lnSpc>
                    <a:spcPct val="80000"/>
                  </a:lnSpc>
                  <a:spcBef>
                    <a:spcPct val="0"/>
                  </a:spcBef>
                  <a:spcAft>
                    <a:spcPct val="0"/>
                  </a:spcAft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r>
                  <a:rPr lang="en-US" sz="1080">
                    <a:solidFill>
                      <a:srgbClr val="6F2C91">
                        <a:lumMod val="75000"/>
                      </a:srgbClr>
                    </a:solidFill>
                    <a:latin typeface="Arial" pitchFamily="34" charset="0"/>
                    <a:ea typeface="Open Sans" panose="020B0606030504020204" pitchFamily="34" charset="0"/>
                    <a:cs typeface="Calibri" panose="020F0502020204030204" pitchFamily="34" charset="0"/>
                    <a:sym typeface="Arial" pitchFamily="34" charset="0"/>
                  </a:rPr>
                  <a:t>Pune</a:t>
                </a: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438C374F-F487-1C46-B815-0AEA773F6A3A}"/>
                  </a:ext>
                </a:extLst>
              </p:cNvPr>
              <p:cNvSpPr txBox="1"/>
              <p:nvPr>
                <p:custDataLst>
                  <p:tags r:id="rId50"/>
                </p:custDataLst>
              </p:nvPr>
            </p:nvSpPr>
            <p:spPr>
              <a:xfrm>
                <a:off x="3550905" y="3274435"/>
                <a:ext cx="889899" cy="132985"/>
              </a:xfrm>
              <a:prstGeom prst="rect">
                <a:avLst/>
              </a:prstGeom>
              <a:effectLst/>
            </p:spPr>
            <p:txBody>
              <a:bodyPr vert="horz" wrap="square" lIns="0" tIns="0" rIns="0" bIns="0" rtlCol="0" anchor="ctr">
                <a:spAutoFit/>
              </a:bodyPr>
              <a:lstStyle>
                <a:defPPr>
                  <a:defRPr lang="en-US"/>
                </a:defPPr>
                <a:lvl1pPr marL="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486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972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459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19456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4320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918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404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3891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1097192">
                  <a:lnSpc>
                    <a:spcPct val="80000"/>
                  </a:lnSpc>
                  <a:spcBef>
                    <a:spcPct val="0"/>
                  </a:spcBef>
                  <a:spcAft>
                    <a:spcPct val="0"/>
                  </a:spcAft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r>
                  <a:rPr lang="en-US" sz="1080">
                    <a:solidFill>
                      <a:srgbClr val="FFFFFF"/>
                    </a:solidFill>
                    <a:latin typeface="Arial" pitchFamily="34" charset="0"/>
                    <a:ea typeface="Open Sans" panose="020B0606030504020204" pitchFamily="34" charset="0"/>
                    <a:cs typeface="Calibri" panose="020F0502020204030204" pitchFamily="34" charset="0"/>
                    <a:sym typeface="Arial" pitchFamily="34" charset="0"/>
                  </a:rPr>
                  <a:t>Noida</a:t>
                </a:r>
              </a:p>
            </p:txBody>
          </p:sp>
          <p:sp>
            <p:nvSpPr>
              <p:cNvPr id="143" name="Oval 572">
                <a:extLst>
                  <a:ext uri="{FF2B5EF4-FFF2-40B4-BE49-F238E27FC236}">
                    <a16:creationId xmlns:a16="http://schemas.microsoft.com/office/drawing/2014/main" id="{3EEA81AB-BA23-C141-8B8B-C1AFA9713408}"/>
                  </a:ext>
                </a:extLst>
              </p:cNvPr>
              <p:cNvSpPr/>
              <p:nvPr>
                <p:custDataLst>
                  <p:tags r:id="rId51"/>
                </p:custDataLst>
              </p:nvPr>
            </p:nvSpPr>
            <p:spPr>
              <a:xfrm>
                <a:off x="3419474" y="4691756"/>
                <a:ext cx="185760" cy="185760"/>
              </a:xfrm>
              <a:prstGeom prst="ellipse">
                <a:avLst/>
              </a:prstGeom>
              <a:solidFill>
                <a:schemeClr val="bg1"/>
              </a:solidFill>
              <a:ln w="6350">
                <a:noFill/>
              </a:ln>
              <a:effectLst/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1pPr>
                <a:lvl2pPr marL="5486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2pPr>
                <a:lvl3pPr marL="10972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3pPr>
                <a:lvl4pPr marL="16459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4pPr>
                <a:lvl5pPr marL="219456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5pPr>
                <a:lvl6pPr marL="274320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6pPr>
                <a:lvl7pPr marL="32918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7pPr>
                <a:lvl8pPr marL="38404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8pPr>
                <a:lvl9pPr marL="43891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9pPr>
              </a:lstStyle>
              <a:p>
                <a:pPr algn="ctr" defTabSz="1097192">
                  <a:defRPr kumimoji="0" sz="2160" b="0" i="0" u="none" strike="noStrike" cap="none" spc="0" normalizeH="0" baseline="0" noProof="0">
                    <a:solidFill>
                      <a:srgbClr val="FFFFFF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pPr>
                <a:r>
                  <a:rPr lang="en-US" sz="960" b="1">
                    <a:solidFill>
                      <a:srgbClr val="6F2C91">
                        <a:lumMod val="75000"/>
                      </a:srgbClr>
                    </a:solidFill>
                    <a:cs typeface="Calibri" panose="020F0502020204030204" pitchFamily="34" charset="0"/>
                  </a:rPr>
                  <a:t>1</a:t>
                </a:r>
              </a:p>
            </p:txBody>
          </p:sp>
          <p:sp>
            <p:nvSpPr>
              <p:cNvPr id="182" name="Oval 572">
                <a:extLst>
                  <a:ext uri="{FF2B5EF4-FFF2-40B4-BE49-F238E27FC236}">
                    <a16:creationId xmlns:a16="http://schemas.microsoft.com/office/drawing/2014/main" id="{3EEA81AB-BA23-C141-8B8B-C1AFA9713408}"/>
                  </a:ext>
                </a:extLst>
              </p:cNvPr>
              <p:cNvSpPr/>
              <p:nvPr>
                <p:custDataLst>
                  <p:tags r:id="rId52"/>
                </p:custDataLst>
              </p:nvPr>
            </p:nvSpPr>
            <p:spPr>
              <a:xfrm>
                <a:off x="3108428" y="3938781"/>
                <a:ext cx="185760" cy="185760"/>
              </a:xfrm>
              <a:prstGeom prst="ellipse">
                <a:avLst/>
              </a:prstGeom>
              <a:solidFill>
                <a:schemeClr val="bg1"/>
              </a:solidFill>
              <a:ln w="6350">
                <a:noFill/>
              </a:ln>
              <a:effectLst/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1pPr>
                <a:lvl2pPr marL="5486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2pPr>
                <a:lvl3pPr marL="10972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3pPr>
                <a:lvl4pPr marL="16459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4pPr>
                <a:lvl5pPr marL="219456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5pPr>
                <a:lvl6pPr marL="274320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6pPr>
                <a:lvl7pPr marL="32918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7pPr>
                <a:lvl8pPr marL="38404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8pPr>
                <a:lvl9pPr marL="43891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9pPr>
              </a:lstStyle>
              <a:p>
                <a:pPr algn="ctr" defTabSz="1097192">
                  <a:defRPr kumimoji="0" sz="2160" b="0" i="0" u="none" strike="noStrike" cap="none" spc="0" normalizeH="0" baseline="0" noProof="0">
                    <a:solidFill>
                      <a:srgbClr val="FFFFFF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pPr>
                <a:r>
                  <a:rPr lang="en-US" sz="960" b="1">
                    <a:solidFill>
                      <a:srgbClr val="6F2C91">
                        <a:lumMod val="75000"/>
                      </a:srgbClr>
                    </a:solidFill>
                    <a:cs typeface="Calibri" panose="020F0502020204030204" pitchFamily="34" charset="0"/>
                  </a:rPr>
                  <a:t>2</a:t>
                </a:r>
              </a:p>
            </p:txBody>
          </p:sp>
          <p:sp>
            <p:nvSpPr>
              <p:cNvPr id="183" name="Oval 572">
                <a:extLst>
                  <a:ext uri="{FF2B5EF4-FFF2-40B4-BE49-F238E27FC236}">
                    <a16:creationId xmlns:a16="http://schemas.microsoft.com/office/drawing/2014/main" id="{3EEA81AB-BA23-C141-8B8B-C1AFA9713408}"/>
                  </a:ext>
                </a:extLst>
              </p:cNvPr>
              <p:cNvSpPr/>
              <p:nvPr>
                <p:custDataLst>
                  <p:tags r:id="rId53"/>
                </p:custDataLst>
              </p:nvPr>
            </p:nvSpPr>
            <p:spPr>
              <a:xfrm>
                <a:off x="3381817" y="3069630"/>
                <a:ext cx="185760" cy="185760"/>
              </a:xfrm>
              <a:prstGeom prst="ellipse">
                <a:avLst/>
              </a:prstGeom>
              <a:solidFill>
                <a:schemeClr val="bg1"/>
              </a:solidFill>
              <a:ln w="6350">
                <a:noFill/>
              </a:ln>
              <a:effectLst/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1pPr>
                <a:lvl2pPr marL="5486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2pPr>
                <a:lvl3pPr marL="10972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3pPr>
                <a:lvl4pPr marL="16459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4pPr>
                <a:lvl5pPr marL="219456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5pPr>
                <a:lvl6pPr marL="274320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6pPr>
                <a:lvl7pPr marL="32918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7pPr>
                <a:lvl8pPr marL="38404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8pPr>
                <a:lvl9pPr marL="43891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9pPr>
              </a:lstStyle>
              <a:p>
                <a:pPr algn="ctr" defTabSz="1097192">
                  <a:defRPr kumimoji="0" sz="2160" b="0" i="0" u="none" strike="noStrike" cap="none" spc="0" normalizeH="0" baseline="0" noProof="0">
                    <a:solidFill>
                      <a:srgbClr val="FFFFFF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pPr>
                <a:r>
                  <a:rPr lang="en-US" sz="960" b="1">
                    <a:solidFill>
                      <a:srgbClr val="6F2C91">
                        <a:lumMod val="75000"/>
                      </a:srgbClr>
                    </a:solidFill>
                    <a:cs typeface="Calibri" panose="020F0502020204030204" pitchFamily="34" charset="0"/>
                  </a:rPr>
                  <a:t>3</a:t>
                </a:r>
              </a:p>
            </p:txBody>
          </p:sp>
          <p:sp>
            <p:nvSpPr>
              <p:cNvPr id="129" name="Oval 572">
                <a:extLst>
                  <a:ext uri="{FF2B5EF4-FFF2-40B4-BE49-F238E27FC236}">
                    <a16:creationId xmlns:a16="http://schemas.microsoft.com/office/drawing/2014/main" id="{3EEA81AB-BA23-C141-8B8B-C1AFA9713408}"/>
                  </a:ext>
                </a:extLst>
              </p:cNvPr>
              <p:cNvSpPr/>
              <p:nvPr>
                <p:custDataLst>
                  <p:tags r:id="rId54"/>
                </p:custDataLst>
              </p:nvPr>
            </p:nvSpPr>
            <p:spPr>
              <a:xfrm>
                <a:off x="3604600" y="4894264"/>
                <a:ext cx="185760" cy="185760"/>
              </a:xfrm>
              <a:prstGeom prst="ellipse">
                <a:avLst/>
              </a:prstGeom>
              <a:solidFill>
                <a:schemeClr val="bg1"/>
              </a:solidFill>
              <a:ln w="6350">
                <a:noFill/>
              </a:ln>
              <a:effectLst/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1pPr>
                <a:lvl2pPr marL="5486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2pPr>
                <a:lvl3pPr marL="10972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3pPr>
                <a:lvl4pPr marL="16459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4pPr>
                <a:lvl5pPr marL="219456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5pPr>
                <a:lvl6pPr marL="274320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6pPr>
                <a:lvl7pPr marL="32918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7pPr>
                <a:lvl8pPr marL="38404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8pPr>
                <a:lvl9pPr marL="43891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9pPr>
              </a:lstStyle>
              <a:p>
                <a:pPr algn="ctr" defTabSz="1097192">
                  <a:defRPr kumimoji="0" sz="2160" b="0" i="0" u="none" strike="noStrike" cap="none" spc="0" normalizeH="0" baseline="0" noProof="0">
                    <a:solidFill>
                      <a:srgbClr val="FFFFFF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pPr>
                <a:r>
                  <a:rPr lang="en-US" sz="960" b="1">
                    <a:solidFill>
                      <a:srgbClr val="6F2C91">
                        <a:lumMod val="75000"/>
                      </a:srgbClr>
                    </a:solidFill>
                    <a:cs typeface="Calibri" panose="020F0502020204030204" pitchFamily="34" charset="0"/>
                  </a:rPr>
                  <a:t>4</a:t>
                </a:r>
              </a:p>
            </p:txBody>
          </p:sp>
          <p:sp>
            <p:nvSpPr>
              <p:cNvPr id="134" name="TextBox 133">
                <a:extLst>
                  <a:ext uri="{FF2B5EF4-FFF2-40B4-BE49-F238E27FC236}">
                    <a16:creationId xmlns:a16="http://schemas.microsoft.com/office/drawing/2014/main" id="{CC3778C9-0C7E-134D-8DBC-C3D3E9C8B2D6}"/>
                  </a:ext>
                </a:extLst>
              </p:cNvPr>
              <p:cNvSpPr txBox="1"/>
              <p:nvPr>
                <p:custDataLst>
                  <p:tags r:id="rId55"/>
                </p:custDataLst>
              </p:nvPr>
            </p:nvSpPr>
            <p:spPr>
              <a:xfrm>
                <a:off x="3827593" y="4935347"/>
                <a:ext cx="889899" cy="132985"/>
              </a:xfrm>
              <a:prstGeom prst="rect">
                <a:avLst/>
              </a:prstGeom>
              <a:effectLst/>
            </p:spPr>
            <p:txBody>
              <a:bodyPr vert="horz" wrap="square" lIns="0" tIns="0" rIns="0" bIns="0" rtlCol="0" anchor="ctr">
                <a:spAutoFit/>
              </a:bodyPr>
              <a:lstStyle>
                <a:defPPr>
                  <a:defRPr lang="en-US"/>
                </a:defPPr>
                <a:lvl1pPr marL="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486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972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459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19456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4320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9184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4048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389120" algn="l" defTabSz="1097280" rtl="0" eaLnBrk="1" latinLnBrk="0" hangingPunct="1">
                  <a:defRPr sz="216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1097192">
                  <a:lnSpc>
                    <a:spcPct val="80000"/>
                  </a:lnSpc>
                  <a:spcBef>
                    <a:spcPct val="0"/>
                  </a:spcBef>
                  <a:spcAft>
                    <a:spcPct val="0"/>
                  </a:spcAft>
                  <a:defRPr kumimoji="0" sz="2160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r>
                  <a:rPr lang="en-US" sz="1080">
                    <a:solidFill>
                      <a:srgbClr val="6F2C91">
                        <a:lumMod val="75000"/>
                      </a:srgbClr>
                    </a:solidFill>
                    <a:latin typeface="Arial" pitchFamily="34" charset="0"/>
                    <a:ea typeface="Open Sans" panose="020B0606030504020204" pitchFamily="34" charset="0"/>
                    <a:cs typeface="Calibri" panose="020F0502020204030204" pitchFamily="34" charset="0"/>
                    <a:sym typeface="Arial" pitchFamily="34" charset="0"/>
                  </a:rPr>
                  <a:t>Chennai</a:t>
                </a:r>
              </a:p>
            </p:txBody>
          </p:sp>
        </p:grpSp>
        <p:pic>
          <p:nvPicPr>
            <p:cNvPr id="35" name="Picture 24">
              <a:extLst>
                <a:ext uri="{FF2B5EF4-FFF2-40B4-BE49-F238E27FC236}">
                  <a16:creationId xmlns:a16="http://schemas.microsoft.com/office/drawing/2014/main" id="{5E8F7ABF-914E-31F0-C5D3-D0BE2BC2D000}"/>
                </a:ext>
              </a:extLst>
            </p:cNvPr>
            <p:cNvPicPr>
              <a:picLocks noChangeAspect="1"/>
            </p:cNvPicPr>
            <p:nvPr>
              <p:custDataLst>
                <p:tags r:id="rId43"/>
              </p:custDataLst>
            </p:nvPr>
          </p:nvPicPr>
          <p:blipFill>
            <a:blip r:embed="rId132"/>
            <a:stretch>
              <a:fillRect/>
            </a:stretch>
          </p:blipFill>
          <p:spPr>
            <a:xfrm>
              <a:off x="2170976" y="3639678"/>
              <a:ext cx="276179" cy="244715"/>
            </a:xfrm>
            <a:prstGeom prst="rect">
              <a:avLst/>
            </a:prstGeom>
          </p:spPr>
        </p:pic>
        <p:pic>
          <p:nvPicPr>
            <p:cNvPr id="37" name="Picture 24">
              <a:extLst>
                <a:ext uri="{FF2B5EF4-FFF2-40B4-BE49-F238E27FC236}">
                  <a16:creationId xmlns:a16="http://schemas.microsoft.com/office/drawing/2014/main" id="{8CA325C7-A3E5-F35D-15C0-DF7660F75E0A}"/>
                </a:ext>
              </a:extLst>
            </p:cNvPr>
            <p:cNvPicPr>
              <a:picLocks noChangeAspect="1"/>
            </p:cNvPicPr>
            <p:nvPr>
              <p:custDataLst>
                <p:tags r:id="rId44"/>
              </p:custDataLst>
            </p:nvPr>
          </p:nvPicPr>
          <p:blipFill>
            <a:blip r:embed="rId132"/>
            <a:stretch>
              <a:fillRect/>
            </a:stretch>
          </p:blipFill>
          <p:spPr>
            <a:xfrm>
              <a:off x="2566292" y="2934373"/>
              <a:ext cx="276179" cy="244715"/>
            </a:xfrm>
            <a:prstGeom prst="rect">
              <a:avLst/>
            </a:prstGeom>
          </p:spPr>
        </p:pic>
        <p:pic>
          <p:nvPicPr>
            <p:cNvPr id="40" name="Picture 24">
              <a:extLst>
                <a:ext uri="{FF2B5EF4-FFF2-40B4-BE49-F238E27FC236}">
                  <a16:creationId xmlns:a16="http://schemas.microsoft.com/office/drawing/2014/main" id="{DC82FD85-D583-2E8B-E45E-2C9CDA35E8F9}"/>
                </a:ext>
              </a:extLst>
            </p:cNvPr>
            <p:cNvPicPr>
              <a:picLocks noChangeAspect="1"/>
            </p:cNvPicPr>
            <p:nvPr>
              <p:custDataLst>
                <p:tags r:id="rId45"/>
              </p:custDataLst>
            </p:nvPr>
          </p:nvPicPr>
          <p:blipFill>
            <a:blip r:embed="rId132"/>
            <a:stretch>
              <a:fillRect/>
            </a:stretch>
          </p:blipFill>
          <p:spPr>
            <a:xfrm>
              <a:off x="2253797" y="4440985"/>
              <a:ext cx="276179" cy="244715"/>
            </a:xfrm>
            <a:prstGeom prst="rect">
              <a:avLst/>
            </a:prstGeom>
          </p:spPr>
        </p:pic>
        <p:pic>
          <p:nvPicPr>
            <p:cNvPr id="41" name="Picture 24">
              <a:extLst>
                <a:ext uri="{FF2B5EF4-FFF2-40B4-BE49-F238E27FC236}">
                  <a16:creationId xmlns:a16="http://schemas.microsoft.com/office/drawing/2014/main" id="{20773BD9-A24C-E35A-7106-22653AAECEBE}"/>
                </a:ext>
              </a:extLst>
            </p:cNvPr>
            <p:cNvPicPr>
              <a:picLocks noChangeAspect="1"/>
            </p:cNvPicPr>
            <p:nvPr>
              <p:custDataLst>
                <p:tags r:id="rId46"/>
              </p:custDataLst>
            </p:nvPr>
          </p:nvPicPr>
          <p:blipFill>
            <a:blip r:embed="rId132"/>
            <a:stretch>
              <a:fillRect/>
            </a:stretch>
          </p:blipFill>
          <p:spPr>
            <a:xfrm>
              <a:off x="2627414" y="4594394"/>
              <a:ext cx="276179" cy="244715"/>
            </a:xfrm>
            <a:prstGeom prst="rect">
              <a:avLst/>
            </a:prstGeom>
          </p:spPr>
        </p:pic>
      </p:grpSp>
      <p:graphicFrame>
        <p:nvGraphicFramePr>
          <p:cNvPr id="43" name="Table 33">
            <a:extLst>
              <a:ext uri="{FF2B5EF4-FFF2-40B4-BE49-F238E27FC236}">
                <a16:creationId xmlns:a16="http://schemas.microsoft.com/office/drawing/2014/main" id="{9E401BC6-8D6A-AE76-01C1-5F4D101E249A}"/>
              </a:ext>
            </a:extLst>
          </p:cNvPr>
          <p:cNvGraphicFramePr>
            <a:graphicFrameLocks noGrp="1"/>
          </p:cNvGraphicFramePr>
          <p:nvPr>
            <p:custDataLst>
              <p:tags r:id="rId39"/>
            </p:custDataLst>
          </p:nvPr>
        </p:nvGraphicFramePr>
        <p:xfrm>
          <a:off x="3227867" y="4739806"/>
          <a:ext cx="3622842" cy="24659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87810">
                  <a:extLst>
                    <a:ext uri="{9D8B030D-6E8A-4147-A177-3AD203B41FA5}">
                      <a16:colId xmlns:a16="http://schemas.microsoft.com/office/drawing/2014/main" val="1725783927"/>
                    </a:ext>
                  </a:extLst>
                </a:gridCol>
                <a:gridCol w="788923">
                  <a:extLst>
                    <a:ext uri="{9D8B030D-6E8A-4147-A177-3AD203B41FA5}">
                      <a16:colId xmlns:a16="http://schemas.microsoft.com/office/drawing/2014/main" val="3175710031"/>
                    </a:ext>
                  </a:extLst>
                </a:gridCol>
                <a:gridCol w="808645">
                  <a:extLst>
                    <a:ext uri="{9D8B030D-6E8A-4147-A177-3AD203B41FA5}">
                      <a16:colId xmlns:a16="http://schemas.microsoft.com/office/drawing/2014/main" val="797905890"/>
                    </a:ext>
                  </a:extLst>
                </a:gridCol>
                <a:gridCol w="837464">
                  <a:extLst>
                    <a:ext uri="{9D8B030D-6E8A-4147-A177-3AD203B41FA5}">
                      <a16:colId xmlns:a16="http://schemas.microsoft.com/office/drawing/2014/main" val="3509573102"/>
                    </a:ext>
                  </a:extLst>
                </a:gridCol>
              </a:tblGrid>
              <a:tr h="351991">
                <a:tc>
                  <a:txBody>
                    <a:bodyPr/>
                    <a:lstStyle/>
                    <a:p>
                      <a:endParaRPr lang="x-none" sz="1200" b="0">
                        <a:solidFill>
                          <a:schemeClr val="tx1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43200" marR="432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x-none" sz="1300" b="1">
                          <a:solidFill>
                            <a:schemeClr val="tx1"/>
                          </a:solidFill>
                          <a:latin typeface="+mn-lt"/>
                          <a:cs typeface="Calibri" panose="020F0502020204030204" pitchFamily="34" charset="0"/>
                        </a:rPr>
                        <a:t>IT </a:t>
                      </a:r>
                      <a:endParaRPr lang="en-US" sz="1300" b="1">
                        <a:solidFill>
                          <a:schemeClr val="tx1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  <a:p>
                      <a:pPr algn="ctr"/>
                      <a:r>
                        <a:rPr lang="en-US" sz="800" b="1">
                          <a:solidFill>
                            <a:schemeClr val="tx1"/>
                          </a:solidFill>
                          <a:latin typeface="+mn-lt"/>
                          <a:cs typeface="Calibri" panose="020F0502020204030204" pitchFamily="34" charset="0"/>
                        </a:rPr>
                        <a:t>Labor pool</a:t>
                      </a:r>
                      <a:endParaRPr lang="x-none" sz="800" b="1">
                        <a:solidFill>
                          <a:schemeClr val="tx1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0" marR="432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462981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300" b="1">
                          <a:solidFill>
                            <a:schemeClr val="tx1"/>
                          </a:solidFill>
                          <a:latin typeface="+mn-lt"/>
                          <a:cs typeface="Calibri"/>
                        </a:rPr>
                        <a:t>IT </a:t>
                      </a:r>
                    </a:p>
                    <a:p>
                      <a:pPr marL="0" marR="0" lvl="0" indent="0" algn="ctr" defTabSz="1462981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b="1">
                          <a:solidFill>
                            <a:schemeClr val="tx1"/>
                          </a:solidFill>
                          <a:latin typeface="+mn-lt"/>
                          <a:cs typeface="Calibri"/>
                        </a:rPr>
                        <a:t>Graduates *</a:t>
                      </a:r>
                      <a:endParaRPr lang="x-none" sz="800" b="1">
                        <a:solidFill>
                          <a:schemeClr val="tx1"/>
                        </a:solidFill>
                        <a:latin typeface="+mn-lt"/>
                        <a:cs typeface="Calibri"/>
                      </a:endParaRPr>
                    </a:p>
                  </a:txBody>
                  <a:tcPr marL="0" marR="432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>
                          <a:solidFill>
                            <a:schemeClr val="tx1"/>
                          </a:solidFill>
                          <a:latin typeface="+mn-lt"/>
                          <a:cs typeface="Calibri"/>
                        </a:rPr>
                        <a:t>Luxoft </a:t>
                      </a:r>
                      <a:r>
                        <a:rPr lang="en-US" sz="800" b="1">
                          <a:solidFill>
                            <a:schemeClr val="tx1"/>
                          </a:solidFill>
                          <a:latin typeface="+mn-lt"/>
                          <a:cs typeface="Calibri"/>
                        </a:rPr>
                        <a:t>employees</a:t>
                      </a:r>
                      <a:endParaRPr lang="x-none" sz="700" b="1">
                        <a:solidFill>
                          <a:schemeClr val="tx1"/>
                        </a:solidFill>
                        <a:latin typeface="+mn-lt"/>
                        <a:cs typeface="Calibri"/>
                      </a:endParaRPr>
                    </a:p>
                  </a:txBody>
                  <a:tcPr marL="0" marR="432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22430194"/>
                  </a:ext>
                </a:extLst>
              </a:tr>
              <a:tr h="351991">
                <a:tc>
                  <a:txBody>
                    <a:bodyPr/>
                    <a:lstStyle/>
                    <a:p>
                      <a:pPr marL="0" marR="0" lvl="0" indent="0" algn="l" defTabSz="109728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300" b="0">
                          <a:solidFill>
                            <a:schemeClr val="tx1"/>
                          </a:solidFill>
                          <a:latin typeface="+mn-lt"/>
                          <a:ea typeface="Arial" pitchFamily="34" charset="0"/>
                          <a:cs typeface="Calibri"/>
                          <a:sym typeface="Arial" pitchFamily="34" charset="0"/>
                        </a:rPr>
                        <a:t>Bangalore</a:t>
                      </a:r>
                    </a:p>
                  </a:txBody>
                  <a:tcPr marL="43200" marR="432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uk-UA" sz="1300">
                          <a:solidFill>
                            <a:schemeClr val="tx1"/>
                          </a:solidFill>
                          <a:latin typeface="+mn-lt"/>
                          <a:cs typeface="Calibri"/>
                        </a:rPr>
                        <a:t>561,300</a:t>
                      </a:r>
                      <a:endParaRPr lang="x-none" sz="1300" b="0">
                        <a:solidFill>
                          <a:schemeClr val="tx1"/>
                        </a:solidFill>
                        <a:latin typeface="+mn-lt"/>
                        <a:cs typeface="Calibri"/>
                      </a:endParaRPr>
                    </a:p>
                  </a:txBody>
                  <a:tcPr marL="0" marR="109728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>
                          <a:solidFill>
                            <a:schemeClr val="tx1"/>
                          </a:solidFill>
                          <a:latin typeface="+mn-lt"/>
                          <a:cs typeface="Calibri"/>
                        </a:rPr>
                        <a:t>1</a:t>
                      </a:r>
                      <a:r>
                        <a:rPr lang="uk-UA" sz="1300">
                          <a:solidFill>
                            <a:schemeClr val="tx1"/>
                          </a:solidFill>
                          <a:latin typeface="+mn-lt"/>
                          <a:cs typeface="Calibri"/>
                        </a:rPr>
                        <a:t>7</a:t>
                      </a:r>
                      <a:r>
                        <a:rPr lang="en-US" sz="1300">
                          <a:solidFill>
                            <a:schemeClr val="tx1"/>
                          </a:solidFill>
                          <a:latin typeface="+mn-lt"/>
                          <a:cs typeface="Calibri"/>
                        </a:rPr>
                        <a:t>,</a:t>
                      </a:r>
                      <a:r>
                        <a:rPr lang="uk-UA" sz="1300">
                          <a:solidFill>
                            <a:schemeClr val="tx1"/>
                          </a:solidFill>
                          <a:latin typeface="+mn-lt"/>
                          <a:cs typeface="Calibri"/>
                        </a:rPr>
                        <a:t>75</a:t>
                      </a:r>
                      <a:r>
                        <a:rPr lang="en-US" sz="1300">
                          <a:solidFill>
                            <a:schemeClr val="tx1"/>
                          </a:solidFill>
                          <a:latin typeface="+mn-lt"/>
                          <a:cs typeface="Calibri"/>
                        </a:rPr>
                        <a:t>0</a:t>
                      </a:r>
                    </a:p>
                  </a:txBody>
                  <a:tcPr marL="0" marR="109728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/>
                          </a:solidFill>
                          <a:latin typeface="+mn-lt"/>
                          <a:cs typeface="Calibri"/>
                        </a:rPr>
                        <a:t>1,656</a:t>
                      </a:r>
                      <a:endParaRPr lang="en-GB" sz="1300" dirty="0">
                        <a:solidFill>
                          <a:schemeClr val="tx1"/>
                        </a:solidFill>
                        <a:latin typeface="+mn-lt"/>
                        <a:cs typeface="Calibri"/>
                      </a:endParaRPr>
                    </a:p>
                  </a:txBody>
                  <a:tcPr marL="0" marR="109728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05745154"/>
                  </a:ext>
                </a:extLst>
              </a:tr>
              <a:tr h="351991">
                <a:tc>
                  <a:txBody>
                    <a:bodyPr/>
                    <a:lstStyle/>
                    <a:p>
                      <a:pPr marL="0" marR="0" lvl="0" indent="0" algn="l" defTabSz="109728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300" b="0">
                          <a:solidFill>
                            <a:schemeClr val="tx1"/>
                          </a:solidFill>
                          <a:latin typeface="+mn-lt"/>
                          <a:ea typeface="Arial" pitchFamily="34" charset="0"/>
                          <a:cs typeface="Calibri"/>
                          <a:sym typeface="Arial" pitchFamily="34" charset="0"/>
                        </a:rPr>
                        <a:t>Pune</a:t>
                      </a:r>
                    </a:p>
                  </a:txBody>
                  <a:tcPr marL="43200" marR="432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uk-UA" sz="1300">
                          <a:solidFill>
                            <a:schemeClr val="tx1"/>
                          </a:solidFill>
                          <a:latin typeface="+mn-lt"/>
                          <a:cs typeface="Calibri"/>
                        </a:rPr>
                        <a:t>264,400</a:t>
                      </a:r>
                      <a:endParaRPr lang="x-none" sz="1300" b="0">
                        <a:solidFill>
                          <a:schemeClr val="tx1"/>
                        </a:solidFill>
                        <a:latin typeface="+mn-lt"/>
                        <a:cs typeface="Calibri"/>
                      </a:endParaRPr>
                    </a:p>
                  </a:txBody>
                  <a:tcPr marL="0" marR="109728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0">
                          <a:solidFill>
                            <a:schemeClr val="tx1"/>
                          </a:solidFill>
                          <a:latin typeface="+mn-lt"/>
                          <a:cs typeface="Calibri" panose="020F0502020204030204" pitchFamily="34" charset="0"/>
                        </a:rPr>
                        <a:t>3</a:t>
                      </a:r>
                      <a:r>
                        <a:rPr lang="uk-UA" sz="1300" b="0">
                          <a:solidFill>
                            <a:schemeClr val="tx1"/>
                          </a:solidFill>
                          <a:latin typeface="+mn-lt"/>
                          <a:cs typeface="Calibri" panose="020F0502020204030204" pitchFamily="34" charset="0"/>
                        </a:rPr>
                        <a:t>3</a:t>
                      </a:r>
                      <a:r>
                        <a:rPr lang="en-US" sz="1300" b="0">
                          <a:solidFill>
                            <a:schemeClr val="tx1"/>
                          </a:solidFill>
                          <a:latin typeface="+mn-lt"/>
                          <a:cs typeface="Calibri" panose="020F0502020204030204" pitchFamily="34" charset="0"/>
                        </a:rPr>
                        <a:t>,6</a:t>
                      </a:r>
                      <a:r>
                        <a:rPr lang="uk-UA" sz="1300" b="0">
                          <a:solidFill>
                            <a:schemeClr val="tx1"/>
                          </a:solidFill>
                          <a:latin typeface="+mn-lt"/>
                          <a:cs typeface="Calibri" panose="020F0502020204030204" pitchFamily="34" charset="0"/>
                        </a:rPr>
                        <a:t>3</a:t>
                      </a:r>
                      <a:r>
                        <a:rPr lang="en-US" sz="1300" b="0">
                          <a:solidFill>
                            <a:schemeClr val="tx1"/>
                          </a:solidFill>
                          <a:latin typeface="+mn-lt"/>
                          <a:cs typeface="Calibri" panose="020F0502020204030204" pitchFamily="34" charset="0"/>
                        </a:rPr>
                        <a:t>0</a:t>
                      </a:r>
                      <a:endParaRPr lang="x-none" sz="1300" b="0">
                        <a:solidFill>
                          <a:schemeClr val="tx1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0" marR="109728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300" b="0">
                          <a:solidFill>
                            <a:schemeClr val="tx1"/>
                          </a:solidFill>
                          <a:latin typeface="+mn-lt"/>
                          <a:cs typeface="Calibri"/>
                        </a:rPr>
                        <a:t>290</a:t>
                      </a:r>
                      <a:endParaRPr lang="x-none" sz="1300" b="0">
                        <a:solidFill>
                          <a:schemeClr val="tx1"/>
                        </a:solidFill>
                        <a:latin typeface="+mn-lt"/>
                        <a:cs typeface="Calibri"/>
                      </a:endParaRPr>
                    </a:p>
                  </a:txBody>
                  <a:tcPr marL="0" marR="109728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6998548"/>
                  </a:ext>
                </a:extLst>
              </a:tr>
              <a:tr h="351991">
                <a:tc>
                  <a:txBody>
                    <a:bodyPr/>
                    <a:lstStyle/>
                    <a:p>
                      <a:pPr marL="0" marR="0" lvl="0" indent="0" algn="l" defTabSz="109728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300" b="0">
                          <a:solidFill>
                            <a:schemeClr val="tx1"/>
                          </a:solidFill>
                          <a:latin typeface="+mn-lt"/>
                          <a:ea typeface="Arial" pitchFamily="34" charset="0"/>
                          <a:cs typeface="Calibri"/>
                          <a:sym typeface="Arial" pitchFamily="34" charset="0"/>
                        </a:rPr>
                        <a:t>Noida</a:t>
                      </a:r>
                    </a:p>
                  </a:txBody>
                  <a:tcPr marL="43200" marR="432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uk-UA" sz="1300">
                          <a:solidFill>
                            <a:schemeClr val="tx1"/>
                          </a:solidFill>
                          <a:latin typeface="+mn-lt"/>
                          <a:cs typeface="Calibri"/>
                        </a:rPr>
                        <a:t>85,800</a:t>
                      </a:r>
                      <a:endParaRPr lang="x-none" sz="1300" b="0">
                        <a:solidFill>
                          <a:schemeClr val="tx1"/>
                        </a:solidFill>
                        <a:latin typeface="+mn-lt"/>
                        <a:cs typeface="Calibri"/>
                      </a:endParaRPr>
                    </a:p>
                  </a:txBody>
                  <a:tcPr marL="0" marR="109728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0">
                          <a:solidFill>
                            <a:schemeClr val="tx1"/>
                          </a:solidFill>
                          <a:latin typeface="+mn-lt"/>
                          <a:cs typeface="Calibri" panose="020F0502020204030204" pitchFamily="34" charset="0"/>
                        </a:rPr>
                        <a:t>4</a:t>
                      </a:r>
                      <a:r>
                        <a:rPr lang="uk-UA" sz="1300" b="0">
                          <a:solidFill>
                            <a:schemeClr val="tx1"/>
                          </a:solidFill>
                          <a:latin typeface="+mn-lt"/>
                          <a:cs typeface="Calibri" panose="020F0502020204030204" pitchFamily="34" charset="0"/>
                        </a:rPr>
                        <a:t>4</a:t>
                      </a:r>
                      <a:r>
                        <a:rPr lang="en-US" sz="1300" b="0">
                          <a:solidFill>
                            <a:schemeClr val="tx1"/>
                          </a:solidFill>
                          <a:latin typeface="+mn-lt"/>
                          <a:cs typeface="Calibri" panose="020F0502020204030204" pitchFamily="34" charset="0"/>
                        </a:rPr>
                        <a:t>,</a:t>
                      </a:r>
                      <a:r>
                        <a:rPr lang="uk-UA" sz="1300" b="0">
                          <a:solidFill>
                            <a:schemeClr val="tx1"/>
                          </a:solidFill>
                          <a:latin typeface="+mn-lt"/>
                          <a:cs typeface="Calibri" panose="020F0502020204030204" pitchFamily="34" charset="0"/>
                        </a:rPr>
                        <a:t>620</a:t>
                      </a:r>
                      <a:endParaRPr lang="x-none" sz="1300" b="0">
                        <a:solidFill>
                          <a:schemeClr val="tx1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0" marR="109728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300" b="0">
                          <a:solidFill>
                            <a:schemeClr val="tx1"/>
                          </a:solidFill>
                          <a:latin typeface="+mn-lt"/>
                          <a:cs typeface="Calibri"/>
                        </a:rPr>
                        <a:t>1</a:t>
                      </a:r>
                      <a:r>
                        <a:rPr lang="en-US" sz="1300" b="0">
                          <a:solidFill>
                            <a:schemeClr val="tx1"/>
                          </a:solidFill>
                          <a:latin typeface="+mn-lt"/>
                          <a:cs typeface="Calibri"/>
                        </a:rPr>
                        <a:t>0</a:t>
                      </a:r>
                      <a:r>
                        <a:rPr lang="uk-UA" sz="1300" b="0">
                          <a:solidFill>
                            <a:schemeClr val="tx1"/>
                          </a:solidFill>
                          <a:latin typeface="+mn-lt"/>
                          <a:cs typeface="Calibri"/>
                        </a:rPr>
                        <a:t>0</a:t>
                      </a:r>
                      <a:endParaRPr lang="x-none" sz="1300" b="0">
                        <a:solidFill>
                          <a:schemeClr val="tx1"/>
                        </a:solidFill>
                        <a:latin typeface="+mn-lt"/>
                        <a:cs typeface="Calibri"/>
                      </a:endParaRPr>
                    </a:p>
                  </a:txBody>
                  <a:tcPr marL="0" marR="109728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28189"/>
                  </a:ext>
                </a:extLst>
              </a:tr>
              <a:tr h="351991">
                <a:tc>
                  <a:txBody>
                    <a:bodyPr/>
                    <a:lstStyle/>
                    <a:p>
                      <a:pPr marL="0" marR="0" lvl="0" indent="0" algn="l" defTabSz="109728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300" b="0">
                          <a:solidFill>
                            <a:schemeClr val="tx1"/>
                          </a:solidFill>
                          <a:latin typeface="+mn-lt"/>
                          <a:ea typeface="Arial" pitchFamily="34" charset="0"/>
                          <a:cs typeface="Calibri"/>
                          <a:sym typeface="Arial" pitchFamily="34" charset="0"/>
                        </a:rPr>
                        <a:t>Chennai</a:t>
                      </a:r>
                    </a:p>
                  </a:txBody>
                  <a:tcPr marL="43200" marR="432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uk-UA" sz="1300" b="0">
                          <a:solidFill>
                            <a:schemeClr val="tx1"/>
                          </a:solidFill>
                          <a:latin typeface="+mn-lt"/>
                          <a:cs typeface="Calibri"/>
                        </a:rPr>
                        <a:t>192,300</a:t>
                      </a:r>
                      <a:endParaRPr lang="x-none" sz="1300" b="0">
                        <a:solidFill>
                          <a:schemeClr val="tx1"/>
                        </a:solidFill>
                        <a:latin typeface="+mn-lt"/>
                        <a:cs typeface="Calibri"/>
                      </a:endParaRPr>
                    </a:p>
                  </a:txBody>
                  <a:tcPr marL="0" marR="109728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300" b="0">
                          <a:solidFill>
                            <a:schemeClr val="tx1"/>
                          </a:solidFill>
                          <a:latin typeface="+mn-lt"/>
                          <a:cs typeface="Calibri" panose="020F0502020204030204" pitchFamily="34" charset="0"/>
                        </a:rPr>
                        <a:t>26,480</a:t>
                      </a:r>
                      <a:endParaRPr lang="x-none" sz="1300" b="0">
                        <a:solidFill>
                          <a:schemeClr val="tx1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0" marR="109728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300" b="0">
                          <a:solidFill>
                            <a:schemeClr val="tx1"/>
                          </a:solidFill>
                          <a:latin typeface="+mn-lt"/>
                          <a:cs typeface="Calibri"/>
                        </a:rPr>
                        <a:t>210</a:t>
                      </a:r>
                    </a:p>
                  </a:txBody>
                  <a:tcPr marL="0" marR="109728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5061472"/>
                  </a:ext>
                </a:extLst>
              </a:tr>
              <a:tr h="351991">
                <a:tc>
                  <a:txBody>
                    <a:bodyPr/>
                    <a:lstStyle/>
                    <a:p>
                      <a:pPr marL="0" marR="0" lvl="0" indent="0" algn="l" defTabSz="109728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300" b="0">
                          <a:solidFill>
                            <a:schemeClr val="tx1"/>
                          </a:solidFill>
                          <a:latin typeface="+mn-lt"/>
                          <a:ea typeface="Arial" pitchFamily="34" charset="0"/>
                          <a:cs typeface="Calibri"/>
                          <a:sym typeface="Arial" pitchFamily="34" charset="0"/>
                        </a:rPr>
                        <a:t>Other India</a:t>
                      </a:r>
                    </a:p>
                  </a:txBody>
                  <a:tcPr marL="43200" marR="432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300" b="0">
                          <a:solidFill>
                            <a:schemeClr val="tx1"/>
                          </a:solidFill>
                          <a:latin typeface="+mn-lt"/>
                          <a:cs typeface="Calibri"/>
                        </a:rPr>
                        <a:t>-</a:t>
                      </a:r>
                      <a:endParaRPr lang="x-none" sz="1300" b="0">
                        <a:solidFill>
                          <a:schemeClr val="tx1"/>
                        </a:solidFill>
                        <a:latin typeface="+mn-lt"/>
                        <a:cs typeface="Calibri"/>
                      </a:endParaRPr>
                    </a:p>
                  </a:txBody>
                  <a:tcPr marL="0" marR="109728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0">
                          <a:solidFill>
                            <a:schemeClr val="tx1"/>
                          </a:solidFill>
                          <a:latin typeface="+mn-lt"/>
                          <a:cs typeface="Calibri" panose="020F0502020204030204" pitchFamily="34" charset="0"/>
                        </a:rPr>
                        <a:t>-</a:t>
                      </a:r>
                      <a:endParaRPr lang="x-none" sz="1300" b="0">
                        <a:solidFill>
                          <a:schemeClr val="tx1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0" marR="109728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300" b="0">
                          <a:solidFill>
                            <a:schemeClr val="tx1"/>
                          </a:solidFill>
                          <a:latin typeface="+mn-lt"/>
                          <a:cs typeface="Calibri"/>
                        </a:rPr>
                        <a:t>230</a:t>
                      </a:r>
                      <a:endParaRPr lang="x-none" sz="1300" b="0">
                        <a:solidFill>
                          <a:schemeClr val="tx1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0" marR="109728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8020088"/>
                  </a:ext>
                </a:extLst>
              </a:tr>
              <a:tr h="354032">
                <a:tc>
                  <a:txBody>
                    <a:bodyPr/>
                    <a:lstStyle/>
                    <a:p>
                      <a:pPr marL="0" marR="0" lvl="0" indent="0" algn="l" defTabSz="109728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300" b="1">
                          <a:solidFill>
                            <a:schemeClr val="tx1"/>
                          </a:solidFill>
                          <a:latin typeface="+mn-lt"/>
                          <a:ea typeface="Arial" pitchFamily="34" charset="0"/>
                          <a:cs typeface="Calibri"/>
                          <a:sym typeface="Arial" pitchFamily="34" charset="0"/>
                        </a:rPr>
                        <a:t>Total HC</a:t>
                      </a:r>
                    </a:p>
                  </a:txBody>
                  <a:tcPr marL="43200" marR="432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109728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uk-UA" sz="1400" b="1">
                          <a:solidFill>
                            <a:schemeClr val="bg1"/>
                          </a:solidFill>
                          <a:latin typeface="+mn-lt"/>
                          <a:cs typeface="Calibri"/>
                        </a:rPr>
                        <a:t>3,2</a:t>
                      </a:r>
                      <a:r>
                        <a:rPr lang="en-US" sz="1400" b="1">
                          <a:solidFill>
                            <a:schemeClr val="bg1"/>
                          </a:solidFill>
                          <a:latin typeface="+mn-lt"/>
                          <a:cs typeface="Calibri"/>
                        </a:rPr>
                        <a:t> mln</a:t>
                      </a:r>
                    </a:p>
                  </a:txBody>
                  <a:tcPr marL="0" marR="109728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Calibri"/>
                        </a:rPr>
                        <a:t>26</a:t>
                      </a:r>
                      <a:r>
                        <a:rPr lang="uk-UA" sz="14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Calibri"/>
                        </a:rPr>
                        <a:t>4</a:t>
                      </a:r>
                      <a:r>
                        <a:rPr lang="en-US" sz="14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Calibri"/>
                        </a:rPr>
                        <a:t>,4</a:t>
                      </a:r>
                      <a:r>
                        <a:rPr lang="uk-UA" sz="14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Calibri"/>
                        </a:rPr>
                        <a:t>0</a:t>
                      </a:r>
                      <a:r>
                        <a:rPr lang="en-US" sz="14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Calibri"/>
                        </a:rPr>
                        <a:t>0</a:t>
                      </a:r>
                      <a:endParaRPr lang="ru-RU" sz="1400" b="1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Calibri"/>
                      </a:endParaRPr>
                    </a:p>
                  </a:txBody>
                  <a:tcPr marL="0" marR="109728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68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Calibri"/>
                        </a:rPr>
                        <a:t>2,486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109728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24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411565"/>
                  </a:ext>
                </a:extLst>
              </a:tr>
            </a:tbl>
          </a:graphicData>
        </a:graphic>
      </p:graphicFrame>
      <p:sp>
        <p:nvSpPr>
          <p:cNvPr id="42" name="Rectangle 161">
            <a:extLst>
              <a:ext uri="{FF2B5EF4-FFF2-40B4-BE49-F238E27FC236}">
                <a16:creationId xmlns:a16="http://schemas.microsoft.com/office/drawing/2014/main" id="{BB8A7A46-CA96-FA37-5EC7-DD6E4E4A6D42}"/>
              </a:ext>
            </a:extLst>
          </p:cNvPr>
          <p:cNvSpPr/>
          <p:nvPr>
            <p:custDataLst>
              <p:tags r:id="rId40"/>
            </p:custDataLst>
          </p:nvPr>
        </p:nvSpPr>
        <p:spPr>
          <a:xfrm>
            <a:off x="3595152" y="7230677"/>
            <a:ext cx="3331662" cy="381643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4772" indent="-104772" algn="r" defTabSz="1097236">
              <a:defRPr/>
            </a:pPr>
            <a:r>
              <a:rPr lang="en-US" sz="1080" i="1">
                <a:solidFill>
                  <a:srgbClr val="FFFFFF">
                    <a:lumMod val="50000"/>
                  </a:srgbClr>
                </a:solidFill>
                <a:latin typeface="Arial"/>
                <a:ea typeface="Open Sans ExtraBold" panose="020B0706030804020204" pitchFamily="34" charset="0"/>
                <a:cs typeface="Open Sans ExtraBold" panose="020B0706030804020204" pitchFamily="34" charset="0"/>
              </a:rPr>
              <a:t>   </a:t>
            </a:r>
            <a:r>
              <a:rPr lang="uk-UA" sz="1080" i="1">
                <a:solidFill>
                  <a:srgbClr val="FFFFFF">
                    <a:lumMod val="50000"/>
                  </a:srgbClr>
                </a:solidFill>
                <a:latin typeface="Arial"/>
                <a:ea typeface="Open Sans ExtraBold" panose="020B0706030804020204" pitchFamily="34" charset="0"/>
                <a:cs typeface="Open Sans ExtraBold" panose="020B0706030804020204" pitchFamily="34" charset="0"/>
              </a:rPr>
              <a:t>*</a:t>
            </a:r>
            <a:r>
              <a:rPr lang="en-US" sz="800" i="1">
                <a:solidFill>
                  <a:srgbClr val="FFFFFF">
                    <a:lumMod val="50000"/>
                  </a:srgbClr>
                </a:solidFill>
                <a:latin typeface="Arial"/>
                <a:ea typeface="Open Sans ExtraBold" panose="020B0706030804020204" pitchFamily="34" charset="0"/>
                <a:cs typeface="Open Sans ExtraBold" panose="020B0706030804020204" pitchFamily="34" charset="0"/>
              </a:rPr>
              <a:t>IT graduates are based on provinces: Bangalore - Karnataka, Pune - Maharashtra, Noida - Utter Pradesh, Chennai - Tamil Nadu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E1344363-5B15-A626-1030-525B464D6607}"/>
              </a:ext>
            </a:extLst>
          </p:cNvPr>
          <p:cNvSpPr txBox="1"/>
          <p:nvPr>
            <p:custDataLst>
              <p:tags r:id="rId41"/>
            </p:custDataLst>
          </p:nvPr>
        </p:nvSpPr>
        <p:spPr>
          <a:xfrm>
            <a:off x="8392584" y="6286997"/>
            <a:ext cx="2065451" cy="1004378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>
            <a:spAutoFit/>
          </a:bodyPr>
          <a:lstStyle>
            <a:defPPr>
              <a:defRPr lang="uk-UA"/>
            </a:defPPr>
            <a:lvl1pPr marL="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9728" marR="0" lvl="2" indent="-100584" algn="l" defTabSz="1463004" rtl="0" eaLnBrk="1" fontAlgn="auto" latinLnBrk="0" hangingPunct="1">
              <a:spcAft>
                <a:spcPts val="160"/>
              </a:spcAft>
              <a:buClr>
                <a:srgbClr val="5C7FCE"/>
              </a:buClr>
              <a:buSzPct val="125000"/>
              <a:buFontTx/>
              <a:buNone/>
              <a:defRPr/>
            </a:pPr>
            <a:r>
              <a:rPr kumimoji="0" lang="en-US" sz="96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Financial Services</a:t>
            </a:r>
          </a:p>
          <a:p>
            <a:pPr marL="109728" lvl="2" indent="-100584" defTabSz="1463004">
              <a:buClr>
                <a:srgbClr val="000000"/>
              </a:buClr>
              <a:buSzTx/>
              <a:buFont typeface="Arial" pitchFamily="34" charset="0"/>
              <a:buChar char="•"/>
              <a:defRPr/>
            </a:pPr>
            <a:r>
              <a:rPr lang="en-US" sz="96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Core Banking solutions</a:t>
            </a:r>
          </a:p>
          <a:p>
            <a:pPr marL="109728" lvl="2" indent="-100584" defTabSz="1463004">
              <a:buClr>
                <a:srgbClr val="000000"/>
              </a:buClr>
              <a:buSzTx/>
              <a:buFont typeface="Arial" pitchFamily="34" charset="0"/>
              <a:buChar char="•"/>
              <a:defRPr/>
            </a:pPr>
            <a:r>
              <a:rPr lang="en-US" sz="96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Trading &amp; Risk solutions</a:t>
            </a:r>
          </a:p>
          <a:p>
            <a:pPr marL="109728" lvl="2" indent="-100584" defTabSz="1463004">
              <a:buClr>
                <a:srgbClr val="000000"/>
              </a:buClr>
              <a:buSzTx/>
              <a:buFont typeface="Arial" pitchFamily="34" charset="0"/>
              <a:buChar char="•"/>
              <a:defRPr/>
            </a:pPr>
            <a:r>
              <a:rPr lang="en-US" sz="96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Client Lifecycle Management</a:t>
            </a:r>
          </a:p>
          <a:p>
            <a:pPr marL="109728" lvl="2" indent="-100584" defTabSz="1463004">
              <a:buClr>
                <a:srgbClr val="000000"/>
              </a:buClr>
              <a:buSzTx/>
              <a:buFont typeface="Arial" pitchFamily="34" charset="0"/>
              <a:buChar char="•"/>
              <a:defRPr/>
            </a:pPr>
            <a:r>
              <a:rPr lang="en-US" sz="96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Wealth Management solutions</a:t>
            </a:r>
          </a:p>
          <a:p>
            <a:pPr marL="109728" lvl="2" indent="-100584" defTabSz="1463004">
              <a:buClr>
                <a:srgbClr val="000000"/>
              </a:buClr>
              <a:buSzTx/>
              <a:buFont typeface="Arial" pitchFamily="34" charset="0"/>
              <a:buChar char="•"/>
              <a:defRPr/>
            </a:pPr>
            <a:r>
              <a:rPr lang="en-US" sz="96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Treasury solutions</a:t>
            </a:r>
          </a:p>
        </p:txBody>
      </p:sp>
    </p:spTree>
    <p:extLst>
      <p:ext uri="{BB962C8B-B14F-4D97-AF65-F5344CB8AC3E}">
        <p14:creationId xmlns:p14="http://schemas.microsoft.com/office/powerpoint/2010/main" val="1372561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D8CF462-09A9-4BC1-AD41-0E0B7ABFAAFD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pPr marL="0" marR="0" lvl="0" indent="0" algn="l" defTabSz="1462981" fontAlgn="auto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SzTx/>
              <a:buNone/>
              <a:defRPr kumimoji="0" sz="3600" b="1" i="0" u="none" strike="noStrike" cap="none" spc="0" normalizeH="0" baseline="0" noProof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5F249F"/>
                </a:solidFill>
                <a:uLnTx/>
                <a:uFillTx/>
                <a:latin typeface="+mj-lt"/>
                <a:ea typeface="+mj-ea"/>
                <a:cs typeface="+mj-cs"/>
                <a:sym typeface="Wingdings" charset="2"/>
              </a:defRPr>
            </a:pPr>
            <a:r>
              <a:rPr kumimoji="0" lang="en-US" sz="3600" b="1" i="0" u="none" strike="noStrike" cap="none" spc="0" normalizeH="0" baseline="0" noProof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5F249F"/>
                </a:solidFill>
                <a:uLnTx/>
                <a:uFillTx/>
                <a:latin typeface="+mj-lt"/>
                <a:ea typeface="+mj-ea"/>
                <a:cs typeface="+mj-cs"/>
                <a:sym typeface="Wingdings" charset="2"/>
              </a:rPr>
              <a:t>Luxoft Global Capabilities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B03B44EE-FB10-6A4F-B341-505861FFED1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62449" y="1766522"/>
            <a:ext cx="5158926" cy="429669"/>
          </a:xfrm>
          <a:prstGeom prst="rect">
            <a:avLst/>
          </a:prstGeom>
        </p:spPr>
        <p:txBody>
          <a:bodyPr wrap="square" lIns="0">
            <a:spAutoFit/>
          </a:bodyPr>
          <a:lstStyle>
            <a:defPPr>
              <a:defRPr lang="en-US"/>
            </a:defPPr>
            <a:lvl1pPr marL="0" lvl="0" algn="ctr" defTabSz="1755613" rtl="0" eaLnBrk="1" latinLnBrk="0" hangingPunct="1">
              <a:spcBef>
                <a:spcPct val="0"/>
              </a:spcBef>
              <a:spcAft>
                <a:spcPts val="432"/>
              </a:spcAft>
              <a:defRPr sz="1728" kern="1200">
                <a:solidFill>
                  <a:srgbClr val="5F249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1462952" rtl="0" eaLnBrk="1" fontAlgn="auto" latinLnBrk="0" hangingPunct="1">
              <a:lnSpc>
                <a:spcPts val="288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728" b="0" i="0" normalizeH="0" noProof="0">
                <a:solidFill>
                  <a:srgbClr val="5F249F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F249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83% of headcount in 8 largest locations</a:t>
            </a:r>
            <a:endParaRPr kumimoji="0" lang="ru-RU" sz="2000" b="1" i="0" u="none" strike="noStrike" kern="1200" cap="none" spc="0" normalizeH="0" baseline="0" noProof="0">
              <a:ln>
                <a:noFill/>
              </a:ln>
              <a:solidFill>
                <a:srgbClr val="5F249F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AAA8DF3-A54C-7D46-A983-E6E1FBC84079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1786216" y="5284590"/>
            <a:ext cx="1581233" cy="1230608"/>
            <a:chOff x="13823435" y="6304429"/>
            <a:chExt cx="1897481" cy="1476728"/>
          </a:xfrm>
        </p:grpSpPr>
        <p:sp>
          <p:nvSpPr>
            <p:cNvPr id="194" name="TextBox 193">
              <a:extLst>
                <a:ext uri="{FF2B5EF4-FFF2-40B4-BE49-F238E27FC236}">
                  <a16:creationId xmlns:a16="http://schemas.microsoft.com/office/drawing/2014/main" id="{1D92547D-1480-7047-A89C-C203F98B6BE5}"/>
                </a:ext>
              </a:extLst>
            </p:cNvPr>
            <p:cNvSpPr txBox="1"/>
            <p:nvPr>
              <p:custDataLst>
                <p:tags r:id="rId145"/>
              </p:custDataLst>
            </p:nvPr>
          </p:nvSpPr>
          <p:spPr>
            <a:xfrm>
              <a:off x="14175876" y="7337959"/>
              <a:ext cx="1545040" cy="4431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</a:lstStyle>
            <a:p>
              <a:pPr marL="0" marR="0" lvl="0" indent="0" algn="l" defTabSz="146280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Including Admin staff </a:t>
              </a:r>
              <a:b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</a:b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as of </a:t>
              </a:r>
              <a:r>
                <a:rPr kumimoji="0" lang="en-US" sz="900" b="0" i="0" normalizeH="0" noProof="0">
                  <a:solidFill>
                    <a:srgbClr val="000000"/>
                  </a:solidFill>
                  <a:uLnTx/>
                  <a:uFillTx/>
                  <a:latin typeface="Arial" pitchFamily="34" charset="0"/>
                  <a:cs typeface="Arial" pitchFamily="34" charset="0"/>
                </a:rPr>
                <a:t>Mar</a:t>
              </a: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 2023</a:t>
              </a:r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B1D4FE2B-C45B-634A-B941-015E1A1FD0CF}"/>
                </a:ext>
              </a:extLst>
            </p:cNvPr>
            <p:cNvGrpSpPr/>
            <p:nvPr>
              <p:custDataLst>
                <p:tags r:id="rId146"/>
              </p:custDataLst>
            </p:nvPr>
          </p:nvGrpSpPr>
          <p:grpSpPr>
            <a:xfrm>
              <a:off x="13823435" y="6304429"/>
              <a:ext cx="1892210" cy="1155589"/>
              <a:chOff x="13823431" y="6304429"/>
              <a:chExt cx="1892210" cy="1155589"/>
            </a:xfrm>
          </p:grpSpPr>
          <p:sp>
            <p:nvSpPr>
              <p:cNvPr id="87" name="TextBox 86">
                <a:extLst>
                  <a:ext uri="{FF2B5EF4-FFF2-40B4-BE49-F238E27FC236}">
                    <a16:creationId xmlns:a16="http://schemas.microsoft.com/office/drawing/2014/main" id="{3CE8B097-B0C9-4D13-9C8D-222852158C7C}"/>
                  </a:ext>
                </a:extLst>
              </p:cNvPr>
              <p:cNvSpPr txBox="1"/>
              <p:nvPr>
                <p:custDataLst>
                  <p:tags r:id="rId147"/>
                </p:custDataLst>
              </p:nvPr>
            </p:nvSpPr>
            <p:spPr>
              <a:xfrm>
                <a:off x="13823431" y="6304429"/>
                <a:ext cx="1892210" cy="950158"/>
              </a:xfrm>
              <a:prstGeom prst="rect">
                <a:avLst/>
              </a:prstGeom>
              <a:noFill/>
            </p:spPr>
            <p:txBody>
              <a:bodyPr wrap="none" rtlCol="0">
                <a:noAutofit/>
              </a:bodyPr>
              <a:lstStyle>
                <a:defPPr>
                  <a:defRPr lang="en-US"/>
                </a:defPPr>
              </a:lstStyle>
              <a:p>
                <a:pPr marL="0" marR="0" lvl="0" indent="0" algn="ctr" defTabSz="1755542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r>
                  <a:rPr kumimoji="0" lang="en-US" sz="4608" b="1" i="0" u="none" strike="noStrike" kern="1200" cap="none" spc="0" normalizeH="0" baseline="0" noProof="0">
                    <a:ln>
                      <a:noFill/>
                    </a:ln>
                    <a:solidFill>
                      <a:srgbClr val="5F249F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rPr>
                  <a:t>~1</a:t>
                </a:r>
                <a:r>
                  <a:rPr kumimoji="0" lang="en-US" sz="4608" b="1" i="0" normalizeH="0" noProof="0">
                    <a:solidFill>
                      <a:srgbClr val="5F249F"/>
                    </a:solidFill>
                    <a:uLnTx/>
                    <a:uFillTx/>
                    <a:latin typeface="Arial" pitchFamily="34" charset="0"/>
                    <a:cs typeface="Arial" pitchFamily="34" charset="0"/>
                  </a:rPr>
                  <a:t>7</a:t>
                </a:r>
                <a:r>
                  <a:rPr kumimoji="0" lang="en-US" sz="4608" b="1" i="0" u="none" strike="noStrike" kern="1200" cap="none" spc="0" normalizeH="0" baseline="0" noProof="0">
                    <a:ln>
                      <a:noFill/>
                    </a:ln>
                    <a:solidFill>
                      <a:srgbClr val="5F249F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rPr>
                  <a:t>.6k</a:t>
                </a:r>
                <a:endParaRPr kumimoji="0" lang="ru-RU" sz="4608" b="1" i="0" u="none" strike="noStrike" kern="1200" cap="none" spc="0" normalizeH="0" baseline="0" noProof="0">
                  <a:ln>
                    <a:noFill/>
                  </a:ln>
                  <a:solidFill>
                    <a:srgbClr val="5F249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8" name="TextBox 87">
                <a:extLst>
                  <a:ext uri="{FF2B5EF4-FFF2-40B4-BE49-F238E27FC236}">
                    <a16:creationId xmlns:a16="http://schemas.microsoft.com/office/drawing/2014/main" id="{24C8DE9A-4605-435C-B443-7B60D63A9137}"/>
                  </a:ext>
                </a:extLst>
              </p:cNvPr>
              <p:cNvSpPr txBox="1"/>
              <p:nvPr>
                <p:custDataLst>
                  <p:tags r:id="rId148"/>
                </p:custDataLst>
              </p:nvPr>
            </p:nvSpPr>
            <p:spPr>
              <a:xfrm>
                <a:off x="14136067" y="7016174"/>
                <a:ext cx="1428302" cy="443844"/>
              </a:xfrm>
              <a:prstGeom prst="rect">
                <a:avLst/>
              </a:prstGeom>
              <a:noFill/>
            </p:spPr>
            <p:txBody>
              <a:bodyPr wrap="none" rtlCol="0">
                <a:noAutofit/>
              </a:bodyPr>
              <a:lstStyle>
                <a:defPPr>
                  <a:defRPr lang="en-US"/>
                </a:defPPr>
              </a:lstStyle>
              <a:p>
                <a:pPr marL="0" marR="0" lvl="0" indent="0" algn="l" defTabSz="1755542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r>
                  <a:rPr kumimoji="0" lang="en-US" sz="1440" b="0" i="0" u="none" strike="noStrike" kern="1200" cap="none" spc="0" normalizeH="0" baseline="0" noProof="0">
                    <a:ln>
                      <a:noFill/>
                    </a:ln>
                    <a:solidFill>
                      <a:srgbClr val="5F249F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rPr>
                  <a:t>Employees</a:t>
                </a:r>
              </a:p>
            </p:txBody>
          </p:sp>
        </p:grp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3183445-DCD9-A740-B5ED-26EAA62098A6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13604" y="2472255"/>
            <a:ext cx="824752" cy="932294"/>
            <a:chOff x="782237" y="3464731"/>
            <a:chExt cx="989702" cy="1118753"/>
          </a:xfrm>
        </p:grpSpPr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6371F438-B533-3C41-AB64-369E25C8D0E9}"/>
                </a:ext>
              </a:extLst>
            </p:cNvPr>
            <p:cNvSpPr/>
            <p:nvPr>
              <p:custDataLst>
                <p:tags r:id="rId140"/>
              </p:custDataLst>
            </p:nvPr>
          </p:nvSpPr>
          <p:spPr>
            <a:xfrm>
              <a:off x="782237" y="4217846"/>
              <a:ext cx="989702" cy="365639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US"/>
              </a:defPPr>
            </a:lstStyle>
            <a:p>
              <a:pPr marL="0" marR="0" lvl="0" indent="0" algn="ctr" defTabSz="1462952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kumimoji="0" lang="en-US" sz="126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Ukraine</a:t>
              </a:r>
              <a:endParaRPr kumimoji="0" lang="ru-RU" sz="126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5207A5BF-412D-E64C-8260-C8A8A834285B}"/>
                </a:ext>
              </a:extLst>
            </p:cNvPr>
            <p:cNvGrpSpPr/>
            <p:nvPr>
              <p:custDataLst>
                <p:tags r:id="rId141"/>
              </p:custDataLst>
            </p:nvPr>
          </p:nvGrpSpPr>
          <p:grpSpPr>
            <a:xfrm>
              <a:off x="974547" y="3465190"/>
              <a:ext cx="621948" cy="621762"/>
              <a:chOff x="8362488" y="4340684"/>
              <a:chExt cx="627264" cy="622080"/>
            </a:xfrm>
          </p:grpSpPr>
          <p:sp>
            <p:nvSpPr>
              <p:cNvPr id="182" name="Oval 181">
                <a:extLst>
                  <a:ext uri="{FF2B5EF4-FFF2-40B4-BE49-F238E27FC236}">
                    <a16:creationId xmlns:a16="http://schemas.microsoft.com/office/drawing/2014/main" id="{4CEC4404-EAC4-F94C-8F1D-F53C9C2BEEAF}"/>
                  </a:ext>
                </a:extLst>
              </p:cNvPr>
              <p:cNvSpPr>
                <a:spLocks noChangeAspect="1"/>
              </p:cNvSpPr>
              <p:nvPr>
                <p:custDataLst>
                  <p:tags r:id="rId143"/>
                </p:custDataLst>
              </p:nvPr>
            </p:nvSpPr>
            <p:spPr>
              <a:xfrm>
                <a:off x="8364348" y="4340684"/>
                <a:ext cx="623569" cy="622080"/>
              </a:xfrm>
              <a:prstGeom prst="ellipse">
                <a:avLst/>
              </a:prstGeom>
              <a:solidFill>
                <a:srgbClr val="005BBB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1pPr>
                <a:lvl2pPr marL="658368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2pPr>
                <a:lvl3pPr marL="1316736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3pPr>
                <a:lvl4pPr marL="1975104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4pPr>
                <a:lvl5pPr marL="2633472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5pPr>
                <a:lvl6pPr marL="3291840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6pPr>
                <a:lvl7pPr marL="3950208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7pPr>
                <a:lvl8pPr marL="4608576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8pPr>
                <a:lvl9pPr marL="5266944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9pPr>
              </a:lstStyle>
              <a:p>
                <a:pPr marL="0" marR="0" lvl="0" indent="0" algn="ctr" defTabSz="10972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cap="none" spc="0" normalizeH="0" baseline="0" noProof="0">
                    <a:solidFill>
                      <a:srgbClr val="FFFFFF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pPr>
                <a:endParaRPr kumimoji="0" lang="en-US" sz="16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  <a:sym typeface="Wingdings" charset="2"/>
                </a:endParaRPr>
              </a:p>
            </p:txBody>
          </p:sp>
          <p:sp>
            <p:nvSpPr>
              <p:cNvPr id="183" name="Graphic 2">
                <a:extLst>
                  <a:ext uri="{FF2B5EF4-FFF2-40B4-BE49-F238E27FC236}">
                    <a16:creationId xmlns:a16="http://schemas.microsoft.com/office/drawing/2014/main" id="{97D37804-E54C-ED42-B6F2-6EFD75884ADF}"/>
                  </a:ext>
                </a:extLst>
              </p:cNvPr>
              <p:cNvSpPr/>
              <p:nvPr>
                <p:custDataLst>
                  <p:tags r:id="rId144"/>
                </p:custDataLst>
              </p:nvPr>
            </p:nvSpPr>
            <p:spPr>
              <a:xfrm>
                <a:off x="8362488" y="4651379"/>
                <a:ext cx="627264" cy="311384"/>
              </a:xfrm>
              <a:custGeom>
                <a:avLst/>
                <a:gdLst>
                  <a:gd name="connsiteX0" fmla="*/ 211915 w 423829"/>
                  <a:gd name="connsiteY0" fmla="*/ 216239 h 216239"/>
                  <a:gd name="connsiteX1" fmla="*/ 423830 w 423829"/>
                  <a:gd name="connsiteY1" fmla="*/ 0 h 216239"/>
                  <a:gd name="connsiteX2" fmla="*/ 0 w 423829"/>
                  <a:gd name="connsiteY2" fmla="*/ 0 h 216239"/>
                  <a:gd name="connsiteX3" fmla="*/ 211915 w 423829"/>
                  <a:gd name="connsiteY3" fmla="*/ 216239 h 216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3829" h="216239">
                    <a:moveTo>
                      <a:pt x="211915" y="216239"/>
                    </a:moveTo>
                    <a:cubicBezTo>
                      <a:pt x="329645" y="216239"/>
                      <a:pt x="423830" y="120133"/>
                      <a:pt x="423830" y="0"/>
                    </a:cubicBezTo>
                    <a:lnTo>
                      <a:pt x="0" y="0"/>
                    </a:lnTo>
                    <a:cubicBezTo>
                      <a:pt x="0" y="124938"/>
                      <a:pt x="94184" y="216239"/>
                      <a:pt x="211915" y="216239"/>
                    </a:cubicBezTo>
                    <a:close/>
                  </a:path>
                </a:pathLst>
              </a:custGeom>
              <a:solidFill>
                <a:srgbClr val="FFD500"/>
              </a:solidFill>
              <a:ln w="47053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</a:lstStyle>
              <a:p>
                <a:pPr marL="0" marR="0" lvl="0" indent="0" algn="l" defTabSz="10972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kumimoji="0" lang="en-US" sz="168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1FD1E780-F2E3-E443-BFEB-3258DE1DB11C}"/>
                </a:ext>
              </a:extLst>
            </p:cNvPr>
            <p:cNvSpPr/>
            <p:nvPr>
              <p:custDataLst>
                <p:tags r:id="rId142"/>
              </p:custDataLst>
            </p:nvPr>
          </p:nvSpPr>
          <p:spPr>
            <a:xfrm>
              <a:off x="974547" y="3464732"/>
              <a:ext cx="622080" cy="622080"/>
            </a:xfrm>
            <a:prstGeom prst="ellipse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marR="0" indent="0" algn="l" defTabSz="131673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658368" marR="0" indent="0" algn="l" defTabSz="131673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1316736" marR="0" indent="0" algn="l" defTabSz="131673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975104" marR="0" indent="0" algn="l" defTabSz="131673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2633472" marR="0" indent="0" algn="l" defTabSz="131673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3291840" marR="0" indent="0" algn="l" defTabSz="131673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3950208" marR="0" indent="0" algn="l" defTabSz="131673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4608576" marR="0" indent="0" algn="l" defTabSz="131673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5266944" marR="0" indent="0" algn="l" defTabSz="131673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marL="0" marR="0" lvl="0" indent="0" algn="ctr" defTabSz="109723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u="none" strike="noStrike" cap="none" spc="0" normalizeH="0" baseline="0" noProof="0">
                  <a:solidFill>
                    <a:srgbClr val="FFFFFF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pPr>
              <a:endParaRPr kumimoji="0" lang="en-US" sz="216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  <a:sym typeface="Wingdings" charset="2"/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A6B5DD41-E828-FD40-9344-26F39A18D558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2193012" y="2472255"/>
            <a:ext cx="955259" cy="932294"/>
            <a:chOff x="2984935" y="3464731"/>
            <a:chExt cx="1146311" cy="1118753"/>
          </a:xfrm>
        </p:grpSpPr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651EF75B-F152-DF4E-A9CE-04BF01D0FB9D}"/>
                </a:ext>
              </a:extLst>
            </p:cNvPr>
            <p:cNvSpPr/>
            <p:nvPr>
              <p:custDataLst>
                <p:tags r:id="rId133"/>
              </p:custDataLst>
            </p:nvPr>
          </p:nvSpPr>
          <p:spPr>
            <a:xfrm>
              <a:off x="2984935" y="4217846"/>
              <a:ext cx="1146311" cy="365639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US"/>
              </a:defPPr>
            </a:lstStyle>
            <a:p>
              <a:pPr marL="0" marR="0" lvl="0" indent="0" algn="ctr" defTabSz="1462952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kumimoji="0" lang="en-US" sz="126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Romania</a:t>
              </a:r>
              <a:endParaRPr kumimoji="0" lang="ru-RU" sz="126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E8EA847C-A13B-554E-97FB-96901ED9F19E}"/>
                </a:ext>
              </a:extLst>
            </p:cNvPr>
            <p:cNvGrpSpPr/>
            <p:nvPr>
              <p:custDataLst>
                <p:tags r:id="rId134"/>
              </p:custDataLst>
            </p:nvPr>
          </p:nvGrpSpPr>
          <p:grpSpPr>
            <a:xfrm>
              <a:off x="3238395" y="3465190"/>
              <a:ext cx="622080" cy="622080"/>
              <a:chOff x="11176409" y="4339909"/>
              <a:chExt cx="627805" cy="62208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7487FAD9-174F-0E40-B47F-5F3957FEB85E}"/>
                  </a:ext>
                </a:extLst>
              </p:cNvPr>
              <p:cNvSpPr>
                <a:spLocks noChangeAspect="1"/>
              </p:cNvSpPr>
              <p:nvPr>
                <p:custDataLst>
                  <p:tags r:id="rId136"/>
                </p:custDataLst>
              </p:nvPr>
            </p:nvSpPr>
            <p:spPr>
              <a:xfrm>
                <a:off x="11176693" y="4339909"/>
                <a:ext cx="623569" cy="622080"/>
              </a:xfrm>
              <a:prstGeom prst="ellipse">
                <a:avLst/>
              </a:prstGeom>
              <a:solidFill>
                <a:srgbClr val="FDCA16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1pPr>
                <a:lvl2pPr marL="658368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2pPr>
                <a:lvl3pPr marL="1316736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3pPr>
                <a:lvl4pPr marL="1975104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4pPr>
                <a:lvl5pPr marL="2633472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5pPr>
                <a:lvl6pPr marL="3291840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6pPr>
                <a:lvl7pPr marL="3950208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7pPr>
                <a:lvl8pPr marL="4608576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8pPr>
                <a:lvl9pPr marL="5266944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9pPr>
              </a:lstStyle>
              <a:p>
                <a:pPr marL="0" marR="0" lvl="0" indent="0" algn="ctr" defTabSz="10972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cap="none" spc="0" normalizeH="0" baseline="0" noProof="0">
                    <a:solidFill>
                      <a:srgbClr val="FFFFFF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pPr>
                <a:endParaRPr kumimoji="0" lang="en-US" sz="16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  <a:sym typeface="Wingdings" charset="2"/>
                </a:endParaRPr>
              </a:p>
            </p:txBody>
          </p:sp>
          <p:grpSp>
            <p:nvGrpSpPr>
              <p:cNvPr id="164" name="Group 163">
                <a:extLst>
                  <a:ext uri="{FF2B5EF4-FFF2-40B4-BE49-F238E27FC236}">
                    <a16:creationId xmlns:a16="http://schemas.microsoft.com/office/drawing/2014/main" id="{4D0C4DB2-EC6F-6A4F-83BF-C8E077C49BEC}"/>
                  </a:ext>
                </a:extLst>
              </p:cNvPr>
              <p:cNvGrpSpPr/>
              <p:nvPr>
                <p:custDataLst>
                  <p:tags r:id="rId137"/>
                </p:custDataLst>
              </p:nvPr>
            </p:nvGrpSpPr>
            <p:grpSpPr>
              <a:xfrm>
                <a:off x="11176409" y="4360540"/>
                <a:ext cx="627805" cy="581251"/>
                <a:chOff x="11131993" y="2850129"/>
                <a:chExt cx="609085" cy="581251"/>
              </a:xfrm>
            </p:grpSpPr>
            <p:sp>
              <p:nvSpPr>
                <p:cNvPr id="165" name="Graphic 2">
                  <a:extLst>
                    <a:ext uri="{FF2B5EF4-FFF2-40B4-BE49-F238E27FC236}">
                      <a16:creationId xmlns:a16="http://schemas.microsoft.com/office/drawing/2014/main" id="{0843C038-4ADA-094A-A4DC-EF5826EA965B}"/>
                    </a:ext>
                  </a:extLst>
                </p:cNvPr>
                <p:cNvSpPr/>
                <p:nvPr>
                  <p:custDataLst>
                    <p:tags r:id="rId138"/>
                  </p:custDataLst>
                </p:nvPr>
              </p:nvSpPr>
              <p:spPr>
                <a:xfrm>
                  <a:off x="11537641" y="2850129"/>
                  <a:ext cx="203437" cy="581251"/>
                </a:xfrm>
                <a:custGeom>
                  <a:avLst/>
                  <a:gdLst>
                    <a:gd name="connsiteX0" fmla="*/ 141276 w 141276"/>
                    <a:gd name="connsiteY0" fmla="*/ 201824 h 403647"/>
                    <a:gd name="connsiteX1" fmla="*/ 0 w 141276"/>
                    <a:gd name="connsiteY1" fmla="*/ 0 h 403647"/>
                    <a:gd name="connsiteX2" fmla="*/ 0 w 141276"/>
                    <a:gd name="connsiteY2" fmla="*/ 403647 h 403647"/>
                    <a:gd name="connsiteX3" fmla="*/ 141276 w 141276"/>
                    <a:gd name="connsiteY3" fmla="*/ 201824 h 4036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41276" h="403647">
                      <a:moveTo>
                        <a:pt x="141276" y="201824"/>
                      </a:moveTo>
                      <a:cubicBezTo>
                        <a:pt x="141276" y="110522"/>
                        <a:pt x="84766" y="28832"/>
                        <a:pt x="0" y="0"/>
                      </a:cubicBezTo>
                      <a:lnTo>
                        <a:pt x="0" y="403647"/>
                      </a:lnTo>
                      <a:cubicBezTo>
                        <a:pt x="84766" y="374815"/>
                        <a:pt x="141276" y="293125"/>
                        <a:pt x="141276" y="201824"/>
                      </a:cubicBezTo>
                      <a:close/>
                    </a:path>
                  </a:pathLst>
                </a:custGeom>
                <a:solidFill>
                  <a:srgbClr val="C50D2F"/>
                </a:solidFill>
                <a:ln w="47053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097236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592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16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66" name="Graphic 2">
                  <a:extLst>
                    <a:ext uri="{FF2B5EF4-FFF2-40B4-BE49-F238E27FC236}">
                      <a16:creationId xmlns:a16="http://schemas.microsoft.com/office/drawing/2014/main" id="{D0E92DEC-CF78-D14D-81BC-8EEC0A931565}"/>
                    </a:ext>
                  </a:extLst>
                </p:cNvPr>
                <p:cNvSpPr/>
                <p:nvPr>
                  <p:custDataLst>
                    <p:tags r:id="rId139"/>
                  </p:custDataLst>
                </p:nvPr>
              </p:nvSpPr>
              <p:spPr>
                <a:xfrm>
                  <a:off x="11131993" y="2850129"/>
                  <a:ext cx="203437" cy="581251"/>
                </a:xfrm>
                <a:custGeom>
                  <a:avLst/>
                  <a:gdLst>
                    <a:gd name="connsiteX0" fmla="*/ 141276 w 141276"/>
                    <a:gd name="connsiteY0" fmla="*/ 0 h 403647"/>
                    <a:gd name="connsiteX1" fmla="*/ 0 w 141276"/>
                    <a:gd name="connsiteY1" fmla="*/ 201824 h 403647"/>
                    <a:gd name="connsiteX2" fmla="*/ 141276 w 141276"/>
                    <a:gd name="connsiteY2" fmla="*/ 403647 h 403647"/>
                    <a:gd name="connsiteX3" fmla="*/ 141276 w 141276"/>
                    <a:gd name="connsiteY3" fmla="*/ 0 h 4036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41276" h="403647">
                      <a:moveTo>
                        <a:pt x="141276" y="0"/>
                      </a:moveTo>
                      <a:cubicBezTo>
                        <a:pt x="61220" y="28832"/>
                        <a:pt x="0" y="110522"/>
                        <a:pt x="0" y="201824"/>
                      </a:cubicBezTo>
                      <a:cubicBezTo>
                        <a:pt x="0" y="293125"/>
                        <a:pt x="56511" y="374815"/>
                        <a:pt x="141276" y="403647"/>
                      </a:cubicBezTo>
                      <a:lnTo>
                        <a:pt x="141276" y="0"/>
                      </a:lnTo>
                      <a:close/>
                    </a:path>
                  </a:pathLst>
                </a:custGeom>
                <a:solidFill>
                  <a:srgbClr val="022663"/>
                </a:solidFill>
                <a:ln w="47053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097236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592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16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</p:grpSp>
        <p:sp>
          <p:nvSpPr>
            <p:cNvPr id="94" name="Oval 93">
              <a:extLst>
                <a:ext uri="{FF2B5EF4-FFF2-40B4-BE49-F238E27FC236}">
                  <a16:creationId xmlns:a16="http://schemas.microsoft.com/office/drawing/2014/main" id="{286176CE-0567-7743-9B9C-651AC9D2FC35}"/>
                </a:ext>
              </a:extLst>
            </p:cNvPr>
            <p:cNvSpPr/>
            <p:nvPr>
              <p:custDataLst>
                <p:tags r:id="rId135"/>
              </p:custDataLst>
            </p:nvPr>
          </p:nvSpPr>
          <p:spPr>
            <a:xfrm>
              <a:off x="3239045" y="3464732"/>
              <a:ext cx="622080" cy="622080"/>
            </a:xfrm>
            <a:prstGeom prst="ellipse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marR="0" indent="0" algn="l" defTabSz="131673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658368" marR="0" indent="0" algn="l" defTabSz="131673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1316736" marR="0" indent="0" algn="l" defTabSz="131673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975104" marR="0" indent="0" algn="l" defTabSz="131673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2633472" marR="0" indent="0" algn="l" defTabSz="131673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3291840" marR="0" indent="0" algn="l" defTabSz="131673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3950208" marR="0" indent="0" algn="l" defTabSz="131673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4608576" marR="0" indent="0" algn="l" defTabSz="131673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5266944" marR="0" indent="0" algn="l" defTabSz="131673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marL="0" marR="0" lvl="0" indent="0" algn="ctr" defTabSz="109723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u="none" strike="noStrike" cap="none" spc="0" normalizeH="0" baseline="0" noProof="0">
                  <a:solidFill>
                    <a:srgbClr val="FFFFFF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pPr>
              <a:endParaRPr kumimoji="0" lang="en-US" sz="216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  <a:sym typeface="Wingdings" charset="2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F803E1C0-F77E-3D41-A351-05D9BAF8DFE0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3157740" y="2472255"/>
            <a:ext cx="830280" cy="932294"/>
            <a:chOff x="4180637" y="3464731"/>
            <a:chExt cx="996336" cy="1118753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4D41BE86-4D99-7D43-BE86-D6392175CC23}"/>
                </a:ext>
              </a:extLst>
            </p:cNvPr>
            <p:cNvSpPr/>
            <p:nvPr>
              <p:custDataLst>
                <p:tags r:id="rId128"/>
              </p:custDataLst>
            </p:nvPr>
          </p:nvSpPr>
          <p:spPr>
            <a:xfrm>
              <a:off x="4180637" y="4217846"/>
              <a:ext cx="996336" cy="365639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US"/>
              </a:defPPr>
            </a:lstStyle>
            <a:p>
              <a:pPr marL="0" marR="0" lvl="0" indent="0" algn="ctr" defTabSz="1462952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kumimoji="0" lang="en-US" sz="126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Poland</a:t>
              </a:r>
            </a:p>
          </p:txBody>
        </p: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26F59DC8-D6D5-1442-85A3-01F9589D6DAB}"/>
                </a:ext>
              </a:extLst>
            </p:cNvPr>
            <p:cNvGrpSpPr/>
            <p:nvPr>
              <p:custDataLst>
                <p:tags r:id="rId129"/>
              </p:custDataLst>
            </p:nvPr>
          </p:nvGrpSpPr>
          <p:grpSpPr>
            <a:xfrm>
              <a:off x="4370387" y="3465190"/>
              <a:ext cx="621516" cy="622080"/>
              <a:chOff x="5828903" y="4597529"/>
              <a:chExt cx="623569" cy="622080"/>
            </a:xfrm>
          </p:grpSpPr>
          <p:sp>
            <p:nvSpPr>
              <p:cNvPr id="184" name="Oval 183">
                <a:extLst>
                  <a:ext uri="{FF2B5EF4-FFF2-40B4-BE49-F238E27FC236}">
                    <a16:creationId xmlns:a16="http://schemas.microsoft.com/office/drawing/2014/main" id="{54E14963-ACD2-8F4B-9119-B635C5D0592B}"/>
                  </a:ext>
                </a:extLst>
              </p:cNvPr>
              <p:cNvSpPr>
                <a:spLocks noChangeAspect="1"/>
              </p:cNvSpPr>
              <p:nvPr>
                <p:custDataLst>
                  <p:tags r:id="rId131"/>
                </p:custDataLst>
              </p:nvPr>
            </p:nvSpPr>
            <p:spPr>
              <a:xfrm>
                <a:off x="5828903" y="4597529"/>
                <a:ext cx="623569" cy="622080"/>
              </a:xfrm>
              <a:prstGeom prst="ellipse">
                <a:avLst/>
              </a:prstGeom>
              <a:solidFill>
                <a:schemeClr val="bg1"/>
              </a:solidFill>
              <a:ln w="3175">
                <a:solidFill>
                  <a:schemeClr val="bg1">
                    <a:lumMod val="95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1pPr>
                <a:lvl2pPr marL="658368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2pPr>
                <a:lvl3pPr marL="1316736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3pPr>
                <a:lvl4pPr marL="1975104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4pPr>
                <a:lvl5pPr marL="2633472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5pPr>
                <a:lvl6pPr marL="3291840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6pPr>
                <a:lvl7pPr marL="3950208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7pPr>
                <a:lvl8pPr marL="4608576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8pPr>
                <a:lvl9pPr marL="5266944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9pPr>
              </a:lstStyle>
              <a:p>
                <a:pPr marL="0" marR="0" lvl="0" indent="0" algn="ctr" defTabSz="10972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cap="none" spc="0" normalizeH="0" baseline="0" noProof="0">
                    <a:solidFill>
                      <a:srgbClr val="FFFFFF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pPr>
                <a:endParaRPr kumimoji="0" lang="en-US" sz="16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  <a:sym typeface="Wingdings" charset="2"/>
                </a:endParaRPr>
              </a:p>
            </p:txBody>
          </p:sp>
          <p:sp>
            <p:nvSpPr>
              <p:cNvPr id="185" name="Graphic 2">
                <a:extLst>
                  <a:ext uri="{FF2B5EF4-FFF2-40B4-BE49-F238E27FC236}">
                    <a16:creationId xmlns:a16="http://schemas.microsoft.com/office/drawing/2014/main" id="{83C679DC-4E1E-C547-91AF-47227B8F8D40}"/>
                  </a:ext>
                </a:extLst>
              </p:cNvPr>
              <p:cNvSpPr/>
              <p:nvPr>
                <p:custDataLst>
                  <p:tags r:id="rId132"/>
                </p:custDataLst>
              </p:nvPr>
            </p:nvSpPr>
            <p:spPr>
              <a:xfrm>
                <a:off x="5829642" y="4908224"/>
                <a:ext cx="622080" cy="311384"/>
              </a:xfrm>
              <a:custGeom>
                <a:avLst/>
                <a:gdLst>
                  <a:gd name="connsiteX0" fmla="*/ 211915 w 423829"/>
                  <a:gd name="connsiteY0" fmla="*/ 216239 h 216239"/>
                  <a:gd name="connsiteX1" fmla="*/ 423829 w 423829"/>
                  <a:gd name="connsiteY1" fmla="*/ 0 h 216239"/>
                  <a:gd name="connsiteX2" fmla="*/ 0 w 423829"/>
                  <a:gd name="connsiteY2" fmla="*/ 0 h 216239"/>
                  <a:gd name="connsiteX3" fmla="*/ 211915 w 423829"/>
                  <a:gd name="connsiteY3" fmla="*/ 216239 h 216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3829" h="216239">
                    <a:moveTo>
                      <a:pt x="211915" y="216239"/>
                    </a:moveTo>
                    <a:cubicBezTo>
                      <a:pt x="329645" y="216239"/>
                      <a:pt x="423829" y="120133"/>
                      <a:pt x="423829" y="0"/>
                    </a:cubicBezTo>
                    <a:lnTo>
                      <a:pt x="0" y="0"/>
                    </a:lnTo>
                    <a:cubicBezTo>
                      <a:pt x="0" y="120133"/>
                      <a:pt x="94184" y="216239"/>
                      <a:pt x="211915" y="216239"/>
                    </a:cubicBezTo>
                    <a:close/>
                  </a:path>
                </a:pathLst>
              </a:custGeom>
              <a:solidFill>
                <a:srgbClr val="DB153B"/>
              </a:solidFill>
              <a:ln w="47053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</a:lstStyle>
              <a:p>
                <a:pPr marL="0" marR="0" lvl="0" indent="0" algn="l" defTabSz="10972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endParaRPr kumimoji="0" lang="en-US" sz="168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106" name="Oval 105">
              <a:extLst>
                <a:ext uri="{FF2B5EF4-FFF2-40B4-BE49-F238E27FC236}">
                  <a16:creationId xmlns:a16="http://schemas.microsoft.com/office/drawing/2014/main" id="{D6D4BCF6-6FCE-9049-8147-8C595B528D7D}"/>
                </a:ext>
              </a:extLst>
            </p:cNvPr>
            <p:cNvSpPr/>
            <p:nvPr>
              <p:custDataLst>
                <p:tags r:id="rId130"/>
              </p:custDataLst>
            </p:nvPr>
          </p:nvSpPr>
          <p:spPr>
            <a:xfrm>
              <a:off x="4367677" y="3464732"/>
              <a:ext cx="622080" cy="622080"/>
            </a:xfrm>
            <a:prstGeom prst="ellipse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marR="0" indent="0" algn="l" defTabSz="131673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658368" marR="0" indent="0" algn="l" defTabSz="131673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1316736" marR="0" indent="0" algn="l" defTabSz="131673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975104" marR="0" indent="0" algn="l" defTabSz="131673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2633472" marR="0" indent="0" algn="l" defTabSz="131673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3291840" marR="0" indent="0" algn="l" defTabSz="131673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3950208" marR="0" indent="0" algn="l" defTabSz="131673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4608576" marR="0" indent="0" algn="l" defTabSz="131673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5266944" marR="0" indent="0" algn="l" defTabSz="131673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marL="0" marR="0" lvl="0" indent="0" algn="ctr" defTabSz="109723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u="none" strike="noStrike" cap="none" spc="0" normalizeH="0" baseline="0" noProof="0">
                  <a:solidFill>
                    <a:srgbClr val="FFFFFF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pPr>
              <a:endParaRPr kumimoji="0" lang="en-US" sz="216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  <a:sym typeface="Wingdings" charset="2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F1727C8D-941C-E24B-BEA3-07C930050738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1547825" y="2472255"/>
            <a:ext cx="635718" cy="932293"/>
            <a:chOff x="5430139" y="3464732"/>
            <a:chExt cx="762862" cy="1118752"/>
          </a:xfrm>
        </p:grpSpPr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08492826-DE40-AB4F-8D8C-5E832DD0B58D}"/>
                </a:ext>
              </a:extLst>
            </p:cNvPr>
            <p:cNvSpPr/>
            <p:nvPr>
              <p:custDataLst>
                <p:tags r:id="rId116"/>
              </p:custDataLst>
            </p:nvPr>
          </p:nvSpPr>
          <p:spPr>
            <a:xfrm>
              <a:off x="5430139" y="4217845"/>
              <a:ext cx="762862" cy="365639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US"/>
              </a:defPPr>
            </a:lstStyle>
            <a:p>
              <a:pPr marL="0" marR="0" lvl="0" indent="0" algn="ctr" defTabSz="1462952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kumimoji="0" lang="en-US" sz="126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India</a:t>
              </a:r>
            </a:p>
          </p:txBody>
        </p: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6502B426-0A6C-9647-BC3A-FF1668783CCF}"/>
                </a:ext>
              </a:extLst>
            </p:cNvPr>
            <p:cNvGrpSpPr/>
            <p:nvPr>
              <p:custDataLst>
                <p:tags r:id="rId117"/>
              </p:custDataLst>
            </p:nvPr>
          </p:nvGrpSpPr>
          <p:grpSpPr>
            <a:xfrm>
              <a:off x="5514368" y="3465191"/>
              <a:ext cx="629104" cy="628765"/>
              <a:chOff x="11159241" y="4350886"/>
              <a:chExt cx="644831" cy="635148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6966741A-443F-6F4E-A612-4A53E9A548C5}"/>
                  </a:ext>
                </a:extLst>
              </p:cNvPr>
              <p:cNvSpPr>
                <a:spLocks noChangeAspect="1"/>
              </p:cNvSpPr>
              <p:nvPr>
                <p:custDataLst>
                  <p:tags r:id="rId119"/>
                </p:custDataLst>
              </p:nvPr>
            </p:nvSpPr>
            <p:spPr>
              <a:xfrm>
                <a:off x="11159241" y="4350886"/>
                <a:ext cx="623569" cy="62208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1pPr>
                <a:lvl2pPr marL="658368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2pPr>
                <a:lvl3pPr marL="1316736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3pPr>
                <a:lvl4pPr marL="1975104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4pPr>
                <a:lvl5pPr marL="2633472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5pPr>
                <a:lvl6pPr marL="3291840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6pPr>
                <a:lvl7pPr marL="3950208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7pPr>
                <a:lvl8pPr marL="4608576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8pPr>
                <a:lvl9pPr marL="5266944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9pPr>
              </a:lstStyle>
              <a:p>
                <a:pPr marL="0" marR="0" lvl="0" indent="0" algn="ctr" defTabSz="10972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cap="none" spc="0" normalizeH="0" baseline="0" noProof="0">
                    <a:solidFill>
                      <a:srgbClr val="FFFFFF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pPr>
                <a:endParaRPr kumimoji="0" lang="en-US" sz="16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  <a:sym typeface="Wingdings" charset="2"/>
                </a:endParaRPr>
              </a:p>
            </p:txBody>
          </p:sp>
          <p:grpSp>
            <p:nvGrpSpPr>
              <p:cNvPr id="168" name="Group 167">
                <a:extLst>
                  <a:ext uri="{FF2B5EF4-FFF2-40B4-BE49-F238E27FC236}">
                    <a16:creationId xmlns:a16="http://schemas.microsoft.com/office/drawing/2014/main" id="{505EF8D7-CEE9-1747-8EE1-33B2F4A4E7DC}"/>
                  </a:ext>
                </a:extLst>
              </p:cNvPr>
              <p:cNvGrpSpPr/>
              <p:nvPr>
                <p:custDataLst>
                  <p:tags r:id="rId120"/>
                </p:custDataLst>
              </p:nvPr>
            </p:nvGrpSpPr>
            <p:grpSpPr>
              <a:xfrm>
                <a:off x="11166440" y="4356513"/>
                <a:ext cx="637632" cy="629521"/>
                <a:chOff x="10470555" y="3540488"/>
                <a:chExt cx="622080" cy="629521"/>
              </a:xfrm>
            </p:grpSpPr>
            <p:grpSp>
              <p:nvGrpSpPr>
                <p:cNvPr id="170" name="Graphic 2">
                  <a:extLst>
                    <a:ext uri="{FF2B5EF4-FFF2-40B4-BE49-F238E27FC236}">
                      <a16:creationId xmlns:a16="http://schemas.microsoft.com/office/drawing/2014/main" id="{8E1E557A-D629-124E-87D6-EE66BBA57E3D}"/>
                    </a:ext>
                  </a:extLst>
                </p:cNvPr>
                <p:cNvGrpSpPr/>
                <p:nvPr>
                  <p:custDataLst>
                    <p:tags r:id="rId121"/>
                  </p:custDataLst>
                </p:nvPr>
              </p:nvGrpSpPr>
              <p:grpSpPr>
                <a:xfrm>
                  <a:off x="10470555" y="3540488"/>
                  <a:ext cx="622080" cy="629521"/>
                  <a:chOff x="7832996" y="6942730"/>
                  <a:chExt cx="610314" cy="629521"/>
                </a:xfrm>
              </p:grpSpPr>
              <p:sp>
                <p:nvSpPr>
                  <p:cNvPr id="174" name="Graphic 2">
                    <a:extLst>
                      <a:ext uri="{FF2B5EF4-FFF2-40B4-BE49-F238E27FC236}">
                        <a16:creationId xmlns:a16="http://schemas.microsoft.com/office/drawing/2014/main" id="{C04AE0F6-4B9A-C844-BE8E-D742ED897A9C}"/>
                      </a:ext>
                    </a:extLst>
                  </p:cNvPr>
                  <p:cNvSpPr/>
                  <p:nvPr>
                    <p:custDataLst>
                      <p:tags r:id="rId125"/>
                    </p:custDataLst>
                  </p:nvPr>
                </p:nvSpPr>
                <p:spPr>
                  <a:xfrm>
                    <a:off x="7832996" y="6949481"/>
                    <a:ext cx="610314" cy="622770"/>
                  </a:xfrm>
                  <a:custGeom>
                    <a:avLst/>
                    <a:gdLst>
                      <a:gd name="connsiteX0" fmla="*/ 423829 w 423829"/>
                      <a:gd name="connsiteY0" fmla="*/ 216240 h 432479"/>
                      <a:gd name="connsiteX1" fmla="*/ 409702 w 423829"/>
                      <a:gd name="connsiteY1" fmla="*/ 288320 h 432479"/>
                      <a:gd name="connsiteX2" fmla="*/ 211915 w 423829"/>
                      <a:gd name="connsiteY2" fmla="*/ 432479 h 432479"/>
                      <a:gd name="connsiteX3" fmla="*/ 14128 w 423829"/>
                      <a:gd name="connsiteY3" fmla="*/ 288320 h 432479"/>
                      <a:gd name="connsiteX4" fmla="*/ 0 w 423829"/>
                      <a:gd name="connsiteY4" fmla="*/ 216240 h 432479"/>
                      <a:gd name="connsiteX5" fmla="*/ 14128 w 423829"/>
                      <a:gd name="connsiteY5" fmla="*/ 144160 h 432479"/>
                      <a:gd name="connsiteX6" fmla="*/ 211915 w 423829"/>
                      <a:gd name="connsiteY6" fmla="*/ 0 h 432479"/>
                      <a:gd name="connsiteX7" fmla="*/ 409702 w 423829"/>
                      <a:gd name="connsiteY7" fmla="*/ 144160 h 432479"/>
                      <a:gd name="connsiteX8" fmla="*/ 423829 w 423829"/>
                      <a:gd name="connsiteY8" fmla="*/ 216240 h 4324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23829" h="432479">
                        <a:moveTo>
                          <a:pt x="423829" y="216240"/>
                        </a:moveTo>
                        <a:cubicBezTo>
                          <a:pt x="423829" y="240266"/>
                          <a:pt x="419120" y="264293"/>
                          <a:pt x="409702" y="288320"/>
                        </a:cubicBezTo>
                        <a:cubicBezTo>
                          <a:pt x="381446" y="370010"/>
                          <a:pt x="301390" y="432479"/>
                          <a:pt x="211915" y="432479"/>
                        </a:cubicBezTo>
                        <a:cubicBezTo>
                          <a:pt x="122440" y="432479"/>
                          <a:pt x="42383" y="374815"/>
                          <a:pt x="14128" y="288320"/>
                        </a:cubicBezTo>
                        <a:cubicBezTo>
                          <a:pt x="4709" y="264293"/>
                          <a:pt x="0" y="240266"/>
                          <a:pt x="0" y="216240"/>
                        </a:cubicBezTo>
                        <a:cubicBezTo>
                          <a:pt x="0" y="192213"/>
                          <a:pt x="4709" y="168186"/>
                          <a:pt x="14128" y="144160"/>
                        </a:cubicBezTo>
                        <a:cubicBezTo>
                          <a:pt x="42383" y="62469"/>
                          <a:pt x="122440" y="0"/>
                          <a:pt x="211915" y="0"/>
                        </a:cubicBezTo>
                        <a:cubicBezTo>
                          <a:pt x="301390" y="0"/>
                          <a:pt x="381446" y="57664"/>
                          <a:pt x="409702" y="144160"/>
                        </a:cubicBezTo>
                        <a:cubicBezTo>
                          <a:pt x="419120" y="168186"/>
                          <a:pt x="423829" y="192213"/>
                          <a:pt x="423829" y="21624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47053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>
                    <a:defPPr>
                      <a:defRPr lang="en-US"/>
                    </a:defPPr>
                  </a:lstStyle>
                  <a:p>
                    <a:pPr marL="0" marR="0" lvl="0" indent="0" algn="l" defTabSz="1097236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592" b="0" i="0" normalizeH="0" noProof="0">
                        <a:solidFill>
                          <a:srgbClr val="000000"/>
                        </a:solidFill>
                        <a:uLnTx/>
                        <a:uFillTx/>
                        <a:latin typeface="+mn-lt"/>
                        <a:ea typeface="+mn-ea"/>
                        <a:cs typeface="+mn-cs"/>
                      </a:defRPr>
                    </a:pPr>
                    <a:endParaRPr kumimoji="0" lang="en-US" sz="168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175" name="Graphic 2">
                    <a:extLst>
                      <a:ext uri="{FF2B5EF4-FFF2-40B4-BE49-F238E27FC236}">
                        <a16:creationId xmlns:a16="http://schemas.microsoft.com/office/drawing/2014/main" id="{3DEB35E4-4F44-6148-AFAE-F1F318D5F633}"/>
                      </a:ext>
                    </a:extLst>
                  </p:cNvPr>
                  <p:cNvSpPr/>
                  <p:nvPr>
                    <p:custDataLst>
                      <p:tags r:id="rId126"/>
                    </p:custDataLst>
                  </p:nvPr>
                </p:nvSpPr>
                <p:spPr>
                  <a:xfrm>
                    <a:off x="7840915" y="6942730"/>
                    <a:ext cx="569627" cy="207589"/>
                  </a:xfrm>
                  <a:custGeom>
                    <a:avLst/>
                    <a:gdLst>
                      <a:gd name="connsiteX0" fmla="*/ 395574 w 395574"/>
                      <a:gd name="connsiteY0" fmla="*/ 144160 h 144159"/>
                      <a:gd name="connsiteX1" fmla="*/ 0 w 395574"/>
                      <a:gd name="connsiteY1" fmla="*/ 144160 h 144159"/>
                      <a:gd name="connsiteX2" fmla="*/ 197787 w 395574"/>
                      <a:gd name="connsiteY2" fmla="*/ 0 h 144159"/>
                      <a:gd name="connsiteX3" fmla="*/ 395574 w 395574"/>
                      <a:gd name="connsiteY3" fmla="*/ 144160 h 1441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95574" h="144159">
                        <a:moveTo>
                          <a:pt x="395574" y="144160"/>
                        </a:moveTo>
                        <a:lnTo>
                          <a:pt x="0" y="144160"/>
                        </a:lnTo>
                        <a:cubicBezTo>
                          <a:pt x="28255" y="62469"/>
                          <a:pt x="108312" y="0"/>
                          <a:pt x="197787" y="0"/>
                        </a:cubicBezTo>
                        <a:cubicBezTo>
                          <a:pt x="287262" y="0"/>
                          <a:pt x="367319" y="62469"/>
                          <a:pt x="395574" y="144160"/>
                        </a:cubicBezTo>
                        <a:close/>
                      </a:path>
                    </a:pathLst>
                  </a:custGeom>
                  <a:solidFill>
                    <a:srgbClr val="FF9933"/>
                  </a:solidFill>
                  <a:ln w="47053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>
                    <a:defPPr>
                      <a:defRPr lang="en-US"/>
                    </a:defPPr>
                  </a:lstStyle>
                  <a:p>
                    <a:pPr marL="0" marR="0" lvl="0" indent="0" algn="l" defTabSz="1097236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592" b="0" i="0" normalizeH="0" noProof="0">
                        <a:solidFill>
                          <a:srgbClr val="000000"/>
                        </a:solidFill>
                        <a:uLnTx/>
                        <a:uFillTx/>
                        <a:latin typeface="+mn-lt"/>
                        <a:ea typeface="+mn-ea"/>
                        <a:cs typeface="+mn-cs"/>
                      </a:defRPr>
                    </a:pPr>
                    <a:endParaRPr kumimoji="0" lang="en-US" sz="168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176" name="Graphic 2">
                    <a:extLst>
                      <a:ext uri="{FF2B5EF4-FFF2-40B4-BE49-F238E27FC236}">
                        <a16:creationId xmlns:a16="http://schemas.microsoft.com/office/drawing/2014/main" id="{C1744A37-A8D7-824F-994B-0F66DC2AA264}"/>
                      </a:ext>
                    </a:extLst>
                  </p:cNvPr>
                  <p:cNvSpPr/>
                  <p:nvPr>
                    <p:custDataLst>
                      <p:tags r:id="rId127"/>
                    </p:custDataLst>
                  </p:nvPr>
                </p:nvSpPr>
                <p:spPr>
                  <a:xfrm>
                    <a:off x="7840909" y="7357910"/>
                    <a:ext cx="569627" cy="207589"/>
                  </a:xfrm>
                  <a:custGeom>
                    <a:avLst/>
                    <a:gdLst>
                      <a:gd name="connsiteX0" fmla="*/ 395574 w 395574"/>
                      <a:gd name="connsiteY0" fmla="*/ 0 h 144159"/>
                      <a:gd name="connsiteX1" fmla="*/ 197787 w 395574"/>
                      <a:gd name="connsiteY1" fmla="*/ 144160 h 144159"/>
                      <a:gd name="connsiteX2" fmla="*/ 0 w 395574"/>
                      <a:gd name="connsiteY2" fmla="*/ 0 h 144159"/>
                      <a:gd name="connsiteX3" fmla="*/ 395574 w 395574"/>
                      <a:gd name="connsiteY3" fmla="*/ 0 h 1441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95574" h="144159">
                        <a:moveTo>
                          <a:pt x="395574" y="0"/>
                        </a:moveTo>
                        <a:cubicBezTo>
                          <a:pt x="367319" y="81691"/>
                          <a:pt x="287262" y="144160"/>
                          <a:pt x="197787" y="144160"/>
                        </a:cubicBezTo>
                        <a:cubicBezTo>
                          <a:pt x="108312" y="144160"/>
                          <a:pt x="28255" y="86496"/>
                          <a:pt x="0" y="0"/>
                        </a:cubicBezTo>
                        <a:lnTo>
                          <a:pt x="395574" y="0"/>
                        </a:lnTo>
                        <a:close/>
                      </a:path>
                    </a:pathLst>
                  </a:custGeom>
                  <a:solidFill>
                    <a:srgbClr val="128807"/>
                  </a:solidFill>
                  <a:ln w="47053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>
                    <a:defPPr>
                      <a:defRPr lang="en-US"/>
                    </a:defPPr>
                  </a:lstStyle>
                  <a:p>
                    <a:pPr marL="0" marR="0" lvl="0" indent="0" algn="l" defTabSz="1097236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592" b="0" i="0" normalizeH="0" noProof="0">
                        <a:solidFill>
                          <a:srgbClr val="000000"/>
                        </a:solidFill>
                        <a:uLnTx/>
                        <a:uFillTx/>
                        <a:latin typeface="+mn-lt"/>
                        <a:ea typeface="+mn-ea"/>
                        <a:cs typeface="+mn-cs"/>
                      </a:defRPr>
                    </a:pPr>
                    <a:endParaRPr kumimoji="0" lang="en-US" sz="168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itchFamily="34" charset="0"/>
                      <a:cs typeface="Arial" pitchFamily="34" charset="0"/>
                    </a:endParaRPr>
                  </a:p>
                </p:txBody>
              </p:sp>
            </p:grpSp>
            <p:grpSp>
              <p:nvGrpSpPr>
                <p:cNvPr id="171" name="Graphic 2">
                  <a:extLst>
                    <a:ext uri="{FF2B5EF4-FFF2-40B4-BE49-F238E27FC236}">
                      <a16:creationId xmlns:a16="http://schemas.microsoft.com/office/drawing/2014/main" id="{73DC531F-93FB-5145-963D-DC736E8054E7}"/>
                    </a:ext>
                  </a:extLst>
                </p:cNvPr>
                <p:cNvGrpSpPr/>
                <p:nvPr>
                  <p:custDataLst>
                    <p:tags r:id="rId122"/>
                  </p:custDataLst>
                </p:nvPr>
              </p:nvGrpSpPr>
              <p:grpSpPr>
                <a:xfrm>
                  <a:off x="10672170" y="3761917"/>
                  <a:ext cx="179712" cy="172992"/>
                  <a:chOff x="8030789" y="7164160"/>
                  <a:chExt cx="176312" cy="172992"/>
                </a:xfrm>
                <a:solidFill>
                  <a:srgbClr val="000088"/>
                </a:solidFill>
              </p:grpSpPr>
              <p:sp>
                <p:nvSpPr>
                  <p:cNvPr id="172" name="Graphic 2">
                    <a:extLst>
                      <a:ext uri="{FF2B5EF4-FFF2-40B4-BE49-F238E27FC236}">
                        <a16:creationId xmlns:a16="http://schemas.microsoft.com/office/drawing/2014/main" id="{AEBEED06-6CC9-0A4B-86A6-667B0BDDD632}"/>
                      </a:ext>
                    </a:extLst>
                  </p:cNvPr>
                  <p:cNvSpPr/>
                  <p:nvPr>
                    <p:custDataLst>
                      <p:tags r:id="rId123"/>
                    </p:custDataLst>
                  </p:nvPr>
                </p:nvSpPr>
                <p:spPr>
                  <a:xfrm>
                    <a:off x="8051130" y="7178004"/>
                    <a:ext cx="142406" cy="145312"/>
                  </a:xfrm>
                  <a:custGeom>
                    <a:avLst/>
                    <a:gdLst>
                      <a:gd name="connsiteX0" fmla="*/ 56511 w 98893"/>
                      <a:gd name="connsiteY0" fmla="*/ 57664 h 100911"/>
                      <a:gd name="connsiteX1" fmla="*/ 56511 w 98893"/>
                      <a:gd name="connsiteY1" fmla="*/ 57664 h 100911"/>
                      <a:gd name="connsiteX2" fmla="*/ 56511 w 98893"/>
                      <a:gd name="connsiteY2" fmla="*/ 57664 h 100911"/>
                      <a:gd name="connsiteX3" fmla="*/ 56511 w 98893"/>
                      <a:gd name="connsiteY3" fmla="*/ 57664 h 100911"/>
                      <a:gd name="connsiteX4" fmla="*/ 56511 w 98893"/>
                      <a:gd name="connsiteY4" fmla="*/ 57664 h 100911"/>
                      <a:gd name="connsiteX5" fmla="*/ 56511 w 98893"/>
                      <a:gd name="connsiteY5" fmla="*/ 57664 h 100911"/>
                      <a:gd name="connsiteX6" fmla="*/ 56511 w 98893"/>
                      <a:gd name="connsiteY6" fmla="*/ 57664 h 100911"/>
                      <a:gd name="connsiteX7" fmla="*/ 56511 w 98893"/>
                      <a:gd name="connsiteY7" fmla="*/ 57664 h 100911"/>
                      <a:gd name="connsiteX8" fmla="*/ 56511 w 98893"/>
                      <a:gd name="connsiteY8" fmla="*/ 57664 h 100911"/>
                      <a:gd name="connsiteX9" fmla="*/ 65929 w 98893"/>
                      <a:gd name="connsiteY9" fmla="*/ 62469 h 100911"/>
                      <a:gd name="connsiteX10" fmla="*/ 94184 w 98893"/>
                      <a:gd name="connsiteY10" fmla="*/ 76885 h 100911"/>
                      <a:gd name="connsiteX11" fmla="*/ 65929 w 98893"/>
                      <a:gd name="connsiteY11" fmla="*/ 62469 h 100911"/>
                      <a:gd name="connsiteX12" fmla="*/ 61220 w 98893"/>
                      <a:gd name="connsiteY12" fmla="*/ 57664 h 100911"/>
                      <a:gd name="connsiteX13" fmla="*/ 61220 w 98893"/>
                      <a:gd name="connsiteY13" fmla="*/ 57664 h 100911"/>
                      <a:gd name="connsiteX14" fmla="*/ 61220 w 98893"/>
                      <a:gd name="connsiteY14" fmla="*/ 57664 h 100911"/>
                      <a:gd name="connsiteX15" fmla="*/ 61220 w 98893"/>
                      <a:gd name="connsiteY15" fmla="*/ 57664 h 100911"/>
                      <a:gd name="connsiteX16" fmla="*/ 61220 w 98893"/>
                      <a:gd name="connsiteY16" fmla="*/ 57664 h 100911"/>
                      <a:gd name="connsiteX17" fmla="*/ 61220 w 98893"/>
                      <a:gd name="connsiteY17" fmla="*/ 57664 h 100911"/>
                      <a:gd name="connsiteX18" fmla="*/ 61220 w 98893"/>
                      <a:gd name="connsiteY18" fmla="*/ 57664 h 100911"/>
                      <a:gd name="connsiteX19" fmla="*/ 61220 w 98893"/>
                      <a:gd name="connsiteY19" fmla="*/ 57664 h 100911"/>
                      <a:gd name="connsiteX20" fmla="*/ 61220 w 98893"/>
                      <a:gd name="connsiteY20" fmla="*/ 57664 h 100911"/>
                      <a:gd name="connsiteX21" fmla="*/ 61220 w 98893"/>
                      <a:gd name="connsiteY21" fmla="*/ 52859 h 100911"/>
                      <a:gd name="connsiteX22" fmla="*/ 61220 w 98893"/>
                      <a:gd name="connsiteY22" fmla="*/ 52859 h 100911"/>
                      <a:gd name="connsiteX23" fmla="*/ 70638 w 98893"/>
                      <a:gd name="connsiteY23" fmla="*/ 57664 h 100911"/>
                      <a:gd name="connsiteX24" fmla="*/ 98893 w 98893"/>
                      <a:gd name="connsiteY24" fmla="*/ 67275 h 100911"/>
                      <a:gd name="connsiteX25" fmla="*/ 70638 w 98893"/>
                      <a:gd name="connsiteY25" fmla="*/ 57664 h 100911"/>
                      <a:gd name="connsiteX26" fmla="*/ 61220 w 98893"/>
                      <a:gd name="connsiteY26" fmla="*/ 52859 h 100911"/>
                      <a:gd name="connsiteX27" fmla="*/ 61220 w 98893"/>
                      <a:gd name="connsiteY27" fmla="*/ 52859 h 100911"/>
                      <a:gd name="connsiteX28" fmla="*/ 61220 w 98893"/>
                      <a:gd name="connsiteY28" fmla="*/ 52859 h 100911"/>
                      <a:gd name="connsiteX29" fmla="*/ 61220 w 98893"/>
                      <a:gd name="connsiteY29" fmla="*/ 52859 h 100911"/>
                      <a:gd name="connsiteX30" fmla="*/ 61220 w 98893"/>
                      <a:gd name="connsiteY30" fmla="*/ 52859 h 100911"/>
                      <a:gd name="connsiteX31" fmla="*/ 61220 w 98893"/>
                      <a:gd name="connsiteY31" fmla="*/ 52859 h 100911"/>
                      <a:gd name="connsiteX32" fmla="*/ 61220 w 98893"/>
                      <a:gd name="connsiteY32" fmla="*/ 52859 h 100911"/>
                      <a:gd name="connsiteX33" fmla="*/ 61220 w 98893"/>
                      <a:gd name="connsiteY33" fmla="*/ 52859 h 100911"/>
                      <a:gd name="connsiteX34" fmla="*/ 61220 w 98893"/>
                      <a:gd name="connsiteY34" fmla="*/ 52859 h 100911"/>
                      <a:gd name="connsiteX35" fmla="*/ 61220 w 98893"/>
                      <a:gd name="connsiteY35" fmla="*/ 52859 h 100911"/>
                      <a:gd name="connsiteX36" fmla="*/ 61220 w 98893"/>
                      <a:gd name="connsiteY36" fmla="*/ 52859 h 100911"/>
                      <a:gd name="connsiteX37" fmla="*/ 70638 w 98893"/>
                      <a:gd name="connsiteY37" fmla="*/ 52859 h 100911"/>
                      <a:gd name="connsiteX38" fmla="*/ 98893 w 98893"/>
                      <a:gd name="connsiteY38" fmla="*/ 52859 h 100911"/>
                      <a:gd name="connsiteX39" fmla="*/ 70638 w 98893"/>
                      <a:gd name="connsiteY39" fmla="*/ 48053 h 100911"/>
                      <a:gd name="connsiteX40" fmla="*/ 61220 w 98893"/>
                      <a:gd name="connsiteY40" fmla="*/ 52859 h 100911"/>
                      <a:gd name="connsiteX41" fmla="*/ 61220 w 98893"/>
                      <a:gd name="connsiteY41" fmla="*/ 52859 h 100911"/>
                      <a:gd name="connsiteX42" fmla="*/ 61220 w 98893"/>
                      <a:gd name="connsiteY42" fmla="*/ 52859 h 100911"/>
                      <a:gd name="connsiteX43" fmla="*/ 61220 w 98893"/>
                      <a:gd name="connsiteY43" fmla="*/ 52859 h 100911"/>
                      <a:gd name="connsiteX44" fmla="*/ 61220 w 98893"/>
                      <a:gd name="connsiteY44" fmla="*/ 52859 h 100911"/>
                      <a:gd name="connsiteX45" fmla="*/ 61220 w 98893"/>
                      <a:gd name="connsiteY45" fmla="*/ 52859 h 100911"/>
                      <a:gd name="connsiteX46" fmla="*/ 61220 w 98893"/>
                      <a:gd name="connsiteY46" fmla="*/ 52859 h 100911"/>
                      <a:gd name="connsiteX47" fmla="*/ 61220 w 98893"/>
                      <a:gd name="connsiteY47" fmla="*/ 48053 h 100911"/>
                      <a:gd name="connsiteX48" fmla="*/ 61220 w 98893"/>
                      <a:gd name="connsiteY48" fmla="*/ 48053 h 100911"/>
                      <a:gd name="connsiteX49" fmla="*/ 61220 w 98893"/>
                      <a:gd name="connsiteY49" fmla="*/ 48053 h 100911"/>
                      <a:gd name="connsiteX50" fmla="*/ 61220 w 98893"/>
                      <a:gd name="connsiteY50" fmla="*/ 48053 h 100911"/>
                      <a:gd name="connsiteX51" fmla="*/ 70638 w 98893"/>
                      <a:gd name="connsiteY51" fmla="*/ 48053 h 100911"/>
                      <a:gd name="connsiteX52" fmla="*/ 98893 w 98893"/>
                      <a:gd name="connsiteY52" fmla="*/ 38443 h 100911"/>
                      <a:gd name="connsiteX53" fmla="*/ 70638 w 98893"/>
                      <a:gd name="connsiteY53" fmla="*/ 43248 h 100911"/>
                      <a:gd name="connsiteX54" fmla="*/ 61220 w 98893"/>
                      <a:gd name="connsiteY54" fmla="*/ 48053 h 100911"/>
                      <a:gd name="connsiteX55" fmla="*/ 61220 w 98893"/>
                      <a:gd name="connsiteY55" fmla="*/ 48053 h 100911"/>
                      <a:gd name="connsiteX56" fmla="*/ 61220 w 98893"/>
                      <a:gd name="connsiteY56" fmla="*/ 48053 h 100911"/>
                      <a:gd name="connsiteX57" fmla="*/ 61220 w 98893"/>
                      <a:gd name="connsiteY57" fmla="*/ 48053 h 100911"/>
                      <a:gd name="connsiteX58" fmla="*/ 61220 w 98893"/>
                      <a:gd name="connsiteY58" fmla="*/ 48053 h 100911"/>
                      <a:gd name="connsiteX59" fmla="*/ 61220 w 98893"/>
                      <a:gd name="connsiteY59" fmla="*/ 48053 h 100911"/>
                      <a:gd name="connsiteX60" fmla="*/ 61220 w 98893"/>
                      <a:gd name="connsiteY60" fmla="*/ 48053 h 100911"/>
                      <a:gd name="connsiteX61" fmla="*/ 61220 w 98893"/>
                      <a:gd name="connsiteY61" fmla="*/ 48053 h 100911"/>
                      <a:gd name="connsiteX62" fmla="*/ 61220 w 98893"/>
                      <a:gd name="connsiteY62" fmla="*/ 48053 h 100911"/>
                      <a:gd name="connsiteX63" fmla="*/ 61220 w 98893"/>
                      <a:gd name="connsiteY63" fmla="*/ 48053 h 100911"/>
                      <a:gd name="connsiteX64" fmla="*/ 61220 w 98893"/>
                      <a:gd name="connsiteY64" fmla="*/ 48053 h 100911"/>
                      <a:gd name="connsiteX65" fmla="*/ 65929 w 98893"/>
                      <a:gd name="connsiteY65" fmla="*/ 43248 h 100911"/>
                      <a:gd name="connsiteX66" fmla="*/ 94184 w 98893"/>
                      <a:gd name="connsiteY66" fmla="*/ 28832 h 100911"/>
                      <a:gd name="connsiteX67" fmla="*/ 65929 w 98893"/>
                      <a:gd name="connsiteY67" fmla="*/ 38443 h 100911"/>
                      <a:gd name="connsiteX68" fmla="*/ 56511 w 98893"/>
                      <a:gd name="connsiteY68" fmla="*/ 48053 h 100911"/>
                      <a:gd name="connsiteX69" fmla="*/ 56511 w 98893"/>
                      <a:gd name="connsiteY69" fmla="*/ 48053 h 100911"/>
                      <a:gd name="connsiteX70" fmla="*/ 56511 w 98893"/>
                      <a:gd name="connsiteY70" fmla="*/ 48053 h 100911"/>
                      <a:gd name="connsiteX71" fmla="*/ 56511 w 98893"/>
                      <a:gd name="connsiteY71" fmla="*/ 48053 h 100911"/>
                      <a:gd name="connsiteX72" fmla="*/ 56511 w 98893"/>
                      <a:gd name="connsiteY72" fmla="*/ 48053 h 100911"/>
                      <a:gd name="connsiteX73" fmla="*/ 56511 w 98893"/>
                      <a:gd name="connsiteY73" fmla="*/ 48053 h 100911"/>
                      <a:gd name="connsiteX74" fmla="*/ 56511 w 98893"/>
                      <a:gd name="connsiteY74" fmla="*/ 48053 h 100911"/>
                      <a:gd name="connsiteX75" fmla="*/ 56511 w 98893"/>
                      <a:gd name="connsiteY75" fmla="*/ 48053 h 100911"/>
                      <a:gd name="connsiteX76" fmla="*/ 56511 w 98893"/>
                      <a:gd name="connsiteY76" fmla="*/ 43248 h 100911"/>
                      <a:gd name="connsiteX77" fmla="*/ 56511 w 98893"/>
                      <a:gd name="connsiteY77" fmla="*/ 43248 h 100911"/>
                      <a:gd name="connsiteX78" fmla="*/ 56511 w 98893"/>
                      <a:gd name="connsiteY78" fmla="*/ 43248 h 100911"/>
                      <a:gd name="connsiteX79" fmla="*/ 65929 w 98893"/>
                      <a:gd name="connsiteY79" fmla="*/ 38443 h 100911"/>
                      <a:gd name="connsiteX80" fmla="*/ 84766 w 98893"/>
                      <a:gd name="connsiteY80" fmla="*/ 14416 h 100911"/>
                      <a:gd name="connsiteX81" fmla="*/ 61220 w 98893"/>
                      <a:gd name="connsiteY81" fmla="*/ 38443 h 100911"/>
                      <a:gd name="connsiteX82" fmla="*/ 56511 w 98893"/>
                      <a:gd name="connsiteY82" fmla="*/ 43248 h 100911"/>
                      <a:gd name="connsiteX83" fmla="*/ 56511 w 98893"/>
                      <a:gd name="connsiteY83" fmla="*/ 43248 h 100911"/>
                      <a:gd name="connsiteX84" fmla="*/ 56511 w 98893"/>
                      <a:gd name="connsiteY84" fmla="*/ 43248 h 100911"/>
                      <a:gd name="connsiteX85" fmla="*/ 56511 w 98893"/>
                      <a:gd name="connsiteY85" fmla="*/ 43248 h 100911"/>
                      <a:gd name="connsiteX86" fmla="*/ 56511 w 98893"/>
                      <a:gd name="connsiteY86" fmla="*/ 43248 h 100911"/>
                      <a:gd name="connsiteX87" fmla="*/ 56511 w 98893"/>
                      <a:gd name="connsiteY87" fmla="*/ 43248 h 100911"/>
                      <a:gd name="connsiteX88" fmla="*/ 56511 w 98893"/>
                      <a:gd name="connsiteY88" fmla="*/ 43248 h 100911"/>
                      <a:gd name="connsiteX89" fmla="*/ 56511 w 98893"/>
                      <a:gd name="connsiteY89" fmla="*/ 43248 h 100911"/>
                      <a:gd name="connsiteX90" fmla="*/ 56511 w 98893"/>
                      <a:gd name="connsiteY90" fmla="*/ 43248 h 100911"/>
                      <a:gd name="connsiteX91" fmla="*/ 56511 w 98893"/>
                      <a:gd name="connsiteY91" fmla="*/ 43248 h 100911"/>
                      <a:gd name="connsiteX92" fmla="*/ 56511 w 98893"/>
                      <a:gd name="connsiteY92" fmla="*/ 43248 h 100911"/>
                      <a:gd name="connsiteX93" fmla="*/ 61220 w 98893"/>
                      <a:gd name="connsiteY93" fmla="*/ 33638 h 100911"/>
                      <a:gd name="connsiteX94" fmla="*/ 75348 w 98893"/>
                      <a:gd name="connsiteY94" fmla="*/ 9611 h 100911"/>
                      <a:gd name="connsiteX95" fmla="*/ 56511 w 98893"/>
                      <a:gd name="connsiteY95" fmla="*/ 33638 h 100911"/>
                      <a:gd name="connsiteX96" fmla="*/ 56511 w 98893"/>
                      <a:gd name="connsiteY96" fmla="*/ 43248 h 100911"/>
                      <a:gd name="connsiteX97" fmla="*/ 56511 w 98893"/>
                      <a:gd name="connsiteY97" fmla="*/ 43248 h 100911"/>
                      <a:gd name="connsiteX98" fmla="*/ 56511 w 98893"/>
                      <a:gd name="connsiteY98" fmla="*/ 43248 h 100911"/>
                      <a:gd name="connsiteX99" fmla="*/ 56511 w 98893"/>
                      <a:gd name="connsiteY99" fmla="*/ 43248 h 100911"/>
                      <a:gd name="connsiteX100" fmla="*/ 56511 w 98893"/>
                      <a:gd name="connsiteY100" fmla="*/ 43248 h 100911"/>
                      <a:gd name="connsiteX101" fmla="*/ 51801 w 98893"/>
                      <a:gd name="connsiteY101" fmla="*/ 43248 h 100911"/>
                      <a:gd name="connsiteX102" fmla="*/ 51801 w 98893"/>
                      <a:gd name="connsiteY102" fmla="*/ 43248 h 100911"/>
                      <a:gd name="connsiteX103" fmla="*/ 51801 w 98893"/>
                      <a:gd name="connsiteY103" fmla="*/ 43248 h 100911"/>
                      <a:gd name="connsiteX104" fmla="*/ 51801 w 98893"/>
                      <a:gd name="connsiteY104" fmla="*/ 43248 h 100911"/>
                      <a:gd name="connsiteX105" fmla="*/ 51801 w 98893"/>
                      <a:gd name="connsiteY105" fmla="*/ 43248 h 100911"/>
                      <a:gd name="connsiteX106" fmla="*/ 51801 w 98893"/>
                      <a:gd name="connsiteY106" fmla="*/ 43248 h 100911"/>
                      <a:gd name="connsiteX107" fmla="*/ 56511 w 98893"/>
                      <a:gd name="connsiteY107" fmla="*/ 33638 h 100911"/>
                      <a:gd name="connsiteX108" fmla="*/ 61220 w 98893"/>
                      <a:gd name="connsiteY108" fmla="*/ 4805 h 100911"/>
                      <a:gd name="connsiteX109" fmla="*/ 51801 w 98893"/>
                      <a:gd name="connsiteY109" fmla="*/ 33638 h 100911"/>
                      <a:gd name="connsiteX110" fmla="*/ 51801 w 98893"/>
                      <a:gd name="connsiteY110" fmla="*/ 43248 h 100911"/>
                      <a:gd name="connsiteX111" fmla="*/ 51801 w 98893"/>
                      <a:gd name="connsiteY111" fmla="*/ 43248 h 100911"/>
                      <a:gd name="connsiteX112" fmla="*/ 51801 w 98893"/>
                      <a:gd name="connsiteY112" fmla="*/ 43248 h 100911"/>
                      <a:gd name="connsiteX113" fmla="*/ 51801 w 98893"/>
                      <a:gd name="connsiteY113" fmla="*/ 43248 h 100911"/>
                      <a:gd name="connsiteX114" fmla="*/ 51801 w 98893"/>
                      <a:gd name="connsiteY114" fmla="*/ 43248 h 100911"/>
                      <a:gd name="connsiteX115" fmla="*/ 51801 w 98893"/>
                      <a:gd name="connsiteY115" fmla="*/ 43248 h 100911"/>
                      <a:gd name="connsiteX116" fmla="*/ 51801 w 98893"/>
                      <a:gd name="connsiteY116" fmla="*/ 43248 h 100911"/>
                      <a:gd name="connsiteX117" fmla="*/ 51801 w 98893"/>
                      <a:gd name="connsiteY117" fmla="*/ 43248 h 100911"/>
                      <a:gd name="connsiteX118" fmla="*/ 51801 w 98893"/>
                      <a:gd name="connsiteY118" fmla="*/ 43248 h 100911"/>
                      <a:gd name="connsiteX119" fmla="*/ 51801 w 98893"/>
                      <a:gd name="connsiteY119" fmla="*/ 43248 h 100911"/>
                      <a:gd name="connsiteX120" fmla="*/ 51801 w 98893"/>
                      <a:gd name="connsiteY120" fmla="*/ 43248 h 100911"/>
                      <a:gd name="connsiteX121" fmla="*/ 51801 w 98893"/>
                      <a:gd name="connsiteY121" fmla="*/ 33638 h 100911"/>
                      <a:gd name="connsiteX122" fmla="*/ 51801 w 98893"/>
                      <a:gd name="connsiteY122" fmla="*/ 0 h 100911"/>
                      <a:gd name="connsiteX123" fmla="*/ 47092 w 98893"/>
                      <a:gd name="connsiteY123" fmla="*/ 33638 h 100911"/>
                      <a:gd name="connsiteX124" fmla="*/ 51801 w 98893"/>
                      <a:gd name="connsiteY124" fmla="*/ 43248 h 100911"/>
                      <a:gd name="connsiteX125" fmla="*/ 51801 w 98893"/>
                      <a:gd name="connsiteY125" fmla="*/ 43248 h 100911"/>
                      <a:gd name="connsiteX126" fmla="*/ 51801 w 98893"/>
                      <a:gd name="connsiteY126" fmla="*/ 43248 h 100911"/>
                      <a:gd name="connsiteX127" fmla="*/ 47092 w 98893"/>
                      <a:gd name="connsiteY127" fmla="*/ 43248 h 100911"/>
                      <a:gd name="connsiteX128" fmla="*/ 47092 w 98893"/>
                      <a:gd name="connsiteY128" fmla="*/ 43248 h 100911"/>
                      <a:gd name="connsiteX129" fmla="*/ 47092 w 98893"/>
                      <a:gd name="connsiteY129" fmla="*/ 43248 h 100911"/>
                      <a:gd name="connsiteX130" fmla="*/ 47092 w 98893"/>
                      <a:gd name="connsiteY130" fmla="*/ 43248 h 100911"/>
                      <a:gd name="connsiteX131" fmla="*/ 47092 w 98893"/>
                      <a:gd name="connsiteY131" fmla="*/ 43248 h 100911"/>
                      <a:gd name="connsiteX132" fmla="*/ 47092 w 98893"/>
                      <a:gd name="connsiteY132" fmla="*/ 43248 h 100911"/>
                      <a:gd name="connsiteX133" fmla="*/ 47092 w 98893"/>
                      <a:gd name="connsiteY133" fmla="*/ 43248 h 100911"/>
                      <a:gd name="connsiteX134" fmla="*/ 47092 w 98893"/>
                      <a:gd name="connsiteY134" fmla="*/ 43248 h 100911"/>
                      <a:gd name="connsiteX135" fmla="*/ 47092 w 98893"/>
                      <a:gd name="connsiteY135" fmla="*/ 33638 h 100911"/>
                      <a:gd name="connsiteX136" fmla="*/ 37674 w 98893"/>
                      <a:gd name="connsiteY136" fmla="*/ 4805 h 100911"/>
                      <a:gd name="connsiteX137" fmla="*/ 42383 w 98893"/>
                      <a:gd name="connsiteY137" fmla="*/ 33638 h 100911"/>
                      <a:gd name="connsiteX138" fmla="*/ 47092 w 98893"/>
                      <a:gd name="connsiteY138" fmla="*/ 43248 h 100911"/>
                      <a:gd name="connsiteX139" fmla="*/ 47092 w 98893"/>
                      <a:gd name="connsiteY139" fmla="*/ 43248 h 100911"/>
                      <a:gd name="connsiteX140" fmla="*/ 47092 w 98893"/>
                      <a:gd name="connsiteY140" fmla="*/ 43248 h 100911"/>
                      <a:gd name="connsiteX141" fmla="*/ 47092 w 98893"/>
                      <a:gd name="connsiteY141" fmla="*/ 43248 h 100911"/>
                      <a:gd name="connsiteX142" fmla="*/ 47092 w 98893"/>
                      <a:gd name="connsiteY142" fmla="*/ 43248 h 100911"/>
                      <a:gd name="connsiteX143" fmla="*/ 47092 w 98893"/>
                      <a:gd name="connsiteY143" fmla="*/ 43248 h 100911"/>
                      <a:gd name="connsiteX144" fmla="*/ 47092 w 98893"/>
                      <a:gd name="connsiteY144" fmla="*/ 43248 h 100911"/>
                      <a:gd name="connsiteX145" fmla="*/ 47092 w 98893"/>
                      <a:gd name="connsiteY145" fmla="*/ 43248 h 100911"/>
                      <a:gd name="connsiteX146" fmla="*/ 47092 w 98893"/>
                      <a:gd name="connsiteY146" fmla="*/ 43248 h 100911"/>
                      <a:gd name="connsiteX147" fmla="*/ 47092 w 98893"/>
                      <a:gd name="connsiteY147" fmla="*/ 43248 h 100911"/>
                      <a:gd name="connsiteX148" fmla="*/ 47092 w 98893"/>
                      <a:gd name="connsiteY148" fmla="*/ 43248 h 100911"/>
                      <a:gd name="connsiteX149" fmla="*/ 42383 w 98893"/>
                      <a:gd name="connsiteY149" fmla="*/ 33638 h 100911"/>
                      <a:gd name="connsiteX150" fmla="*/ 23546 w 98893"/>
                      <a:gd name="connsiteY150" fmla="*/ 9611 h 100911"/>
                      <a:gd name="connsiteX151" fmla="*/ 37674 w 98893"/>
                      <a:gd name="connsiteY151" fmla="*/ 33638 h 100911"/>
                      <a:gd name="connsiteX152" fmla="*/ 47092 w 98893"/>
                      <a:gd name="connsiteY152" fmla="*/ 43248 h 100911"/>
                      <a:gd name="connsiteX153" fmla="*/ 47092 w 98893"/>
                      <a:gd name="connsiteY153" fmla="*/ 43248 h 100911"/>
                      <a:gd name="connsiteX154" fmla="*/ 42383 w 98893"/>
                      <a:gd name="connsiteY154" fmla="*/ 43248 h 100911"/>
                      <a:gd name="connsiteX155" fmla="*/ 42383 w 98893"/>
                      <a:gd name="connsiteY155" fmla="*/ 43248 h 100911"/>
                      <a:gd name="connsiteX156" fmla="*/ 42383 w 98893"/>
                      <a:gd name="connsiteY156" fmla="*/ 43248 h 100911"/>
                      <a:gd name="connsiteX157" fmla="*/ 42383 w 98893"/>
                      <a:gd name="connsiteY157" fmla="*/ 43248 h 100911"/>
                      <a:gd name="connsiteX158" fmla="*/ 42383 w 98893"/>
                      <a:gd name="connsiteY158" fmla="*/ 43248 h 100911"/>
                      <a:gd name="connsiteX159" fmla="*/ 42383 w 98893"/>
                      <a:gd name="connsiteY159" fmla="*/ 43248 h 100911"/>
                      <a:gd name="connsiteX160" fmla="*/ 42383 w 98893"/>
                      <a:gd name="connsiteY160" fmla="*/ 43248 h 100911"/>
                      <a:gd name="connsiteX161" fmla="*/ 42383 w 98893"/>
                      <a:gd name="connsiteY161" fmla="*/ 43248 h 100911"/>
                      <a:gd name="connsiteX162" fmla="*/ 42383 w 98893"/>
                      <a:gd name="connsiteY162" fmla="*/ 43248 h 100911"/>
                      <a:gd name="connsiteX163" fmla="*/ 37674 w 98893"/>
                      <a:gd name="connsiteY163" fmla="*/ 38443 h 100911"/>
                      <a:gd name="connsiteX164" fmla="*/ 14128 w 98893"/>
                      <a:gd name="connsiteY164" fmla="*/ 14416 h 100911"/>
                      <a:gd name="connsiteX165" fmla="*/ 37674 w 98893"/>
                      <a:gd name="connsiteY165" fmla="*/ 38443 h 100911"/>
                      <a:gd name="connsiteX166" fmla="*/ 42383 w 98893"/>
                      <a:gd name="connsiteY166" fmla="*/ 43248 h 100911"/>
                      <a:gd name="connsiteX167" fmla="*/ 42383 w 98893"/>
                      <a:gd name="connsiteY167" fmla="*/ 43248 h 100911"/>
                      <a:gd name="connsiteX168" fmla="*/ 42383 w 98893"/>
                      <a:gd name="connsiteY168" fmla="*/ 43248 h 100911"/>
                      <a:gd name="connsiteX169" fmla="*/ 42383 w 98893"/>
                      <a:gd name="connsiteY169" fmla="*/ 48053 h 100911"/>
                      <a:gd name="connsiteX170" fmla="*/ 42383 w 98893"/>
                      <a:gd name="connsiteY170" fmla="*/ 48053 h 100911"/>
                      <a:gd name="connsiteX171" fmla="*/ 42383 w 98893"/>
                      <a:gd name="connsiteY171" fmla="*/ 48053 h 100911"/>
                      <a:gd name="connsiteX172" fmla="*/ 42383 w 98893"/>
                      <a:gd name="connsiteY172" fmla="*/ 48053 h 100911"/>
                      <a:gd name="connsiteX173" fmla="*/ 42383 w 98893"/>
                      <a:gd name="connsiteY173" fmla="*/ 48053 h 100911"/>
                      <a:gd name="connsiteX174" fmla="*/ 42383 w 98893"/>
                      <a:gd name="connsiteY174" fmla="*/ 48053 h 100911"/>
                      <a:gd name="connsiteX175" fmla="*/ 42383 w 98893"/>
                      <a:gd name="connsiteY175" fmla="*/ 48053 h 100911"/>
                      <a:gd name="connsiteX176" fmla="*/ 42383 w 98893"/>
                      <a:gd name="connsiteY176" fmla="*/ 48053 h 100911"/>
                      <a:gd name="connsiteX177" fmla="*/ 32964 w 98893"/>
                      <a:gd name="connsiteY177" fmla="*/ 38443 h 100911"/>
                      <a:gd name="connsiteX178" fmla="*/ 9419 w 98893"/>
                      <a:gd name="connsiteY178" fmla="*/ 28832 h 100911"/>
                      <a:gd name="connsiteX179" fmla="*/ 32964 w 98893"/>
                      <a:gd name="connsiteY179" fmla="*/ 43248 h 100911"/>
                      <a:gd name="connsiteX180" fmla="*/ 42383 w 98893"/>
                      <a:gd name="connsiteY180" fmla="*/ 48053 h 100911"/>
                      <a:gd name="connsiteX181" fmla="*/ 42383 w 98893"/>
                      <a:gd name="connsiteY181" fmla="*/ 48053 h 100911"/>
                      <a:gd name="connsiteX182" fmla="*/ 42383 w 98893"/>
                      <a:gd name="connsiteY182" fmla="*/ 48053 h 100911"/>
                      <a:gd name="connsiteX183" fmla="*/ 42383 w 98893"/>
                      <a:gd name="connsiteY183" fmla="*/ 48053 h 100911"/>
                      <a:gd name="connsiteX184" fmla="*/ 42383 w 98893"/>
                      <a:gd name="connsiteY184" fmla="*/ 48053 h 100911"/>
                      <a:gd name="connsiteX185" fmla="*/ 42383 w 98893"/>
                      <a:gd name="connsiteY185" fmla="*/ 48053 h 100911"/>
                      <a:gd name="connsiteX186" fmla="*/ 42383 w 98893"/>
                      <a:gd name="connsiteY186" fmla="*/ 48053 h 100911"/>
                      <a:gd name="connsiteX187" fmla="*/ 42383 w 98893"/>
                      <a:gd name="connsiteY187" fmla="*/ 48053 h 100911"/>
                      <a:gd name="connsiteX188" fmla="*/ 42383 w 98893"/>
                      <a:gd name="connsiteY188" fmla="*/ 48053 h 100911"/>
                      <a:gd name="connsiteX189" fmla="*/ 42383 w 98893"/>
                      <a:gd name="connsiteY189" fmla="*/ 48053 h 100911"/>
                      <a:gd name="connsiteX190" fmla="*/ 42383 w 98893"/>
                      <a:gd name="connsiteY190" fmla="*/ 48053 h 100911"/>
                      <a:gd name="connsiteX191" fmla="*/ 32964 w 98893"/>
                      <a:gd name="connsiteY191" fmla="*/ 43248 h 100911"/>
                      <a:gd name="connsiteX192" fmla="*/ 4709 w 98893"/>
                      <a:gd name="connsiteY192" fmla="*/ 38443 h 100911"/>
                      <a:gd name="connsiteX193" fmla="*/ 32964 w 98893"/>
                      <a:gd name="connsiteY193" fmla="*/ 48053 h 100911"/>
                      <a:gd name="connsiteX194" fmla="*/ 42383 w 98893"/>
                      <a:gd name="connsiteY194" fmla="*/ 48053 h 100911"/>
                      <a:gd name="connsiteX195" fmla="*/ 42383 w 98893"/>
                      <a:gd name="connsiteY195" fmla="*/ 48053 h 100911"/>
                      <a:gd name="connsiteX196" fmla="*/ 42383 w 98893"/>
                      <a:gd name="connsiteY196" fmla="*/ 48053 h 100911"/>
                      <a:gd name="connsiteX197" fmla="*/ 42383 w 98893"/>
                      <a:gd name="connsiteY197" fmla="*/ 48053 h 100911"/>
                      <a:gd name="connsiteX198" fmla="*/ 42383 w 98893"/>
                      <a:gd name="connsiteY198" fmla="*/ 52859 h 100911"/>
                      <a:gd name="connsiteX199" fmla="*/ 42383 w 98893"/>
                      <a:gd name="connsiteY199" fmla="*/ 52859 h 100911"/>
                      <a:gd name="connsiteX200" fmla="*/ 42383 w 98893"/>
                      <a:gd name="connsiteY200" fmla="*/ 52859 h 100911"/>
                      <a:gd name="connsiteX201" fmla="*/ 42383 w 98893"/>
                      <a:gd name="connsiteY201" fmla="*/ 52859 h 100911"/>
                      <a:gd name="connsiteX202" fmla="*/ 42383 w 98893"/>
                      <a:gd name="connsiteY202" fmla="*/ 52859 h 100911"/>
                      <a:gd name="connsiteX203" fmla="*/ 42383 w 98893"/>
                      <a:gd name="connsiteY203" fmla="*/ 52859 h 100911"/>
                      <a:gd name="connsiteX204" fmla="*/ 42383 w 98893"/>
                      <a:gd name="connsiteY204" fmla="*/ 52859 h 100911"/>
                      <a:gd name="connsiteX205" fmla="*/ 32964 w 98893"/>
                      <a:gd name="connsiteY205" fmla="*/ 48053 h 100911"/>
                      <a:gd name="connsiteX206" fmla="*/ 0 w 98893"/>
                      <a:gd name="connsiteY206" fmla="*/ 52859 h 100911"/>
                      <a:gd name="connsiteX207" fmla="*/ 32964 w 98893"/>
                      <a:gd name="connsiteY207" fmla="*/ 52859 h 100911"/>
                      <a:gd name="connsiteX208" fmla="*/ 42383 w 98893"/>
                      <a:gd name="connsiteY208" fmla="*/ 52859 h 100911"/>
                      <a:gd name="connsiteX209" fmla="*/ 42383 w 98893"/>
                      <a:gd name="connsiteY209" fmla="*/ 52859 h 100911"/>
                      <a:gd name="connsiteX210" fmla="*/ 42383 w 98893"/>
                      <a:gd name="connsiteY210" fmla="*/ 52859 h 100911"/>
                      <a:gd name="connsiteX211" fmla="*/ 42383 w 98893"/>
                      <a:gd name="connsiteY211" fmla="*/ 52859 h 100911"/>
                      <a:gd name="connsiteX212" fmla="*/ 42383 w 98893"/>
                      <a:gd name="connsiteY212" fmla="*/ 52859 h 100911"/>
                      <a:gd name="connsiteX213" fmla="*/ 42383 w 98893"/>
                      <a:gd name="connsiteY213" fmla="*/ 52859 h 100911"/>
                      <a:gd name="connsiteX214" fmla="*/ 42383 w 98893"/>
                      <a:gd name="connsiteY214" fmla="*/ 52859 h 100911"/>
                      <a:gd name="connsiteX215" fmla="*/ 42383 w 98893"/>
                      <a:gd name="connsiteY215" fmla="*/ 52859 h 100911"/>
                      <a:gd name="connsiteX216" fmla="*/ 42383 w 98893"/>
                      <a:gd name="connsiteY216" fmla="*/ 52859 h 100911"/>
                      <a:gd name="connsiteX217" fmla="*/ 42383 w 98893"/>
                      <a:gd name="connsiteY217" fmla="*/ 52859 h 100911"/>
                      <a:gd name="connsiteX218" fmla="*/ 42383 w 98893"/>
                      <a:gd name="connsiteY218" fmla="*/ 52859 h 100911"/>
                      <a:gd name="connsiteX219" fmla="*/ 32964 w 98893"/>
                      <a:gd name="connsiteY219" fmla="*/ 57664 h 100911"/>
                      <a:gd name="connsiteX220" fmla="*/ 4709 w 98893"/>
                      <a:gd name="connsiteY220" fmla="*/ 67275 h 100911"/>
                      <a:gd name="connsiteX221" fmla="*/ 32964 w 98893"/>
                      <a:gd name="connsiteY221" fmla="*/ 57664 h 100911"/>
                      <a:gd name="connsiteX222" fmla="*/ 42383 w 98893"/>
                      <a:gd name="connsiteY222" fmla="*/ 52859 h 100911"/>
                      <a:gd name="connsiteX223" fmla="*/ 42383 w 98893"/>
                      <a:gd name="connsiteY223" fmla="*/ 52859 h 100911"/>
                      <a:gd name="connsiteX224" fmla="*/ 42383 w 98893"/>
                      <a:gd name="connsiteY224" fmla="*/ 57664 h 100911"/>
                      <a:gd name="connsiteX225" fmla="*/ 42383 w 98893"/>
                      <a:gd name="connsiteY225" fmla="*/ 57664 h 100911"/>
                      <a:gd name="connsiteX226" fmla="*/ 42383 w 98893"/>
                      <a:gd name="connsiteY226" fmla="*/ 57664 h 100911"/>
                      <a:gd name="connsiteX227" fmla="*/ 42383 w 98893"/>
                      <a:gd name="connsiteY227" fmla="*/ 57664 h 100911"/>
                      <a:gd name="connsiteX228" fmla="*/ 42383 w 98893"/>
                      <a:gd name="connsiteY228" fmla="*/ 57664 h 100911"/>
                      <a:gd name="connsiteX229" fmla="*/ 42383 w 98893"/>
                      <a:gd name="connsiteY229" fmla="*/ 57664 h 100911"/>
                      <a:gd name="connsiteX230" fmla="*/ 42383 w 98893"/>
                      <a:gd name="connsiteY230" fmla="*/ 57664 h 100911"/>
                      <a:gd name="connsiteX231" fmla="*/ 42383 w 98893"/>
                      <a:gd name="connsiteY231" fmla="*/ 57664 h 100911"/>
                      <a:gd name="connsiteX232" fmla="*/ 42383 w 98893"/>
                      <a:gd name="connsiteY232" fmla="*/ 57664 h 100911"/>
                      <a:gd name="connsiteX233" fmla="*/ 32964 w 98893"/>
                      <a:gd name="connsiteY233" fmla="*/ 62469 h 100911"/>
                      <a:gd name="connsiteX234" fmla="*/ 9419 w 98893"/>
                      <a:gd name="connsiteY234" fmla="*/ 76885 h 100911"/>
                      <a:gd name="connsiteX235" fmla="*/ 32964 w 98893"/>
                      <a:gd name="connsiteY235" fmla="*/ 62469 h 100911"/>
                      <a:gd name="connsiteX236" fmla="*/ 42383 w 98893"/>
                      <a:gd name="connsiteY236" fmla="*/ 57664 h 100911"/>
                      <a:gd name="connsiteX237" fmla="*/ 42383 w 98893"/>
                      <a:gd name="connsiteY237" fmla="*/ 57664 h 100911"/>
                      <a:gd name="connsiteX238" fmla="*/ 42383 w 98893"/>
                      <a:gd name="connsiteY238" fmla="*/ 57664 h 100911"/>
                      <a:gd name="connsiteX239" fmla="*/ 42383 w 98893"/>
                      <a:gd name="connsiteY239" fmla="*/ 57664 h 100911"/>
                      <a:gd name="connsiteX240" fmla="*/ 42383 w 98893"/>
                      <a:gd name="connsiteY240" fmla="*/ 57664 h 100911"/>
                      <a:gd name="connsiteX241" fmla="*/ 42383 w 98893"/>
                      <a:gd name="connsiteY241" fmla="*/ 57664 h 100911"/>
                      <a:gd name="connsiteX242" fmla="*/ 42383 w 98893"/>
                      <a:gd name="connsiteY242" fmla="*/ 57664 h 100911"/>
                      <a:gd name="connsiteX243" fmla="*/ 42383 w 98893"/>
                      <a:gd name="connsiteY243" fmla="*/ 57664 h 100911"/>
                      <a:gd name="connsiteX244" fmla="*/ 42383 w 98893"/>
                      <a:gd name="connsiteY244" fmla="*/ 57664 h 100911"/>
                      <a:gd name="connsiteX245" fmla="*/ 42383 w 98893"/>
                      <a:gd name="connsiteY245" fmla="*/ 57664 h 100911"/>
                      <a:gd name="connsiteX246" fmla="*/ 42383 w 98893"/>
                      <a:gd name="connsiteY246" fmla="*/ 57664 h 100911"/>
                      <a:gd name="connsiteX247" fmla="*/ 37674 w 98893"/>
                      <a:gd name="connsiteY247" fmla="*/ 62469 h 100911"/>
                      <a:gd name="connsiteX248" fmla="*/ 14128 w 98893"/>
                      <a:gd name="connsiteY248" fmla="*/ 86496 h 100911"/>
                      <a:gd name="connsiteX249" fmla="*/ 37674 w 98893"/>
                      <a:gd name="connsiteY249" fmla="*/ 67275 h 100911"/>
                      <a:gd name="connsiteX250" fmla="*/ 42383 w 98893"/>
                      <a:gd name="connsiteY250" fmla="*/ 57664 h 100911"/>
                      <a:gd name="connsiteX251" fmla="*/ 42383 w 98893"/>
                      <a:gd name="connsiteY251" fmla="*/ 57664 h 100911"/>
                      <a:gd name="connsiteX252" fmla="*/ 42383 w 98893"/>
                      <a:gd name="connsiteY252" fmla="*/ 57664 h 100911"/>
                      <a:gd name="connsiteX253" fmla="*/ 42383 w 98893"/>
                      <a:gd name="connsiteY253" fmla="*/ 57664 h 100911"/>
                      <a:gd name="connsiteX254" fmla="*/ 42383 w 98893"/>
                      <a:gd name="connsiteY254" fmla="*/ 57664 h 100911"/>
                      <a:gd name="connsiteX255" fmla="*/ 42383 w 98893"/>
                      <a:gd name="connsiteY255" fmla="*/ 57664 h 100911"/>
                      <a:gd name="connsiteX256" fmla="*/ 42383 w 98893"/>
                      <a:gd name="connsiteY256" fmla="*/ 57664 h 100911"/>
                      <a:gd name="connsiteX257" fmla="*/ 42383 w 98893"/>
                      <a:gd name="connsiteY257" fmla="*/ 62469 h 100911"/>
                      <a:gd name="connsiteX258" fmla="*/ 42383 w 98893"/>
                      <a:gd name="connsiteY258" fmla="*/ 62469 h 100911"/>
                      <a:gd name="connsiteX259" fmla="*/ 47092 w 98893"/>
                      <a:gd name="connsiteY259" fmla="*/ 62469 h 100911"/>
                      <a:gd name="connsiteX260" fmla="*/ 47092 w 98893"/>
                      <a:gd name="connsiteY260" fmla="*/ 62469 h 100911"/>
                      <a:gd name="connsiteX261" fmla="*/ 37674 w 98893"/>
                      <a:gd name="connsiteY261" fmla="*/ 67275 h 100911"/>
                      <a:gd name="connsiteX262" fmla="*/ 23546 w 98893"/>
                      <a:gd name="connsiteY262" fmla="*/ 96106 h 100911"/>
                      <a:gd name="connsiteX263" fmla="*/ 42383 w 98893"/>
                      <a:gd name="connsiteY263" fmla="*/ 72080 h 100911"/>
                      <a:gd name="connsiteX264" fmla="*/ 47092 w 98893"/>
                      <a:gd name="connsiteY264" fmla="*/ 62469 h 100911"/>
                      <a:gd name="connsiteX265" fmla="*/ 47092 w 98893"/>
                      <a:gd name="connsiteY265" fmla="*/ 62469 h 100911"/>
                      <a:gd name="connsiteX266" fmla="*/ 47092 w 98893"/>
                      <a:gd name="connsiteY266" fmla="*/ 62469 h 100911"/>
                      <a:gd name="connsiteX267" fmla="*/ 47092 w 98893"/>
                      <a:gd name="connsiteY267" fmla="*/ 62469 h 100911"/>
                      <a:gd name="connsiteX268" fmla="*/ 47092 w 98893"/>
                      <a:gd name="connsiteY268" fmla="*/ 62469 h 100911"/>
                      <a:gd name="connsiteX269" fmla="*/ 47092 w 98893"/>
                      <a:gd name="connsiteY269" fmla="*/ 62469 h 100911"/>
                      <a:gd name="connsiteX270" fmla="*/ 47092 w 98893"/>
                      <a:gd name="connsiteY270" fmla="*/ 62469 h 100911"/>
                      <a:gd name="connsiteX271" fmla="*/ 47092 w 98893"/>
                      <a:gd name="connsiteY271" fmla="*/ 62469 h 100911"/>
                      <a:gd name="connsiteX272" fmla="*/ 47092 w 98893"/>
                      <a:gd name="connsiteY272" fmla="*/ 62469 h 100911"/>
                      <a:gd name="connsiteX273" fmla="*/ 47092 w 98893"/>
                      <a:gd name="connsiteY273" fmla="*/ 62469 h 100911"/>
                      <a:gd name="connsiteX274" fmla="*/ 47092 w 98893"/>
                      <a:gd name="connsiteY274" fmla="*/ 62469 h 100911"/>
                      <a:gd name="connsiteX275" fmla="*/ 42383 w 98893"/>
                      <a:gd name="connsiteY275" fmla="*/ 72080 h 100911"/>
                      <a:gd name="connsiteX276" fmla="*/ 37674 w 98893"/>
                      <a:gd name="connsiteY276" fmla="*/ 100912 h 100911"/>
                      <a:gd name="connsiteX277" fmla="*/ 47092 w 98893"/>
                      <a:gd name="connsiteY277" fmla="*/ 72080 h 100911"/>
                      <a:gd name="connsiteX278" fmla="*/ 47092 w 98893"/>
                      <a:gd name="connsiteY278" fmla="*/ 62469 h 100911"/>
                      <a:gd name="connsiteX279" fmla="*/ 47092 w 98893"/>
                      <a:gd name="connsiteY279" fmla="*/ 62469 h 100911"/>
                      <a:gd name="connsiteX280" fmla="*/ 47092 w 98893"/>
                      <a:gd name="connsiteY280" fmla="*/ 62469 h 100911"/>
                      <a:gd name="connsiteX281" fmla="*/ 47092 w 98893"/>
                      <a:gd name="connsiteY281" fmla="*/ 62469 h 100911"/>
                      <a:gd name="connsiteX282" fmla="*/ 47092 w 98893"/>
                      <a:gd name="connsiteY282" fmla="*/ 62469 h 100911"/>
                      <a:gd name="connsiteX283" fmla="*/ 47092 w 98893"/>
                      <a:gd name="connsiteY283" fmla="*/ 62469 h 100911"/>
                      <a:gd name="connsiteX284" fmla="*/ 47092 w 98893"/>
                      <a:gd name="connsiteY284" fmla="*/ 62469 h 100911"/>
                      <a:gd name="connsiteX285" fmla="*/ 47092 w 98893"/>
                      <a:gd name="connsiteY285" fmla="*/ 62469 h 100911"/>
                      <a:gd name="connsiteX286" fmla="*/ 51801 w 98893"/>
                      <a:gd name="connsiteY286" fmla="*/ 62469 h 100911"/>
                      <a:gd name="connsiteX287" fmla="*/ 51801 w 98893"/>
                      <a:gd name="connsiteY287" fmla="*/ 62469 h 100911"/>
                      <a:gd name="connsiteX288" fmla="*/ 51801 w 98893"/>
                      <a:gd name="connsiteY288" fmla="*/ 62469 h 100911"/>
                      <a:gd name="connsiteX289" fmla="*/ 47092 w 98893"/>
                      <a:gd name="connsiteY289" fmla="*/ 72080 h 100911"/>
                      <a:gd name="connsiteX290" fmla="*/ 51801 w 98893"/>
                      <a:gd name="connsiteY290" fmla="*/ 100912 h 100911"/>
                      <a:gd name="connsiteX291" fmla="*/ 51801 w 98893"/>
                      <a:gd name="connsiteY291" fmla="*/ 72080 h 100911"/>
                      <a:gd name="connsiteX292" fmla="*/ 51801 w 98893"/>
                      <a:gd name="connsiteY292" fmla="*/ 62469 h 100911"/>
                      <a:gd name="connsiteX293" fmla="*/ 51801 w 98893"/>
                      <a:gd name="connsiteY293" fmla="*/ 62469 h 100911"/>
                      <a:gd name="connsiteX294" fmla="*/ 51801 w 98893"/>
                      <a:gd name="connsiteY294" fmla="*/ 62469 h 100911"/>
                      <a:gd name="connsiteX295" fmla="*/ 51801 w 98893"/>
                      <a:gd name="connsiteY295" fmla="*/ 62469 h 100911"/>
                      <a:gd name="connsiteX296" fmla="*/ 51801 w 98893"/>
                      <a:gd name="connsiteY296" fmla="*/ 62469 h 100911"/>
                      <a:gd name="connsiteX297" fmla="*/ 51801 w 98893"/>
                      <a:gd name="connsiteY297" fmla="*/ 62469 h 100911"/>
                      <a:gd name="connsiteX298" fmla="*/ 51801 w 98893"/>
                      <a:gd name="connsiteY298" fmla="*/ 62469 h 100911"/>
                      <a:gd name="connsiteX299" fmla="*/ 51801 w 98893"/>
                      <a:gd name="connsiteY299" fmla="*/ 62469 h 100911"/>
                      <a:gd name="connsiteX300" fmla="*/ 51801 w 98893"/>
                      <a:gd name="connsiteY300" fmla="*/ 62469 h 100911"/>
                      <a:gd name="connsiteX301" fmla="*/ 51801 w 98893"/>
                      <a:gd name="connsiteY301" fmla="*/ 62469 h 100911"/>
                      <a:gd name="connsiteX302" fmla="*/ 51801 w 98893"/>
                      <a:gd name="connsiteY302" fmla="*/ 62469 h 100911"/>
                      <a:gd name="connsiteX303" fmla="*/ 51801 w 98893"/>
                      <a:gd name="connsiteY303" fmla="*/ 72080 h 100911"/>
                      <a:gd name="connsiteX304" fmla="*/ 61220 w 98893"/>
                      <a:gd name="connsiteY304" fmla="*/ 100912 h 100911"/>
                      <a:gd name="connsiteX305" fmla="*/ 56511 w 98893"/>
                      <a:gd name="connsiteY305" fmla="*/ 72080 h 100911"/>
                      <a:gd name="connsiteX306" fmla="*/ 51801 w 98893"/>
                      <a:gd name="connsiteY306" fmla="*/ 62469 h 100911"/>
                      <a:gd name="connsiteX307" fmla="*/ 51801 w 98893"/>
                      <a:gd name="connsiteY307" fmla="*/ 62469 h 100911"/>
                      <a:gd name="connsiteX308" fmla="*/ 51801 w 98893"/>
                      <a:gd name="connsiteY308" fmla="*/ 62469 h 100911"/>
                      <a:gd name="connsiteX309" fmla="*/ 51801 w 98893"/>
                      <a:gd name="connsiteY309" fmla="*/ 62469 h 100911"/>
                      <a:gd name="connsiteX310" fmla="*/ 51801 w 98893"/>
                      <a:gd name="connsiteY310" fmla="*/ 62469 h 100911"/>
                      <a:gd name="connsiteX311" fmla="*/ 51801 w 98893"/>
                      <a:gd name="connsiteY311" fmla="*/ 62469 h 100911"/>
                      <a:gd name="connsiteX312" fmla="*/ 56511 w 98893"/>
                      <a:gd name="connsiteY312" fmla="*/ 62469 h 100911"/>
                      <a:gd name="connsiteX313" fmla="*/ 56511 w 98893"/>
                      <a:gd name="connsiteY313" fmla="*/ 62469 h 100911"/>
                      <a:gd name="connsiteX314" fmla="*/ 56511 w 98893"/>
                      <a:gd name="connsiteY314" fmla="*/ 62469 h 100911"/>
                      <a:gd name="connsiteX315" fmla="*/ 56511 w 98893"/>
                      <a:gd name="connsiteY315" fmla="*/ 62469 h 100911"/>
                      <a:gd name="connsiteX316" fmla="*/ 56511 w 98893"/>
                      <a:gd name="connsiteY316" fmla="*/ 62469 h 100911"/>
                      <a:gd name="connsiteX317" fmla="*/ 56511 w 98893"/>
                      <a:gd name="connsiteY317" fmla="*/ 72080 h 100911"/>
                      <a:gd name="connsiteX318" fmla="*/ 75348 w 98893"/>
                      <a:gd name="connsiteY318" fmla="*/ 96106 h 100911"/>
                      <a:gd name="connsiteX319" fmla="*/ 61220 w 98893"/>
                      <a:gd name="connsiteY319" fmla="*/ 67275 h 100911"/>
                      <a:gd name="connsiteX320" fmla="*/ 56511 w 98893"/>
                      <a:gd name="connsiteY320" fmla="*/ 62469 h 100911"/>
                      <a:gd name="connsiteX321" fmla="*/ 56511 w 98893"/>
                      <a:gd name="connsiteY321" fmla="*/ 62469 h 100911"/>
                      <a:gd name="connsiteX322" fmla="*/ 56511 w 98893"/>
                      <a:gd name="connsiteY322" fmla="*/ 62469 h 100911"/>
                      <a:gd name="connsiteX323" fmla="*/ 56511 w 98893"/>
                      <a:gd name="connsiteY323" fmla="*/ 62469 h 100911"/>
                      <a:gd name="connsiteX324" fmla="*/ 56511 w 98893"/>
                      <a:gd name="connsiteY324" fmla="*/ 57664 h 100911"/>
                      <a:gd name="connsiteX325" fmla="*/ 56511 w 98893"/>
                      <a:gd name="connsiteY325" fmla="*/ 57664 h 100911"/>
                      <a:gd name="connsiteX326" fmla="*/ 56511 w 98893"/>
                      <a:gd name="connsiteY326" fmla="*/ 57664 h 100911"/>
                      <a:gd name="connsiteX327" fmla="*/ 56511 w 98893"/>
                      <a:gd name="connsiteY327" fmla="*/ 57664 h 100911"/>
                      <a:gd name="connsiteX328" fmla="*/ 56511 w 98893"/>
                      <a:gd name="connsiteY328" fmla="*/ 57664 h 100911"/>
                      <a:gd name="connsiteX329" fmla="*/ 56511 w 98893"/>
                      <a:gd name="connsiteY329" fmla="*/ 57664 h 100911"/>
                      <a:gd name="connsiteX330" fmla="*/ 56511 w 98893"/>
                      <a:gd name="connsiteY330" fmla="*/ 57664 h 100911"/>
                      <a:gd name="connsiteX331" fmla="*/ 61220 w 98893"/>
                      <a:gd name="connsiteY331" fmla="*/ 67275 h 100911"/>
                      <a:gd name="connsiteX332" fmla="*/ 84766 w 98893"/>
                      <a:gd name="connsiteY332" fmla="*/ 86496 h 100911"/>
                      <a:gd name="connsiteX333" fmla="*/ 65929 w 98893"/>
                      <a:gd name="connsiteY333" fmla="*/ 62469 h 100911"/>
                      <a:gd name="connsiteX334" fmla="*/ 56511 w 98893"/>
                      <a:gd name="connsiteY334" fmla="*/ 57664 h 100911"/>
                      <a:gd name="connsiteX335" fmla="*/ 56511 w 98893"/>
                      <a:gd name="connsiteY335" fmla="*/ 57664 h 1009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  <a:cxn ang="0">
                        <a:pos x="connsiteX106" y="connsiteY106"/>
                      </a:cxn>
                      <a:cxn ang="0">
                        <a:pos x="connsiteX107" y="connsiteY107"/>
                      </a:cxn>
                      <a:cxn ang="0">
                        <a:pos x="connsiteX108" y="connsiteY108"/>
                      </a:cxn>
                      <a:cxn ang="0">
                        <a:pos x="connsiteX109" y="connsiteY109"/>
                      </a:cxn>
                      <a:cxn ang="0">
                        <a:pos x="connsiteX110" y="connsiteY110"/>
                      </a:cxn>
                      <a:cxn ang="0">
                        <a:pos x="connsiteX111" y="connsiteY111"/>
                      </a:cxn>
                      <a:cxn ang="0">
                        <a:pos x="connsiteX112" y="connsiteY112"/>
                      </a:cxn>
                      <a:cxn ang="0">
                        <a:pos x="connsiteX113" y="connsiteY113"/>
                      </a:cxn>
                      <a:cxn ang="0">
                        <a:pos x="connsiteX114" y="connsiteY114"/>
                      </a:cxn>
                      <a:cxn ang="0">
                        <a:pos x="connsiteX115" y="connsiteY115"/>
                      </a:cxn>
                      <a:cxn ang="0">
                        <a:pos x="connsiteX116" y="connsiteY116"/>
                      </a:cxn>
                      <a:cxn ang="0">
                        <a:pos x="connsiteX117" y="connsiteY117"/>
                      </a:cxn>
                      <a:cxn ang="0">
                        <a:pos x="connsiteX118" y="connsiteY118"/>
                      </a:cxn>
                      <a:cxn ang="0">
                        <a:pos x="connsiteX119" y="connsiteY119"/>
                      </a:cxn>
                      <a:cxn ang="0">
                        <a:pos x="connsiteX120" y="connsiteY120"/>
                      </a:cxn>
                      <a:cxn ang="0">
                        <a:pos x="connsiteX121" y="connsiteY121"/>
                      </a:cxn>
                      <a:cxn ang="0">
                        <a:pos x="connsiteX122" y="connsiteY122"/>
                      </a:cxn>
                      <a:cxn ang="0">
                        <a:pos x="connsiteX123" y="connsiteY123"/>
                      </a:cxn>
                      <a:cxn ang="0">
                        <a:pos x="connsiteX124" y="connsiteY124"/>
                      </a:cxn>
                      <a:cxn ang="0">
                        <a:pos x="connsiteX125" y="connsiteY125"/>
                      </a:cxn>
                      <a:cxn ang="0">
                        <a:pos x="connsiteX126" y="connsiteY126"/>
                      </a:cxn>
                      <a:cxn ang="0">
                        <a:pos x="connsiteX127" y="connsiteY127"/>
                      </a:cxn>
                      <a:cxn ang="0">
                        <a:pos x="connsiteX128" y="connsiteY128"/>
                      </a:cxn>
                      <a:cxn ang="0">
                        <a:pos x="connsiteX129" y="connsiteY129"/>
                      </a:cxn>
                      <a:cxn ang="0">
                        <a:pos x="connsiteX130" y="connsiteY130"/>
                      </a:cxn>
                      <a:cxn ang="0">
                        <a:pos x="connsiteX131" y="connsiteY131"/>
                      </a:cxn>
                      <a:cxn ang="0">
                        <a:pos x="connsiteX132" y="connsiteY132"/>
                      </a:cxn>
                      <a:cxn ang="0">
                        <a:pos x="connsiteX133" y="connsiteY133"/>
                      </a:cxn>
                      <a:cxn ang="0">
                        <a:pos x="connsiteX134" y="connsiteY134"/>
                      </a:cxn>
                      <a:cxn ang="0">
                        <a:pos x="connsiteX135" y="connsiteY135"/>
                      </a:cxn>
                      <a:cxn ang="0">
                        <a:pos x="connsiteX136" y="connsiteY136"/>
                      </a:cxn>
                      <a:cxn ang="0">
                        <a:pos x="connsiteX137" y="connsiteY137"/>
                      </a:cxn>
                      <a:cxn ang="0">
                        <a:pos x="connsiteX138" y="connsiteY138"/>
                      </a:cxn>
                      <a:cxn ang="0">
                        <a:pos x="connsiteX139" y="connsiteY139"/>
                      </a:cxn>
                      <a:cxn ang="0">
                        <a:pos x="connsiteX140" y="connsiteY140"/>
                      </a:cxn>
                      <a:cxn ang="0">
                        <a:pos x="connsiteX141" y="connsiteY141"/>
                      </a:cxn>
                      <a:cxn ang="0">
                        <a:pos x="connsiteX142" y="connsiteY142"/>
                      </a:cxn>
                      <a:cxn ang="0">
                        <a:pos x="connsiteX143" y="connsiteY143"/>
                      </a:cxn>
                      <a:cxn ang="0">
                        <a:pos x="connsiteX144" y="connsiteY144"/>
                      </a:cxn>
                      <a:cxn ang="0">
                        <a:pos x="connsiteX145" y="connsiteY145"/>
                      </a:cxn>
                      <a:cxn ang="0">
                        <a:pos x="connsiteX146" y="connsiteY146"/>
                      </a:cxn>
                      <a:cxn ang="0">
                        <a:pos x="connsiteX147" y="connsiteY147"/>
                      </a:cxn>
                      <a:cxn ang="0">
                        <a:pos x="connsiteX148" y="connsiteY148"/>
                      </a:cxn>
                      <a:cxn ang="0">
                        <a:pos x="connsiteX149" y="connsiteY149"/>
                      </a:cxn>
                      <a:cxn ang="0">
                        <a:pos x="connsiteX150" y="connsiteY150"/>
                      </a:cxn>
                      <a:cxn ang="0">
                        <a:pos x="connsiteX151" y="connsiteY151"/>
                      </a:cxn>
                      <a:cxn ang="0">
                        <a:pos x="connsiteX152" y="connsiteY152"/>
                      </a:cxn>
                      <a:cxn ang="0">
                        <a:pos x="connsiteX153" y="connsiteY153"/>
                      </a:cxn>
                      <a:cxn ang="0">
                        <a:pos x="connsiteX154" y="connsiteY154"/>
                      </a:cxn>
                      <a:cxn ang="0">
                        <a:pos x="connsiteX155" y="connsiteY155"/>
                      </a:cxn>
                      <a:cxn ang="0">
                        <a:pos x="connsiteX156" y="connsiteY156"/>
                      </a:cxn>
                      <a:cxn ang="0">
                        <a:pos x="connsiteX157" y="connsiteY157"/>
                      </a:cxn>
                      <a:cxn ang="0">
                        <a:pos x="connsiteX158" y="connsiteY158"/>
                      </a:cxn>
                      <a:cxn ang="0">
                        <a:pos x="connsiteX159" y="connsiteY159"/>
                      </a:cxn>
                      <a:cxn ang="0">
                        <a:pos x="connsiteX160" y="connsiteY160"/>
                      </a:cxn>
                      <a:cxn ang="0">
                        <a:pos x="connsiteX161" y="connsiteY161"/>
                      </a:cxn>
                      <a:cxn ang="0">
                        <a:pos x="connsiteX162" y="connsiteY162"/>
                      </a:cxn>
                      <a:cxn ang="0">
                        <a:pos x="connsiteX163" y="connsiteY163"/>
                      </a:cxn>
                      <a:cxn ang="0">
                        <a:pos x="connsiteX164" y="connsiteY164"/>
                      </a:cxn>
                      <a:cxn ang="0">
                        <a:pos x="connsiteX165" y="connsiteY165"/>
                      </a:cxn>
                      <a:cxn ang="0">
                        <a:pos x="connsiteX166" y="connsiteY166"/>
                      </a:cxn>
                      <a:cxn ang="0">
                        <a:pos x="connsiteX167" y="connsiteY167"/>
                      </a:cxn>
                      <a:cxn ang="0">
                        <a:pos x="connsiteX168" y="connsiteY168"/>
                      </a:cxn>
                      <a:cxn ang="0">
                        <a:pos x="connsiteX169" y="connsiteY169"/>
                      </a:cxn>
                      <a:cxn ang="0">
                        <a:pos x="connsiteX170" y="connsiteY170"/>
                      </a:cxn>
                      <a:cxn ang="0">
                        <a:pos x="connsiteX171" y="connsiteY171"/>
                      </a:cxn>
                      <a:cxn ang="0">
                        <a:pos x="connsiteX172" y="connsiteY172"/>
                      </a:cxn>
                      <a:cxn ang="0">
                        <a:pos x="connsiteX173" y="connsiteY173"/>
                      </a:cxn>
                      <a:cxn ang="0">
                        <a:pos x="connsiteX174" y="connsiteY174"/>
                      </a:cxn>
                      <a:cxn ang="0">
                        <a:pos x="connsiteX175" y="connsiteY175"/>
                      </a:cxn>
                      <a:cxn ang="0">
                        <a:pos x="connsiteX176" y="connsiteY176"/>
                      </a:cxn>
                      <a:cxn ang="0">
                        <a:pos x="connsiteX177" y="connsiteY177"/>
                      </a:cxn>
                      <a:cxn ang="0">
                        <a:pos x="connsiteX178" y="connsiteY178"/>
                      </a:cxn>
                      <a:cxn ang="0">
                        <a:pos x="connsiteX179" y="connsiteY179"/>
                      </a:cxn>
                      <a:cxn ang="0">
                        <a:pos x="connsiteX180" y="connsiteY180"/>
                      </a:cxn>
                      <a:cxn ang="0">
                        <a:pos x="connsiteX181" y="connsiteY181"/>
                      </a:cxn>
                      <a:cxn ang="0">
                        <a:pos x="connsiteX182" y="connsiteY182"/>
                      </a:cxn>
                      <a:cxn ang="0">
                        <a:pos x="connsiteX183" y="connsiteY183"/>
                      </a:cxn>
                      <a:cxn ang="0">
                        <a:pos x="connsiteX184" y="connsiteY184"/>
                      </a:cxn>
                      <a:cxn ang="0">
                        <a:pos x="connsiteX185" y="connsiteY185"/>
                      </a:cxn>
                      <a:cxn ang="0">
                        <a:pos x="connsiteX186" y="connsiteY186"/>
                      </a:cxn>
                      <a:cxn ang="0">
                        <a:pos x="connsiteX187" y="connsiteY187"/>
                      </a:cxn>
                      <a:cxn ang="0">
                        <a:pos x="connsiteX188" y="connsiteY188"/>
                      </a:cxn>
                      <a:cxn ang="0">
                        <a:pos x="connsiteX189" y="connsiteY189"/>
                      </a:cxn>
                      <a:cxn ang="0">
                        <a:pos x="connsiteX190" y="connsiteY190"/>
                      </a:cxn>
                      <a:cxn ang="0">
                        <a:pos x="connsiteX191" y="connsiteY191"/>
                      </a:cxn>
                      <a:cxn ang="0">
                        <a:pos x="connsiteX192" y="connsiteY192"/>
                      </a:cxn>
                      <a:cxn ang="0">
                        <a:pos x="connsiteX193" y="connsiteY193"/>
                      </a:cxn>
                      <a:cxn ang="0">
                        <a:pos x="connsiteX194" y="connsiteY194"/>
                      </a:cxn>
                      <a:cxn ang="0">
                        <a:pos x="connsiteX195" y="connsiteY195"/>
                      </a:cxn>
                      <a:cxn ang="0">
                        <a:pos x="connsiteX196" y="connsiteY196"/>
                      </a:cxn>
                      <a:cxn ang="0">
                        <a:pos x="connsiteX197" y="connsiteY197"/>
                      </a:cxn>
                      <a:cxn ang="0">
                        <a:pos x="connsiteX198" y="connsiteY198"/>
                      </a:cxn>
                      <a:cxn ang="0">
                        <a:pos x="connsiteX199" y="connsiteY199"/>
                      </a:cxn>
                      <a:cxn ang="0">
                        <a:pos x="connsiteX200" y="connsiteY200"/>
                      </a:cxn>
                      <a:cxn ang="0">
                        <a:pos x="connsiteX201" y="connsiteY201"/>
                      </a:cxn>
                      <a:cxn ang="0">
                        <a:pos x="connsiteX202" y="connsiteY202"/>
                      </a:cxn>
                      <a:cxn ang="0">
                        <a:pos x="connsiteX203" y="connsiteY203"/>
                      </a:cxn>
                      <a:cxn ang="0">
                        <a:pos x="connsiteX204" y="connsiteY204"/>
                      </a:cxn>
                      <a:cxn ang="0">
                        <a:pos x="connsiteX205" y="connsiteY205"/>
                      </a:cxn>
                      <a:cxn ang="0">
                        <a:pos x="connsiteX206" y="connsiteY206"/>
                      </a:cxn>
                      <a:cxn ang="0">
                        <a:pos x="connsiteX207" y="connsiteY207"/>
                      </a:cxn>
                      <a:cxn ang="0">
                        <a:pos x="connsiteX208" y="connsiteY208"/>
                      </a:cxn>
                      <a:cxn ang="0">
                        <a:pos x="connsiteX209" y="connsiteY209"/>
                      </a:cxn>
                      <a:cxn ang="0">
                        <a:pos x="connsiteX210" y="connsiteY210"/>
                      </a:cxn>
                      <a:cxn ang="0">
                        <a:pos x="connsiteX211" y="connsiteY211"/>
                      </a:cxn>
                      <a:cxn ang="0">
                        <a:pos x="connsiteX212" y="connsiteY212"/>
                      </a:cxn>
                      <a:cxn ang="0">
                        <a:pos x="connsiteX213" y="connsiteY213"/>
                      </a:cxn>
                      <a:cxn ang="0">
                        <a:pos x="connsiteX214" y="connsiteY214"/>
                      </a:cxn>
                      <a:cxn ang="0">
                        <a:pos x="connsiteX215" y="connsiteY215"/>
                      </a:cxn>
                      <a:cxn ang="0">
                        <a:pos x="connsiteX216" y="connsiteY216"/>
                      </a:cxn>
                      <a:cxn ang="0">
                        <a:pos x="connsiteX217" y="connsiteY217"/>
                      </a:cxn>
                      <a:cxn ang="0">
                        <a:pos x="connsiteX218" y="connsiteY218"/>
                      </a:cxn>
                      <a:cxn ang="0">
                        <a:pos x="connsiteX219" y="connsiteY219"/>
                      </a:cxn>
                      <a:cxn ang="0">
                        <a:pos x="connsiteX220" y="connsiteY220"/>
                      </a:cxn>
                      <a:cxn ang="0">
                        <a:pos x="connsiteX221" y="connsiteY221"/>
                      </a:cxn>
                      <a:cxn ang="0">
                        <a:pos x="connsiteX222" y="connsiteY222"/>
                      </a:cxn>
                      <a:cxn ang="0">
                        <a:pos x="connsiteX223" y="connsiteY223"/>
                      </a:cxn>
                      <a:cxn ang="0">
                        <a:pos x="connsiteX224" y="connsiteY224"/>
                      </a:cxn>
                      <a:cxn ang="0">
                        <a:pos x="connsiteX225" y="connsiteY225"/>
                      </a:cxn>
                      <a:cxn ang="0">
                        <a:pos x="connsiteX226" y="connsiteY226"/>
                      </a:cxn>
                      <a:cxn ang="0">
                        <a:pos x="connsiteX227" y="connsiteY227"/>
                      </a:cxn>
                      <a:cxn ang="0">
                        <a:pos x="connsiteX228" y="connsiteY228"/>
                      </a:cxn>
                      <a:cxn ang="0">
                        <a:pos x="connsiteX229" y="connsiteY229"/>
                      </a:cxn>
                      <a:cxn ang="0">
                        <a:pos x="connsiteX230" y="connsiteY230"/>
                      </a:cxn>
                      <a:cxn ang="0">
                        <a:pos x="connsiteX231" y="connsiteY231"/>
                      </a:cxn>
                      <a:cxn ang="0">
                        <a:pos x="connsiteX232" y="connsiteY232"/>
                      </a:cxn>
                      <a:cxn ang="0">
                        <a:pos x="connsiteX233" y="connsiteY233"/>
                      </a:cxn>
                      <a:cxn ang="0">
                        <a:pos x="connsiteX234" y="connsiteY234"/>
                      </a:cxn>
                      <a:cxn ang="0">
                        <a:pos x="connsiteX235" y="connsiteY235"/>
                      </a:cxn>
                      <a:cxn ang="0">
                        <a:pos x="connsiteX236" y="connsiteY236"/>
                      </a:cxn>
                      <a:cxn ang="0">
                        <a:pos x="connsiteX237" y="connsiteY237"/>
                      </a:cxn>
                      <a:cxn ang="0">
                        <a:pos x="connsiteX238" y="connsiteY238"/>
                      </a:cxn>
                      <a:cxn ang="0">
                        <a:pos x="connsiteX239" y="connsiteY239"/>
                      </a:cxn>
                      <a:cxn ang="0">
                        <a:pos x="connsiteX240" y="connsiteY240"/>
                      </a:cxn>
                      <a:cxn ang="0">
                        <a:pos x="connsiteX241" y="connsiteY241"/>
                      </a:cxn>
                      <a:cxn ang="0">
                        <a:pos x="connsiteX242" y="connsiteY242"/>
                      </a:cxn>
                      <a:cxn ang="0">
                        <a:pos x="connsiteX243" y="connsiteY243"/>
                      </a:cxn>
                      <a:cxn ang="0">
                        <a:pos x="connsiteX244" y="connsiteY244"/>
                      </a:cxn>
                      <a:cxn ang="0">
                        <a:pos x="connsiteX245" y="connsiteY245"/>
                      </a:cxn>
                      <a:cxn ang="0">
                        <a:pos x="connsiteX246" y="connsiteY246"/>
                      </a:cxn>
                      <a:cxn ang="0">
                        <a:pos x="connsiteX247" y="connsiteY247"/>
                      </a:cxn>
                      <a:cxn ang="0">
                        <a:pos x="connsiteX248" y="connsiteY248"/>
                      </a:cxn>
                      <a:cxn ang="0">
                        <a:pos x="connsiteX249" y="connsiteY249"/>
                      </a:cxn>
                      <a:cxn ang="0">
                        <a:pos x="connsiteX250" y="connsiteY250"/>
                      </a:cxn>
                      <a:cxn ang="0">
                        <a:pos x="connsiteX251" y="connsiteY251"/>
                      </a:cxn>
                      <a:cxn ang="0">
                        <a:pos x="connsiteX252" y="connsiteY252"/>
                      </a:cxn>
                      <a:cxn ang="0">
                        <a:pos x="connsiteX253" y="connsiteY253"/>
                      </a:cxn>
                      <a:cxn ang="0">
                        <a:pos x="connsiteX254" y="connsiteY254"/>
                      </a:cxn>
                      <a:cxn ang="0">
                        <a:pos x="connsiteX255" y="connsiteY255"/>
                      </a:cxn>
                      <a:cxn ang="0">
                        <a:pos x="connsiteX256" y="connsiteY256"/>
                      </a:cxn>
                      <a:cxn ang="0">
                        <a:pos x="connsiteX257" y="connsiteY257"/>
                      </a:cxn>
                      <a:cxn ang="0">
                        <a:pos x="connsiteX258" y="connsiteY258"/>
                      </a:cxn>
                      <a:cxn ang="0">
                        <a:pos x="connsiteX259" y="connsiteY259"/>
                      </a:cxn>
                      <a:cxn ang="0">
                        <a:pos x="connsiteX260" y="connsiteY260"/>
                      </a:cxn>
                      <a:cxn ang="0">
                        <a:pos x="connsiteX261" y="connsiteY261"/>
                      </a:cxn>
                      <a:cxn ang="0">
                        <a:pos x="connsiteX262" y="connsiteY262"/>
                      </a:cxn>
                      <a:cxn ang="0">
                        <a:pos x="connsiteX263" y="connsiteY263"/>
                      </a:cxn>
                      <a:cxn ang="0">
                        <a:pos x="connsiteX264" y="connsiteY264"/>
                      </a:cxn>
                      <a:cxn ang="0">
                        <a:pos x="connsiteX265" y="connsiteY265"/>
                      </a:cxn>
                      <a:cxn ang="0">
                        <a:pos x="connsiteX266" y="connsiteY266"/>
                      </a:cxn>
                      <a:cxn ang="0">
                        <a:pos x="connsiteX267" y="connsiteY267"/>
                      </a:cxn>
                      <a:cxn ang="0">
                        <a:pos x="connsiteX268" y="connsiteY268"/>
                      </a:cxn>
                      <a:cxn ang="0">
                        <a:pos x="connsiteX269" y="connsiteY269"/>
                      </a:cxn>
                      <a:cxn ang="0">
                        <a:pos x="connsiteX270" y="connsiteY270"/>
                      </a:cxn>
                      <a:cxn ang="0">
                        <a:pos x="connsiteX271" y="connsiteY271"/>
                      </a:cxn>
                      <a:cxn ang="0">
                        <a:pos x="connsiteX272" y="connsiteY272"/>
                      </a:cxn>
                      <a:cxn ang="0">
                        <a:pos x="connsiteX273" y="connsiteY273"/>
                      </a:cxn>
                      <a:cxn ang="0">
                        <a:pos x="connsiteX274" y="connsiteY274"/>
                      </a:cxn>
                      <a:cxn ang="0">
                        <a:pos x="connsiteX275" y="connsiteY275"/>
                      </a:cxn>
                      <a:cxn ang="0">
                        <a:pos x="connsiteX276" y="connsiteY276"/>
                      </a:cxn>
                      <a:cxn ang="0">
                        <a:pos x="connsiteX277" y="connsiteY277"/>
                      </a:cxn>
                      <a:cxn ang="0">
                        <a:pos x="connsiteX278" y="connsiteY278"/>
                      </a:cxn>
                      <a:cxn ang="0">
                        <a:pos x="connsiteX279" y="connsiteY279"/>
                      </a:cxn>
                      <a:cxn ang="0">
                        <a:pos x="connsiteX280" y="connsiteY280"/>
                      </a:cxn>
                      <a:cxn ang="0">
                        <a:pos x="connsiteX281" y="connsiteY281"/>
                      </a:cxn>
                      <a:cxn ang="0">
                        <a:pos x="connsiteX282" y="connsiteY282"/>
                      </a:cxn>
                      <a:cxn ang="0">
                        <a:pos x="connsiteX283" y="connsiteY283"/>
                      </a:cxn>
                      <a:cxn ang="0">
                        <a:pos x="connsiteX284" y="connsiteY284"/>
                      </a:cxn>
                      <a:cxn ang="0">
                        <a:pos x="connsiteX285" y="connsiteY285"/>
                      </a:cxn>
                      <a:cxn ang="0">
                        <a:pos x="connsiteX286" y="connsiteY286"/>
                      </a:cxn>
                      <a:cxn ang="0">
                        <a:pos x="connsiteX287" y="connsiteY287"/>
                      </a:cxn>
                      <a:cxn ang="0">
                        <a:pos x="connsiteX288" y="connsiteY288"/>
                      </a:cxn>
                      <a:cxn ang="0">
                        <a:pos x="connsiteX289" y="connsiteY289"/>
                      </a:cxn>
                      <a:cxn ang="0">
                        <a:pos x="connsiteX290" y="connsiteY290"/>
                      </a:cxn>
                      <a:cxn ang="0">
                        <a:pos x="connsiteX291" y="connsiteY291"/>
                      </a:cxn>
                      <a:cxn ang="0">
                        <a:pos x="connsiteX292" y="connsiteY292"/>
                      </a:cxn>
                      <a:cxn ang="0">
                        <a:pos x="connsiteX293" y="connsiteY293"/>
                      </a:cxn>
                      <a:cxn ang="0">
                        <a:pos x="connsiteX294" y="connsiteY294"/>
                      </a:cxn>
                      <a:cxn ang="0">
                        <a:pos x="connsiteX295" y="connsiteY295"/>
                      </a:cxn>
                      <a:cxn ang="0">
                        <a:pos x="connsiteX296" y="connsiteY296"/>
                      </a:cxn>
                      <a:cxn ang="0">
                        <a:pos x="connsiteX297" y="connsiteY297"/>
                      </a:cxn>
                      <a:cxn ang="0">
                        <a:pos x="connsiteX298" y="connsiteY298"/>
                      </a:cxn>
                      <a:cxn ang="0">
                        <a:pos x="connsiteX299" y="connsiteY299"/>
                      </a:cxn>
                      <a:cxn ang="0">
                        <a:pos x="connsiteX300" y="connsiteY300"/>
                      </a:cxn>
                      <a:cxn ang="0">
                        <a:pos x="connsiteX301" y="connsiteY301"/>
                      </a:cxn>
                      <a:cxn ang="0">
                        <a:pos x="connsiteX302" y="connsiteY302"/>
                      </a:cxn>
                      <a:cxn ang="0">
                        <a:pos x="connsiteX303" y="connsiteY303"/>
                      </a:cxn>
                      <a:cxn ang="0">
                        <a:pos x="connsiteX304" y="connsiteY304"/>
                      </a:cxn>
                      <a:cxn ang="0">
                        <a:pos x="connsiteX305" y="connsiteY305"/>
                      </a:cxn>
                      <a:cxn ang="0">
                        <a:pos x="connsiteX306" y="connsiteY306"/>
                      </a:cxn>
                      <a:cxn ang="0">
                        <a:pos x="connsiteX307" y="connsiteY307"/>
                      </a:cxn>
                      <a:cxn ang="0">
                        <a:pos x="connsiteX308" y="connsiteY308"/>
                      </a:cxn>
                      <a:cxn ang="0">
                        <a:pos x="connsiteX309" y="connsiteY309"/>
                      </a:cxn>
                      <a:cxn ang="0">
                        <a:pos x="connsiteX310" y="connsiteY310"/>
                      </a:cxn>
                      <a:cxn ang="0">
                        <a:pos x="connsiteX311" y="connsiteY311"/>
                      </a:cxn>
                      <a:cxn ang="0">
                        <a:pos x="connsiteX312" y="connsiteY312"/>
                      </a:cxn>
                      <a:cxn ang="0">
                        <a:pos x="connsiteX313" y="connsiteY313"/>
                      </a:cxn>
                      <a:cxn ang="0">
                        <a:pos x="connsiteX314" y="connsiteY314"/>
                      </a:cxn>
                      <a:cxn ang="0">
                        <a:pos x="connsiteX315" y="connsiteY315"/>
                      </a:cxn>
                      <a:cxn ang="0">
                        <a:pos x="connsiteX316" y="connsiteY316"/>
                      </a:cxn>
                      <a:cxn ang="0">
                        <a:pos x="connsiteX317" y="connsiteY317"/>
                      </a:cxn>
                      <a:cxn ang="0">
                        <a:pos x="connsiteX318" y="connsiteY318"/>
                      </a:cxn>
                      <a:cxn ang="0">
                        <a:pos x="connsiteX319" y="connsiteY319"/>
                      </a:cxn>
                      <a:cxn ang="0">
                        <a:pos x="connsiteX320" y="connsiteY320"/>
                      </a:cxn>
                      <a:cxn ang="0">
                        <a:pos x="connsiteX321" y="connsiteY321"/>
                      </a:cxn>
                      <a:cxn ang="0">
                        <a:pos x="connsiteX322" y="connsiteY322"/>
                      </a:cxn>
                      <a:cxn ang="0">
                        <a:pos x="connsiteX323" y="connsiteY323"/>
                      </a:cxn>
                      <a:cxn ang="0">
                        <a:pos x="connsiteX324" y="connsiteY324"/>
                      </a:cxn>
                      <a:cxn ang="0">
                        <a:pos x="connsiteX325" y="connsiteY325"/>
                      </a:cxn>
                      <a:cxn ang="0">
                        <a:pos x="connsiteX326" y="connsiteY326"/>
                      </a:cxn>
                      <a:cxn ang="0">
                        <a:pos x="connsiteX327" y="connsiteY327"/>
                      </a:cxn>
                      <a:cxn ang="0">
                        <a:pos x="connsiteX328" y="connsiteY328"/>
                      </a:cxn>
                      <a:cxn ang="0">
                        <a:pos x="connsiteX329" y="connsiteY329"/>
                      </a:cxn>
                      <a:cxn ang="0">
                        <a:pos x="connsiteX330" y="connsiteY330"/>
                      </a:cxn>
                      <a:cxn ang="0">
                        <a:pos x="connsiteX331" y="connsiteY331"/>
                      </a:cxn>
                      <a:cxn ang="0">
                        <a:pos x="connsiteX332" y="connsiteY332"/>
                      </a:cxn>
                      <a:cxn ang="0">
                        <a:pos x="connsiteX333" y="connsiteY333"/>
                      </a:cxn>
                      <a:cxn ang="0">
                        <a:pos x="connsiteX334" y="connsiteY334"/>
                      </a:cxn>
                      <a:cxn ang="0">
                        <a:pos x="connsiteX335" y="connsiteY335"/>
                      </a:cxn>
                    </a:cxnLst>
                    <a:rect l="l" t="t" r="r" b="b"/>
                    <a:pathLst>
                      <a:path w="98893" h="100911">
                        <a:moveTo>
                          <a:pt x="56511" y="57664"/>
                        </a:moveTo>
                        <a:lnTo>
                          <a:pt x="56511" y="57664"/>
                        </a:lnTo>
                        <a:lnTo>
                          <a:pt x="56511" y="57664"/>
                        </a:lnTo>
                        <a:lnTo>
                          <a:pt x="56511" y="57664"/>
                        </a:lnTo>
                        <a:lnTo>
                          <a:pt x="56511" y="57664"/>
                        </a:lnTo>
                        <a:lnTo>
                          <a:pt x="56511" y="57664"/>
                        </a:lnTo>
                        <a:lnTo>
                          <a:pt x="56511" y="57664"/>
                        </a:lnTo>
                        <a:lnTo>
                          <a:pt x="56511" y="57664"/>
                        </a:lnTo>
                        <a:lnTo>
                          <a:pt x="56511" y="57664"/>
                        </a:lnTo>
                        <a:lnTo>
                          <a:pt x="65929" y="62469"/>
                        </a:lnTo>
                        <a:lnTo>
                          <a:pt x="94184" y="76885"/>
                        </a:lnTo>
                        <a:lnTo>
                          <a:pt x="65929" y="62469"/>
                        </a:lnTo>
                        <a:lnTo>
                          <a:pt x="61220" y="57664"/>
                        </a:lnTo>
                        <a:lnTo>
                          <a:pt x="61220" y="57664"/>
                        </a:lnTo>
                        <a:lnTo>
                          <a:pt x="61220" y="57664"/>
                        </a:lnTo>
                        <a:lnTo>
                          <a:pt x="61220" y="57664"/>
                        </a:lnTo>
                        <a:lnTo>
                          <a:pt x="61220" y="57664"/>
                        </a:lnTo>
                        <a:lnTo>
                          <a:pt x="61220" y="57664"/>
                        </a:lnTo>
                        <a:lnTo>
                          <a:pt x="61220" y="57664"/>
                        </a:lnTo>
                        <a:lnTo>
                          <a:pt x="61220" y="57664"/>
                        </a:lnTo>
                        <a:lnTo>
                          <a:pt x="61220" y="57664"/>
                        </a:lnTo>
                        <a:lnTo>
                          <a:pt x="61220" y="52859"/>
                        </a:lnTo>
                        <a:lnTo>
                          <a:pt x="61220" y="52859"/>
                        </a:lnTo>
                        <a:lnTo>
                          <a:pt x="70638" y="57664"/>
                        </a:lnTo>
                        <a:lnTo>
                          <a:pt x="98893" y="67275"/>
                        </a:lnTo>
                        <a:lnTo>
                          <a:pt x="70638" y="57664"/>
                        </a:lnTo>
                        <a:lnTo>
                          <a:pt x="61220" y="52859"/>
                        </a:lnTo>
                        <a:lnTo>
                          <a:pt x="61220" y="52859"/>
                        </a:lnTo>
                        <a:lnTo>
                          <a:pt x="61220" y="52859"/>
                        </a:lnTo>
                        <a:lnTo>
                          <a:pt x="61220" y="52859"/>
                        </a:lnTo>
                        <a:lnTo>
                          <a:pt x="61220" y="52859"/>
                        </a:lnTo>
                        <a:lnTo>
                          <a:pt x="61220" y="52859"/>
                        </a:lnTo>
                        <a:lnTo>
                          <a:pt x="61220" y="52859"/>
                        </a:lnTo>
                        <a:lnTo>
                          <a:pt x="61220" y="52859"/>
                        </a:lnTo>
                        <a:lnTo>
                          <a:pt x="61220" y="52859"/>
                        </a:lnTo>
                        <a:lnTo>
                          <a:pt x="61220" y="52859"/>
                        </a:lnTo>
                        <a:lnTo>
                          <a:pt x="61220" y="52859"/>
                        </a:lnTo>
                        <a:lnTo>
                          <a:pt x="70638" y="52859"/>
                        </a:lnTo>
                        <a:lnTo>
                          <a:pt x="98893" y="52859"/>
                        </a:lnTo>
                        <a:lnTo>
                          <a:pt x="70638" y="48053"/>
                        </a:lnTo>
                        <a:lnTo>
                          <a:pt x="61220" y="52859"/>
                        </a:lnTo>
                        <a:lnTo>
                          <a:pt x="61220" y="52859"/>
                        </a:lnTo>
                        <a:lnTo>
                          <a:pt x="61220" y="52859"/>
                        </a:lnTo>
                        <a:lnTo>
                          <a:pt x="61220" y="52859"/>
                        </a:lnTo>
                        <a:lnTo>
                          <a:pt x="61220" y="52859"/>
                        </a:lnTo>
                        <a:lnTo>
                          <a:pt x="61220" y="52859"/>
                        </a:lnTo>
                        <a:lnTo>
                          <a:pt x="61220" y="52859"/>
                        </a:lnTo>
                        <a:lnTo>
                          <a:pt x="61220" y="48053"/>
                        </a:lnTo>
                        <a:lnTo>
                          <a:pt x="61220" y="48053"/>
                        </a:lnTo>
                        <a:lnTo>
                          <a:pt x="61220" y="48053"/>
                        </a:lnTo>
                        <a:lnTo>
                          <a:pt x="61220" y="48053"/>
                        </a:lnTo>
                        <a:lnTo>
                          <a:pt x="70638" y="48053"/>
                        </a:lnTo>
                        <a:lnTo>
                          <a:pt x="98893" y="38443"/>
                        </a:lnTo>
                        <a:lnTo>
                          <a:pt x="70638" y="43248"/>
                        </a:lnTo>
                        <a:lnTo>
                          <a:pt x="61220" y="48053"/>
                        </a:lnTo>
                        <a:lnTo>
                          <a:pt x="61220" y="48053"/>
                        </a:lnTo>
                        <a:lnTo>
                          <a:pt x="61220" y="48053"/>
                        </a:lnTo>
                        <a:lnTo>
                          <a:pt x="61220" y="48053"/>
                        </a:lnTo>
                        <a:lnTo>
                          <a:pt x="61220" y="48053"/>
                        </a:lnTo>
                        <a:lnTo>
                          <a:pt x="61220" y="48053"/>
                        </a:lnTo>
                        <a:lnTo>
                          <a:pt x="61220" y="48053"/>
                        </a:lnTo>
                        <a:lnTo>
                          <a:pt x="61220" y="48053"/>
                        </a:lnTo>
                        <a:lnTo>
                          <a:pt x="61220" y="48053"/>
                        </a:lnTo>
                        <a:lnTo>
                          <a:pt x="61220" y="48053"/>
                        </a:lnTo>
                        <a:lnTo>
                          <a:pt x="61220" y="48053"/>
                        </a:lnTo>
                        <a:lnTo>
                          <a:pt x="65929" y="43248"/>
                        </a:lnTo>
                        <a:lnTo>
                          <a:pt x="94184" y="28832"/>
                        </a:lnTo>
                        <a:lnTo>
                          <a:pt x="65929" y="38443"/>
                        </a:lnTo>
                        <a:lnTo>
                          <a:pt x="56511" y="48053"/>
                        </a:lnTo>
                        <a:lnTo>
                          <a:pt x="56511" y="48053"/>
                        </a:lnTo>
                        <a:lnTo>
                          <a:pt x="56511" y="48053"/>
                        </a:lnTo>
                        <a:lnTo>
                          <a:pt x="56511" y="48053"/>
                        </a:lnTo>
                        <a:lnTo>
                          <a:pt x="56511" y="48053"/>
                        </a:lnTo>
                        <a:lnTo>
                          <a:pt x="56511" y="48053"/>
                        </a:lnTo>
                        <a:lnTo>
                          <a:pt x="56511" y="48053"/>
                        </a:lnTo>
                        <a:lnTo>
                          <a:pt x="56511" y="48053"/>
                        </a:lnTo>
                        <a:lnTo>
                          <a:pt x="56511" y="43248"/>
                        </a:lnTo>
                        <a:lnTo>
                          <a:pt x="56511" y="43248"/>
                        </a:lnTo>
                        <a:lnTo>
                          <a:pt x="56511" y="43248"/>
                        </a:lnTo>
                        <a:lnTo>
                          <a:pt x="65929" y="38443"/>
                        </a:lnTo>
                        <a:lnTo>
                          <a:pt x="84766" y="14416"/>
                        </a:lnTo>
                        <a:lnTo>
                          <a:pt x="61220" y="38443"/>
                        </a:lnTo>
                        <a:lnTo>
                          <a:pt x="56511" y="43248"/>
                        </a:lnTo>
                        <a:lnTo>
                          <a:pt x="56511" y="43248"/>
                        </a:lnTo>
                        <a:lnTo>
                          <a:pt x="56511" y="43248"/>
                        </a:lnTo>
                        <a:lnTo>
                          <a:pt x="56511" y="43248"/>
                        </a:lnTo>
                        <a:lnTo>
                          <a:pt x="56511" y="43248"/>
                        </a:lnTo>
                        <a:lnTo>
                          <a:pt x="56511" y="43248"/>
                        </a:lnTo>
                        <a:lnTo>
                          <a:pt x="56511" y="43248"/>
                        </a:lnTo>
                        <a:lnTo>
                          <a:pt x="56511" y="43248"/>
                        </a:lnTo>
                        <a:lnTo>
                          <a:pt x="56511" y="43248"/>
                        </a:lnTo>
                        <a:lnTo>
                          <a:pt x="56511" y="43248"/>
                        </a:lnTo>
                        <a:lnTo>
                          <a:pt x="56511" y="43248"/>
                        </a:lnTo>
                        <a:lnTo>
                          <a:pt x="61220" y="33638"/>
                        </a:lnTo>
                        <a:lnTo>
                          <a:pt x="75348" y="9611"/>
                        </a:lnTo>
                        <a:lnTo>
                          <a:pt x="56511" y="33638"/>
                        </a:lnTo>
                        <a:lnTo>
                          <a:pt x="56511" y="43248"/>
                        </a:lnTo>
                        <a:lnTo>
                          <a:pt x="56511" y="43248"/>
                        </a:lnTo>
                        <a:lnTo>
                          <a:pt x="56511" y="43248"/>
                        </a:lnTo>
                        <a:lnTo>
                          <a:pt x="56511" y="43248"/>
                        </a:lnTo>
                        <a:lnTo>
                          <a:pt x="56511" y="43248"/>
                        </a:lnTo>
                        <a:lnTo>
                          <a:pt x="51801" y="43248"/>
                        </a:lnTo>
                        <a:lnTo>
                          <a:pt x="51801" y="43248"/>
                        </a:lnTo>
                        <a:lnTo>
                          <a:pt x="51801" y="43248"/>
                        </a:lnTo>
                        <a:lnTo>
                          <a:pt x="51801" y="43248"/>
                        </a:lnTo>
                        <a:lnTo>
                          <a:pt x="51801" y="43248"/>
                        </a:lnTo>
                        <a:lnTo>
                          <a:pt x="51801" y="43248"/>
                        </a:lnTo>
                        <a:lnTo>
                          <a:pt x="56511" y="33638"/>
                        </a:lnTo>
                        <a:lnTo>
                          <a:pt x="61220" y="4805"/>
                        </a:lnTo>
                        <a:lnTo>
                          <a:pt x="51801" y="33638"/>
                        </a:lnTo>
                        <a:lnTo>
                          <a:pt x="51801" y="43248"/>
                        </a:lnTo>
                        <a:lnTo>
                          <a:pt x="51801" y="43248"/>
                        </a:lnTo>
                        <a:lnTo>
                          <a:pt x="51801" y="43248"/>
                        </a:lnTo>
                        <a:lnTo>
                          <a:pt x="51801" y="43248"/>
                        </a:lnTo>
                        <a:lnTo>
                          <a:pt x="51801" y="43248"/>
                        </a:lnTo>
                        <a:lnTo>
                          <a:pt x="51801" y="43248"/>
                        </a:lnTo>
                        <a:lnTo>
                          <a:pt x="51801" y="43248"/>
                        </a:lnTo>
                        <a:lnTo>
                          <a:pt x="51801" y="43248"/>
                        </a:lnTo>
                        <a:lnTo>
                          <a:pt x="51801" y="43248"/>
                        </a:lnTo>
                        <a:lnTo>
                          <a:pt x="51801" y="43248"/>
                        </a:lnTo>
                        <a:lnTo>
                          <a:pt x="51801" y="43248"/>
                        </a:lnTo>
                        <a:lnTo>
                          <a:pt x="51801" y="33638"/>
                        </a:lnTo>
                        <a:lnTo>
                          <a:pt x="51801" y="0"/>
                        </a:lnTo>
                        <a:lnTo>
                          <a:pt x="47092" y="33638"/>
                        </a:lnTo>
                        <a:lnTo>
                          <a:pt x="51801" y="43248"/>
                        </a:lnTo>
                        <a:lnTo>
                          <a:pt x="51801" y="43248"/>
                        </a:lnTo>
                        <a:lnTo>
                          <a:pt x="51801" y="43248"/>
                        </a:lnTo>
                        <a:lnTo>
                          <a:pt x="47092" y="43248"/>
                        </a:lnTo>
                        <a:lnTo>
                          <a:pt x="47092" y="43248"/>
                        </a:lnTo>
                        <a:lnTo>
                          <a:pt x="47092" y="43248"/>
                        </a:lnTo>
                        <a:lnTo>
                          <a:pt x="47092" y="43248"/>
                        </a:lnTo>
                        <a:lnTo>
                          <a:pt x="47092" y="43248"/>
                        </a:lnTo>
                        <a:lnTo>
                          <a:pt x="47092" y="43248"/>
                        </a:lnTo>
                        <a:lnTo>
                          <a:pt x="47092" y="43248"/>
                        </a:lnTo>
                        <a:lnTo>
                          <a:pt x="47092" y="43248"/>
                        </a:lnTo>
                        <a:lnTo>
                          <a:pt x="47092" y="33638"/>
                        </a:lnTo>
                        <a:lnTo>
                          <a:pt x="37674" y="4805"/>
                        </a:lnTo>
                        <a:lnTo>
                          <a:pt x="42383" y="33638"/>
                        </a:lnTo>
                        <a:lnTo>
                          <a:pt x="47092" y="43248"/>
                        </a:lnTo>
                        <a:lnTo>
                          <a:pt x="47092" y="43248"/>
                        </a:lnTo>
                        <a:lnTo>
                          <a:pt x="47092" y="43248"/>
                        </a:lnTo>
                        <a:lnTo>
                          <a:pt x="47092" y="43248"/>
                        </a:lnTo>
                        <a:lnTo>
                          <a:pt x="47092" y="43248"/>
                        </a:lnTo>
                        <a:lnTo>
                          <a:pt x="47092" y="43248"/>
                        </a:lnTo>
                        <a:lnTo>
                          <a:pt x="47092" y="43248"/>
                        </a:lnTo>
                        <a:lnTo>
                          <a:pt x="47092" y="43248"/>
                        </a:lnTo>
                        <a:lnTo>
                          <a:pt x="47092" y="43248"/>
                        </a:lnTo>
                        <a:lnTo>
                          <a:pt x="47092" y="43248"/>
                        </a:lnTo>
                        <a:lnTo>
                          <a:pt x="47092" y="43248"/>
                        </a:lnTo>
                        <a:lnTo>
                          <a:pt x="42383" y="33638"/>
                        </a:lnTo>
                        <a:lnTo>
                          <a:pt x="23546" y="9611"/>
                        </a:lnTo>
                        <a:lnTo>
                          <a:pt x="37674" y="33638"/>
                        </a:lnTo>
                        <a:lnTo>
                          <a:pt x="47092" y="43248"/>
                        </a:lnTo>
                        <a:lnTo>
                          <a:pt x="47092" y="43248"/>
                        </a:lnTo>
                        <a:lnTo>
                          <a:pt x="42383" y="43248"/>
                        </a:lnTo>
                        <a:lnTo>
                          <a:pt x="42383" y="43248"/>
                        </a:lnTo>
                        <a:lnTo>
                          <a:pt x="42383" y="43248"/>
                        </a:lnTo>
                        <a:lnTo>
                          <a:pt x="42383" y="43248"/>
                        </a:lnTo>
                        <a:lnTo>
                          <a:pt x="42383" y="43248"/>
                        </a:lnTo>
                        <a:lnTo>
                          <a:pt x="42383" y="43248"/>
                        </a:lnTo>
                        <a:lnTo>
                          <a:pt x="42383" y="43248"/>
                        </a:lnTo>
                        <a:lnTo>
                          <a:pt x="42383" y="43248"/>
                        </a:lnTo>
                        <a:lnTo>
                          <a:pt x="42383" y="43248"/>
                        </a:lnTo>
                        <a:lnTo>
                          <a:pt x="37674" y="38443"/>
                        </a:lnTo>
                        <a:lnTo>
                          <a:pt x="14128" y="14416"/>
                        </a:lnTo>
                        <a:lnTo>
                          <a:pt x="37674" y="38443"/>
                        </a:lnTo>
                        <a:lnTo>
                          <a:pt x="42383" y="43248"/>
                        </a:lnTo>
                        <a:lnTo>
                          <a:pt x="42383" y="43248"/>
                        </a:lnTo>
                        <a:lnTo>
                          <a:pt x="42383" y="43248"/>
                        </a:lnTo>
                        <a:lnTo>
                          <a:pt x="42383" y="48053"/>
                        </a:lnTo>
                        <a:lnTo>
                          <a:pt x="42383" y="48053"/>
                        </a:lnTo>
                        <a:lnTo>
                          <a:pt x="42383" y="48053"/>
                        </a:lnTo>
                        <a:lnTo>
                          <a:pt x="42383" y="48053"/>
                        </a:lnTo>
                        <a:lnTo>
                          <a:pt x="42383" y="48053"/>
                        </a:lnTo>
                        <a:lnTo>
                          <a:pt x="42383" y="48053"/>
                        </a:lnTo>
                        <a:lnTo>
                          <a:pt x="42383" y="48053"/>
                        </a:lnTo>
                        <a:lnTo>
                          <a:pt x="42383" y="48053"/>
                        </a:lnTo>
                        <a:lnTo>
                          <a:pt x="32964" y="38443"/>
                        </a:lnTo>
                        <a:lnTo>
                          <a:pt x="9419" y="28832"/>
                        </a:lnTo>
                        <a:lnTo>
                          <a:pt x="32964" y="43248"/>
                        </a:lnTo>
                        <a:lnTo>
                          <a:pt x="42383" y="48053"/>
                        </a:lnTo>
                        <a:lnTo>
                          <a:pt x="42383" y="48053"/>
                        </a:lnTo>
                        <a:lnTo>
                          <a:pt x="42383" y="48053"/>
                        </a:lnTo>
                        <a:lnTo>
                          <a:pt x="42383" y="48053"/>
                        </a:lnTo>
                        <a:lnTo>
                          <a:pt x="42383" y="48053"/>
                        </a:lnTo>
                        <a:lnTo>
                          <a:pt x="42383" y="48053"/>
                        </a:lnTo>
                        <a:lnTo>
                          <a:pt x="42383" y="48053"/>
                        </a:lnTo>
                        <a:lnTo>
                          <a:pt x="42383" y="48053"/>
                        </a:lnTo>
                        <a:lnTo>
                          <a:pt x="42383" y="48053"/>
                        </a:lnTo>
                        <a:lnTo>
                          <a:pt x="42383" y="48053"/>
                        </a:lnTo>
                        <a:lnTo>
                          <a:pt x="42383" y="48053"/>
                        </a:lnTo>
                        <a:lnTo>
                          <a:pt x="32964" y="43248"/>
                        </a:lnTo>
                        <a:lnTo>
                          <a:pt x="4709" y="38443"/>
                        </a:lnTo>
                        <a:lnTo>
                          <a:pt x="32964" y="48053"/>
                        </a:lnTo>
                        <a:lnTo>
                          <a:pt x="42383" y="48053"/>
                        </a:lnTo>
                        <a:lnTo>
                          <a:pt x="42383" y="48053"/>
                        </a:lnTo>
                        <a:lnTo>
                          <a:pt x="42383" y="48053"/>
                        </a:lnTo>
                        <a:lnTo>
                          <a:pt x="42383" y="48053"/>
                        </a:lnTo>
                        <a:lnTo>
                          <a:pt x="42383" y="52859"/>
                        </a:lnTo>
                        <a:lnTo>
                          <a:pt x="42383" y="52859"/>
                        </a:lnTo>
                        <a:lnTo>
                          <a:pt x="42383" y="52859"/>
                        </a:lnTo>
                        <a:lnTo>
                          <a:pt x="42383" y="52859"/>
                        </a:lnTo>
                        <a:lnTo>
                          <a:pt x="42383" y="52859"/>
                        </a:lnTo>
                        <a:lnTo>
                          <a:pt x="42383" y="52859"/>
                        </a:lnTo>
                        <a:lnTo>
                          <a:pt x="42383" y="52859"/>
                        </a:lnTo>
                        <a:lnTo>
                          <a:pt x="32964" y="48053"/>
                        </a:lnTo>
                        <a:lnTo>
                          <a:pt x="0" y="52859"/>
                        </a:lnTo>
                        <a:lnTo>
                          <a:pt x="32964" y="52859"/>
                        </a:lnTo>
                        <a:lnTo>
                          <a:pt x="42383" y="52859"/>
                        </a:lnTo>
                        <a:lnTo>
                          <a:pt x="42383" y="52859"/>
                        </a:lnTo>
                        <a:lnTo>
                          <a:pt x="42383" y="52859"/>
                        </a:lnTo>
                        <a:lnTo>
                          <a:pt x="42383" y="52859"/>
                        </a:lnTo>
                        <a:lnTo>
                          <a:pt x="42383" y="52859"/>
                        </a:lnTo>
                        <a:lnTo>
                          <a:pt x="42383" y="52859"/>
                        </a:lnTo>
                        <a:lnTo>
                          <a:pt x="42383" y="52859"/>
                        </a:lnTo>
                        <a:lnTo>
                          <a:pt x="42383" y="52859"/>
                        </a:lnTo>
                        <a:lnTo>
                          <a:pt x="42383" y="52859"/>
                        </a:lnTo>
                        <a:lnTo>
                          <a:pt x="42383" y="52859"/>
                        </a:lnTo>
                        <a:lnTo>
                          <a:pt x="42383" y="52859"/>
                        </a:lnTo>
                        <a:lnTo>
                          <a:pt x="32964" y="57664"/>
                        </a:lnTo>
                        <a:lnTo>
                          <a:pt x="4709" y="67275"/>
                        </a:lnTo>
                        <a:lnTo>
                          <a:pt x="32964" y="57664"/>
                        </a:lnTo>
                        <a:lnTo>
                          <a:pt x="42383" y="52859"/>
                        </a:lnTo>
                        <a:lnTo>
                          <a:pt x="42383" y="52859"/>
                        </a:lnTo>
                        <a:lnTo>
                          <a:pt x="42383" y="57664"/>
                        </a:lnTo>
                        <a:lnTo>
                          <a:pt x="42383" y="57664"/>
                        </a:lnTo>
                        <a:lnTo>
                          <a:pt x="42383" y="57664"/>
                        </a:lnTo>
                        <a:lnTo>
                          <a:pt x="42383" y="57664"/>
                        </a:lnTo>
                        <a:lnTo>
                          <a:pt x="42383" y="57664"/>
                        </a:lnTo>
                        <a:lnTo>
                          <a:pt x="42383" y="57664"/>
                        </a:lnTo>
                        <a:lnTo>
                          <a:pt x="42383" y="57664"/>
                        </a:lnTo>
                        <a:lnTo>
                          <a:pt x="42383" y="57664"/>
                        </a:lnTo>
                        <a:lnTo>
                          <a:pt x="42383" y="57664"/>
                        </a:lnTo>
                        <a:lnTo>
                          <a:pt x="32964" y="62469"/>
                        </a:lnTo>
                        <a:lnTo>
                          <a:pt x="9419" y="76885"/>
                        </a:lnTo>
                        <a:lnTo>
                          <a:pt x="32964" y="62469"/>
                        </a:lnTo>
                        <a:lnTo>
                          <a:pt x="42383" y="57664"/>
                        </a:lnTo>
                        <a:lnTo>
                          <a:pt x="42383" y="57664"/>
                        </a:lnTo>
                        <a:lnTo>
                          <a:pt x="42383" y="57664"/>
                        </a:lnTo>
                        <a:lnTo>
                          <a:pt x="42383" y="57664"/>
                        </a:lnTo>
                        <a:lnTo>
                          <a:pt x="42383" y="57664"/>
                        </a:lnTo>
                        <a:lnTo>
                          <a:pt x="42383" y="57664"/>
                        </a:lnTo>
                        <a:lnTo>
                          <a:pt x="42383" y="57664"/>
                        </a:lnTo>
                        <a:lnTo>
                          <a:pt x="42383" y="57664"/>
                        </a:lnTo>
                        <a:lnTo>
                          <a:pt x="42383" y="57664"/>
                        </a:lnTo>
                        <a:lnTo>
                          <a:pt x="42383" y="57664"/>
                        </a:lnTo>
                        <a:lnTo>
                          <a:pt x="42383" y="57664"/>
                        </a:lnTo>
                        <a:lnTo>
                          <a:pt x="37674" y="62469"/>
                        </a:lnTo>
                        <a:lnTo>
                          <a:pt x="14128" y="86496"/>
                        </a:lnTo>
                        <a:lnTo>
                          <a:pt x="37674" y="67275"/>
                        </a:lnTo>
                        <a:lnTo>
                          <a:pt x="42383" y="57664"/>
                        </a:lnTo>
                        <a:lnTo>
                          <a:pt x="42383" y="57664"/>
                        </a:lnTo>
                        <a:lnTo>
                          <a:pt x="42383" y="57664"/>
                        </a:lnTo>
                        <a:lnTo>
                          <a:pt x="42383" y="57664"/>
                        </a:lnTo>
                        <a:lnTo>
                          <a:pt x="42383" y="57664"/>
                        </a:lnTo>
                        <a:lnTo>
                          <a:pt x="42383" y="57664"/>
                        </a:lnTo>
                        <a:lnTo>
                          <a:pt x="42383" y="57664"/>
                        </a:lnTo>
                        <a:lnTo>
                          <a:pt x="42383" y="62469"/>
                        </a:lnTo>
                        <a:lnTo>
                          <a:pt x="42383" y="62469"/>
                        </a:lnTo>
                        <a:lnTo>
                          <a:pt x="47092" y="62469"/>
                        </a:lnTo>
                        <a:lnTo>
                          <a:pt x="47092" y="62469"/>
                        </a:lnTo>
                        <a:lnTo>
                          <a:pt x="37674" y="67275"/>
                        </a:lnTo>
                        <a:lnTo>
                          <a:pt x="23546" y="96106"/>
                        </a:lnTo>
                        <a:lnTo>
                          <a:pt x="42383" y="72080"/>
                        </a:lnTo>
                        <a:lnTo>
                          <a:pt x="47092" y="62469"/>
                        </a:lnTo>
                        <a:lnTo>
                          <a:pt x="47092" y="62469"/>
                        </a:lnTo>
                        <a:lnTo>
                          <a:pt x="47092" y="62469"/>
                        </a:lnTo>
                        <a:lnTo>
                          <a:pt x="47092" y="62469"/>
                        </a:lnTo>
                        <a:lnTo>
                          <a:pt x="47092" y="62469"/>
                        </a:lnTo>
                        <a:lnTo>
                          <a:pt x="47092" y="62469"/>
                        </a:lnTo>
                        <a:lnTo>
                          <a:pt x="47092" y="62469"/>
                        </a:lnTo>
                        <a:lnTo>
                          <a:pt x="47092" y="62469"/>
                        </a:lnTo>
                        <a:lnTo>
                          <a:pt x="47092" y="62469"/>
                        </a:lnTo>
                        <a:lnTo>
                          <a:pt x="47092" y="62469"/>
                        </a:lnTo>
                        <a:lnTo>
                          <a:pt x="47092" y="62469"/>
                        </a:lnTo>
                        <a:lnTo>
                          <a:pt x="42383" y="72080"/>
                        </a:lnTo>
                        <a:lnTo>
                          <a:pt x="37674" y="100912"/>
                        </a:lnTo>
                        <a:lnTo>
                          <a:pt x="47092" y="72080"/>
                        </a:lnTo>
                        <a:lnTo>
                          <a:pt x="47092" y="62469"/>
                        </a:lnTo>
                        <a:lnTo>
                          <a:pt x="47092" y="62469"/>
                        </a:lnTo>
                        <a:lnTo>
                          <a:pt x="47092" y="62469"/>
                        </a:lnTo>
                        <a:lnTo>
                          <a:pt x="47092" y="62469"/>
                        </a:lnTo>
                        <a:lnTo>
                          <a:pt x="47092" y="62469"/>
                        </a:lnTo>
                        <a:lnTo>
                          <a:pt x="47092" y="62469"/>
                        </a:lnTo>
                        <a:lnTo>
                          <a:pt x="47092" y="62469"/>
                        </a:lnTo>
                        <a:lnTo>
                          <a:pt x="47092" y="62469"/>
                        </a:lnTo>
                        <a:lnTo>
                          <a:pt x="51801" y="62469"/>
                        </a:lnTo>
                        <a:lnTo>
                          <a:pt x="51801" y="62469"/>
                        </a:lnTo>
                        <a:lnTo>
                          <a:pt x="51801" y="62469"/>
                        </a:lnTo>
                        <a:lnTo>
                          <a:pt x="47092" y="72080"/>
                        </a:lnTo>
                        <a:lnTo>
                          <a:pt x="51801" y="100912"/>
                        </a:lnTo>
                        <a:lnTo>
                          <a:pt x="51801" y="72080"/>
                        </a:lnTo>
                        <a:lnTo>
                          <a:pt x="51801" y="62469"/>
                        </a:lnTo>
                        <a:lnTo>
                          <a:pt x="51801" y="62469"/>
                        </a:lnTo>
                        <a:lnTo>
                          <a:pt x="51801" y="62469"/>
                        </a:lnTo>
                        <a:lnTo>
                          <a:pt x="51801" y="62469"/>
                        </a:lnTo>
                        <a:lnTo>
                          <a:pt x="51801" y="62469"/>
                        </a:lnTo>
                        <a:lnTo>
                          <a:pt x="51801" y="62469"/>
                        </a:lnTo>
                        <a:lnTo>
                          <a:pt x="51801" y="62469"/>
                        </a:lnTo>
                        <a:lnTo>
                          <a:pt x="51801" y="62469"/>
                        </a:lnTo>
                        <a:lnTo>
                          <a:pt x="51801" y="62469"/>
                        </a:lnTo>
                        <a:lnTo>
                          <a:pt x="51801" y="62469"/>
                        </a:lnTo>
                        <a:lnTo>
                          <a:pt x="51801" y="62469"/>
                        </a:lnTo>
                        <a:lnTo>
                          <a:pt x="51801" y="72080"/>
                        </a:lnTo>
                        <a:lnTo>
                          <a:pt x="61220" y="100912"/>
                        </a:lnTo>
                        <a:lnTo>
                          <a:pt x="56511" y="72080"/>
                        </a:lnTo>
                        <a:lnTo>
                          <a:pt x="51801" y="62469"/>
                        </a:lnTo>
                        <a:lnTo>
                          <a:pt x="51801" y="62469"/>
                        </a:lnTo>
                        <a:lnTo>
                          <a:pt x="51801" y="62469"/>
                        </a:lnTo>
                        <a:lnTo>
                          <a:pt x="51801" y="62469"/>
                        </a:lnTo>
                        <a:lnTo>
                          <a:pt x="51801" y="62469"/>
                        </a:lnTo>
                        <a:lnTo>
                          <a:pt x="51801" y="62469"/>
                        </a:lnTo>
                        <a:lnTo>
                          <a:pt x="56511" y="62469"/>
                        </a:lnTo>
                        <a:lnTo>
                          <a:pt x="56511" y="62469"/>
                        </a:lnTo>
                        <a:lnTo>
                          <a:pt x="56511" y="62469"/>
                        </a:lnTo>
                        <a:lnTo>
                          <a:pt x="56511" y="62469"/>
                        </a:lnTo>
                        <a:lnTo>
                          <a:pt x="56511" y="62469"/>
                        </a:lnTo>
                        <a:lnTo>
                          <a:pt x="56511" y="72080"/>
                        </a:lnTo>
                        <a:lnTo>
                          <a:pt x="75348" y="96106"/>
                        </a:lnTo>
                        <a:lnTo>
                          <a:pt x="61220" y="67275"/>
                        </a:lnTo>
                        <a:lnTo>
                          <a:pt x="56511" y="62469"/>
                        </a:lnTo>
                        <a:lnTo>
                          <a:pt x="56511" y="62469"/>
                        </a:lnTo>
                        <a:lnTo>
                          <a:pt x="56511" y="62469"/>
                        </a:lnTo>
                        <a:lnTo>
                          <a:pt x="56511" y="62469"/>
                        </a:lnTo>
                        <a:lnTo>
                          <a:pt x="56511" y="57664"/>
                        </a:lnTo>
                        <a:lnTo>
                          <a:pt x="56511" y="57664"/>
                        </a:lnTo>
                        <a:lnTo>
                          <a:pt x="56511" y="57664"/>
                        </a:lnTo>
                        <a:lnTo>
                          <a:pt x="56511" y="57664"/>
                        </a:lnTo>
                        <a:lnTo>
                          <a:pt x="56511" y="57664"/>
                        </a:lnTo>
                        <a:lnTo>
                          <a:pt x="56511" y="57664"/>
                        </a:lnTo>
                        <a:lnTo>
                          <a:pt x="56511" y="57664"/>
                        </a:lnTo>
                        <a:lnTo>
                          <a:pt x="61220" y="67275"/>
                        </a:lnTo>
                        <a:lnTo>
                          <a:pt x="84766" y="86496"/>
                        </a:lnTo>
                        <a:lnTo>
                          <a:pt x="65929" y="62469"/>
                        </a:lnTo>
                        <a:lnTo>
                          <a:pt x="56511" y="57664"/>
                        </a:lnTo>
                        <a:lnTo>
                          <a:pt x="56511" y="57664"/>
                        </a:lnTo>
                        <a:close/>
                      </a:path>
                    </a:pathLst>
                  </a:custGeom>
                  <a:solidFill>
                    <a:srgbClr val="000088"/>
                  </a:solidFill>
                  <a:ln w="47053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>
                    <a:defPPr>
                      <a:defRPr lang="en-US"/>
                    </a:defPPr>
                  </a:lstStyle>
                  <a:p>
                    <a:pPr marL="0" marR="0" lvl="0" indent="0" algn="l" defTabSz="1097236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592" b="0" i="0" normalizeH="0" noProof="0">
                        <a:solidFill>
                          <a:srgbClr val="000000"/>
                        </a:solidFill>
                        <a:uLnTx/>
                        <a:uFillTx/>
                        <a:latin typeface="+mn-lt"/>
                        <a:ea typeface="+mn-ea"/>
                        <a:cs typeface="+mn-cs"/>
                      </a:defRPr>
                    </a:pPr>
                    <a:endParaRPr kumimoji="0" lang="en-US" sz="168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173" name="Graphic 2">
                    <a:extLst>
                      <a:ext uri="{FF2B5EF4-FFF2-40B4-BE49-F238E27FC236}">
                        <a16:creationId xmlns:a16="http://schemas.microsoft.com/office/drawing/2014/main" id="{67E739FC-6572-4F43-A131-7A9C4848F002}"/>
                      </a:ext>
                    </a:extLst>
                  </p:cNvPr>
                  <p:cNvSpPr/>
                  <p:nvPr>
                    <p:custDataLst>
                      <p:tags r:id="rId124"/>
                    </p:custDataLst>
                  </p:nvPr>
                </p:nvSpPr>
                <p:spPr>
                  <a:xfrm>
                    <a:off x="8030789" y="7164160"/>
                    <a:ext cx="176312" cy="172992"/>
                  </a:xfrm>
                  <a:custGeom>
                    <a:avLst/>
                    <a:gdLst>
                      <a:gd name="connsiteX0" fmla="*/ 65929 w 122439"/>
                      <a:gd name="connsiteY0" fmla="*/ 4805 h 120133"/>
                      <a:gd name="connsiteX1" fmla="*/ 9418 w 122439"/>
                      <a:gd name="connsiteY1" fmla="*/ 62469 h 120133"/>
                      <a:gd name="connsiteX2" fmla="*/ 65929 w 122439"/>
                      <a:gd name="connsiteY2" fmla="*/ 120133 h 120133"/>
                      <a:gd name="connsiteX3" fmla="*/ 122440 w 122439"/>
                      <a:gd name="connsiteY3" fmla="*/ 62469 h 120133"/>
                      <a:gd name="connsiteX4" fmla="*/ 65929 w 122439"/>
                      <a:gd name="connsiteY4" fmla="*/ 4805 h 120133"/>
                      <a:gd name="connsiteX5" fmla="*/ 113021 w 122439"/>
                      <a:gd name="connsiteY5" fmla="*/ 72080 h 120133"/>
                      <a:gd name="connsiteX6" fmla="*/ 113021 w 122439"/>
                      <a:gd name="connsiteY6" fmla="*/ 72080 h 120133"/>
                      <a:gd name="connsiteX7" fmla="*/ 113021 w 122439"/>
                      <a:gd name="connsiteY7" fmla="*/ 81691 h 120133"/>
                      <a:gd name="connsiteX8" fmla="*/ 108312 w 122439"/>
                      <a:gd name="connsiteY8" fmla="*/ 81691 h 120133"/>
                      <a:gd name="connsiteX9" fmla="*/ 108312 w 122439"/>
                      <a:gd name="connsiteY9" fmla="*/ 86495 h 120133"/>
                      <a:gd name="connsiteX10" fmla="*/ 108312 w 122439"/>
                      <a:gd name="connsiteY10" fmla="*/ 86495 h 120133"/>
                      <a:gd name="connsiteX11" fmla="*/ 103603 w 122439"/>
                      <a:gd name="connsiteY11" fmla="*/ 91301 h 120133"/>
                      <a:gd name="connsiteX12" fmla="*/ 98894 w 122439"/>
                      <a:gd name="connsiteY12" fmla="*/ 91301 h 120133"/>
                      <a:gd name="connsiteX13" fmla="*/ 98894 w 122439"/>
                      <a:gd name="connsiteY13" fmla="*/ 96106 h 120133"/>
                      <a:gd name="connsiteX14" fmla="*/ 98894 w 122439"/>
                      <a:gd name="connsiteY14" fmla="*/ 96106 h 120133"/>
                      <a:gd name="connsiteX15" fmla="*/ 94184 w 122439"/>
                      <a:gd name="connsiteY15" fmla="*/ 100912 h 120133"/>
                      <a:gd name="connsiteX16" fmla="*/ 89475 w 122439"/>
                      <a:gd name="connsiteY16" fmla="*/ 100912 h 120133"/>
                      <a:gd name="connsiteX17" fmla="*/ 89475 w 122439"/>
                      <a:gd name="connsiteY17" fmla="*/ 105717 h 120133"/>
                      <a:gd name="connsiteX18" fmla="*/ 89475 w 122439"/>
                      <a:gd name="connsiteY18" fmla="*/ 105717 h 120133"/>
                      <a:gd name="connsiteX19" fmla="*/ 84766 w 122439"/>
                      <a:gd name="connsiteY19" fmla="*/ 110522 h 120133"/>
                      <a:gd name="connsiteX20" fmla="*/ 80057 w 122439"/>
                      <a:gd name="connsiteY20" fmla="*/ 110522 h 120133"/>
                      <a:gd name="connsiteX21" fmla="*/ 80057 w 122439"/>
                      <a:gd name="connsiteY21" fmla="*/ 115328 h 120133"/>
                      <a:gd name="connsiteX22" fmla="*/ 80057 w 122439"/>
                      <a:gd name="connsiteY22" fmla="*/ 115328 h 120133"/>
                      <a:gd name="connsiteX23" fmla="*/ 70638 w 122439"/>
                      <a:gd name="connsiteY23" fmla="*/ 115328 h 120133"/>
                      <a:gd name="connsiteX24" fmla="*/ 65929 w 122439"/>
                      <a:gd name="connsiteY24" fmla="*/ 115328 h 120133"/>
                      <a:gd name="connsiteX25" fmla="*/ 61220 w 122439"/>
                      <a:gd name="connsiteY25" fmla="*/ 120133 h 120133"/>
                      <a:gd name="connsiteX26" fmla="*/ 61220 w 122439"/>
                      <a:gd name="connsiteY26" fmla="*/ 120133 h 120133"/>
                      <a:gd name="connsiteX27" fmla="*/ 56511 w 122439"/>
                      <a:gd name="connsiteY27" fmla="*/ 120133 h 120133"/>
                      <a:gd name="connsiteX28" fmla="*/ 51801 w 122439"/>
                      <a:gd name="connsiteY28" fmla="*/ 120133 h 120133"/>
                      <a:gd name="connsiteX29" fmla="*/ 51801 w 122439"/>
                      <a:gd name="connsiteY29" fmla="*/ 115328 h 120133"/>
                      <a:gd name="connsiteX30" fmla="*/ 47092 w 122439"/>
                      <a:gd name="connsiteY30" fmla="*/ 115328 h 120133"/>
                      <a:gd name="connsiteX31" fmla="*/ 47092 w 122439"/>
                      <a:gd name="connsiteY31" fmla="*/ 115328 h 120133"/>
                      <a:gd name="connsiteX32" fmla="*/ 37674 w 122439"/>
                      <a:gd name="connsiteY32" fmla="*/ 115328 h 120133"/>
                      <a:gd name="connsiteX33" fmla="*/ 37674 w 122439"/>
                      <a:gd name="connsiteY33" fmla="*/ 110522 h 120133"/>
                      <a:gd name="connsiteX34" fmla="*/ 32965 w 122439"/>
                      <a:gd name="connsiteY34" fmla="*/ 110522 h 120133"/>
                      <a:gd name="connsiteX35" fmla="*/ 32965 w 122439"/>
                      <a:gd name="connsiteY35" fmla="*/ 110522 h 120133"/>
                      <a:gd name="connsiteX36" fmla="*/ 28255 w 122439"/>
                      <a:gd name="connsiteY36" fmla="*/ 105717 h 120133"/>
                      <a:gd name="connsiteX37" fmla="*/ 28255 w 122439"/>
                      <a:gd name="connsiteY37" fmla="*/ 100912 h 120133"/>
                      <a:gd name="connsiteX38" fmla="*/ 23546 w 122439"/>
                      <a:gd name="connsiteY38" fmla="*/ 100912 h 120133"/>
                      <a:gd name="connsiteX39" fmla="*/ 23546 w 122439"/>
                      <a:gd name="connsiteY39" fmla="*/ 100912 h 120133"/>
                      <a:gd name="connsiteX40" fmla="*/ 18837 w 122439"/>
                      <a:gd name="connsiteY40" fmla="*/ 96106 h 120133"/>
                      <a:gd name="connsiteX41" fmla="*/ 18837 w 122439"/>
                      <a:gd name="connsiteY41" fmla="*/ 91301 h 120133"/>
                      <a:gd name="connsiteX42" fmla="*/ 14128 w 122439"/>
                      <a:gd name="connsiteY42" fmla="*/ 91301 h 120133"/>
                      <a:gd name="connsiteX43" fmla="*/ 14128 w 122439"/>
                      <a:gd name="connsiteY43" fmla="*/ 91301 h 120133"/>
                      <a:gd name="connsiteX44" fmla="*/ 9418 w 122439"/>
                      <a:gd name="connsiteY44" fmla="*/ 86495 h 120133"/>
                      <a:gd name="connsiteX45" fmla="*/ 9418 w 122439"/>
                      <a:gd name="connsiteY45" fmla="*/ 81691 h 120133"/>
                      <a:gd name="connsiteX46" fmla="*/ 4709 w 122439"/>
                      <a:gd name="connsiteY46" fmla="*/ 81691 h 120133"/>
                      <a:gd name="connsiteX47" fmla="*/ 4709 w 122439"/>
                      <a:gd name="connsiteY47" fmla="*/ 81691 h 120133"/>
                      <a:gd name="connsiteX48" fmla="*/ 4709 w 122439"/>
                      <a:gd name="connsiteY48" fmla="*/ 72080 h 120133"/>
                      <a:gd name="connsiteX49" fmla="*/ 4709 w 122439"/>
                      <a:gd name="connsiteY49" fmla="*/ 67274 h 120133"/>
                      <a:gd name="connsiteX50" fmla="*/ 0 w 122439"/>
                      <a:gd name="connsiteY50" fmla="*/ 62469 h 120133"/>
                      <a:gd name="connsiteX51" fmla="*/ 0 w 122439"/>
                      <a:gd name="connsiteY51" fmla="*/ 62469 h 120133"/>
                      <a:gd name="connsiteX52" fmla="*/ 0 w 122439"/>
                      <a:gd name="connsiteY52" fmla="*/ 57664 h 120133"/>
                      <a:gd name="connsiteX53" fmla="*/ 0 w 122439"/>
                      <a:gd name="connsiteY53" fmla="*/ 52858 h 120133"/>
                      <a:gd name="connsiteX54" fmla="*/ 4709 w 122439"/>
                      <a:gd name="connsiteY54" fmla="*/ 52858 h 120133"/>
                      <a:gd name="connsiteX55" fmla="*/ 4709 w 122439"/>
                      <a:gd name="connsiteY55" fmla="*/ 48053 h 120133"/>
                      <a:gd name="connsiteX56" fmla="*/ 4709 w 122439"/>
                      <a:gd name="connsiteY56" fmla="*/ 48053 h 120133"/>
                      <a:gd name="connsiteX57" fmla="*/ 4709 w 122439"/>
                      <a:gd name="connsiteY57" fmla="*/ 38443 h 120133"/>
                      <a:gd name="connsiteX58" fmla="*/ 9418 w 122439"/>
                      <a:gd name="connsiteY58" fmla="*/ 38443 h 120133"/>
                      <a:gd name="connsiteX59" fmla="*/ 9418 w 122439"/>
                      <a:gd name="connsiteY59" fmla="*/ 33637 h 120133"/>
                      <a:gd name="connsiteX60" fmla="*/ 9418 w 122439"/>
                      <a:gd name="connsiteY60" fmla="*/ 33637 h 120133"/>
                      <a:gd name="connsiteX61" fmla="*/ 14128 w 122439"/>
                      <a:gd name="connsiteY61" fmla="*/ 28832 h 120133"/>
                      <a:gd name="connsiteX62" fmla="*/ 18837 w 122439"/>
                      <a:gd name="connsiteY62" fmla="*/ 28832 h 120133"/>
                      <a:gd name="connsiteX63" fmla="*/ 18837 w 122439"/>
                      <a:gd name="connsiteY63" fmla="*/ 24027 h 120133"/>
                      <a:gd name="connsiteX64" fmla="*/ 18837 w 122439"/>
                      <a:gd name="connsiteY64" fmla="*/ 24027 h 120133"/>
                      <a:gd name="connsiteX65" fmla="*/ 23546 w 122439"/>
                      <a:gd name="connsiteY65" fmla="*/ 19221 h 120133"/>
                      <a:gd name="connsiteX66" fmla="*/ 28255 w 122439"/>
                      <a:gd name="connsiteY66" fmla="*/ 19221 h 120133"/>
                      <a:gd name="connsiteX67" fmla="*/ 28255 w 122439"/>
                      <a:gd name="connsiteY67" fmla="*/ 14416 h 120133"/>
                      <a:gd name="connsiteX68" fmla="*/ 28255 w 122439"/>
                      <a:gd name="connsiteY68" fmla="*/ 14416 h 120133"/>
                      <a:gd name="connsiteX69" fmla="*/ 32965 w 122439"/>
                      <a:gd name="connsiteY69" fmla="*/ 9610 h 120133"/>
                      <a:gd name="connsiteX70" fmla="*/ 37674 w 122439"/>
                      <a:gd name="connsiteY70" fmla="*/ 9610 h 120133"/>
                      <a:gd name="connsiteX71" fmla="*/ 37674 w 122439"/>
                      <a:gd name="connsiteY71" fmla="*/ 4805 h 120133"/>
                      <a:gd name="connsiteX72" fmla="*/ 37674 w 122439"/>
                      <a:gd name="connsiteY72" fmla="*/ 4805 h 120133"/>
                      <a:gd name="connsiteX73" fmla="*/ 47092 w 122439"/>
                      <a:gd name="connsiteY73" fmla="*/ 4805 h 120133"/>
                      <a:gd name="connsiteX74" fmla="*/ 51801 w 122439"/>
                      <a:gd name="connsiteY74" fmla="*/ 4805 h 120133"/>
                      <a:gd name="connsiteX75" fmla="*/ 56511 w 122439"/>
                      <a:gd name="connsiteY75" fmla="*/ 0 h 120133"/>
                      <a:gd name="connsiteX76" fmla="*/ 56511 w 122439"/>
                      <a:gd name="connsiteY76" fmla="*/ 0 h 120133"/>
                      <a:gd name="connsiteX77" fmla="*/ 61220 w 122439"/>
                      <a:gd name="connsiteY77" fmla="*/ 0 h 120133"/>
                      <a:gd name="connsiteX78" fmla="*/ 65929 w 122439"/>
                      <a:gd name="connsiteY78" fmla="*/ 0 h 120133"/>
                      <a:gd name="connsiteX79" fmla="*/ 65929 w 122439"/>
                      <a:gd name="connsiteY79" fmla="*/ 4805 h 120133"/>
                      <a:gd name="connsiteX80" fmla="*/ 70638 w 122439"/>
                      <a:gd name="connsiteY80" fmla="*/ 4805 h 120133"/>
                      <a:gd name="connsiteX81" fmla="*/ 70638 w 122439"/>
                      <a:gd name="connsiteY81" fmla="*/ 4805 h 120133"/>
                      <a:gd name="connsiteX82" fmla="*/ 80057 w 122439"/>
                      <a:gd name="connsiteY82" fmla="*/ 4805 h 120133"/>
                      <a:gd name="connsiteX83" fmla="*/ 80057 w 122439"/>
                      <a:gd name="connsiteY83" fmla="*/ 9610 h 120133"/>
                      <a:gd name="connsiteX84" fmla="*/ 84766 w 122439"/>
                      <a:gd name="connsiteY84" fmla="*/ 9610 h 120133"/>
                      <a:gd name="connsiteX85" fmla="*/ 84766 w 122439"/>
                      <a:gd name="connsiteY85" fmla="*/ 9610 h 120133"/>
                      <a:gd name="connsiteX86" fmla="*/ 89475 w 122439"/>
                      <a:gd name="connsiteY86" fmla="*/ 14416 h 120133"/>
                      <a:gd name="connsiteX87" fmla="*/ 89475 w 122439"/>
                      <a:gd name="connsiteY87" fmla="*/ 19221 h 120133"/>
                      <a:gd name="connsiteX88" fmla="*/ 94184 w 122439"/>
                      <a:gd name="connsiteY88" fmla="*/ 19221 h 120133"/>
                      <a:gd name="connsiteX89" fmla="*/ 94184 w 122439"/>
                      <a:gd name="connsiteY89" fmla="*/ 19221 h 120133"/>
                      <a:gd name="connsiteX90" fmla="*/ 98894 w 122439"/>
                      <a:gd name="connsiteY90" fmla="*/ 24027 h 120133"/>
                      <a:gd name="connsiteX91" fmla="*/ 98894 w 122439"/>
                      <a:gd name="connsiteY91" fmla="*/ 28832 h 120133"/>
                      <a:gd name="connsiteX92" fmla="*/ 103603 w 122439"/>
                      <a:gd name="connsiteY92" fmla="*/ 28832 h 120133"/>
                      <a:gd name="connsiteX93" fmla="*/ 103603 w 122439"/>
                      <a:gd name="connsiteY93" fmla="*/ 28832 h 120133"/>
                      <a:gd name="connsiteX94" fmla="*/ 108312 w 122439"/>
                      <a:gd name="connsiteY94" fmla="*/ 33637 h 120133"/>
                      <a:gd name="connsiteX95" fmla="*/ 108312 w 122439"/>
                      <a:gd name="connsiteY95" fmla="*/ 38443 h 120133"/>
                      <a:gd name="connsiteX96" fmla="*/ 113021 w 122439"/>
                      <a:gd name="connsiteY96" fmla="*/ 38443 h 120133"/>
                      <a:gd name="connsiteX97" fmla="*/ 113021 w 122439"/>
                      <a:gd name="connsiteY97" fmla="*/ 38443 h 120133"/>
                      <a:gd name="connsiteX98" fmla="*/ 113021 w 122439"/>
                      <a:gd name="connsiteY98" fmla="*/ 48053 h 120133"/>
                      <a:gd name="connsiteX99" fmla="*/ 113021 w 122439"/>
                      <a:gd name="connsiteY99" fmla="*/ 52858 h 120133"/>
                      <a:gd name="connsiteX100" fmla="*/ 117730 w 122439"/>
                      <a:gd name="connsiteY100" fmla="*/ 57664 h 120133"/>
                      <a:gd name="connsiteX101" fmla="*/ 117730 w 122439"/>
                      <a:gd name="connsiteY101" fmla="*/ 57664 h 120133"/>
                      <a:gd name="connsiteX102" fmla="*/ 117730 w 122439"/>
                      <a:gd name="connsiteY102" fmla="*/ 62469 h 120133"/>
                      <a:gd name="connsiteX103" fmla="*/ 117730 w 122439"/>
                      <a:gd name="connsiteY103" fmla="*/ 67274 h 120133"/>
                      <a:gd name="connsiteX104" fmla="*/ 113021 w 122439"/>
                      <a:gd name="connsiteY104" fmla="*/ 72080 h 120133"/>
                      <a:gd name="connsiteX105" fmla="*/ 113021 w 122439"/>
                      <a:gd name="connsiteY105" fmla="*/ 72080 h 1201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</a:cxnLst>
                    <a:rect l="l" t="t" r="r" b="b"/>
                    <a:pathLst>
                      <a:path w="122439" h="120133">
                        <a:moveTo>
                          <a:pt x="65929" y="4805"/>
                        </a:moveTo>
                        <a:cubicBezTo>
                          <a:pt x="32965" y="4805"/>
                          <a:pt x="9418" y="28832"/>
                          <a:pt x="9418" y="62469"/>
                        </a:cubicBezTo>
                        <a:cubicBezTo>
                          <a:pt x="9418" y="96106"/>
                          <a:pt x="32965" y="120133"/>
                          <a:pt x="65929" y="120133"/>
                        </a:cubicBezTo>
                        <a:cubicBezTo>
                          <a:pt x="98894" y="120133"/>
                          <a:pt x="122440" y="96106"/>
                          <a:pt x="122440" y="62469"/>
                        </a:cubicBezTo>
                        <a:cubicBezTo>
                          <a:pt x="122440" y="28832"/>
                          <a:pt x="94184" y="4805"/>
                          <a:pt x="65929" y="4805"/>
                        </a:cubicBezTo>
                        <a:close/>
                        <a:moveTo>
                          <a:pt x="113021" y="72080"/>
                        </a:moveTo>
                        <a:cubicBezTo>
                          <a:pt x="113021" y="72080"/>
                          <a:pt x="113021" y="72080"/>
                          <a:pt x="113021" y="72080"/>
                        </a:cubicBezTo>
                        <a:cubicBezTo>
                          <a:pt x="113021" y="76885"/>
                          <a:pt x="113021" y="76885"/>
                          <a:pt x="113021" y="81691"/>
                        </a:cubicBezTo>
                        <a:cubicBezTo>
                          <a:pt x="113021" y="81691"/>
                          <a:pt x="108312" y="81691"/>
                          <a:pt x="108312" y="81691"/>
                        </a:cubicBezTo>
                        <a:cubicBezTo>
                          <a:pt x="108312" y="81691"/>
                          <a:pt x="108312" y="86495"/>
                          <a:pt x="108312" y="86495"/>
                        </a:cubicBezTo>
                        <a:cubicBezTo>
                          <a:pt x="108312" y="86495"/>
                          <a:pt x="108312" y="86495"/>
                          <a:pt x="108312" y="86495"/>
                        </a:cubicBezTo>
                        <a:cubicBezTo>
                          <a:pt x="108312" y="91301"/>
                          <a:pt x="103603" y="91301"/>
                          <a:pt x="103603" y="91301"/>
                        </a:cubicBezTo>
                        <a:cubicBezTo>
                          <a:pt x="103603" y="91301"/>
                          <a:pt x="98894" y="91301"/>
                          <a:pt x="98894" y="91301"/>
                        </a:cubicBezTo>
                        <a:cubicBezTo>
                          <a:pt x="98894" y="91301"/>
                          <a:pt x="98894" y="96106"/>
                          <a:pt x="98894" y="96106"/>
                        </a:cubicBezTo>
                        <a:cubicBezTo>
                          <a:pt x="98894" y="96106"/>
                          <a:pt x="98894" y="96106"/>
                          <a:pt x="98894" y="96106"/>
                        </a:cubicBezTo>
                        <a:cubicBezTo>
                          <a:pt x="98894" y="96106"/>
                          <a:pt x="94184" y="100912"/>
                          <a:pt x="94184" y="100912"/>
                        </a:cubicBezTo>
                        <a:cubicBezTo>
                          <a:pt x="94184" y="100912"/>
                          <a:pt x="94184" y="100912"/>
                          <a:pt x="89475" y="100912"/>
                        </a:cubicBezTo>
                        <a:cubicBezTo>
                          <a:pt x="89475" y="100912"/>
                          <a:pt x="89475" y="100912"/>
                          <a:pt x="89475" y="105717"/>
                        </a:cubicBezTo>
                        <a:cubicBezTo>
                          <a:pt x="89475" y="105717"/>
                          <a:pt x="89475" y="105717"/>
                          <a:pt x="89475" y="105717"/>
                        </a:cubicBezTo>
                        <a:cubicBezTo>
                          <a:pt x="89475" y="105717"/>
                          <a:pt x="84766" y="110522"/>
                          <a:pt x="84766" y="110522"/>
                        </a:cubicBezTo>
                        <a:cubicBezTo>
                          <a:pt x="84766" y="110522"/>
                          <a:pt x="84766" y="110522"/>
                          <a:pt x="80057" y="110522"/>
                        </a:cubicBezTo>
                        <a:cubicBezTo>
                          <a:pt x="80057" y="110522"/>
                          <a:pt x="80057" y="110522"/>
                          <a:pt x="80057" y="115328"/>
                        </a:cubicBezTo>
                        <a:cubicBezTo>
                          <a:pt x="80057" y="115328"/>
                          <a:pt x="80057" y="115328"/>
                          <a:pt x="80057" y="115328"/>
                        </a:cubicBezTo>
                        <a:cubicBezTo>
                          <a:pt x="75347" y="115328"/>
                          <a:pt x="75347" y="115328"/>
                          <a:pt x="70638" y="115328"/>
                        </a:cubicBezTo>
                        <a:cubicBezTo>
                          <a:pt x="70638" y="115328"/>
                          <a:pt x="70638" y="115328"/>
                          <a:pt x="65929" y="115328"/>
                        </a:cubicBezTo>
                        <a:cubicBezTo>
                          <a:pt x="65929" y="115328"/>
                          <a:pt x="61220" y="115328"/>
                          <a:pt x="61220" y="120133"/>
                        </a:cubicBezTo>
                        <a:cubicBezTo>
                          <a:pt x="61220" y="120133"/>
                          <a:pt x="61220" y="120133"/>
                          <a:pt x="61220" y="120133"/>
                        </a:cubicBezTo>
                        <a:cubicBezTo>
                          <a:pt x="61220" y="120133"/>
                          <a:pt x="56511" y="120133"/>
                          <a:pt x="56511" y="120133"/>
                        </a:cubicBezTo>
                        <a:cubicBezTo>
                          <a:pt x="56511" y="120133"/>
                          <a:pt x="51801" y="120133"/>
                          <a:pt x="51801" y="120133"/>
                        </a:cubicBezTo>
                        <a:cubicBezTo>
                          <a:pt x="51801" y="120133"/>
                          <a:pt x="51801" y="115328"/>
                          <a:pt x="51801" y="115328"/>
                        </a:cubicBezTo>
                        <a:cubicBezTo>
                          <a:pt x="51801" y="115328"/>
                          <a:pt x="47092" y="115328"/>
                          <a:pt x="47092" y="115328"/>
                        </a:cubicBezTo>
                        <a:cubicBezTo>
                          <a:pt x="47092" y="115328"/>
                          <a:pt x="47092" y="115328"/>
                          <a:pt x="47092" y="115328"/>
                        </a:cubicBezTo>
                        <a:cubicBezTo>
                          <a:pt x="42383" y="115328"/>
                          <a:pt x="42383" y="115328"/>
                          <a:pt x="37674" y="115328"/>
                        </a:cubicBezTo>
                        <a:cubicBezTo>
                          <a:pt x="37674" y="115328"/>
                          <a:pt x="37674" y="110522"/>
                          <a:pt x="37674" y="110522"/>
                        </a:cubicBezTo>
                        <a:cubicBezTo>
                          <a:pt x="37674" y="110522"/>
                          <a:pt x="32965" y="110522"/>
                          <a:pt x="32965" y="110522"/>
                        </a:cubicBezTo>
                        <a:cubicBezTo>
                          <a:pt x="32965" y="110522"/>
                          <a:pt x="32965" y="110522"/>
                          <a:pt x="32965" y="110522"/>
                        </a:cubicBezTo>
                        <a:cubicBezTo>
                          <a:pt x="28255" y="110522"/>
                          <a:pt x="28255" y="105717"/>
                          <a:pt x="28255" y="105717"/>
                        </a:cubicBezTo>
                        <a:cubicBezTo>
                          <a:pt x="28255" y="105717"/>
                          <a:pt x="28255" y="100912"/>
                          <a:pt x="28255" y="100912"/>
                        </a:cubicBezTo>
                        <a:cubicBezTo>
                          <a:pt x="28255" y="100912"/>
                          <a:pt x="23546" y="100912"/>
                          <a:pt x="23546" y="100912"/>
                        </a:cubicBezTo>
                        <a:cubicBezTo>
                          <a:pt x="23546" y="100912"/>
                          <a:pt x="23546" y="100912"/>
                          <a:pt x="23546" y="100912"/>
                        </a:cubicBezTo>
                        <a:cubicBezTo>
                          <a:pt x="23546" y="100912"/>
                          <a:pt x="18837" y="96106"/>
                          <a:pt x="18837" y="96106"/>
                        </a:cubicBezTo>
                        <a:cubicBezTo>
                          <a:pt x="18837" y="96106"/>
                          <a:pt x="18837" y="96106"/>
                          <a:pt x="18837" y="91301"/>
                        </a:cubicBezTo>
                        <a:cubicBezTo>
                          <a:pt x="18837" y="91301"/>
                          <a:pt x="18837" y="91301"/>
                          <a:pt x="14128" y="91301"/>
                        </a:cubicBezTo>
                        <a:cubicBezTo>
                          <a:pt x="14128" y="91301"/>
                          <a:pt x="14128" y="91301"/>
                          <a:pt x="14128" y="91301"/>
                        </a:cubicBezTo>
                        <a:cubicBezTo>
                          <a:pt x="14128" y="91301"/>
                          <a:pt x="9418" y="86495"/>
                          <a:pt x="9418" y="86495"/>
                        </a:cubicBezTo>
                        <a:cubicBezTo>
                          <a:pt x="9418" y="86495"/>
                          <a:pt x="9418" y="86495"/>
                          <a:pt x="9418" y="81691"/>
                        </a:cubicBezTo>
                        <a:cubicBezTo>
                          <a:pt x="9418" y="81691"/>
                          <a:pt x="9418" y="81691"/>
                          <a:pt x="4709" y="81691"/>
                        </a:cubicBezTo>
                        <a:cubicBezTo>
                          <a:pt x="4709" y="81691"/>
                          <a:pt x="4709" y="81691"/>
                          <a:pt x="4709" y="81691"/>
                        </a:cubicBezTo>
                        <a:cubicBezTo>
                          <a:pt x="4709" y="76885"/>
                          <a:pt x="4709" y="76885"/>
                          <a:pt x="4709" y="72080"/>
                        </a:cubicBezTo>
                        <a:cubicBezTo>
                          <a:pt x="4709" y="72080"/>
                          <a:pt x="4709" y="72080"/>
                          <a:pt x="4709" y="67274"/>
                        </a:cubicBezTo>
                        <a:cubicBezTo>
                          <a:pt x="4709" y="67274"/>
                          <a:pt x="4709" y="62469"/>
                          <a:pt x="0" y="62469"/>
                        </a:cubicBezTo>
                        <a:cubicBezTo>
                          <a:pt x="0" y="62469"/>
                          <a:pt x="0" y="62469"/>
                          <a:pt x="0" y="62469"/>
                        </a:cubicBezTo>
                        <a:cubicBezTo>
                          <a:pt x="0" y="62469"/>
                          <a:pt x="0" y="57664"/>
                          <a:pt x="0" y="57664"/>
                        </a:cubicBezTo>
                        <a:cubicBezTo>
                          <a:pt x="0" y="57664"/>
                          <a:pt x="0" y="52858"/>
                          <a:pt x="0" y="52858"/>
                        </a:cubicBezTo>
                        <a:cubicBezTo>
                          <a:pt x="0" y="52858"/>
                          <a:pt x="4709" y="52858"/>
                          <a:pt x="4709" y="52858"/>
                        </a:cubicBezTo>
                        <a:cubicBezTo>
                          <a:pt x="4709" y="52858"/>
                          <a:pt x="4709" y="48053"/>
                          <a:pt x="4709" y="48053"/>
                        </a:cubicBezTo>
                        <a:cubicBezTo>
                          <a:pt x="4709" y="48053"/>
                          <a:pt x="4709" y="48053"/>
                          <a:pt x="4709" y="48053"/>
                        </a:cubicBezTo>
                        <a:cubicBezTo>
                          <a:pt x="4709" y="43248"/>
                          <a:pt x="4709" y="43248"/>
                          <a:pt x="4709" y="38443"/>
                        </a:cubicBezTo>
                        <a:cubicBezTo>
                          <a:pt x="4709" y="38443"/>
                          <a:pt x="9418" y="38443"/>
                          <a:pt x="9418" y="38443"/>
                        </a:cubicBezTo>
                        <a:cubicBezTo>
                          <a:pt x="9418" y="38443"/>
                          <a:pt x="9418" y="33637"/>
                          <a:pt x="9418" y="33637"/>
                        </a:cubicBezTo>
                        <a:cubicBezTo>
                          <a:pt x="9418" y="33637"/>
                          <a:pt x="9418" y="33637"/>
                          <a:pt x="9418" y="33637"/>
                        </a:cubicBezTo>
                        <a:cubicBezTo>
                          <a:pt x="9418" y="33637"/>
                          <a:pt x="14128" y="28832"/>
                          <a:pt x="14128" y="28832"/>
                        </a:cubicBezTo>
                        <a:cubicBezTo>
                          <a:pt x="14128" y="28832"/>
                          <a:pt x="18837" y="28832"/>
                          <a:pt x="18837" y="28832"/>
                        </a:cubicBezTo>
                        <a:cubicBezTo>
                          <a:pt x="18837" y="28832"/>
                          <a:pt x="18837" y="24027"/>
                          <a:pt x="18837" y="24027"/>
                        </a:cubicBezTo>
                        <a:cubicBezTo>
                          <a:pt x="18837" y="24027"/>
                          <a:pt x="18837" y="24027"/>
                          <a:pt x="18837" y="24027"/>
                        </a:cubicBezTo>
                        <a:cubicBezTo>
                          <a:pt x="18837" y="24027"/>
                          <a:pt x="23546" y="19221"/>
                          <a:pt x="23546" y="19221"/>
                        </a:cubicBezTo>
                        <a:cubicBezTo>
                          <a:pt x="23546" y="19221"/>
                          <a:pt x="23546" y="19221"/>
                          <a:pt x="28255" y="19221"/>
                        </a:cubicBezTo>
                        <a:cubicBezTo>
                          <a:pt x="28255" y="19221"/>
                          <a:pt x="28255" y="19221"/>
                          <a:pt x="28255" y="14416"/>
                        </a:cubicBezTo>
                        <a:cubicBezTo>
                          <a:pt x="28255" y="14416"/>
                          <a:pt x="28255" y="14416"/>
                          <a:pt x="28255" y="14416"/>
                        </a:cubicBezTo>
                        <a:cubicBezTo>
                          <a:pt x="28255" y="14416"/>
                          <a:pt x="32965" y="9610"/>
                          <a:pt x="32965" y="9610"/>
                        </a:cubicBezTo>
                        <a:cubicBezTo>
                          <a:pt x="32965" y="9610"/>
                          <a:pt x="32965" y="9610"/>
                          <a:pt x="37674" y="9610"/>
                        </a:cubicBezTo>
                        <a:cubicBezTo>
                          <a:pt x="37674" y="9610"/>
                          <a:pt x="37674" y="9610"/>
                          <a:pt x="37674" y="4805"/>
                        </a:cubicBezTo>
                        <a:cubicBezTo>
                          <a:pt x="37674" y="4805"/>
                          <a:pt x="37674" y="4805"/>
                          <a:pt x="37674" y="4805"/>
                        </a:cubicBezTo>
                        <a:cubicBezTo>
                          <a:pt x="42383" y="4805"/>
                          <a:pt x="42383" y="4805"/>
                          <a:pt x="47092" y="4805"/>
                        </a:cubicBezTo>
                        <a:cubicBezTo>
                          <a:pt x="47092" y="4805"/>
                          <a:pt x="47092" y="4805"/>
                          <a:pt x="51801" y="4805"/>
                        </a:cubicBezTo>
                        <a:cubicBezTo>
                          <a:pt x="51801" y="4805"/>
                          <a:pt x="56511" y="4805"/>
                          <a:pt x="56511" y="0"/>
                        </a:cubicBezTo>
                        <a:cubicBezTo>
                          <a:pt x="56511" y="0"/>
                          <a:pt x="56511" y="0"/>
                          <a:pt x="56511" y="0"/>
                        </a:cubicBezTo>
                        <a:cubicBezTo>
                          <a:pt x="56511" y="0"/>
                          <a:pt x="61220" y="0"/>
                          <a:pt x="61220" y="0"/>
                        </a:cubicBezTo>
                        <a:cubicBezTo>
                          <a:pt x="61220" y="0"/>
                          <a:pt x="65929" y="0"/>
                          <a:pt x="65929" y="0"/>
                        </a:cubicBezTo>
                        <a:cubicBezTo>
                          <a:pt x="65929" y="0"/>
                          <a:pt x="65929" y="4805"/>
                          <a:pt x="65929" y="4805"/>
                        </a:cubicBezTo>
                        <a:cubicBezTo>
                          <a:pt x="65929" y="4805"/>
                          <a:pt x="70638" y="4805"/>
                          <a:pt x="70638" y="4805"/>
                        </a:cubicBezTo>
                        <a:cubicBezTo>
                          <a:pt x="70638" y="4805"/>
                          <a:pt x="70638" y="4805"/>
                          <a:pt x="70638" y="4805"/>
                        </a:cubicBezTo>
                        <a:cubicBezTo>
                          <a:pt x="75347" y="4805"/>
                          <a:pt x="75347" y="4805"/>
                          <a:pt x="80057" y="4805"/>
                        </a:cubicBezTo>
                        <a:cubicBezTo>
                          <a:pt x="80057" y="4805"/>
                          <a:pt x="80057" y="9610"/>
                          <a:pt x="80057" y="9610"/>
                        </a:cubicBezTo>
                        <a:cubicBezTo>
                          <a:pt x="80057" y="9610"/>
                          <a:pt x="84766" y="9610"/>
                          <a:pt x="84766" y="9610"/>
                        </a:cubicBezTo>
                        <a:cubicBezTo>
                          <a:pt x="84766" y="9610"/>
                          <a:pt x="84766" y="9610"/>
                          <a:pt x="84766" y="9610"/>
                        </a:cubicBezTo>
                        <a:cubicBezTo>
                          <a:pt x="89475" y="9610"/>
                          <a:pt x="89475" y="14416"/>
                          <a:pt x="89475" y="14416"/>
                        </a:cubicBezTo>
                        <a:cubicBezTo>
                          <a:pt x="89475" y="14416"/>
                          <a:pt x="89475" y="19221"/>
                          <a:pt x="89475" y="19221"/>
                        </a:cubicBezTo>
                        <a:cubicBezTo>
                          <a:pt x="89475" y="19221"/>
                          <a:pt x="94184" y="19221"/>
                          <a:pt x="94184" y="19221"/>
                        </a:cubicBezTo>
                        <a:cubicBezTo>
                          <a:pt x="94184" y="19221"/>
                          <a:pt x="94184" y="19221"/>
                          <a:pt x="94184" y="19221"/>
                        </a:cubicBezTo>
                        <a:cubicBezTo>
                          <a:pt x="94184" y="19221"/>
                          <a:pt x="98894" y="24027"/>
                          <a:pt x="98894" y="24027"/>
                        </a:cubicBezTo>
                        <a:cubicBezTo>
                          <a:pt x="98894" y="24027"/>
                          <a:pt x="98894" y="24027"/>
                          <a:pt x="98894" y="28832"/>
                        </a:cubicBezTo>
                        <a:cubicBezTo>
                          <a:pt x="98894" y="28832"/>
                          <a:pt x="98894" y="28832"/>
                          <a:pt x="103603" y="28832"/>
                        </a:cubicBezTo>
                        <a:cubicBezTo>
                          <a:pt x="103603" y="28832"/>
                          <a:pt x="103603" y="28832"/>
                          <a:pt x="103603" y="28832"/>
                        </a:cubicBezTo>
                        <a:cubicBezTo>
                          <a:pt x="103603" y="28832"/>
                          <a:pt x="108312" y="33637"/>
                          <a:pt x="108312" y="33637"/>
                        </a:cubicBezTo>
                        <a:cubicBezTo>
                          <a:pt x="108312" y="33637"/>
                          <a:pt x="108312" y="33637"/>
                          <a:pt x="108312" y="38443"/>
                        </a:cubicBezTo>
                        <a:cubicBezTo>
                          <a:pt x="108312" y="38443"/>
                          <a:pt x="108312" y="38443"/>
                          <a:pt x="113021" y="38443"/>
                        </a:cubicBezTo>
                        <a:cubicBezTo>
                          <a:pt x="113021" y="38443"/>
                          <a:pt x="113021" y="38443"/>
                          <a:pt x="113021" y="38443"/>
                        </a:cubicBezTo>
                        <a:cubicBezTo>
                          <a:pt x="113021" y="43248"/>
                          <a:pt x="113021" y="43248"/>
                          <a:pt x="113021" y="48053"/>
                        </a:cubicBezTo>
                        <a:cubicBezTo>
                          <a:pt x="113021" y="48053"/>
                          <a:pt x="113021" y="48053"/>
                          <a:pt x="113021" y="52858"/>
                        </a:cubicBezTo>
                        <a:cubicBezTo>
                          <a:pt x="113021" y="52858"/>
                          <a:pt x="113021" y="57664"/>
                          <a:pt x="117730" y="57664"/>
                        </a:cubicBezTo>
                        <a:cubicBezTo>
                          <a:pt x="117730" y="57664"/>
                          <a:pt x="117730" y="57664"/>
                          <a:pt x="117730" y="57664"/>
                        </a:cubicBezTo>
                        <a:cubicBezTo>
                          <a:pt x="117730" y="57664"/>
                          <a:pt x="117730" y="62469"/>
                          <a:pt x="117730" y="62469"/>
                        </a:cubicBezTo>
                        <a:cubicBezTo>
                          <a:pt x="117730" y="62469"/>
                          <a:pt x="117730" y="67274"/>
                          <a:pt x="117730" y="67274"/>
                        </a:cubicBezTo>
                        <a:cubicBezTo>
                          <a:pt x="113021" y="67274"/>
                          <a:pt x="113021" y="67274"/>
                          <a:pt x="113021" y="72080"/>
                        </a:cubicBezTo>
                        <a:cubicBezTo>
                          <a:pt x="108312" y="67274"/>
                          <a:pt x="113021" y="72080"/>
                          <a:pt x="113021" y="72080"/>
                        </a:cubicBezTo>
                        <a:close/>
                      </a:path>
                    </a:pathLst>
                  </a:custGeom>
                  <a:solidFill>
                    <a:srgbClr val="000088"/>
                  </a:solidFill>
                  <a:ln w="47053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>
                    <a:defPPr>
                      <a:defRPr lang="en-US"/>
                    </a:defPPr>
                  </a:lstStyle>
                  <a:p>
                    <a:pPr marL="0" marR="0" lvl="0" indent="0" algn="l" defTabSz="1097236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 kumimoji="0" sz="2592" b="0" i="0" normalizeH="0" noProof="0">
                        <a:solidFill>
                          <a:srgbClr val="000000"/>
                        </a:solidFill>
                        <a:uLnTx/>
                        <a:uFillTx/>
                        <a:latin typeface="+mn-lt"/>
                        <a:ea typeface="+mn-ea"/>
                        <a:cs typeface="+mn-cs"/>
                      </a:defRPr>
                    </a:pPr>
                    <a:endParaRPr kumimoji="0" lang="en-US" sz="168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itchFamily="34" charset="0"/>
                      <a:cs typeface="Arial" pitchFamily="34" charset="0"/>
                    </a:endParaRPr>
                  </a:p>
                </p:txBody>
              </p:sp>
            </p:grpSp>
          </p:grpSp>
        </p:grpSp>
        <p:sp>
          <p:nvSpPr>
            <p:cNvPr id="110" name="Oval 109">
              <a:extLst>
                <a:ext uri="{FF2B5EF4-FFF2-40B4-BE49-F238E27FC236}">
                  <a16:creationId xmlns:a16="http://schemas.microsoft.com/office/drawing/2014/main" id="{0F2020E5-1EB3-CD47-9A36-15B4391A39FC}"/>
                </a:ext>
              </a:extLst>
            </p:cNvPr>
            <p:cNvSpPr/>
            <p:nvPr>
              <p:custDataLst>
                <p:tags r:id="rId118"/>
              </p:custDataLst>
            </p:nvPr>
          </p:nvSpPr>
          <p:spPr>
            <a:xfrm>
              <a:off x="5510775" y="3464732"/>
              <a:ext cx="622080" cy="622080"/>
            </a:xfrm>
            <a:prstGeom prst="ellipse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marR="0" indent="0" algn="l" defTabSz="131673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658368" marR="0" indent="0" algn="l" defTabSz="131673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1316736" marR="0" indent="0" algn="l" defTabSz="131673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975104" marR="0" indent="0" algn="l" defTabSz="131673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2633472" marR="0" indent="0" algn="l" defTabSz="131673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3291840" marR="0" indent="0" algn="l" defTabSz="131673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3950208" marR="0" indent="0" algn="l" defTabSz="131673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4608576" marR="0" indent="0" algn="l" defTabSz="131673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5266944" marR="0" indent="0" algn="l" defTabSz="131673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marL="0" marR="0" lvl="0" indent="0" algn="ctr" defTabSz="109723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u="none" strike="noStrike" cap="none" spc="0" normalizeH="0" baseline="0" noProof="0">
                  <a:solidFill>
                    <a:srgbClr val="FFFFFF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pPr>
              <a:endParaRPr kumimoji="0" lang="en-US" sz="216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  <a:sym typeface="Wingdings" charset="2"/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6ED63A59-D479-BC4F-9228-56231F8DD9BA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5729202" y="2472255"/>
            <a:ext cx="697365" cy="933525"/>
            <a:chOff x="6540226" y="3463255"/>
            <a:chExt cx="836839" cy="1120230"/>
          </a:xfrm>
        </p:grpSpPr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CB5ABAE7-8AE9-1746-AD0E-EA04EEB8578E}"/>
                </a:ext>
              </a:extLst>
            </p:cNvPr>
            <p:cNvSpPr/>
            <p:nvPr>
              <p:custDataLst>
                <p:tags r:id="rId80"/>
              </p:custDataLst>
            </p:nvPr>
          </p:nvSpPr>
          <p:spPr>
            <a:xfrm>
              <a:off x="6540226" y="4217846"/>
              <a:ext cx="836839" cy="365639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US"/>
              </a:defPPr>
            </a:lstStyle>
            <a:p>
              <a:pPr marL="0" marR="0" lvl="0" indent="0" algn="ctr" defTabSz="1462952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kumimoji="0" lang="en-US" sz="126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USA</a:t>
              </a:r>
            </a:p>
          </p:txBody>
        </p: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94EF3D55-D268-7246-8325-4FDA7DC9CB80}"/>
                </a:ext>
              </a:extLst>
            </p:cNvPr>
            <p:cNvGrpSpPr/>
            <p:nvPr>
              <p:custDataLst>
                <p:tags r:id="rId81"/>
              </p:custDataLst>
            </p:nvPr>
          </p:nvGrpSpPr>
          <p:grpSpPr>
            <a:xfrm>
              <a:off x="6633801" y="3465189"/>
              <a:ext cx="622081" cy="622080"/>
              <a:chOff x="12939133" y="4339909"/>
              <a:chExt cx="637633" cy="622080"/>
            </a:xfrm>
          </p:grpSpPr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96A43F45-2BBB-6B48-A626-5A042ED0F409}"/>
                  </a:ext>
                </a:extLst>
              </p:cNvPr>
              <p:cNvSpPr>
                <a:spLocks noChangeAspect="1"/>
              </p:cNvSpPr>
              <p:nvPr>
                <p:custDataLst>
                  <p:tags r:id="rId83"/>
                </p:custDataLst>
              </p:nvPr>
            </p:nvSpPr>
            <p:spPr>
              <a:xfrm>
                <a:off x="12952406" y="4339909"/>
                <a:ext cx="623569" cy="62208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1pPr>
                <a:lvl2pPr marL="658368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2pPr>
                <a:lvl3pPr marL="1316736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3pPr>
                <a:lvl4pPr marL="1975104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4pPr>
                <a:lvl5pPr marL="2633472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5pPr>
                <a:lvl6pPr marL="3291840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6pPr>
                <a:lvl7pPr marL="3950208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7pPr>
                <a:lvl8pPr marL="4608576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8pPr>
                <a:lvl9pPr marL="5266944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9pPr>
              </a:lstStyle>
              <a:p>
                <a:pPr marL="0" marR="0" lvl="0" indent="0" algn="ctr" defTabSz="10972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cap="none" spc="0" normalizeH="0" baseline="0" noProof="0">
                    <a:solidFill>
                      <a:srgbClr val="FFFFFF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pPr>
                <a:endParaRPr kumimoji="0" lang="en-US" sz="16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  <a:sym typeface="Wingdings" charset="2"/>
                </a:endParaRPr>
              </a:p>
            </p:txBody>
          </p:sp>
          <p:grpSp>
            <p:nvGrpSpPr>
              <p:cNvPr id="82" name="Group 81">
                <a:extLst>
                  <a:ext uri="{FF2B5EF4-FFF2-40B4-BE49-F238E27FC236}">
                    <a16:creationId xmlns:a16="http://schemas.microsoft.com/office/drawing/2014/main" id="{7316CCC3-3770-FB4E-A074-46EDF3CA789D}"/>
                  </a:ext>
                </a:extLst>
              </p:cNvPr>
              <p:cNvGrpSpPr/>
              <p:nvPr>
                <p:custDataLst>
                  <p:tags r:id="rId84"/>
                </p:custDataLst>
              </p:nvPr>
            </p:nvGrpSpPr>
            <p:grpSpPr>
              <a:xfrm>
                <a:off x="12939133" y="4344422"/>
                <a:ext cx="637634" cy="615851"/>
                <a:chOff x="12202916" y="3527553"/>
                <a:chExt cx="627693" cy="615851"/>
              </a:xfrm>
            </p:grpSpPr>
            <p:sp>
              <p:nvSpPr>
                <p:cNvPr id="90" name="Freeform 89">
                  <a:extLst>
                    <a:ext uri="{FF2B5EF4-FFF2-40B4-BE49-F238E27FC236}">
                      <a16:creationId xmlns:a16="http://schemas.microsoft.com/office/drawing/2014/main" id="{C026CD84-9B75-8A45-A0F7-A9B9220D35B3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85"/>
                  </p:custDataLst>
                </p:nvPr>
              </p:nvSpPr>
              <p:spPr>
                <a:xfrm>
                  <a:off x="12213282" y="3527553"/>
                  <a:ext cx="617327" cy="615851"/>
                </a:xfrm>
                <a:custGeom>
                  <a:avLst/>
                  <a:gdLst>
                    <a:gd name="connsiteX0" fmla="*/ 119178 w 536550"/>
                    <a:gd name="connsiteY0" fmla="*/ 487921 h 535268"/>
                    <a:gd name="connsiteX1" fmla="*/ 417373 w 536550"/>
                    <a:gd name="connsiteY1" fmla="*/ 487921 h 535268"/>
                    <a:gd name="connsiteX2" fmla="*/ 396151 w 536550"/>
                    <a:gd name="connsiteY2" fmla="*/ 502966 h 535268"/>
                    <a:gd name="connsiteX3" fmla="*/ 268275 w 536550"/>
                    <a:gd name="connsiteY3" fmla="*/ 535268 h 535268"/>
                    <a:gd name="connsiteX4" fmla="*/ 140399 w 536550"/>
                    <a:gd name="connsiteY4" fmla="*/ 502966 h 535268"/>
                    <a:gd name="connsiteX5" fmla="*/ 40562 w 536550"/>
                    <a:gd name="connsiteY5" fmla="*/ 407611 h 535268"/>
                    <a:gd name="connsiteX6" fmla="*/ 495989 w 536550"/>
                    <a:gd name="connsiteY6" fmla="*/ 407611 h 535268"/>
                    <a:gd name="connsiteX7" fmla="*/ 490733 w 536550"/>
                    <a:gd name="connsiteY7" fmla="*/ 417271 h 535268"/>
                    <a:gd name="connsiteX8" fmla="*/ 464253 w 536550"/>
                    <a:gd name="connsiteY8" fmla="*/ 447776 h 535268"/>
                    <a:gd name="connsiteX9" fmla="*/ 72298 w 536550"/>
                    <a:gd name="connsiteY9" fmla="*/ 447776 h 535268"/>
                    <a:gd name="connsiteX10" fmla="*/ 45817 w 536550"/>
                    <a:gd name="connsiteY10" fmla="*/ 417271 h 535268"/>
                    <a:gd name="connsiteX11" fmla="*/ 7233 w 536550"/>
                    <a:gd name="connsiteY11" fmla="*/ 327300 h 535268"/>
                    <a:gd name="connsiteX12" fmla="*/ 529317 w 536550"/>
                    <a:gd name="connsiteY12" fmla="*/ 327300 h 535268"/>
                    <a:gd name="connsiteX13" fmla="*/ 516819 w 536550"/>
                    <a:gd name="connsiteY13" fmla="*/ 367466 h 535268"/>
                    <a:gd name="connsiteX14" fmla="*/ 19731 w 536550"/>
                    <a:gd name="connsiteY14" fmla="*/ 367466 h 535268"/>
                    <a:gd name="connsiteX15" fmla="*/ 2086 w 536550"/>
                    <a:gd name="connsiteY15" fmla="*/ 246989 h 535268"/>
                    <a:gd name="connsiteX16" fmla="*/ 534464 w 536550"/>
                    <a:gd name="connsiteY16" fmla="*/ 246989 h 535268"/>
                    <a:gd name="connsiteX17" fmla="*/ 536550 w 536550"/>
                    <a:gd name="connsiteY17" fmla="*/ 267634 h 535268"/>
                    <a:gd name="connsiteX18" fmla="*/ 534578 w 536550"/>
                    <a:gd name="connsiteY18" fmla="*/ 287155 h 535268"/>
                    <a:gd name="connsiteX19" fmla="*/ 1973 w 536550"/>
                    <a:gd name="connsiteY19" fmla="*/ 287155 h 535268"/>
                    <a:gd name="connsiteX20" fmla="*/ 0 w 536550"/>
                    <a:gd name="connsiteY20" fmla="*/ 267634 h 535268"/>
                    <a:gd name="connsiteX21" fmla="*/ 20081 w 536550"/>
                    <a:gd name="connsiteY21" fmla="*/ 166678 h 535268"/>
                    <a:gd name="connsiteX22" fmla="*/ 516469 w 536550"/>
                    <a:gd name="connsiteY22" fmla="*/ 166678 h 535268"/>
                    <a:gd name="connsiteX23" fmla="*/ 528968 w 536550"/>
                    <a:gd name="connsiteY23" fmla="*/ 206844 h 535268"/>
                    <a:gd name="connsiteX24" fmla="*/ 7583 w 536550"/>
                    <a:gd name="connsiteY24" fmla="*/ 206844 h 535268"/>
                    <a:gd name="connsiteX25" fmla="*/ 72582 w 536550"/>
                    <a:gd name="connsiteY25" fmla="*/ 86367 h 535268"/>
                    <a:gd name="connsiteX26" fmla="*/ 463969 w 536550"/>
                    <a:gd name="connsiteY26" fmla="*/ 86367 h 535268"/>
                    <a:gd name="connsiteX27" fmla="*/ 475289 w 536550"/>
                    <a:gd name="connsiteY27" fmla="*/ 97394 h 535268"/>
                    <a:gd name="connsiteX28" fmla="*/ 493011 w 536550"/>
                    <a:gd name="connsiteY28" fmla="*/ 126533 h 535268"/>
                    <a:gd name="connsiteX29" fmla="*/ 43540 w 536550"/>
                    <a:gd name="connsiteY29" fmla="*/ 126533 h 535268"/>
                    <a:gd name="connsiteX30" fmla="*/ 61261 w 536550"/>
                    <a:gd name="connsiteY30" fmla="*/ 97394 h 535268"/>
                    <a:gd name="connsiteX31" fmla="*/ 268275 w 536550"/>
                    <a:gd name="connsiteY31" fmla="*/ 0 h 535268"/>
                    <a:gd name="connsiteX32" fmla="*/ 384583 w 536550"/>
                    <a:gd name="connsiteY32" fmla="*/ 26392 h 535268"/>
                    <a:gd name="connsiteX33" fmla="*/ 416451 w 536550"/>
                    <a:gd name="connsiteY33" fmla="*/ 46222 h 535268"/>
                    <a:gd name="connsiteX34" fmla="*/ 120099 w 536550"/>
                    <a:gd name="connsiteY34" fmla="*/ 46222 h 535268"/>
                    <a:gd name="connsiteX35" fmla="*/ 151967 w 536550"/>
                    <a:gd name="connsiteY35" fmla="*/ 26392 h 535268"/>
                    <a:gd name="connsiteX36" fmla="*/ 268275 w 536550"/>
                    <a:gd name="connsiteY36" fmla="*/ 0 h 5352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</a:cxnLst>
                  <a:rect l="l" t="t" r="r" b="b"/>
                  <a:pathLst>
                    <a:path w="536550" h="535268">
                      <a:moveTo>
                        <a:pt x="119178" y="487921"/>
                      </a:moveTo>
                      <a:lnTo>
                        <a:pt x="417373" y="487921"/>
                      </a:lnTo>
                      <a:lnTo>
                        <a:pt x="396151" y="502966"/>
                      </a:lnTo>
                      <a:cubicBezTo>
                        <a:pt x="358138" y="523567"/>
                        <a:pt x="314577" y="535268"/>
                        <a:pt x="268275" y="535268"/>
                      </a:cubicBezTo>
                      <a:cubicBezTo>
                        <a:pt x="221974" y="535268"/>
                        <a:pt x="178412" y="523567"/>
                        <a:pt x="140399" y="502966"/>
                      </a:cubicBezTo>
                      <a:close/>
                      <a:moveTo>
                        <a:pt x="40562" y="407611"/>
                      </a:moveTo>
                      <a:lnTo>
                        <a:pt x="495989" y="407611"/>
                      </a:lnTo>
                      <a:lnTo>
                        <a:pt x="490733" y="417271"/>
                      </a:lnTo>
                      <a:lnTo>
                        <a:pt x="464253" y="447776"/>
                      </a:lnTo>
                      <a:lnTo>
                        <a:pt x="72298" y="447776"/>
                      </a:lnTo>
                      <a:lnTo>
                        <a:pt x="45817" y="417271"/>
                      </a:lnTo>
                      <a:close/>
                      <a:moveTo>
                        <a:pt x="7233" y="327300"/>
                      </a:moveTo>
                      <a:lnTo>
                        <a:pt x="529317" y="327300"/>
                      </a:lnTo>
                      <a:lnTo>
                        <a:pt x="516819" y="367466"/>
                      </a:lnTo>
                      <a:lnTo>
                        <a:pt x="19731" y="367466"/>
                      </a:lnTo>
                      <a:close/>
                      <a:moveTo>
                        <a:pt x="2086" y="246989"/>
                      </a:moveTo>
                      <a:lnTo>
                        <a:pt x="534464" y="246989"/>
                      </a:lnTo>
                      <a:lnTo>
                        <a:pt x="536550" y="267634"/>
                      </a:lnTo>
                      <a:lnTo>
                        <a:pt x="534578" y="287155"/>
                      </a:lnTo>
                      <a:lnTo>
                        <a:pt x="1973" y="287155"/>
                      </a:lnTo>
                      <a:lnTo>
                        <a:pt x="0" y="267634"/>
                      </a:lnTo>
                      <a:close/>
                      <a:moveTo>
                        <a:pt x="20081" y="166678"/>
                      </a:moveTo>
                      <a:lnTo>
                        <a:pt x="516469" y="166678"/>
                      </a:lnTo>
                      <a:lnTo>
                        <a:pt x="528968" y="206844"/>
                      </a:lnTo>
                      <a:lnTo>
                        <a:pt x="7583" y="206844"/>
                      </a:lnTo>
                      <a:close/>
                      <a:moveTo>
                        <a:pt x="72582" y="86367"/>
                      </a:moveTo>
                      <a:lnTo>
                        <a:pt x="463969" y="86367"/>
                      </a:lnTo>
                      <a:lnTo>
                        <a:pt x="475289" y="97394"/>
                      </a:lnTo>
                      <a:lnTo>
                        <a:pt x="493011" y="126533"/>
                      </a:lnTo>
                      <a:lnTo>
                        <a:pt x="43540" y="126533"/>
                      </a:lnTo>
                      <a:lnTo>
                        <a:pt x="61261" y="97394"/>
                      </a:lnTo>
                      <a:close/>
                      <a:moveTo>
                        <a:pt x="268275" y="0"/>
                      </a:moveTo>
                      <a:cubicBezTo>
                        <a:pt x="309947" y="0"/>
                        <a:pt x="349399" y="9478"/>
                        <a:pt x="384583" y="26392"/>
                      </a:cubicBezTo>
                      <a:lnTo>
                        <a:pt x="416451" y="46222"/>
                      </a:lnTo>
                      <a:lnTo>
                        <a:pt x="120099" y="46222"/>
                      </a:lnTo>
                      <a:lnTo>
                        <a:pt x="151967" y="26392"/>
                      </a:lnTo>
                      <a:cubicBezTo>
                        <a:pt x="187152" y="9478"/>
                        <a:pt x="226604" y="0"/>
                        <a:pt x="268275" y="0"/>
                      </a:cubicBez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>
                  <a:defPPr>
                    <a:defRPr lang="en-US"/>
                  </a:defPPr>
                  <a:lvl1pPr marL="0" marR="0" indent="0" algn="l" defTabSz="1316736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592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1pPr>
                  <a:lvl2pPr marL="658368" marR="0" indent="0" algn="l" defTabSz="1316736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592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2pPr>
                  <a:lvl3pPr marL="1316736" marR="0" indent="0" algn="l" defTabSz="1316736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592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3pPr>
                  <a:lvl4pPr marL="1975104" marR="0" indent="0" algn="l" defTabSz="1316736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592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4pPr>
                  <a:lvl5pPr marL="2633472" marR="0" indent="0" algn="l" defTabSz="1316736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592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5pPr>
                  <a:lvl6pPr marL="3291840" marR="0" indent="0" algn="l" defTabSz="1316736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592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6pPr>
                  <a:lvl7pPr marL="3950208" marR="0" indent="0" algn="l" defTabSz="1316736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592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7pPr>
                  <a:lvl8pPr marL="4608576" marR="0" indent="0" algn="l" defTabSz="1316736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592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8pPr>
                  <a:lvl9pPr marL="5266944" marR="0" indent="0" algn="l" defTabSz="1316736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592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9pPr>
                </a:lstStyle>
                <a:p>
                  <a:pPr marL="0" marR="0" lvl="0" indent="0" algn="ctr" defTabSz="1097236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592" b="0" i="0" u="none" strike="noStrike" cap="none" spc="0" normalizeH="0" baseline="0" noProof="0">
                      <a:solidFill>
                        <a:srgbClr val="FFFFFF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pPr>
                  <a:endParaRPr kumimoji="0" lang="en-US" sz="168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  <a:sym typeface="Wingdings" charset="2"/>
                  </a:endParaRPr>
                </a:p>
              </p:txBody>
            </p:sp>
            <p:sp>
              <p:nvSpPr>
                <p:cNvPr id="95" name="Freeform 94">
                  <a:extLst>
                    <a:ext uri="{FF2B5EF4-FFF2-40B4-BE49-F238E27FC236}">
                      <a16:creationId xmlns:a16="http://schemas.microsoft.com/office/drawing/2014/main" id="{A5EA085F-2F72-9E47-AC9C-E07DD3909093}"/>
                    </a:ext>
                  </a:extLst>
                </p:cNvPr>
                <p:cNvSpPr/>
                <p:nvPr>
                  <p:custDataLst>
                    <p:tags r:id="rId86"/>
                  </p:custDataLst>
                </p:nvPr>
              </p:nvSpPr>
              <p:spPr>
                <a:xfrm>
                  <a:off x="12214894" y="3527667"/>
                  <a:ext cx="313128" cy="328595"/>
                </a:xfrm>
                <a:custGeom>
                  <a:avLst/>
                  <a:gdLst>
                    <a:gd name="connsiteX0" fmla="*/ 214794 w 214794"/>
                    <a:gd name="connsiteY0" fmla="*/ 0 h 225405"/>
                    <a:gd name="connsiteX1" fmla="*/ 214794 w 214794"/>
                    <a:gd name="connsiteY1" fmla="*/ 225405 h 225405"/>
                    <a:gd name="connsiteX2" fmla="*/ 968 w 214794"/>
                    <a:gd name="connsiteY2" fmla="*/ 225405 h 225405"/>
                    <a:gd name="connsiteX3" fmla="*/ 0 w 214794"/>
                    <a:gd name="connsiteY3" fmla="*/ 215827 h 225405"/>
                    <a:gd name="connsiteX4" fmla="*/ 172881 w 214794"/>
                    <a:gd name="connsiteY4" fmla="*/ 4215 h 225405"/>
                    <a:gd name="connsiteX5" fmla="*/ 214794 w 214794"/>
                    <a:gd name="connsiteY5" fmla="*/ 0 h 2254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14794" h="225405">
                      <a:moveTo>
                        <a:pt x="214794" y="0"/>
                      </a:moveTo>
                      <a:lnTo>
                        <a:pt x="214794" y="225405"/>
                      </a:lnTo>
                      <a:lnTo>
                        <a:pt x="968" y="225405"/>
                      </a:lnTo>
                      <a:lnTo>
                        <a:pt x="0" y="215827"/>
                      </a:lnTo>
                      <a:cubicBezTo>
                        <a:pt x="0" y="111445"/>
                        <a:pt x="74218" y="24356"/>
                        <a:pt x="172881" y="4215"/>
                      </a:cubicBezTo>
                      <a:lnTo>
                        <a:pt x="214794" y="0"/>
                      </a:lnTo>
                      <a:close/>
                    </a:path>
                  </a:pathLst>
                </a:custGeom>
                <a:solidFill>
                  <a:srgbClr val="3C3B6D"/>
                </a:solidFill>
                <a:ln>
                  <a:noFill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>
                  <a:defPPr>
                    <a:defRPr lang="en-US"/>
                  </a:defPPr>
                  <a:lvl1pPr marL="0" marR="0" indent="0" algn="l" defTabSz="1316736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592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1pPr>
                  <a:lvl2pPr marL="658368" marR="0" indent="0" algn="l" defTabSz="1316736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592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2pPr>
                  <a:lvl3pPr marL="1316736" marR="0" indent="0" algn="l" defTabSz="1316736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592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3pPr>
                  <a:lvl4pPr marL="1975104" marR="0" indent="0" algn="l" defTabSz="1316736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592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4pPr>
                  <a:lvl5pPr marL="2633472" marR="0" indent="0" algn="l" defTabSz="1316736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592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5pPr>
                  <a:lvl6pPr marL="3291840" marR="0" indent="0" algn="l" defTabSz="1316736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592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6pPr>
                  <a:lvl7pPr marL="3950208" marR="0" indent="0" algn="l" defTabSz="1316736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592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7pPr>
                  <a:lvl8pPr marL="4608576" marR="0" indent="0" algn="l" defTabSz="1316736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592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8pPr>
                  <a:lvl9pPr marL="5266944" marR="0" indent="0" algn="l" defTabSz="1316736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592" b="0" i="0" u="none" strike="noStrike" kern="1200" cap="none" spc="0" normalizeH="0" baseline="0" noProof="0">
                      <a:solidFill>
                        <a:schemeClr val="lt1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lvl9pPr>
                </a:lstStyle>
                <a:p>
                  <a:pPr marL="0" marR="0" lvl="0" indent="0" algn="ctr" defTabSz="1097236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592" b="0" i="0" u="none" strike="noStrike" cap="none" spc="0" normalizeH="0" baseline="0" noProof="0">
                      <a:solidFill>
                        <a:srgbClr val="FFFFFF"/>
                      </a:solidFill>
                      <a:uLnTx/>
                      <a:uFillTx/>
                      <a:latin typeface="Arial" pitchFamily="34" charset="0"/>
                      <a:ea typeface="Arial" pitchFamily="34" charset="0"/>
                      <a:cs typeface="Arial" pitchFamily="34" charset="0"/>
                      <a:sym typeface="Wingdings" charset="2"/>
                    </a:defRPr>
                  </a:pPr>
                  <a:endParaRPr kumimoji="0" lang="en-US" sz="168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  <a:sym typeface="Wingdings" charset="2"/>
                  </a:endParaRPr>
                </a:p>
              </p:txBody>
            </p:sp>
            <p:sp>
              <p:nvSpPr>
                <p:cNvPr id="97" name="Graphic 2">
                  <a:extLst>
                    <a:ext uri="{FF2B5EF4-FFF2-40B4-BE49-F238E27FC236}">
                      <a16:creationId xmlns:a16="http://schemas.microsoft.com/office/drawing/2014/main" id="{4027CBEE-707B-6141-ACB4-818C3923E96E}"/>
                    </a:ext>
                  </a:extLst>
                </p:cNvPr>
                <p:cNvSpPr/>
                <p:nvPr>
                  <p:custDataLst>
                    <p:tags r:id="rId87"/>
                  </p:custDataLst>
                </p:nvPr>
              </p:nvSpPr>
              <p:spPr>
                <a:xfrm>
                  <a:off x="12319964" y="3809089"/>
                  <a:ext cx="41190" cy="35026"/>
                </a:xfrm>
                <a:custGeom>
                  <a:avLst/>
                  <a:gdLst>
                    <a:gd name="connsiteX0" fmla="*/ 14128 w 28255"/>
                    <a:gd name="connsiteY0" fmla="*/ 0 h 24026"/>
                    <a:gd name="connsiteX1" fmla="*/ 18837 w 28255"/>
                    <a:gd name="connsiteY1" fmla="*/ 9611 h 24026"/>
                    <a:gd name="connsiteX2" fmla="*/ 28255 w 28255"/>
                    <a:gd name="connsiteY2" fmla="*/ 9611 h 24026"/>
                    <a:gd name="connsiteX3" fmla="*/ 18837 w 28255"/>
                    <a:gd name="connsiteY3" fmla="*/ 14416 h 24026"/>
                    <a:gd name="connsiteX4" fmla="*/ 23546 w 28255"/>
                    <a:gd name="connsiteY4" fmla="*/ 24027 h 24026"/>
                    <a:gd name="connsiteX5" fmla="*/ 14128 w 28255"/>
                    <a:gd name="connsiteY5" fmla="*/ 19221 h 24026"/>
                    <a:gd name="connsiteX6" fmla="*/ 4709 w 28255"/>
                    <a:gd name="connsiteY6" fmla="*/ 24027 h 24026"/>
                    <a:gd name="connsiteX7" fmla="*/ 9418 w 28255"/>
                    <a:gd name="connsiteY7" fmla="*/ 14416 h 24026"/>
                    <a:gd name="connsiteX8" fmla="*/ 0 w 28255"/>
                    <a:gd name="connsiteY8" fmla="*/ 9611 h 24026"/>
                    <a:gd name="connsiteX9" fmla="*/ 9418 w 28255"/>
                    <a:gd name="connsiteY9" fmla="*/ 9611 h 240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8254" h="24026">
                      <a:moveTo>
                        <a:pt x="14128" y="0"/>
                      </a:moveTo>
                      <a:lnTo>
                        <a:pt x="18837" y="9611"/>
                      </a:lnTo>
                      <a:lnTo>
                        <a:pt x="28255" y="9611"/>
                      </a:lnTo>
                      <a:lnTo>
                        <a:pt x="18837" y="14416"/>
                      </a:lnTo>
                      <a:lnTo>
                        <a:pt x="23546" y="24027"/>
                      </a:lnTo>
                      <a:lnTo>
                        <a:pt x="14128" y="19221"/>
                      </a:lnTo>
                      <a:lnTo>
                        <a:pt x="4709" y="24027"/>
                      </a:lnTo>
                      <a:lnTo>
                        <a:pt x="9418" y="14416"/>
                      </a:lnTo>
                      <a:lnTo>
                        <a:pt x="0" y="9611"/>
                      </a:lnTo>
                      <a:lnTo>
                        <a:pt x="9418" y="961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7053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097236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592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16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02" name="Graphic 2">
                  <a:extLst>
                    <a:ext uri="{FF2B5EF4-FFF2-40B4-BE49-F238E27FC236}">
                      <a16:creationId xmlns:a16="http://schemas.microsoft.com/office/drawing/2014/main" id="{016D2C5F-F88A-1E49-9182-EA4258D9BAB9}"/>
                    </a:ext>
                  </a:extLst>
                </p:cNvPr>
                <p:cNvSpPr/>
                <p:nvPr>
                  <p:custDataLst>
                    <p:tags r:id="rId88"/>
                  </p:custDataLst>
                </p:nvPr>
              </p:nvSpPr>
              <p:spPr>
                <a:xfrm>
                  <a:off x="12241935" y="3809089"/>
                  <a:ext cx="41190" cy="35026"/>
                </a:xfrm>
                <a:custGeom>
                  <a:avLst/>
                  <a:gdLst>
                    <a:gd name="connsiteX0" fmla="*/ 14128 w 28255"/>
                    <a:gd name="connsiteY0" fmla="*/ 0 h 24026"/>
                    <a:gd name="connsiteX1" fmla="*/ 18837 w 28255"/>
                    <a:gd name="connsiteY1" fmla="*/ 9611 h 24026"/>
                    <a:gd name="connsiteX2" fmla="*/ 28255 w 28255"/>
                    <a:gd name="connsiteY2" fmla="*/ 9611 h 24026"/>
                    <a:gd name="connsiteX3" fmla="*/ 18837 w 28255"/>
                    <a:gd name="connsiteY3" fmla="*/ 14416 h 24026"/>
                    <a:gd name="connsiteX4" fmla="*/ 23546 w 28255"/>
                    <a:gd name="connsiteY4" fmla="*/ 24027 h 24026"/>
                    <a:gd name="connsiteX5" fmla="*/ 14128 w 28255"/>
                    <a:gd name="connsiteY5" fmla="*/ 19221 h 24026"/>
                    <a:gd name="connsiteX6" fmla="*/ 4709 w 28255"/>
                    <a:gd name="connsiteY6" fmla="*/ 24027 h 24026"/>
                    <a:gd name="connsiteX7" fmla="*/ 9418 w 28255"/>
                    <a:gd name="connsiteY7" fmla="*/ 14416 h 24026"/>
                    <a:gd name="connsiteX8" fmla="*/ 0 w 28255"/>
                    <a:gd name="connsiteY8" fmla="*/ 9611 h 24026"/>
                    <a:gd name="connsiteX9" fmla="*/ 9418 w 28255"/>
                    <a:gd name="connsiteY9" fmla="*/ 9611 h 240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8254" h="24026">
                      <a:moveTo>
                        <a:pt x="14128" y="0"/>
                      </a:moveTo>
                      <a:lnTo>
                        <a:pt x="18837" y="9611"/>
                      </a:lnTo>
                      <a:lnTo>
                        <a:pt x="28255" y="9611"/>
                      </a:lnTo>
                      <a:lnTo>
                        <a:pt x="18837" y="14416"/>
                      </a:lnTo>
                      <a:lnTo>
                        <a:pt x="23546" y="24027"/>
                      </a:lnTo>
                      <a:lnTo>
                        <a:pt x="14128" y="19221"/>
                      </a:lnTo>
                      <a:lnTo>
                        <a:pt x="4709" y="24027"/>
                      </a:lnTo>
                      <a:lnTo>
                        <a:pt x="9418" y="14416"/>
                      </a:lnTo>
                      <a:lnTo>
                        <a:pt x="0" y="9611"/>
                      </a:lnTo>
                      <a:lnTo>
                        <a:pt x="9418" y="961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7053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097236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592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16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03" name="Graphic 2">
                  <a:extLst>
                    <a:ext uri="{FF2B5EF4-FFF2-40B4-BE49-F238E27FC236}">
                      <a16:creationId xmlns:a16="http://schemas.microsoft.com/office/drawing/2014/main" id="{26C52322-9094-024C-BC31-5E3617292C2D}"/>
                    </a:ext>
                  </a:extLst>
                </p:cNvPr>
                <p:cNvSpPr/>
                <p:nvPr>
                  <p:custDataLst>
                    <p:tags r:id="rId89"/>
                  </p:custDataLst>
                </p:nvPr>
              </p:nvSpPr>
              <p:spPr>
                <a:xfrm>
                  <a:off x="12476027" y="3809089"/>
                  <a:ext cx="41190" cy="35026"/>
                </a:xfrm>
                <a:custGeom>
                  <a:avLst/>
                  <a:gdLst>
                    <a:gd name="connsiteX0" fmla="*/ 14128 w 28255"/>
                    <a:gd name="connsiteY0" fmla="*/ 0 h 24026"/>
                    <a:gd name="connsiteX1" fmla="*/ 18837 w 28255"/>
                    <a:gd name="connsiteY1" fmla="*/ 9611 h 24026"/>
                    <a:gd name="connsiteX2" fmla="*/ 28255 w 28255"/>
                    <a:gd name="connsiteY2" fmla="*/ 9611 h 24026"/>
                    <a:gd name="connsiteX3" fmla="*/ 18837 w 28255"/>
                    <a:gd name="connsiteY3" fmla="*/ 14416 h 24026"/>
                    <a:gd name="connsiteX4" fmla="*/ 23546 w 28255"/>
                    <a:gd name="connsiteY4" fmla="*/ 24027 h 24026"/>
                    <a:gd name="connsiteX5" fmla="*/ 14128 w 28255"/>
                    <a:gd name="connsiteY5" fmla="*/ 19221 h 24026"/>
                    <a:gd name="connsiteX6" fmla="*/ 4709 w 28255"/>
                    <a:gd name="connsiteY6" fmla="*/ 24027 h 24026"/>
                    <a:gd name="connsiteX7" fmla="*/ 9418 w 28255"/>
                    <a:gd name="connsiteY7" fmla="*/ 14416 h 24026"/>
                    <a:gd name="connsiteX8" fmla="*/ 0 w 28255"/>
                    <a:gd name="connsiteY8" fmla="*/ 9611 h 24026"/>
                    <a:gd name="connsiteX9" fmla="*/ 9418 w 28255"/>
                    <a:gd name="connsiteY9" fmla="*/ 9611 h 240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8254" h="24026">
                      <a:moveTo>
                        <a:pt x="14128" y="0"/>
                      </a:moveTo>
                      <a:lnTo>
                        <a:pt x="18837" y="9611"/>
                      </a:lnTo>
                      <a:lnTo>
                        <a:pt x="28255" y="9611"/>
                      </a:lnTo>
                      <a:lnTo>
                        <a:pt x="18837" y="14416"/>
                      </a:lnTo>
                      <a:lnTo>
                        <a:pt x="23546" y="24027"/>
                      </a:lnTo>
                      <a:lnTo>
                        <a:pt x="14128" y="19221"/>
                      </a:lnTo>
                      <a:lnTo>
                        <a:pt x="4709" y="24027"/>
                      </a:lnTo>
                      <a:lnTo>
                        <a:pt x="9418" y="14416"/>
                      </a:lnTo>
                      <a:lnTo>
                        <a:pt x="0" y="9611"/>
                      </a:lnTo>
                      <a:lnTo>
                        <a:pt x="9418" y="961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7053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097236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592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16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04" name="Graphic 2">
                  <a:extLst>
                    <a:ext uri="{FF2B5EF4-FFF2-40B4-BE49-F238E27FC236}">
                      <a16:creationId xmlns:a16="http://schemas.microsoft.com/office/drawing/2014/main" id="{2DEBFFF6-69EF-534A-A535-EEE0D8D0183E}"/>
                    </a:ext>
                  </a:extLst>
                </p:cNvPr>
                <p:cNvSpPr/>
                <p:nvPr>
                  <p:custDataLst>
                    <p:tags r:id="rId90"/>
                  </p:custDataLst>
                </p:nvPr>
              </p:nvSpPr>
              <p:spPr>
                <a:xfrm>
                  <a:off x="12397994" y="3809089"/>
                  <a:ext cx="41190" cy="35026"/>
                </a:xfrm>
                <a:custGeom>
                  <a:avLst/>
                  <a:gdLst>
                    <a:gd name="connsiteX0" fmla="*/ 14128 w 28255"/>
                    <a:gd name="connsiteY0" fmla="*/ 0 h 24026"/>
                    <a:gd name="connsiteX1" fmla="*/ 18837 w 28255"/>
                    <a:gd name="connsiteY1" fmla="*/ 9611 h 24026"/>
                    <a:gd name="connsiteX2" fmla="*/ 28255 w 28255"/>
                    <a:gd name="connsiteY2" fmla="*/ 9611 h 24026"/>
                    <a:gd name="connsiteX3" fmla="*/ 18837 w 28255"/>
                    <a:gd name="connsiteY3" fmla="*/ 14416 h 24026"/>
                    <a:gd name="connsiteX4" fmla="*/ 23546 w 28255"/>
                    <a:gd name="connsiteY4" fmla="*/ 24027 h 24026"/>
                    <a:gd name="connsiteX5" fmla="*/ 14128 w 28255"/>
                    <a:gd name="connsiteY5" fmla="*/ 19221 h 24026"/>
                    <a:gd name="connsiteX6" fmla="*/ 4709 w 28255"/>
                    <a:gd name="connsiteY6" fmla="*/ 24027 h 24026"/>
                    <a:gd name="connsiteX7" fmla="*/ 9418 w 28255"/>
                    <a:gd name="connsiteY7" fmla="*/ 14416 h 24026"/>
                    <a:gd name="connsiteX8" fmla="*/ 0 w 28255"/>
                    <a:gd name="connsiteY8" fmla="*/ 9611 h 24026"/>
                    <a:gd name="connsiteX9" fmla="*/ 9418 w 28255"/>
                    <a:gd name="connsiteY9" fmla="*/ 9611 h 240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8254" h="24026">
                      <a:moveTo>
                        <a:pt x="14128" y="0"/>
                      </a:moveTo>
                      <a:lnTo>
                        <a:pt x="18837" y="9611"/>
                      </a:lnTo>
                      <a:lnTo>
                        <a:pt x="28255" y="9611"/>
                      </a:lnTo>
                      <a:lnTo>
                        <a:pt x="18837" y="14416"/>
                      </a:lnTo>
                      <a:lnTo>
                        <a:pt x="23546" y="24027"/>
                      </a:lnTo>
                      <a:lnTo>
                        <a:pt x="14128" y="19221"/>
                      </a:lnTo>
                      <a:lnTo>
                        <a:pt x="4709" y="24027"/>
                      </a:lnTo>
                      <a:lnTo>
                        <a:pt x="9418" y="14416"/>
                      </a:lnTo>
                      <a:lnTo>
                        <a:pt x="0" y="9611"/>
                      </a:lnTo>
                      <a:lnTo>
                        <a:pt x="9418" y="961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7053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097236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592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16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05" name="Graphic 2">
                  <a:extLst>
                    <a:ext uri="{FF2B5EF4-FFF2-40B4-BE49-F238E27FC236}">
                      <a16:creationId xmlns:a16="http://schemas.microsoft.com/office/drawing/2014/main" id="{75133F9E-520E-724A-8F2F-1F9EEBDC427A}"/>
                    </a:ext>
                  </a:extLst>
                </p:cNvPr>
                <p:cNvSpPr/>
                <p:nvPr>
                  <p:custDataLst>
                    <p:tags r:id="rId91"/>
                  </p:custDataLst>
                </p:nvPr>
              </p:nvSpPr>
              <p:spPr>
                <a:xfrm>
                  <a:off x="12280950" y="3775276"/>
                  <a:ext cx="41190" cy="35026"/>
                </a:xfrm>
                <a:custGeom>
                  <a:avLst/>
                  <a:gdLst>
                    <a:gd name="connsiteX0" fmla="*/ 14128 w 28255"/>
                    <a:gd name="connsiteY0" fmla="*/ 0 h 24026"/>
                    <a:gd name="connsiteX1" fmla="*/ 18837 w 28255"/>
                    <a:gd name="connsiteY1" fmla="*/ 9611 h 24026"/>
                    <a:gd name="connsiteX2" fmla="*/ 28255 w 28255"/>
                    <a:gd name="connsiteY2" fmla="*/ 9611 h 24026"/>
                    <a:gd name="connsiteX3" fmla="*/ 18837 w 28255"/>
                    <a:gd name="connsiteY3" fmla="*/ 14416 h 24026"/>
                    <a:gd name="connsiteX4" fmla="*/ 23546 w 28255"/>
                    <a:gd name="connsiteY4" fmla="*/ 24027 h 24026"/>
                    <a:gd name="connsiteX5" fmla="*/ 14128 w 28255"/>
                    <a:gd name="connsiteY5" fmla="*/ 19221 h 24026"/>
                    <a:gd name="connsiteX6" fmla="*/ 4709 w 28255"/>
                    <a:gd name="connsiteY6" fmla="*/ 24027 h 24026"/>
                    <a:gd name="connsiteX7" fmla="*/ 9418 w 28255"/>
                    <a:gd name="connsiteY7" fmla="*/ 14416 h 24026"/>
                    <a:gd name="connsiteX8" fmla="*/ 0 w 28255"/>
                    <a:gd name="connsiteY8" fmla="*/ 9611 h 24026"/>
                    <a:gd name="connsiteX9" fmla="*/ 9418 w 28255"/>
                    <a:gd name="connsiteY9" fmla="*/ 9611 h 240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8254" h="24026">
                      <a:moveTo>
                        <a:pt x="14128" y="0"/>
                      </a:moveTo>
                      <a:lnTo>
                        <a:pt x="18837" y="9611"/>
                      </a:lnTo>
                      <a:lnTo>
                        <a:pt x="28255" y="9611"/>
                      </a:lnTo>
                      <a:lnTo>
                        <a:pt x="18837" y="14416"/>
                      </a:lnTo>
                      <a:lnTo>
                        <a:pt x="23546" y="24027"/>
                      </a:lnTo>
                      <a:lnTo>
                        <a:pt x="14128" y="19221"/>
                      </a:lnTo>
                      <a:lnTo>
                        <a:pt x="4709" y="24027"/>
                      </a:lnTo>
                      <a:lnTo>
                        <a:pt x="9418" y="14416"/>
                      </a:lnTo>
                      <a:lnTo>
                        <a:pt x="0" y="9611"/>
                      </a:lnTo>
                      <a:lnTo>
                        <a:pt x="9418" y="961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7053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097236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592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16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14" name="Graphic 2">
                  <a:extLst>
                    <a:ext uri="{FF2B5EF4-FFF2-40B4-BE49-F238E27FC236}">
                      <a16:creationId xmlns:a16="http://schemas.microsoft.com/office/drawing/2014/main" id="{05B2D2C2-9445-8846-AE26-6EB296D3E51E}"/>
                    </a:ext>
                  </a:extLst>
                </p:cNvPr>
                <p:cNvSpPr/>
                <p:nvPr>
                  <p:custDataLst>
                    <p:tags r:id="rId92"/>
                  </p:custDataLst>
                </p:nvPr>
              </p:nvSpPr>
              <p:spPr>
                <a:xfrm>
                  <a:off x="12202916" y="3775276"/>
                  <a:ext cx="41190" cy="35026"/>
                </a:xfrm>
                <a:custGeom>
                  <a:avLst/>
                  <a:gdLst>
                    <a:gd name="connsiteX0" fmla="*/ 14128 w 28255"/>
                    <a:gd name="connsiteY0" fmla="*/ 0 h 24026"/>
                    <a:gd name="connsiteX1" fmla="*/ 18837 w 28255"/>
                    <a:gd name="connsiteY1" fmla="*/ 9611 h 24026"/>
                    <a:gd name="connsiteX2" fmla="*/ 28255 w 28255"/>
                    <a:gd name="connsiteY2" fmla="*/ 9611 h 24026"/>
                    <a:gd name="connsiteX3" fmla="*/ 18837 w 28255"/>
                    <a:gd name="connsiteY3" fmla="*/ 14416 h 24026"/>
                    <a:gd name="connsiteX4" fmla="*/ 23546 w 28255"/>
                    <a:gd name="connsiteY4" fmla="*/ 24027 h 24026"/>
                    <a:gd name="connsiteX5" fmla="*/ 14128 w 28255"/>
                    <a:gd name="connsiteY5" fmla="*/ 19221 h 24026"/>
                    <a:gd name="connsiteX6" fmla="*/ 4709 w 28255"/>
                    <a:gd name="connsiteY6" fmla="*/ 24027 h 24026"/>
                    <a:gd name="connsiteX7" fmla="*/ 9418 w 28255"/>
                    <a:gd name="connsiteY7" fmla="*/ 14416 h 24026"/>
                    <a:gd name="connsiteX8" fmla="*/ 0 w 28255"/>
                    <a:gd name="connsiteY8" fmla="*/ 9611 h 24026"/>
                    <a:gd name="connsiteX9" fmla="*/ 9418 w 28255"/>
                    <a:gd name="connsiteY9" fmla="*/ 9611 h 240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8254" h="24026">
                      <a:moveTo>
                        <a:pt x="14128" y="0"/>
                      </a:moveTo>
                      <a:lnTo>
                        <a:pt x="18837" y="9611"/>
                      </a:lnTo>
                      <a:lnTo>
                        <a:pt x="28255" y="9611"/>
                      </a:lnTo>
                      <a:lnTo>
                        <a:pt x="18837" y="14416"/>
                      </a:lnTo>
                      <a:lnTo>
                        <a:pt x="23546" y="24027"/>
                      </a:lnTo>
                      <a:lnTo>
                        <a:pt x="14128" y="19221"/>
                      </a:lnTo>
                      <a:lnTo>
                        <a:pt x="4709" y="24027"/>
                      </a:lnTo>
                      <a:lnTo>
                        <a:pt x="9418" y="14416"/>
                      </a:lnTo>
                      <a:lnTo>
                        <a:pt x="0" y="9611"/>
                      </a:lnTo>
                      <a:lnTo>
                        <a:pt x="9418" y="961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7053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097236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592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16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15" name="Graphic 2">
                  <a:extLst>
                    <a:ext uri="{FF2B5EF4-FFF2-40B4-BE49-F238E27FC236}">
                      <a16:creationId xmlns:a16="http://schemas.microsoft.com/office/drawing/2014/main" id="{A89EB9BB-D3A8-1040-9B66-59DC1F70B78F}"/>
                    </a:ext>
                  </a:extLst>
                </p:cNvPr>
                <p:cNvSpPr/>
                <p:nvPr>
                  <p:custDataLst>
                    <p:tags r:id="rId93"/>
                  </p:custDataLst>
                </p:nvPr>
              </p:nvSpPr>
              <p:spPr>
                <a:xfrm>
                  <a:off x="12437015" y="3775276"/>
                  <a:ext cx="41190" cy="35026"/>
                </a:xfrm>
                <a:custGeom>
                  <a:avLst/>
                  <a:gdLst>
                    <a:gd name="connsiteX0" fmla="*/ 14128 w 28255"/>
                    <a:gd name="connsiteY0" fmla="*/ 0 h 24026"/>
                    <a:gd name="connsiteX1" fmla="*/ 18837 w 28255"/>
                    <a:gd name="connsiteY1" fmla="*/ 9611 h 24026"/>
                    <a:gd name="connsiteX2" fmla="*/ 28255 w 28255"/>
                    <a:gd name="connsiteY2" fmla="*/ 9611 h 24026"/>
                    <a:gd name="connsiteX3" fmla="*/ 18837 w 28255"/>
                    <a:gd name="connsiteY3" fmla="*/ 14416 h 24026"/>
                    <a:gd name="connsiteX4" fmla="*/ 23546 w 28255"/>
                    <a:gd name="connsiteY4" fmla="*/ 24027 h 24026"/>
                    <a:gd name="connsiteX5" fmla="*/ 14128 w 28255"/>
                    <a:gd name="connsiteY5" fmla="*/ 19221 h 24026"/>
                    <a:gd name="connsiteX6" fmla="*/ 4709 w 28255"/>
                    <a:gd name="connsiteY6" fmla="*/ 24027 h 24026"/>
                    <a:gd name="connsiteX7" fmla="*/ 9418 w 28255"/>
                    <a:gd name="connsiteY7" fmla="*/ 14416 h 24026"/>
                    <a:gd name="connsiteX8" fmla="*/ 0 w 28255"/>
                    <a:gd name="connsiteY8" fmla="*/ 9611 h 24026"/>
                    <a:gd name="connsiteX9" fmla="*/ 9418 w 28255"/>
                    <a:gd name="connsiteY9" fmla="*/ 9611 h 240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8254" h="24026">
                      <a:moveTo>
                        <a:pt x="14128" y="0"/>
                      </a:moveTo>
                      <a:lnTo>
                        <a:pt x="18837" y="9611"/>
                      </a:lnTo>
                      <a:lnTo>
                        <a:pt x="28255" y="9611"/>
                      </a:lnTo>
                      <a:lnTo>
                        <a:pt x="18837" y="14416"/>
                      </a:lnTo>
                      <a:lnTo>
                        <a:pt x="23546" y="24027"/>
                      </a:lnTo>
                      <a:lnTo>
                        <a:pt x="14128" y="19221"/>
                      </a:lnTo>
                      <a:lnTo>
                        <a:pt x="4709" y="24027"/>
                      </a:lnTo>
                      <a:lnTo>
                        <a:pt x="9418" y="14416"/>
                      </a:lnTo>
                      <a:lnTo>
                        <a:pt x="0" y="9611"/>
                      </a:lnTo>
                      <a:lnTo>
                        <a:pt x="9418" y="961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7053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097236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592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16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22" name="Graphic 2">
                  <a:extLst>
                    <a:ext uri="{FF2B5EF4-FFF2-40B4-BE49-F238E27FC236}">
                      <a16:creationId xmlns:a16="http://schemas.microsoft.com/office/drawing/2014/main" id="{31364BA3-5BD9-7044-A3CD-F83ED45368FE}"/>
                    </a:ext>
                  </a:extLst>
                </p:cNvPr>
                <p:cNvSpPr/>
                <p:nvPr>
                  <p:custDataLst>
                    <p:tags r:id="rId94"/>
                  </p:custDataLst>
                </p:nvPr>
              </p:nvSpPr>
              <p:spPr>
                <a:xfrm>
                  <a:off x="12358982" y="3775276"/>
                  <a:ext cx="41190" cy="35026"/>
                </a:xfrm>
                <a:custGeom>
                  <a:avLst/>
                  <a:gdLst>
                    <a:gd name="connsiteX0" fmla="*/ 14128 w 28255"/>
                    <a:gd name="connsiteY0" fmla="*/ 0 h 24026"/>
                    <a:gd name="connsiteX1" fmla="*/ 18837 w 28255"/>
                    <a:gd name="connsiteY1" fmla="*/ 9611 h 24026"/>
                    <a:gd name="connsiteX2" fmla="*/ 28255 w 28255"/>
                    <a:gd name="connsiteY2" fmla="*/ 9611 h 24026"/>
                    <a:gd name="connsiteX3" fmla="*/ 18837 w 28255"/>
                    <a:gd name="connsiteY3" fmla="*/ 14416 h 24026"/>
                    <a:gd name="connsiteX4" fmla="*/ 23546 w 28255"/>
                    <a:gd name="connsiteY4" fmla="*/ 24027 h 24026"/>
                    <a:gd name="connsiteX5" fmla="*/ 14128 w 28255"/>
                    <a:gd name="connsiteY5" fmla="*/ 19221 h 24026"/>
                    <a:gd name="connsiteX6" fmla="*/ 4709 w 28255"/>
                    <a:gd name="connsiteY6" fmla="*/ 24027 h 24026"/>
                    <a:gd name="connsiteX7" fmla="*/ 9418 w 28255"/>
                    <a:gd name="connsiteY7" fmla="*/ 14416 h 24026"/>
                    <a:gd name="connsiteX8" fmla="*/ 0 w 28255"/>
                    <a:gd name="connsiteY8" fmla="*/ 9611 h 24026"/>
                    <a:gd name="connsiteX9" fmla="*/ 9418 w 28255"/>
                    <a:gd name="connsiteY9" fmla="*/ 9611 h 240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8254" h="24026">
                      <a:moveTo>
                        <a:pt x="14128" y="0"/>
                      </a:moveTo>
                      <a:lnTo>
                        <a:pt x="18837" y="9611"/>
                      </a:lnTo>
                      <a:lnTo>
                        <a:pt x="28255" y="9611"/>
                      </a:lnTo>
                      <a:lnTo>
                        <a:pt x="18837" y="14416"/>
                      </a:lnTo>
                      <a:lnTo>
                        <a:pt x="23546" y="24027"/>
                      </a:lnTo>
                      <a:lnTo>
                        <a:pt x="14128" y="19221"/>
                      </a:lnTo>
                      <a:lnTo>
                        <a:pt x="4709" y="24027"/>
                      </a:lnTo>
                      <a:lnTo>
                        <a:pt x="9418" y="14416"/>
                      </a:lnTo>
                      <a:lnTo>
                        <a:pt x="0" y="9611"/>
                      </a:lnTo>
                      <a:lnTo>
                        <a:pt x="9418" y="961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7053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097236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592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16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30" name="Graphic 2">
                  <a:extLst>
                    <a:ext uri="{FF2B5EF4-FFF2-40B4-BE49-F238E27FC236}">
                      <a16:creationId xmlns:a16="http://schemas.microsoft.com/office/drawing/2014/main" id="{5B308F06-C9AA-B648-96FB-0D8C21410087}"/>
                    </a:ext>
                  </a:extLst>
                </p:cNvPr>
                <p:cNvSpPr/>
                <p:nvPr>
                  <p:custDataLst>
                    <p:tags r:id="rId95"/>
                  </p:custDataLst>
                </p:nvPr>
              </p:nvSpPr>
              <p:spPr>
                <a:xfrm>
                  <a:off x="12319962" y="3738864"/>
                  <a:ext cx="41190" cy="35026"/>
                </a:xfrm>
                <a:custGeom>
                  <a:avLst/>
                  <a:gdLst>
                    <a:gd name="connsiteX0" fmla="*/ 14128 w 28255"/>
                    <a:gd name="connsiteY0" fmla="*/ 0 h 24026"/>
                    <a:gd name="connsiteX1" fmla="*/ 18837 w 28255"/>
                    <a:gd name="connsiteY1" fmla="*/ 9611 h 24026"/>
                    <a:gd name="connsiteX2" fmla="*/ 28255 w 28255"/>
                    <a:gd name="connsiteY2" fmla="*/ 9611 h 24026"/>
                    <a:gd name="connsiteX3" fmla="*/ 18837 w 28255"/>
                    <a:gd name="connsiteY3" fmla="*/ 14416 h 24026"/>
                    <a:gd name="connsiteX4" fmla="*/ 23546 w 28255"/>
                    <a:gd name="connsiteY4" fmla="*/ 24027 h 24026"/>
                    <a:gd name="connsiteX5" fmla="*/ 14128 w 28255"/>
                    <a:gd name="connsiteY5" fmla="*/ 19221 h 24026"/>
                    <a:gd name="connsiteX6" fmla="*/ 4709 w 28255"/>
                    <a:gd name="connsiteY6" fmla="*/ 24027 h 24026"/>
                    <a:gd name="connsiteX7" fmla="*/ 9418 w 28255"/>
                    <a:gd name="connsiteY7" fmla="*/ 14416 h 24026"/>
                    <a:gd name="connsiteX8" fmla="*/ 0 w 28255"/>
                    <a:gd name="connsiteY8" fmla="*/ 9611 h 24026"/>
                    <a:gd name="connsiteX9" fmla="*/ 9418 w 28255"/>
                    <a:gd name="connsiteY9" fmla="*/ 9611 h 240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8254" h="24026">
                      <a:moveTo>
                        <a:pt x="14128" y="0"/>
                      </a:moveTo>
                      <a:lnTo>
                        <a:pt x="18837" y="9611"/>
                      </a:lnTo>
                      <a:lnTo>
                        <a:pt x="28255" y="9611"/>
                      </a:lnTo>
                      <a:lnTo>
                        <a:pt x="18837" y="14416"/>
                      </a:lnTo>
                      <a:lnTo>
                        <a:pt x="23546" y="24027"/>
                      </a:lnTo>
                      <a:lnTo>
                        <a:pt x="14128" y="19221"/>
                      </a:lnTo>
                      <a:lnTo>
                        <a:pt x="4709" y="24027"/>
                      </a:lnTo>
                      <a:lnTo>
                        <a:pt x="9418" y="14416"/>
                      </a:lnTo>
                      <a:lnTo>
                        <a:pt x="0" y="9611"/>
                      </a:lnTo>
                      <a:lnTo>
                        <a:pt x="9418" y="961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7053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097236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592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16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34" name="Graphic 2">
                  <a:extLst>
                    <a:ext uri="{FF2B5EF4-FFF2-40B4-BE49-F238E27FC236}">
                      <a16:creationId xmlns:a16="http://schemas.microsoft.com/office/drawing/2014/main" id="{B93633CD-414C-FB43-9550-AC678310DD2D}"/>
                    </a:ext>
                  </a:extLst>
                </p:cNvPr>
                <p:cNvSpPr/>
                <p:nvPr>
                  <p:custDataLst>
                    <p:tags r:id="rId96"/>
                  </p:custDataLst>
                </p:nvPr>
              </p:nvSpPr>
              <p:spPr>
                <a:xfrm>
                  <a:off x="12241934" y="3738864"/>
                  <a:ext cx="41190" cy="35026"/>
                </a:xfrm>
                <a:custGeom>
                  <a:avLst/>
                  <a:gdLst>
                    <a:gd name="connsiteX0" fmla="*/ 14128 w 28255"/>
                    <a:gd name="connsiteY0" fmla="*/ 0 h 24026"/>
                    <a:gd name="connsiteX1" fmla="*/ 18837 w 28255"/>
                    <a:gd name="connsiteY1" fmla="*/ 9611 h 24026"/>
                    <a:gd name="connsiteX2" fmla="*/ 28255 w 28255"/>
                    <a:gd name="connsiteY2" fmla="*/ 9611 h 24026"/>
                    <a:gd name="connsiteX3" fmla="*/ 18837 w 28255"/>
                    <a:gd name="connsiteY3" fmla="*/ 14416 h 24026"/>
                    <a:gd name="connsiteX4" fmla="*/ 23546 w 28255"/>
                    <a:gd name="connsiteY4" fmla="*/ 24027 h 24026"/>
                    <a:gd name="connsiteX5" fmla="*/ 14128 w 28255"/>
                    <a:gd name="connsiteY5" fmla="*/ 19221 h 24026"/>
                    <a:gd name="connsiteX6" fmla="*/ 4709 w 28255"/>
                    <a:gd name="connsiteY6" fmla="*/ 24027 h 24026"/>
                    <a:gd name="connsiteX7" fmla="*/ 9418 w 28255"/>
                    <a:gd name="connsiteY7" fmla="*/ 14416 h 24026"/>
                    <a:gd name="connsiteX8" fmla="*/ 0 w 28255"/>
                    <a:gd name="connsiteY8" fmla="*/ 9611 h 24026"/>
                    <a:gd name="connsiteX9" fmla="*/ 9418 w 28255"/>
                    <a:gd name="connsiteY9" fmla="*/ 9611 h 240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8254" h="24026">
                      <a:moveTo>
                        <a:pt x="14128" y="0"/>
                      </a:moveTo>
                      <a:lnTo>
                        <a:pt x="18837" y="9611"/>
                      </a:lnTo>
                      <a:lnTo>
                        <a:pt x="28255" y="9611"/>
                      </a:lnTo>
                      <a:lnTo>
                        <a:pt x="18837" y="14416"/>
                      </a:lnTo>
                      <a:lnTo>
                        <a:pt x="23546" y="24027"/>
                      </a:lnTo>
                      <a:lnTo>
                        <a:pt x="14128" y="19221"/>
                      </a:lnTo>
                      <a:lnTo>
                        <a:pt x="4709" y="24027"/>
                      </a:lnTo>
                      <a:lnTo>
                        <a:pt x="9418" y="14416"/>
                      </a:lnTo>
                      <a:lnTo>
                        <a:pt x="0" y="9611"/>
                      </a:lnTo>
                      <a:lnTo>
                        <a:pt x="9418" y="961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7053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097236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592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16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35" name="Graphic 2">
                  <a:extLst>
                    <a:ext uri="{FF2B5EF4-FFF2-40B4-BE49-F238E27FC236}">
                      <a16:creationId xmlns:a16="http://schemas.microsoft.com/office/drawing/2014/main" id="{8250E864-29F2-F54A-B242-C1BCA885B0C8}"/>
                    </a:ext>
                  </a:extLst>
                </p:cNvPr>
                <p:cNvSpPr/>
                <p:nvPr>
                  <p:custDataLst>
                    <p:tags r:id="rId97"/>
                  </p:custDataLst>
                </p:nvPr>
              </p:nvSpPr>
              <p:spPr>
                <a:xfrm>
                  <a:off x="12476027" y="3738864"/>
                  <a:ext cx="41190" cy="35026"/>
                </a:xfrm>
                <a:custGeom>
                  <a:avLst/>
                  <a:gdLst>
                    <a:gd name="connsiteX0" fmla="*/ 14128 w 28255"/>
                    <a:gd name="connsiteY0" fmla="*/ 0 h 24026"/>
                    <a:gd name="connsiteX1" fmla="*/ 18837 w 28255"/>
                    <a:gd name="connsiteY1" fmla="*/ 9611 h 24026"/>
                    <a:gd name="connsiteX2" fmla="*/ 28255 w 28255"/>
                    <a:gd name="connsiteY2" fmla="*/ 9611 h 24026"/>
                    <a:gd name="connsiteX3" fmla="*/ 18837 w 28255"/>
                    <a:gd name="connsiteY3" fmla="*/ 14416 h 24026"/>
                    <a:gd name="connsiteX4" fmla="*/ 23546 w 28255"/>
                    <a:gd name="connsiteY4" fmla="*/ 24027 h 24026"/>
                    <a:gd name="connsiteX5" fmla="*/ 14128 w 28255"/>
                    <a:gd name="connsiteY5" fmla="*/ 19221 h 24026"/>
                    <a:gd name="connsiteX6" fmla="*/ 4709 w 28255"/>
                    <a:gd name="connsiteY6" fmla="*/ 24027 h 24026"/>
                    <a:gd name="connsiteX7" fmla="*/ 9418 w 28255"/>
                    <a:gd name="connsiteY7" fmla="*/ 14416 h 24026"/>
                    <a:gd name="connsiteX8" fmla="*/ 0 w 28255"/>
                    <a:gd name="connsiteY8" fmla="*/ 9611 h 24026"/>
                    <a:gd name="connsiteX9" fmla="*/ 9418 w 28255"/>
                    <a:gd name="connsiteY9" fmla="*/ 9611 h 240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8254" h="24026">
                      <a:moveTo>
                        <a:pt x="14128" y="0"/>
                      </a:moveTo>
                      <a:lnTo>
                        <a:pt x="18837" y="9611"/>
                      </a:lnTo>
                      <a:lnTo>
                        <a:pt x="28255" y="9611"/>
                      </a:lnTo>
                      <a:lnTo>
                        <a:pt x="18837" y="14416"/>
                      </a:lnTo>
                      <a:lnTo>
                        <a:pt x="23546" y="24027"/>
                      </a:lnTo>
                      <a:lnTo>
                        <a:pt x="14128" y="19221"/>
                      </a:lnTo>
                      <a:lnTo>
                        <a:pt x="4709" y="24027"/>
                      </a:lnTo>
                      <a:lnTo>
                        <a:pt x="9418" y="14416"/>
                      </a:lnTo>
                      <a:lnTo>
                        <a:pt x="0" y="9611"/>
                      </a:lnTo>
                      <a:lnTo>
                        <a:pt x="9418" y="961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7053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097236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592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16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36" name="Graphic 2">
                  <a:extLst>
                    <a:ext uri="{FF2B5EF4-FFF2-40B4-BE49-F238E27FC236}">
                      <a16:creationId xmlns:a16="http://schemas.microsoft.com/office/drawing/2014/main" id="{B5A1D591-9C60-4A42-8A57-F33209BD830A}"/>
                    </a:ext>
                  </a:extLst>
                </p:cNvPr>
                <p:cNvSpPr/>
                <p:nvPr>
                  <p:custDataLst>
                    <p:tags r:id="rId98"/>
                  </p:custDataLst>
                </p:nvPr>
              </p:nvSpPr>
              <p:spPr>
                <a:xfrm>
                  <a:off x="12397994" y="3738864"/>
                  <a:ext cx="41190" cy="35026"/>
                </a:xfrm>
                <a:custGeom>
                  <a:avLst/>
                  <a:gdLst>
                    <a:gd name="connsiteX0" fmla="*/ 14128 w 28255"/>
                    <a:gd name="connsiteY0" fmla="*/ 0 h 24026"/>
                    <a:gd name="connsiteX1" fmla="*/ 18837 w 28255"/>
                    <a:gd name="connsiteY1" fmla="*/ 9611 h 24026"/>
                    <a:gd name="connsiteX2" fmla="*/ 28255 w 28255"/>
                    <a:gd name="connsiteY2" fmla="*/ 9611 h 24026"/>
                    <a:gd name="connsiteX3" fmla="*/ 18837 w 28255"/>
                    <a:gd name="connsiteY3" fmla="*/ 14416 h 24026"/>
                    <a:gd name="connsiteX4" fmla="*/ 23546 w 28255"/>
                    <a:gd name="connsiteY4" fmla="*/ 24027 h 24026"/>
                    <a:gd name="connsiteX5" fmla="*/ 14128 w 28255"/>
                    <a:gd name="connsiteY5" fmla="*/ 19221 h 24026"/>
                    <a:gd name="connsiteX6" fmla="*/ 4709 w 28255"/>
                    <a:gd name="connsiteY6" fmla="*/ 24027 h 24026"/>
                    <a:gd name="connsiteX7" fmla="*/ 9418 w 28255"/>
                    <a:gd name="connsiteY7" fmla="*/ 14416 h 24026"/>
                    <a:gd name="connsiteX8" fmla="*/ 0 w 28255"/>
                    <a:gd name="connsiteY8" fmla="*/ 9611 h 24026"/>
                    <a:gd name="connsiteX9" fmla="*/ 9418 w 28255"/>
                    <a:gd name="connsiteY9" fmla="*/ 9611 h 240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8254" h="24026">
                      <a:moveTo>
                        <a:pt x="14128" y="0"/>
                      </a:moveTo>
                      <a:lnTo>
                        <a:pt x="18837" y="9611"/>
                      </a:lnTo>
                      <a:lnTo>
                        <a:pt x="28255" y="9611"/>
                      </a:lnTo>
                      <a:lnTo>
                        <a:pt x="18837" y="14416"/>
                      </a:lnTo>
                      <a:lnTo>
                        <a:pt x="23546" y="24027"/>
                      </a:lnTo>
                      <a:lnTo>
                        <a:pt x="14128" y="19221"/>
                      </a:lnTo>
                      <a:lnTo>
                        <a:pt x="4709" y="24027"/>
                      </a:lnTo>
                      <a:lnTo>
                        <a:pt x="9418" y="14416"/>
                      </a:lnTo>
                      <a:lnTo>
                        <a:pt x="0" y="9611"/>
                      </a:lnTo>
                      <a:lnTo>
                        <a:pt x="9418" y="961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7053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097236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592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16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42" name="Graphic 2">
                  <a:extLst>
                    <a:ext uri="{FF2B5EF4-FFF2-40B4-BE49-F238E27FC236}">
                      <a16:creationId xmlns:a16="http://schemas.microsoft.com/office/drawing/2014/main" id="{E45600B6-061F-0746-9BF0-EE5A39B901D9}"/>
                    </a:ext>
                  </a:extLst>
                </p:cNvPr>
                <p:cNvSpPr/>
                <p:nvPr>
                  <p:custDataLst>
                    <p:tags r:id="rId99"/>
                  </p:custDataLst>
                </p:nvPr>
              </p:nvSpPr>
              <p:spPr>
                <a:xfrm>
                  <a:off x="12280949" y="3705047"/>
                  <a:ext cx="41190" cy="35026"/>
                </a:xfrm>
                <a:custGeom>
                  <a:avLst/>
                  <a:gdLst>
                    <a:gd name="connsiteX0" fmla="*/ 14128 w 28255"/>
                    <a:gd name="connsiteY0" fmla="*/ 0 h 24026"/>
                    <a:gd name="connsiteX1" fmla="*/ 18837 w 28255"/>
                    <a:gd name="connsiteY1" fmla="*/ 9611 h 24026"/>
                    <a:gd name="connsiteX2" fmla="*/ 28255 w 28255"/>
                    <a:gd name="connsiteY2" fmla="*/ 9611 h 24026"/>
                    <a:gd name="connsiteX3" fmla="*/ 18837 w 28255"/>
                    <a:gd name="connsiteY3" fmla="*/ 14416 h 24026"/>
                    <a:gd name="connsiteX4" fmla="*/ 23546 w 28255"/>
                    <a:gd name="connsiteY4" fmla="*/ 24027 h 24026"/>
                    <a:gd name="connsiteX5" fmla="*/ 14128 w 28255"/>
                    <a:gd name="connsiteY5" fmla="*/ 19221 h 24026"/>
                    <a:gd name="connsiteX6" fmla="*/ 4709 w 28255"/>
                    <a:gd name="connsiteY6" fmla="*/ 24027 h 24026"/>
                    <a:gd name="connsiteX7" fmla="*/ 9418 w 28255"/>
                    <a:gd name="connsiteY7" fmla="*/ 14416 h 24026"/>
                    <a:gd name="connsiteX8" fmla="*/ 0 w 28255"/>
                    <a:gd name="connsiteY8" fmla="*/ 9611 h 24026"/>
                    <a:gd name="connsiteX9" fmla="*/ 9418 w 28255"/>
                    <a:gd name="connsiteY9" fmla="*/ 9611 h 240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8254" h="24026">
                      <a:moveTo>
                        <a:pt x="14128" y="0"/>
                      </a:moveTo>
                      <a:lnTo>
                        <a:pt x="18837" y="9611"/>
                      </a:lnTo>
                      <a:lnTo>
                        <a:pt x="28255" y="9611"/>
                      </a:lnTo>
                      <a:lnTo>
                        <a:pt x="18837" y="14416"/>
                      </a:lnTo>
                      <a:lnTo>
                        <a:pt x="23546" y="24027"/>
                      </a:lnTo>
                      <a:lnTo>
                        <a:pt x="14128" y="19221"/>
                      </a:lnTo>
                      <a:lnTo>
                        <a:pt x="4709" y="24027"/>
                      </a:lnTo>
                      <a:lnTo>
                        <a:pt x="9418" y="14416"/>
                      </a:lnTo>
                      <a:lnTo>
                        <a:pt x="0" y="9611"/>
                      </a:lnTo>
                      <a:lnTo>
                        <a:pt x="9418" y="961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7053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097236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592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16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43" name="Graphic 2">
                  <a:extLst>
                    <a:ext uri="{FF2B5EF4-FFF2-40B4-BE49-F238E27FC236}">
                      <a16:creationId xmlns:a16="http://schemas.microsoft.com/office/drawing/2014/main" id="{8DFE5171-98EC-B64B-8675-3790F7AD73CB}"/>
                    </a:ext>
                  </a:extLst>
                </p:cNvPr>
                <p:cNvSpPr/>
                <p:nvPr>
                  <p:custDataLst>
                    <p:tags r:id="rId100"/>
                  </p:custDataLst>
                </p:nvPr>
              </p:nvSpPr>
              <p:spPr>
                <a:xfrm>
                  <a:off x="12437015" y="3705047"/>
                  <a:ext cx="41190" cy="35026"/>
                </a:xfrm>
                <a:custGeom>
                  <a:avLst/>
                  <a:gdLst>
                    <a:gd name="connsiteX0" fmla="*/ 14128 w 28255"/>
                    <a:gd name="connsiteY0" fmla="*/ 0 h 24026"/>
                    <a:gd name="connsiteX1" fmla="*/ 18837 w 28255"/>
                    <a:gd name="connsiteY1" fmla="*/ 9611 h 24026"/>
                    <a:gd name="connsiteX2" fmla="*/ 28255 w 28255"/>
                    <a:gd name="connsiteY2" fmla="*/ 9611 h 24026"/>
                    <a:gd name="connsiteX3" fmla="*/ 18837 w 28255"/>
                    <a:gd name="connsiteY3" fmla="*/ 14416 h 24026"/>
                    <a:gd name="connsiteX4" fmla="*/ 23546 w 28255"/>
                    <a:gd name="connsiteY4" fmla="*/ 24027 h 24026"/>
                    <a:gd name="connsiteX5" fmla="*/ 14128 w 28255"/>
                    <a:gd name="connsiteY5" fmla="*/ 19221 h 24026"/>
                    <a:gd name="connsiteX6" fmla="*/ 4709 w 28255"/>
                    <a:gd name="connsiteY6" fmla="*/ 24027 h 24026"/>
                    <a:gd name="connsiteX7" fmla="*/ 9418 w 28255"/>
                    <a:gd name="connsiteY7" fmla="*/ 14416 h 24026"/>
                    <a:gd name="connsiteX8" fmla="*/ 0 w 28255"/>
                    <a:gd name="connsiteY8" fmla="*/ 9611 h 24026"/>
                    <a:gd name="connsiteX9" fmla="*/ 9418 w 28255"/>
                    <a:gd name="connsiteY9" fmla="*/ 9611 h 240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8254" h="24026">
                      <a:moveTo>
                        <a:pt x="14128" y="0"/>
                      </a:moveTo>
                      <a:lnTo>
                        <a:pt x="18837" y="9611"/>
                      </a:lnTo>
                      <a:lnTo>
                        <a:pt x="28255" y="9611"/>
                      </a:lnTo>
                      <a:lnTo>
                        <a:pt x="18837" y="14416"/>
                      </a:lnTo>
                      <a:lnTo>
                        <a:pt x="23546" y="24027"/>
                      </a:lnTo>
                      <a:lnTo>
                        <a:pt x="14128" y="19221"/>
                      </a:lnTo>
                      <a:lnTo>
                        <a:pt x="4709" y="24027"/>
                      </a:lnTo>
                      <a:lnTo>
                        <a:pt x="9418" y="14416"/>
                      </a:lnTo>
                      <a:lnTo>
                        <a:pt x="0" y="9611"/>
                      </a:lnTo>
                      <a:lnTo>
                        <a:pt x="9418" y="961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7053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097236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592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16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45" name="Graphic 2">
                  <a:extLst>
                    <a:ext uri="{FF2B5EF4-FFF2-40B4-BE49-F238E27FC236}">
                      <a16:creationId xmlns:a16="http://schemas.microsoft.com/office/drawing/2014/main" id="{1ABDCBFE-185F-FF41-B47D-4D7B3A4840A6}"/>
                    </a:ext>
                  </a:extLst>
                </p:cNvPr>
                <p:cNvSpPr/>
                <p:nvPr>
                  <p:custDataLst>
                    <p:tags r:id="rId101"/>
                  </p:custDataLst>
                </p:nvPr>
              </p:nvSpPr>
              <p:spPr>
                <a:xfrm>
                  <a:off x="12358982" y="3705047"/>
                  <a:ext cx="41190" cy="35026"/>
                </a:xfrm>
                <a:custGeom>
                  <a:avLst/>
                  <a:gdLst>
                    <a:gd name="connsiteX0" fmla="*/ 14128 w 28255"/>
                    <a:gd name="connsiteY0" fmla="*/ 0 h 24026"/>
                    <a:gd name="connsiteX1" fmla="*/ 18837 w 28255"/>
                    <a:gd name="connsiteY1" fmla="*/ 9611 h 24026"/>
                    <a:gd name="connsiteX2" fmla="*/ 28255 w 28255"/>
                    <a:gd name="connsiteY2" fmla="*/ 9611 h 24026"/>
                    <a:gd name="connsiteX3" fmla="*/ 18837 w 28255"/>
                    <a:gd name="connsiteY3" fmla="*/ 14416 h 24026"/>
                    <a:gd name="connsiteX4" fmla="*/ 23546 w 28255"/>
                    <a:gd name="connsiteY4" fmla="*/ 24027 h 24026"/>
                    <a:gd name="connsiteX5" fmla="*/ 14128 w 28255"/>
                    <a:gd name="connsiteY5" fmla="*/ 19221 h 24026"/>
                    <a:gd name="connsiteX6" fmla="*/ 4709 w 28255"/>
                    <a:gd name="connsiteY6" fmla="*/ 24027 h 24026"/>
                    <a:gd name="connsiteX7" fmla="*/ 9418 w 28255"/>
                    <a:gd name="connsiteY7" fmla="*/ 14416 h 24026"/>
                    <a:gd name="connsiteX8" fmla="*/ 0 w 28255"/>
                    <a:gd name="connsiteY8" fmla="*/ 9611 h 24026"/>
                    <a:gd name="connsiteX9" fmla="*/ 9418 w 28255"/>
                    <a:gd name="connsiteY9" fmla="*/ 9611 h 240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8254" h="24026">
                      <a:moveTo>
                        <a:pt x="14128" y="0"/>
                      </a:moveTo>
                      <a:lnTo>
                        <a:pt x="18837" y="9611"/>
                      </a:lnTo>
                      <a:lnTo>
                        <a:pt x="28255" y="9611"/>
                      </a:lnTo>
                      <a:lnTo>
                        <a:pt x="18837" y="14416"/>
                      </a:lnTo>
                      <a:lnTo>
                        <a:pt x="23546" y="24027"/>
                      </a:lnTo>
                      <a:lnTo>
                        <a:pt x="14128" y="19221"/>
                      </a:lnTo>
                      <a:lnTo>
                        <a:pt x="4709" y="24027"/>
                      </a:lnTo>
                      <a:lnTo>
                        <a:pt x="9418" y="14416"/>
                      </a:lnTo>
                      <a:lnTo>
                        <a:pt x="0" y="9611"/>
                      </a:lnTo>
                      <a:lnTo>
                        <a:pt x="9418" y="961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7053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097236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592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16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46" name="Graphic 2">
                  <a:extLst>
                    <a:ext uri="{FF2B5EF4-FFF2-40B4-BE49-F238E27FC236}">
                      <a16:creationId xmlns:a16="http://schemas.microsoft.com/office/drawing/2014/main" id="{E1316B59-3DF6-004E-BB6C-90774A1129B5}"/>
                    </a:ext>
                  </a:extLst>
                </p:cNvPr>
                <p:cNvSpPr/>
                <p:nvPr>
                  <p:custDataLst>
                    <p:tags r:id="rId102"/>
                  </p:custDataLst>
                </p:nvPr>
              </p:nvSpPr>
              <p:spPr>
                <a:xfrm>
                  <a:off x="12319962" y="3671235"/>
                  <a:ext cx="41190" cy="35026"/>
                </a:xfrm>
                <a:custGeom>
                  <a:avLst/>
                  <a:gdLst>
                    <a:gd name="connsiteX0" fmla="*/ 14128 w 28255"/>
                    <a:gd name="connsiteY0" fmla="*/ 0 h 24026"/>
                    <a:gd name="connsiteX1" fmla="*/ 18837 w 28255"/>
                    <a:gd name="connsiteY1" fmla="*/ 9611 h 24026"/>
                    <a:gd name="connsiteX2" fmla="*/ 28255 w 28255"/>
                    <a:gd name="connsiteY2" fmla="*/ 9611 h 24026"/>
                    <a:gd name="connsiteX3" fmla="*/ 18837 w 28255"/>
                    <a:gd name="connsiteY3" fmla="*/ 14416 h 24026"/>
                    <a:gd name="connsiteX4" fmla="*/ 23546 w 28255"/>
                    <a:gd name="connsiteY4" fmla="*/ 24027 h 24026"/>
                    <a:gd name="connsiteX5" fmla="*/ 14128 w 28255"/>
                    <a:gd name="connsiteY5" fmla="*/ 19221 h 24026"/>
                    <a:gd name="connsiteX6" fmla="*/ 4709 w 28255"/>
                    <a:gd name="connsiteY6" fmla="*/ 24027 h 24026"/>
                    <a:gd name="connsiteX7" fmla="*/ 9418 w 28255"/>
                    <a:gd name="connsiteY7" fmla="*/ 14416 h 24026"/>
                    <a:gd name="connsiteX8" fmla="*/ 0 w 28255"/>
                    <a:gd name="connsiteY8" fmla="*/ 9611 h 24026"/>
                    <a:gd name="connsiteX9" fmla="*/ 9418 w 28255"/>
                    <a:gd name="connsiteY9" fmla="*/ 9611 h 240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8254" h="24026">
                      <a:moveTo>
                        <a:pt x="14128" y="0"/>
                      </a:moveTo>
                      <a:lnTo>
                        <a:pt x="18837" y="9611"/>
                      </a:lnTo>
                      <a:lnTo>
                        <a:pt x="28255" y="9611"/>
                      </a:lnTo>
                      <a:lnTo>
                        <a:pt x="18837" y="14416"/>
                      </a:lnTo>
                      <a:lnTo>
                        <a:pt x="23546" y="24027"/>
                      </a:lnTo>
                      <a:lnTo>
                        <a:pt x="14128" y="19221"/>
                      </a:lnTo>
                      <a:lnTo>
                        <a:pt x="4709" y="24027"/>
                      </a:lnTo>
                      <a:lnTo>
                        <a:pt x="9418" y="14416"/>
                      </a:lnTo>
                      <a:lnTo>
                        <a:pt x="0" y="9611"/>
                      </a:lnTo>
                      <a:lnTo>
                        <a:pt x="9418" y="961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7053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097236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592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16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47" name="Graphic 2">
                  <a:extLst>
                    <a:ext uri="{FF2B5EF4-FFF2-40B4-BE49-F238E27FC236}">
                      <a16:creationId xmlns:a16="http://schemas.microsoft.com/office/drawing/2014/main" id="{3E39D234-4A93-BF46-B6B2-0571CD2A1DCF}"/>
                    </a:ext>
                  </a:extLst>
                </p:cNvPr>
                <p:cNvSpPr/>
                <p:nvPr>
                  <p:custDataLst>
                    <p:tags r:id="rId103"/>
                  </p:custDataLst>
                </p:nvPr>
              </p:nvSpPr>
              <p:spPr>
                <a:xfrm>
                  <a:off x="12241934" y="3671235"/>
                  <a:ext cx="41190" cy="35026"/>
                </a:xfrm>
                <a:custGeom>
                  <a:avLst/>
                  <a:gdLst>
                    <a:gd name="connsiteX0" fmla="*/ 14128 w 28255"/>
                    <a:gd name="connsiteY0" fmla="*/ 0 h 24026"/>
                    <a:gd name="connsiteX1" fmla="*/ 18837 w 28255"/>
                    <a:gd name="connsiteY1" fmla="*/ 9611 h 24026"/>
                    <a:gd name="connsiteX2" fmla="*/ 28255 w 28255"/>
                    <a:gd name="connsiteY2" fmla="*/ 9611 h 24026"/>
                    <a:gd name="connsiteX3" fmla="*/ 18837 w 28255"/>
                    <a:gd name="connsiteY3" fmla="*/ 14416 h 24026"/>
                    <a:gd name="connsiteX4" fmla="*/ 23546 w 28255"/>
                    <a:gd name="connsiteY4" fmla="*/ 24027 h 24026"/>
                    <a:gd name="connsiteX5" fmla="*/ 14128 w 28255"/>
                    <a:gd name="connsiteY5" fmla="*/ 19221 h 24026"/>
                    <a:gd name="connsiteX6" fmla="*/ 4709 w 28255"/>
                    <a:gd name="connsiteY6" fmla="*/ 24027 h 24026"/>
                    <a:gd name="connsiteX7" fmla="*/ 9418 w 28255"/>
                    <a:gd name="connsiteY7" fmla="*/ 14416 h 24026"/>
                    <a:gd name="connsiteX8" fmla="*/ 0 w 28255"/>
                    <a:gd name="connsiteY8" fmla="*/ 9611 h 24026"/>
                    <a:gd name="connsiteX9" fmla="*/ 9418 w 28255"/>
                    <a:gd name="connsiteY9" fmla="*/ 9611 h 240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8254" h="24026">
                      <a:moveTo>
                        <a:pt x="14128" y="0"/>
                      </a:moveTo>
                      <a:lnTo>
                        <a:pt x="18837" y="9611"/>
                      </a:lnTo>
                      <a:lnTo>
                        <a:pt x="28255" y="9611"/>
                      </a:lnTo>
                      <a:lnTo>
                        <a:pt x="18837" y="14416"/>
                      </a:lnTo>
                      <a:lnTo>
                        <a:pt x="23546" y="24027"/>
                      </a:lnTo>
                      <a:lnTo>
                        <a:pt x="14128" y="19221"/>
                      </a:lnTo>
                      <a:lnTo>
                        <a:pt x="4709" y="24027"/>
                      </a:lnTo>
                      <a:lnTo>
                        <a:pt x="9418" y="14416"/>
                      </a:lnTo>
                      <a:lnTo>
                        <a:pt x="0" y="9611"/>
                      </a:lnTo>
                      <a:lnTo>
                        <a:pt x="9418" y="961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7053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097236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592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16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48" name="Graphic 2">
                  <a:extLst>
                    <a:ext uri="{FF2B5EF4-FFF2-40B4-BE49-F238E27FC236}">
                      <a16:creationId xmlns:a16="http://schemas.microsoft.com/office/drawing/2014/main" id="{0262BDEA-D6A8-4F41-8597-6A64C7E3A155}"/>
                    </a:ext>
                  </a:extLst>
                </p:cNvPr>
                <p:cNvSpPr/>
                <p:nvPr>
                  <p:custDataLst>
                    <p:tags r:id="rId104"/>
                  </p:custDataLst>
                </p:nvPr>
              </p:nvSpPr>
              <p:spPr>
                <a:xfrm>
                  <a:off x="12476027" y="3671235"/>
                  <a:ext cx="41190" cy="35026"/>
                </a:xfrm>
                <a:custGeom>
                  <a:avLst/>
                  <a:gdLst>
                    <a:gd name="connsiteX0" fmla="*/ 14128 w 28255"/>
                    <a:gd name="connsiteY0" fmla="*/ 0 h 24026"/>
                    <a:gd name="connsiteX1" fmla="*/ 18837 w 28255"/>
                    <a:gd name="connsiteY1" fmla="*/ 9611 h 24026"/>
                    <a:gd name="connsiteX2" fmla="*/ 28255 w 28255"/>
                    <a:gd name="connsiteY2" fmla="*/ 9611 h 24026"/>
                    <a:gd name="connsiteX3" fmla="*/ 18837 w 28255"/>
                    <a:gd name="connsiteY3" fmla="*/ 14416 h 24026"/>
                    <a:gd name="connsiteX4" fmla="*/ 23546 w 28255"/>
                    <a:gd name="connsiteY4" fmla="*/ 24027 h 24026"/>
                    <a:gd name="connsiteX5" fmla="*/ 14128 w 28255"/>
                    <a:gd name="connsiteY5" fmla="*/ 19221 h 24026"/>
                    <a:gd name="connsiteX6" fmla="*/ 4709 w 28255"/>
                    <a:gd name="connsiteY6" fmla="*/ 24027 h 24026"/>
                    <a:gd name="connsiteX7" fmla="*/ 9418 w 28255"/>
                    <a:gd name="connsiteY7" fmla="*/ 14416 h 24026"/>
                    <a:gd name="connsiteX8" fmla="*/ 0 w 28255"/>
                    <a:gd name="connsiteY8" fmla="*/ 9611 h 24026"/>
                    <a:gd name="connsiteX9" fmla="*/ 9418 w 28255"/>
                    <a:gd name="connsiteY9" fmla="*/ 9611 h 240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8254" h="24026">
                      <a:moveTo>
                        <a:pt x="14128" y="0"/>
                      </a:moveTo>
                      <a:lnTo>
                        <a:pt x="18837" y="9611"/>
                      </a:lnTo>
                      <a:lnTo>
                        <a:pt x="28255" y="9611"/>
                      </a:lnTo>
                      <a:lnTo>
                        <a:pt x="18837" y="14416"/>
                      </a:lnTo>
                      <a:lnTo>
                        <a:pt x="23546" y="24027"/>
                      </a:lnTo>
                      <a:lnTo>
                        <a:pt x="14128" y="19221"/>
                      </a:lnTo>
                      <a:lnTo>
                        <a:pt x="4709" y="24027"/>
                      </a:lnTo>
                      <a:lnTo>
                        <a:pt x="9418" y="14416"/>
                      </a:lnTo>
                      <a:lnTo>
                        <a:pt x="0" y="9611"/>
                      </a:lnTo>
                      <a:lnTo>
                        <a:pt x="9418" y="961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7053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097236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592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16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49" name="Graphic 2">
                  <a:extLst>
                    <a:ext uri="{FF2B5EF4-FFF2-40B4-BE49-F238E27FC236}">
                      <a16:creationId xmlns:a16="http://schemas.microsoft.com/office/drawing/2014/main" id="{71341F6C-F603-3A4F-9A96-F52D2A36547F}"/>
                    </a:ext>
                  </a:extLst>
                </p:cNvPr>
                <p:cNvSpPr/>
                <p:nvPr>
                  <p:custDataLst>
                    <p:tags r:id="rId105"/>
                  </p:custDataLst>
                </p:nvPr>
              </p:nvSpPr>
              <p:spPr>
                <a:xfrm>
                  <a:off x="12397996" y="3671235"/>
                  <a:ext cx="41190" cy="35026"/>
                </a:xfrm>
                <a:custGeom>
                  <a:avLst/>
                  <a:gdLst>
                    <a:gd name="connsiteX0" fmla="*/ 14128 w 28255"/>
                    <a:gd name="connsiteY0" fmla="*/ 0 h 24026"/>
                    <a:gd name="connsiteX1" fmla="*/ 18837 w 28255"/>
                    <a:gd name="connsiteY1" fmla="*/ 9611 h 24026"/>
                    <a:gd name="connsiteX2" fmla="*/ 28255 w 28255"/>
                    <a:gd name="connsiteY2" fmla="*/ 9611 h 24026"/>
                    <a:gd name="connsiteX3" fmla="*/ 18837 w 28255"/>
                    <a:gd name="connsiteY3" fmla="*/ 14416 h 24026"/>
                    <a:gd name="connsiteX4" fmla="*/ 23546 w 28255"/>
                    <a:gd name="connsiteY4" fmla="*/ 24027 h 24026"/>
                    <a:gd name="connsiteX5" fmla="*/ 14128 w 28255"/>
                    <a:gd name="connsiteY5" fmla="*/ 19221 h 24026"/>
                    <a:gd name="connsiteX6" fmla="*/ 4709 w 28255"/>
                    <a:gd name="connsiteY6" fmla="*/ 24027 h 24026"/>
                    <a:gd name="connsiteX7" fmla="*/ 9418 w 28255"/>
                    <a:gd name="connsiteY7" fmla="*/ 14416 h 24026"/>
                    <a:gd name="connsiteX8" fmla="*/ 0 w 28255"/>
                    <a:gd name="connsiteY8" fmla="*/ 9611 h 24026"/>
                    <a:gd name="connsiteX9" fmla="*/ 9418 w 28255"/>
                    <a:gd name="connsiteY9" fmla="*/ 9611 h 240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8254" h="24026">
                      <a:moveTo>
                        <a:pt x="14128" y="0"/>
                      </a:moveTo>
                      <a:lnTo>
                        <a:pt x="18837" y="9611"/>
                      </a:lnTo>
                      <a:lnTo>
                        <a:pt x="28255" y="9611"/>
                      </a:lnTo>
                      <a:lnTo>
                        <a:pt x="18837" y="14416"/>
                      </a:lnTo>
                      <a:lnTo>
                        <a:pt x="23546" y="24027"/>
                      </a:lnTo>
                      <a:lnTo>
                        <a:pt x="14128" y="19221"/>
                      </a:lnTo>
                      <a:lnTo>
                        <a:pt x="4709" y="24027"/>
                      </a:lnTo>
                      <a:lnTo>
                        <a:pt x="9418" y="14416"/>
                      </a:lnTo>
                      <a:lnTo>
                        <a:pt x="0" y="9611"/>
                      </a:lnTo>
                      <a:lnTo>
                        <a:pt x="9418" y="961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7053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097236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592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16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51" name="Graphic 2">
                  <a:extLst>
                    <a:ext uri="{FF2B5EF4-FFF2-40B4-BE49-F238E27FC236}">
                      <a16:creationId xmlns:a16="http://schemas.microsoft.com/office/drawing/2014/main" id="{AE6B1558-690A-2745-90E2-A6DA84769AB9}"/>
                    </a:ext>
                  </a:extLst>
                </p:cNvPr>
                <p:cNvSpPr/>
                <p:nvPr>
                  <p:custDataLst>
                    <p:tags r:id="rId106"/>
                  </p:custDataLst>
                </p:nvPr>
              </p:nvSpPr>
              <p:spPr>
                <a:xfrm>
                  <a:off x="12280951" y="3637419"/>
                  <a:ext cx="41190" cy="35026"/>
                </a:xfrm>
                <a:custGeom>
                  <a:avLst/>
                  <a:gdLst>
                    <a:gd name="connsiteX0" fmla="*/ 14128 w 28255"/>
                    <a:gd name="connsiteY0" fmla="*/ 0 h 24026"/>
                    <a:gd name="connsiteX1" fmla="*/ 18837 w 28255"/>
                    <a:gd name="connsiteY1" fmla="*/ 9611 h 24026"/>
                    <a:gd name="connsiteX2" fmla="*/ 28255 w 28255"/>
                    <a:gd name="connsiteY2" fmla="*/ 9611 h 24026"/>
                    <a:gd name="connsiteX3" fmla="*/ 18837 w 28255"/>
                    <a:gd name="connsiteY3" fmla="*/ 14416 h 24026"/>
                    <a:gd name="connsiteX4" fmla="*/ 23546 w 28255"/>
                    <a:gd name="connsiteY4" fmla="*/ 24027 h 24026"/>
                    <a:gd name="connsiteX5" fmla="*/ 14128 w 28255"/>
                    <a:gd name="connsiteY5" fmla="*/ 19221 h 24026"/>
                    <a:gd name="connsiteX6" fmla="*/ 4709 w 28255"/>
                    <a:gd name="connsiteY6" fmla="*/ 24027 h 24026"/>
                    <a:gd name="connsiteX7" fmla="*/ 9418 w 28255"/>
                    <a:gd name="connsiteY7" fmla="*/ 14416 h 24026"/>
                    <a:gd name="connsiteX8" fmla="*/ 0 w 28255"/>
                    <a:gd name="connsiteY8" fmla="*/ 9611 h 24026"/>
                    <a:gd name="connsiteX9" fmla="*/ 9418 w 28255"/>
                    <a:gd name="connsiteY9" fmla="*/ 9611 h 240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8254" h="24026">
                      <a:moveTo>
                        <a:pt x="14128" y="0"/>
                      </a:moveTo>
                      <a:lnTo>
                        <a:pt x="18837" y="9611"/>
                      </a:lnTo>
                      <a:lnTo>
                        <a:pt x="28255" y="9611"/>
                      </a:lnTo>
                      <a:lnTo>
                        <a:pt x="18837" y="14416"/>
                      </a:lnTo>
                      <a:lnTo>
                        <a:pt x="23546" y="24027"/>
                      </a:lnTo>
                      <a:lnTo>
                        <a:pt x="14128" y="19221"/>
                      </a:lnTo>
                      <a:lnTo>
                        <a:pt x="4709" y="24027"/>
                      </a:lnTo>
                      <a:lnTo>
                        <a:pt x="9418" y="14416"/>
                      </a:lnTo>
                      <a:lnTo>
                        <a:pt x="0" y="9611"/>
                      </a:lnTo>
                      <a:lnTo>
                        <a:pt x="9418" y="961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7053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097236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592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16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52" name="Graphic 2">
                  <a:extLst>
                    <a:ext uri="{FF2B5EF4-FFF2-40B4-BE49-F238E27FC236}">
                      <a16:creationId xmlns:a16="http://schemas.microsoft.com/office/drawing/2014/main" id="{F9505FC5-F99F-BF41-822D-B6F76FF88EA3}"/>
                    </a:ext>
                  </a:extLst>
                </p:cNvPr>
                <p:cNvSpPr/>
                <p:nvPr>
                  <p:custDataLst>
                    <p:tags r:id="rId107"/>
                  </p:custDataLst>
                </p:nvPr>
              </p:nvSpPr>
              <p:spPr>
                <a:xfrm>
                  <a:off x="12437017" y="3637419"/>
                  <a:ext cx="41190" cy="35026"/>
                </a:xfrm>
                <a:custGeom>
                  <a:avLst/>
                  <a:gdLst>
                    <a:gd name="connsiteX0" fmla="*/ 14128 w 28255"/>
                    <a:gd name="connsiteY0" fmla="*/ 0 h 24026"/>
                    <a:gd name="connsiteX1" fmla="*/ 18837 w 28255"/>
                    <a:gd name="connsiteY1" fmla="*/ 9611 h 24026"/>
                    <a:gd name="connsiteX2" fmla="*/ 28255 w 28255"/>
                    <a:gd name="connsiteY2" fmla="*/ 9611 h 24026"/>
                    <a:gd name="connsiteX3" fmla="*/ 18837 w 28255"/>
                    <a:gd name="connsiteY3" fmla="*/ 14416 h 24026"/>
                    <a:gd name="connsiteX4" fmla="*/ 23546 w 28255"/>
                    <a:gd name="connsiteY4" fmla="*/ 24027 h 24026"/>
                    <a:gd name="connsiteX5" fmla="*/ 14128 w 28255"/>
                    <a:gd name="connsiteY5" fmla="*/ 19221 h 24026"/>
                    <a:gd name="connsiteX6" fmla="*/ 4709 w 28255"/>
                    <a:gd name="connsiteY6" fmla="*/ 24027 h 24026"/>
                    <a:gd name="connsiteX7" fmla="*/ 9418 w 28255"/>
                    <a:gd name="connsiteY7" fmla="*/ 14416 h 24026"/>
                    <a:gd name="connsiteX8" fmla="*/ 0 w 28255"/>
                    <a:gd name="connsiteY8" fmla="*/ 9611 h 24026"/>
                    <a:gd name="connsiteX9" fmla="*/ 9418 w 28255"/>
                    <a:gd name="connsiteY9" fmla="*/ 9611 h 240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8254" h="24026">
                      <a:moveTo>
                        <a:pt x="14128" y="0"/>
                      </a:moveTo>
                      <a:lnTo>
                        <a:pt x="18837" y="9611"/>
                      </a:lnTo>
                      <a:lnTo>
                        <a:pt x="28255" y="9611"/>
                      </a:lnTo>
                      <a:lnTo>
                        <a:pt x="18837" y="14416"/>
                      </a:lnTo>
                      <a:lnTo>
                        <a:pt x="23546" y="24027"/>
                      </a:lnTo>
                      <a:lnTo>
                        <a:pt x="14128" y="19221"/>
                      </a:lnTo>
                      <a:lnTo>
                        <a:pt x="4709" y="24027"/>
                      </a:lnTo>
                      <a:lnTo>
                        <a:pt x="9418" y="14416"/>
                      </a:lnTo>
                      <a:lnTo>
                        <a:pt x="0" y="9611"/>
                      </a:lnTo>
                      <a:lnTo>
                        <a:pt x="9418" y="961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7053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097236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592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16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53" name="Graphic 2">
                  <a:extLst>
                    <a:ext uri="{FF2B5EF4-FFF2-40B4-BE49-F238E27FC236}">
                      <a16:creationId xmlns:a16="http://schemas.microsoft.com/office/drawing/2014/main" id="{58AC3E4C-6F25-A543-98FF-B457D30FC5C6}"/>
                    </a:ext>
                  </a:extLst>
                </p:cNvPr>
                <p:cNvSpPr/>
                <p:nvPr>
                  <p:custDataLst>
                    <p:tags r:id="rId108"/>
                  </p:custDataLst>
                </p:nvPr>
              </p:nvSpPr>
              <p:spPr>
                <a:xfrm>
                  <a:off x="12358984" y="3637419"/>
                  <a:ext cx="41190" cy="35026"/>
                </a:xfrm>
                <a:custGeom>
                  <a:avLst/>
                  <a:gdLst>
                    <a:gd name="connsiteX0" fmla="*/ 14128 w 28255"/>
                    <a:gd name="connsiteY0" fmla="*/ 0 h 24026"/>
                    <a:gd name="connsiteX1" fmla="*/ 18837 w 28255"/>
                    <a:gd name="connsiteY1" fmla="*/ 9611 h 24026"/>
                    <a:gd name="connsiteX2" fmla="*/ 28255 w 28255"/>
                    <a:gd name="connsiteY2" fmla="*/ 9611 h 24026"/>
                    <a:gd name="connsiteX3" fmla="*/ 18837 w 28255"/>
                    <a:gd name="connsiteY3" fmla="*/ 14416 h 24026"/>
                    <a:gd name="connsiteX4" fmla="*/ 23546 w 28255"/>
                    <a:gd name="connsiteY4" fmla="*/ 24027 h 24026"/>
                    <a:gd name="connsiteX5" fmla="*/ 14128 w 28255"/>
                    <a:gd name="connsiteY5" fmla="*/ 19221 h 24026"/>
                    <a:gd name="connsiteX6" fmla="*/ 4709 w 28255"/>
                    <a:gd name="connsiteY6" fmla="*/ 24027 h 24026"/>
                    <a:gd name="connsiteX7" fmla="*/ 9418 w 28255"/>
                    <a:gd name="connsiteY7" fmla="*/ 14416 h 24026"/>
                    <a:gd name="connsiteX8" fmla="*/ 0 w 28255"/>
                    <a:gd name="connsiteY8" fmla="*/ 9611 h 24026"/>
                    <a:gd name="connsiteX9" fmla="*/ 9418 w 28255"/>
                    <a:gd name="connsiteY9" fmla="*/ 9611 h 240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8254" h="24026">
                      <a:moveTo>
                        <a:pt x="14128" y="0"/>
                      </a:moveTo>
                      <a:lnTo>
                        <a:pt x="18837" y="9611"/>
                      </a:lnTo>
                      <a:lnTo>
                        <a:pt x="28255" y="9611"/>
                      </a:lnTo>
                      <a:lnTo>
                        <a:pt x="18837" y="14416"/>
                      </a:lnTo>
                      <a:lnTo>
                        <a:pt x="23546" y="24027"/>
                      </a:lnTo>
                      <a:lnTo>
                        <a:pt x="14128" y="19221"/>
                      </a:lnTo>
                      <a:lnTo>
                        <a:pt x="4709" y="24027"/>
                      </a:lnTo>
                      <a:lnTo>
                        <a:pt x="9418" y="14416"/>
                      </a:lnTo>
                      <a:lnTo>
                        <a:pt x="0" y="9611"/>
                      </a:lnTo>
                      <a:lnTo>
                        <a:pt x="9418" y="961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7053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097236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592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16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54" name="Graphic 2">
                  <a:extLst>
                    <a:ext uri="{FF2B5EF4-FFF2-40B4-BE49-F238E27FC236}">
                      <a16:creationId xmlns:a16="http://schemas.microsoft.com/office/drawing/2014/main" id="{F7F2E9F1-5072-9041-BD76-E0A504D7A2B2}"/>
                    </a:ext>
                  </a:extLst>
                </p:cNvPr>
                <p:cNvSpPr/>
                <p:nvPr>
                  <p:custDataLst>
                    <p:tags r:id="rId109"/>
                  </p:custDataLst>
                </p:nvPr>
              </p:nvSpPr>
              <p:spPr>
                <a:xfrm>
                  <a:off x="12319963" y="3601005"/>
                  <a:ext cx="41190" cy="35026"/>
                </a:xfrm>
                <a:custGeom>
                  <a:avLst/>
                  <a:gdLst>
                    <a:gd name="connsiteX0" fmla="*/ 14128 w 28255"/>
                    <a:gd name="connsiteY0" fmla="*/ 0 h 24026"/>
                    <a:gd name="connsiteX1" fmla="*/ 18837 w 28255"/>
                    <a:gd name="connsiteY1" fmla="*/ 9611 h 24026"/>
                    <a:gd name="connsiteX2" fmla="*/ 28255 w 28255"/>
                    <a:gd name="connsiteY2" fmla="*/ 9611 h 24026"/>
                    <a:gd name="connsiteX3" fmla="*/ 18837 w 28255"/>
                    <a:gd name="connsiteY3" fmla="*/ 14416 h 24026"/>
                    <a:gd name="connsiteX4" fmla="*/ 23546 w 28255"/>
                    <a:gd name="connsiteY4" fmla="*/ 24027 h 24026"/>
                    <a:gd name="connsiteX5" fmla="*/ 14128 w 28255"/>
                    <a:gd name="connsiteY5" fmla="*/ 19221 h 24026"/>
                    <a:gd name="connsiteX6" fmla="*/ 4709 w 28255"/>
                    <a:gd name="connsiteY6" fmla="*/ 24027 h 24026"/>
                    <a:gd name="connsiteX7" fmla="*/ 9418 w 28255"/>
                    <a:gd name="connsiteY7" fmla="*/ 14416 h 24026"/>
                    <a:gd name="connsiteX8" fmla="*/ 0 w 28255"/>
                    <a:gd name="connsiteY8" fmla="*/ 9611 h 24026"/>
                    <a:gd name="connsiteX9" fmla="*/ 9418 w 28255"/>
                    <a:gd name="connsiteY9" fmla="*/ 9611 h 240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8254" h="24026">
                      <a:moveTo>
                        <a:pt x="14128" y="0"/>
                      </a:moveTo>
                      <a:lnTo>
                        <a:pt x="18837" y="9611"/>
                      </a:lnTo>
                      <a:lnTo>
                        <a:pt x="28255" y="9611"/>
                      </a:lnTo>
                      <a:lnTo>
                        <a:pt x="18837" y="14416"/>
                      </a:lnTo>
                      <a:lnTo>
                        <a:pt x="23546" y="24027"/>
                      </a:lnTo>
                      <a:lnTo>
                        <a:pt x="14128" y="19221"/>
                      </a:lnTo>
                      <a:lnTo>
                        <a:pt x="4709" y="24027"/>
                      </a:lnTo>
                      <a:lnTo>
                        <a:pt x="9418" y="14416"/>
                      </a:lnTo>
                      <a:lnTo>
                        <a:pt x="0" y="9611"/>
                      </a:lnTo>
                      <a:lnTo>
                        <a:pt x="9418" y="961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7053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097236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592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16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55" name="Graphic 2">
                  <a:extLst>
                    <a:ext uri="{FF2B5EF4-FFF2-40B4-BE49-F238E27FC236}">
                      <a16:creationId xmlns:a16="http://schemas.microsoft.com/office/drawing/2014/main" id="{0A3A3260-C0CD-2840-9BED-E68B449FA272}"/>
                    </a:ext>
                  </a:extLst>
                </p:cNvPr>
                <p:cNvSpPr/>
                <p:nvPr>
                  <p:custDataLst>
                    <p:tags r:id="rId110"/>
                  </p:custDataLst>
                </p:nvPr>
              </p:nvSpPr>
              <p:spPr>
                <a:xfrm>
                  <a:off x="12476028" y="3601005"/>
                  <a:ext cx="41190" cy="35026"/>
                </a:xfrm>
                <a:custGeom>
                  <a:avLst/>
                  <a:gdLst>
                    <a:gd name="connsiteX0" fmla="*/ 14128 w 28255"/>
                    <a:gd name="connsiteY0" fmla="*/ 0 h 24026"/>
                    <a:gd name="connsiteX1" fmla="*/ 18837 w 28255"/>
                    <a:gd name="connsiteY1" fmla="*/ 9611 h 24026"/>
                    <a:gd name="connsiteX2" fmla="*/ 28255 w 28255"/>
                    <a:gd name="connsiteY2" fmla="*/ 9611 h 24026"/>
                    <a:gd name="connsiteX3" fmla="*/ 18837 w 28255"/>
                    <a:gd name="connsiteY3" fmla="*/ 14416 h 24026"/>
                    <a:gd name="connsiteX4" fmla="*/ 23546 w 28255"/>
                    <a:gd name="connsiteY4" fmla="*/ 24027 h 24026"/>
                    <a:gd name="connsiteX5" fmla="*/ 14128 w 28255"/>
                    <a:gd name="connsiteY5" fmla="*/ 19221 h 24026"/>
                    <a:gd name="connsiteX6" fmla="*/ 4709 w 28255"/>
                    <a:gd name="connsiteY6" fmla="*/ 24027 h 24026"/>
                    <a:gd name="connsiteX7" fmla="*/ 9418 w 28255"/>
                    <a:gd name="connsiteY7" fmla="*/ 14416 h 24026"/>
                    <a:gd name="connsiteX8" fmla="*/ 0 w 28255"/>
                    <a:gd name="connsiteY8" fmla="*/ 9611 h 24026"/>
                    <a:gd name="connsiteX9" fmla="*/ 9418 w 28255"/>
                    <a:gd name="connsiteY9" fmla="*/ 9611 h 240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8254" h="24026">
                      <a:moveTo>
                        <a:pt x="14128" y="0"/>
                      </a:moveTo>
                      <a:lnTo>
                        <a:pt x="18837" y="9611"/>
                      </a:lnTo>
                      <a:lnTo>
                        <a:pt x="28255" y="9611"/>
                      </a:lnTo>
                      <a:lnTo>
                        <a:pt x="18837" y="14416"/>
                      </a:lnTo>
                      <a:lnTo>
                        <a:pt x="23546" y="24027"/>
                      </a:lnTo>
                      <a:lnTo>
                        <a:pt x="14128" y="19221"/>
                      </a:lnTo>
                      <a:lnTo>
                        <a:pt x="4709" y="24027"/>
                      </a:lnTo>
                      <a:lnTo>
                        <a:pt x="9418" y="14416"/>
                      </a:lnTo>
                      <a:lnTo>
                        <a:pt x="0" y="9611"/>
                      </a:lnTo>
                      <a:lnTo>
                        <a:pt x="9418" y="961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7053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097236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592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16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56" name="Graphic 2">
                  <a:extLst>
                    <a:ext uri="{FF2B5EF4-FFF2-40B4-BE49-F238E27FC236}">
                      <a16:creationId xmlns:a16="http://schemas.microsoft.com/office/drawing/2014/main" id="{DD01ED8C-33BC-4E46-BCCD-08FED0AAB993}"/>
                    </a:ext>
                  </a:extLst>
                </p:cNvPr>
                <p:cNvSpPr/>
                <p:nvPr>
                  <p:custDataLst>
                    <p:tags r:id="rId111"/>
                  </p:custDataLst>
                </p:nvPr>
              </p:nvSpPr>
              <p:spPr>
                <a:xfrm>
                  <a:off x="12397995" y="3601005"/>
                  <a:ext cx="41190" cy="35026"/>
                </a:xfrm>
                <a:custGeom>
                  <a:avLst/>
                  <a:gdLst>
                    <a:gd name="connsiteX0" fmla="*/ 14128 w 28255"/>
                    <a:gd name="connsiteY0" fmla="*/ 0 h 24026"/>
                    <a:gd name="connsiteX1" fmla="*/ 18837 w 28255"/>
                    <a:gd name="connsiteY1" fmla="*/ 9611 h 24026"/>
                    <a:gd name="connsiteX2" fmla="*/ 28255 w 28255"/>
                    <a:gd name="connsiteY2" fmla="*/ 9611 h 24026"/>
                    <a:gd name="connsiteX3" fmla="*/ 18837 w 28255"/>
                    <a:gd name="connsiteY3" fmla="*/ 14416 h 24026"/>
                    <a:gd name="connsiteX4" fmla="*/ 23546 w 28255"/>
                    <a:gd name="connsiteY4" fmla="*/ 24027 h 24026"/>
                    <a:gd name="connsiteX5" fmla="*/ 14128 w 28255"/>
                    <a:gd name="connsiteY5" fmla="*/ 19221 h 24026"/>
                    <a:gd name="connsiteX6" fmla="*/ 4709 w 28255"/>
                    <a:gd name="connsiteY6" fmla="*/ 24027 h 24026"/>
                    <a:gd name="connsiteX7" fmla="*/ 9418 w 28255"/>
                    <a:gd name="connsiteY7" fmla="*/ 14416 h 24026"/>
                    <a:gd name="connsiteX8" fmla="*/ 0 w 28255"/>
                    <a:gd name="connsiteY8" fmla="*/ 9611 h 24026"/>
                    <a:gd name="connsiteX9" fmla="*/ 9418 w 28255"/>
                    <a:gd name="connsiteY9" fmla="*/ 9611 h 240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8254" h="24026">
                      <a:moveTo>
                        <a:pt x="14128" y="0"/>
                      </a:moveTo>
                      <a:lnTo>
                        <a:pt x="18837" y="9611"/>
                      </a:lnTo>
                      <a:lnTo>
                        <a:pt x="28255" y="9611"/>
                      </a:lnTo>
                      <a:lnTo>
                        <a:pt x="18837" y="14416"/>
                      </a:lnTo>
                      <a:lnTo>
                        <a:pt x="23546" y="24027"/>
                      </a:lnTo>
                      <a:lnTo>
                        <a:pt x="14128" y="19221"/>
                      </a:lnTo>
                      <a:lnTo>
                        <a:pt x="4709" y="24027"/>
                      </a:lnTo>
                      <a:lnTo>
                        <a:pt x="9418" y="14416"/>
                      </a:lnTo>
                      <a:lnTo>
                        <a:pt x="0" y="9611"/>
                      </a:lnTo>
                      <a:lnTo>
                        <a:pt x="9418" y="961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7053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097236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592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16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57" name="Graphic 2">
                  <a:extLst>
                    <a:ext uri="{FF2B5EF4-FFF2-40B4-BE49-F238E27FC236}">
                      <a16:creationId xmlns:a16="http://schemas.microsoft.com/office/drawing/2014/main" id="{972D690D-2BEB-C14E-9D26-5006595E3AF3}"/>
                    </a:ext>
                  </a:extLst>
                </p:cNvPr>
                <p:cNvSpPr/>
                <p:nvPr>
                  <p:custDataLst>
                    <p:tags r:id="rId112"/>
                  </p:custDataLst>
                </p:nvPr>
              </p:nvSpPr>
              <p:spPr>
                <a:xfrm>
                  <a:off x="12437013" y="3565889"/>
                  <a:ext cx="41190" cy="35026"/>
                </a:xfrm>
                <a:custGeom>
                  <a:avLst/>
                  <a:gdLst>
                    <a:gd name="connsiteX0" fmla="*/ 14128 w 28255"/>
                    <a:gd name="connsiteY0" fmla="*/ 0 h 24026"/>
                    <a:gd name="connsiteX1" fmla="*/ 18837 w 28255"/>
                    <a:gd name="connsiteY1" fmla="*/ 9611 h 24026"/>
                    <a:gd name="connsiteX2" fmla="*/ 28255 w 28255"/>
                    <a:gd name="connsiteY2" fmla="*/ 9611 h 24026"/>
                    <a:gd name="connsiteX3" fmla="*/ 18837 w 28255"/>
                    <a:gd name="connsiteY3" fmla="*/ 14416 h 24026"/>
                    <a:gd name="connsiteX4" fmla="*/ 23546 w 28255"/>
                    <a:gd name="connsiteY4" fmla="*/ 24027 h 24026"/>
                    <a:gd name="connsiteX5" fmla="*/ 14128 w 28255"/>
                    <a:gd name="connsiteY5" fmla="*/ 19221 h 24026"/>
                    <a:gd name="connsiteX6" fmla="*/ 4709 w 28255"/>
                    <a:gd name="connsiteY6" fmla="*/ 24027 h 24026"/>
                    <a:gd name="connsiteX7" fmla="*/ 9418 w 28255"/>
                    <a:gd name="connsiteY7" fmla="*/ 14416 h 24026"/>
                    <a:gd name="connsiteX8" fmla="*/ 0 w 28255"/>
                    <a:gd name="connsiteY8" fmla="*/ 9611 h 24026"/>
                    <a:gd name="connsiteX9" fmla="*/ 9418 w 28255"/>
                    <a:gd name="connsiteY9" fmla="*/ 9611 h 240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8254" h="24026">
                      <a:moveTo>
                        <a:pt x="14128" y="0"/>
                      </a:moveTo>
                      <a:lnTo>
                        <a:pt x="18837" y="9611"/>
                      </a:lnTo>
                      <a:lnTo>
                        <a:pt x="28255" y="9611"/>
                      </a:lnTo>
                      <a:lnTo>
                        <a:pt x="18837" y="14416"/>
                      </a:lnTo>
                      <a:lnTo>
                        <a:pt x="23546" y="24027"/>
                      </a:lnTo>
                      <a:lnTo>
                        <a:pt x="14128" y="19221"/>
                      </a:lnTo>
                      <a:lnTo>
                        <a:pt x="4709" y="24027"/>
                      </a:lnTo>
                      <a:lnTo>
                        <a:pt x="9418" y="14416"/>
                      </a:lnTo>
                      <a:lnTo>
                        <a:pt x="0" y="9611"/>
                      </a:lnTo>
                      <a:lnTo>
                        <a:pt x="9418" y="961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7053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097236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592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16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59" name="Graphic 2">
                  <a:extLst>
                    <a:ext uri="{FF2B5EF4-FFF2-40B4-BE49-F238E27FC236}">
                      <a16:creationId xmlns:a16="http://schemas.microsoft.com/office/drawing/2014/main" id="{654F0762-7F73-9343-B184-F23BF8CA870A}"/>
                    </a:ext>
                  </a:extLst>
                </p:cNvPr>
                <p:cNvSpPr/>
                <p:nvPr>
                  <p:custDataLst>
                    <p:tags r:id="rId113"/>
                  </p:custDataLst>
                </p:nvPr>
              </p:nvSpPr>
              <p:spPr>
                <a:xfrm>
                  <a:off x="12358979" y="3565889"/>
                  <a:ext cx="41190" cy="35026"/>
                </a:xfrm>
                <a:custGeom>
                  <a:avLst/>
                  <a:gdLst>
                    <a:gd name="connsiteX0" fmla="*/ 14128 w 28255"/>
                    <a:gd name="connsiteY0" fmla="*/ 0 h 24026"/>
                    <a:gd name="connsiteX1" fmla="*/ 18837 w 28255"/>
                    <a:gd name="connsiteY1" fmla="*/ 9611 h 24026"/>
                    <a:gd name="connsiteX2" fmla="*/ 28255 w 28255"/>
                    <a:gd name="connsiteY2" fmla="*/ 9611 h 24026"/>
                    <a:gd name="connsiteX3" fmla="*/ 18837 w 28255"/>
                    <a:gd name="connsiteY3" fmla="*/ 14416 h 24026"/>
                    <a:gd name="connsiteX4" fmla="*/ 23546 w 28255"/>
                    <a:gd name="connsiteY4" fmla="*/ 24027 h 24026"/>
                    <a:gd name="connsiteX5" fmla="*/ 14128 w 28255"/>
                    <a:gd name="connsiteY5" fmla="*/ 19221 h 24026"/>
                    <a:gd name="connsiteX6" fmla="*/ 4709 w 28255"/>
                    <a:gd name="connsiteY6" fmla="*/ 24027 h 24026"/>
                    <a:gd name="connsiteX7" fmla="*/ 9418 w 28255"/>
                    <a:gd name="connsiteY7" fmla="*/ 14416 h 24026"/>
                    <a:gd name="connsiteX8" fmla="*/ 0 w 28255"/>
                    <a:gd name="connsiteY8" fmla="*/ 9611 h 24026"/>
                    <a:gd name="connsiteX9" fmla="*/ 9418 w 28255"/>
                    <a:gd name="connsiteY9" fmla="*/ 9611 h 240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8254" h="24026">
                      <a:moveTo>
                        <a:pt x="14128" y="0"/>
                      </a:moveTo>
                      <a:lnTo>
                        <a:pt x="18837" y="9611"/>
                      </a:lnTo>
                      <a:lnTo>
                        <a:pt x="28255" y="9611"/>
                      </a:lnTo>
                      <a:lnTo>
                        <a:pt x="18837" y="14416"/>
                      </a:lnTo>
                      <a:lnTo>
                        <a:pt x="23546" y="24027"/>
                      </a:lnTo>
                      <a:lnTo>
                        <a:pt x="14128" y="19221"/>
                      </a:lnTo>
                      <a:lnTo>
                        <a:pt x="4709" y="24027"/>
                      </a:lnTo>
                      <a:lnTo>
                        <a:pt x="9418" y="14416"/>
                      </a:lnTo>
                      <a:lnTo>
                        <a:pt x="0" y="9611"/>
                      </a:lnTo>
                      <a:lnTo>
                        <a:pt x="9418" y="961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7053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097236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592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16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60" name="Graphic 2">
                  <a:extLst>
                    <a:ext uri="{FF2B5EF4-FFF2-40B4-BE49-F238E27FC236}">
                      <a16:creationId xmlns:a16="http://schemas.microsoft.com/office/drawing/2014/main" id="{B4C3B8B9-E197-3D49-B912-16E53594F711}"/>
                    </a:ext>
                  </a:extLst>
                </p:cNvPr>
                <p:cNvSpPr/>
                <p:nvPr>
                  <p:custDataLst>
                    <p:tags r:id="rId114"/>
                  </p:custDataLst>
                </p:nvPr>
              </p:nvSpPr>
              <p:spPr>
                <a:xfrm>
                  <a:off x="12476028" y="3530778"/>
                  <a:ext cx="41190" cy="35026"/>
                </a:xfrm>
                <a:custGeom>
                  <a:avLst/>
                  <a:gdLst>
                    <a:gd name="connsiteX0" fmla="*/ 14128 w 28255"/>
                    <a:gd name="connsiteY0" fmla="*/ 0 h 24026"/>
                    <a:gd name="connsiteX1" fmla="*/ 18837 w 28255"/>
                    <a:gd name="connsiteY1" fmla="*/ 9611 h 24026"/>
                    <a:gd name="connsiteX2" fmla="*/ 28255 w 28255"/>
                    <a:gd name="connsiteY2" fmla="*/ 9611 h 24026"/>
                    <a:gd name="connsiteX3" fmla="*/ 18837 w 28255"/>
                    <a:gd name="connsiteY3" fmla="*/ 14416 h 24026"/>
                    <a:gd name="connsiteX4" fmla="*/ 23546 w 28255"/>
                    <a:gd name="connsiteY4" fmla="*/ 24027 h 24026"/>
                    <a:gd name="connsiteX5" fmla="*/ 14128 w 28255"/>
                    <a:gd name="connsiteY5" fmla="*/ 19221 h 24026"/>
                    <a:gd name="connsiteX6" fmla="*/ 4709 w 28255"/>
                    <a:gd name="connsiteY6" fmla="*/ 24027 h 24026"/>
                    <a:gd name="connsiteX7" fmla="*/ 9418 w 28255"/>
                    <a:gd name="connsiteY7" fmla="*/ 14416 h 24026"/>
                    <a:gd name="connsiteX8" fmla="*/ 0 w 28255"/>
                    <a:gd name="connsiteY8" fmla="*/ 9611 h 24026"/>
                    <a:gd name="connsiteX9" fmla="*/ 9418 w 28255"/>
                    <a:gd name="connsiteY9" fmla="*/ 9611 h 240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8254" h="24026">
                      <a:moveTo>
                        <a:pt x="14128" y="0"/>
                      </a:moveTo>
                      <a:lnTo>
                        <a:pt x="18837" y="9611"/>
                      </a:lnTo>
                      <a:lnTo>
                        <a:pt x="28255" y="9611"/>
                      </a:lnTo>
                      <a:lnTo>
                        <a:pt x="18837" y="14416"/>
                      </a:lnTo>
                      <a:lnTo>
                        <a:pt x="23546" y="24027"/>
                      </a:lnTo>
                      <a:lnTo>
                        <a:pt x="14128" y="19221"/>
                      </a:lnTo>
                      <a:lnTo>
                        <a:pt x="4709" y="24027"/>
                      </a:lnTo>
                      <a:lnTo>
                        <a:pt x="9418" y="14416"/>
                      </a:lnTo>
                      <a:lnTo>
                        <a:pt x="0" y="9611"/>
                      </a:lnTo>
                      <a:lnTo>
                        <a:pt x="9418" y="961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7053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097236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592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16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62" name="Graphic 2">
                  <a:extLst>
                    <a:ext uri="{FF2B5EF4-FFF2-40B4-BE49-F238E27FC236}">
                      <a16:creationId xmlns:a16="http://schemas.microsoft.com/office/drawing/2014/main" id="{47B154A2-8F6C-2847-B3FE-BD47580389AE}"/>
                    </a:ext>
                  </a:extLst>
                </p:cNvPr>
                <p:cNvSpPr/>
                <p:nvPr>
                  <p:custDataLst>
                    <p:tags r:id="rId115"/>
                  </p:custDataLst>
                </p:nvPr>
              </p:nvSpPr>
              <p:spPr>
                <a:xfrm>
                  <a:off x="12397995" y="3530778"/>
                  <a:ext cx="41190" cy="35026"/>
                </a:xfrm>
                <a:custGeom>
                  <a:avLst/>
                  <a:gdLst>
                    <a:gd name="connsiteX0" fmla="*/ 14128 w 28255"/>
                    <a:gd name="connsiteY0" fmla="*/ 0 h 24026"/>
                    <a:gd name="connsiteX1" fmla="*/ 18837 w 28255"/>
                    <a:gd name="connsiteY1" fmla="*/ 9611 h 24026"/>
                    <a:gd name="connsiteX2" fmla="*/ 28255 w 28255"/>
                    <a:gd name="connsiteY2" fmla="*/ 9611 h 24026"/>
                    <a:gd name="connsiteX3" fmla="*/ 18837 w 28255"/>
                    <a:gd name="connsiteY3" fmla="*/ 14416 h 24026"/>
                    <a:gd name="connsiteX4" fmla="*/ 23546 w 28255"/>
                    <a:gd name="connsiteY4" fmla="*/ 24027 h 24026"/>
                    <a:gd name="connsiteX5" fmla="*/ 14128 w 28255"/>
                    <a:gd name="connsiteY5" fmla="*/ 19221 h 24026"/>
                    <a:gd name="connsiteX6" fmla="*/ 4709 w 28255"/>
                    <a:gd name="connsiteY6" fmla="*/ 24027 h 24026"/>
                    <a:gd name="connsiteX7" fmla="*/ 9418 w 28255"/>
                    <a:gd name="connsiteY7" fmla="*/ 14416 h 24026"/>
                    <a:gd name="connsiteX8" fmla="*/ 0 w 28255"/>
                    <a:gd name="connsiteY8" fmla="*/ 9611 h 24026"/>
                    <a:gd name="connsiteX9" fmla="*/ 9418 w 28255"/>
                    <a:gd name="connsiteY9" fmla="*/ 9611 h 240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8254" h="24026">
                      <a:moveTo>
                        <a:pt x="14128" y="0"/>
                      </a:moveTo>
                      <a:lnTo>
                        <a:pt x="18837" y="9611"/>
                      </a:lnTo>
                      <a:lnTo>
                        <a:pt x="28255" y="9611"/>
                      </a:lnTo>
                      <a:lnTo>
                        <a:pt x="18837" y="14416"/>
                      </a:lnTo>
                      <a:lnTo>
                        <a:pt x="23546" y="24027"/>
                      </a:lnTo>
                      <a:lnTo>
                        <a:pt x="14128" y="19221"/>
                      </a:lnTo>
                      <a:lnTo>
                        <a:pt x="4709" y="24027"/>
                      </a:lnTo>
                      <a:lnTo>
                        <a:pt x="9418" y="14416"/>
                      </a:lnTo>
                      <a:lnTo>
                        <a:pt x="0" y="9611"/>
                      </a:lnTo>
                      <a:lnTo>
                        <a:pt x="9418" y="961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7053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en-US"/>
                  </a:defPPr>
                </a:lstStyle>
                <a:p>
                  <a:pPr marL="0" marR="0" lvl="0" indent="0" algn="l" defTabSz="1097236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 kumimoji="0" sz="2592" b="0" i="0" normalizeH="0" noProof="0">
                      <a:solidFill>
                        <a:srgbClr val="000000"/>
                      </a:solidFill>
                      <a:uLnTx/>
                      <a:uFillTx/>
                      <a:latin typeface="+mn-lt"/>
                      <a:ea typeface="+mn-ea"/>
                      <a:cs typeface="+mn-cs"/>
                    </a:defRPr>
                  </a:pPr>
                  <a:endParaRPr kumimoji="0" lang="en-US" sz="168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</p:grpSp>
        <p:sp>
          <p:nvSpPr>
            <p:cNvPr id="124" name="Oval 123">
              <a:extLst>
                <a:ext uri="{FF2B5EF4-FFF2-40B4-BE49-F238E27FC236}">
                  <a16:creationId xmlns:a16="http://schemas.microsoft.com/office/drawing/2014/main" id="{AAAA2109-301B-FE44-B08A-85E5D3678193}"/>
                </a:ext>
              </a:extLst>
            </p:cNvPr>
            <p:cNvSpPr/>
            <p:nvPr>
              <p:custDataLst>
                <p:tags r:id="rId82"/>
              </p:custDataLst>
            </p:nvPr>
          </p:nvSpPr>
          <p:spPr>
            <a:xfrm>
              <a:off x="6639448" y="3463255"/>
              <a:ext cx="622080" cy="622080"/>
            </a:xfrm>
            <a:prstGeom prst="ellipse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marR="0" indent="0" algn="l" defTabSz="131673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658368" marR="0" indent="0" algn="l" defTabSz="131673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1316736" marR="0" indent="0" algn="l" defTabSz="131673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975104" marR="0" indent="0" algn="l" defTabSz="131673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2633472" marR="0" indent="0" algn="l" defTabSz="131673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3291840" marR="0" indent="0" algn="l" defTabSz="131673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3950208" marR="0" indent="0" algn="l" defTabSz="131673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4608576" marR="0" indent="0" algn="l" defTabSz="131673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5266944" marR="0" indent="0" algn="l" defTabSz="131673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marL="0" marR="0" lvl="0" indent="0" algn="ctr" defTabSz="109723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u="none" strike="noStrike" cap="none" spc="0" normalizeH="0" baseline="0" noProof="0">
                  <a:solidFill>
                    <a:srgbClr val="FFFFFF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pPr>
              <a:endParaRPr kumimoji="0" lang="en-US" sz="216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  <a:sym typeface="Wingdings" charset="2"/>
              </a:endParaRPr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5C45337C-30CF-4BEA-AADD-F81916B26478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" y="3803342"/>
            <a:ext cx="7317138" cy="32134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1pPr>
            <a:lvl2pPr marL="54864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2pPr>
            <a:lvl3pPr marL="109728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3pPr>
            <a:lvl4pPr marL="164592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4pPr>
            <a:lvl5pPr marL="219456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5pPr>
            <a:lvl6pPr marL="274320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6pPr>
            <a:lvl7pPr marL="329184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7pPr>
            <a:lvl8pPr marL="384048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8pPr>
            <a:lvl9pPr marL="4389120" marR="0" indent="0" algn="l" defTabSz="10972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9pPr>
          </a:lstStyle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u="none" strike="noStrike" cap="none" spc="0" normalizeH="0" baseline="0" noProof="0">
                <a:solidFill>
                  <a:srgbClr val="FFFFFF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pPr>
            <a:endParaRPr kumimoji="0" lang="en-US" sz="288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35" name="Rectangle 30">
            <a:extLst>
              <a:ext uri="{FF2B5EF4-FFF2-40B4-BE49-F238E27FC236}">
                <a16:creationId xmlns:a16="http://schemas.microsoft.com/office/drawing/2014/main" id="{F6DAAE49-EA02-4A8A-A2DA-38C6A261ADD4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79066" y="5079359"/>
            <a:ext cx="1879355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463158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31579" algn="l" defTabSz="1463158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63158" algn="l" defTabSz="1463158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94735" algn="l" defTabSz="1463158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26314" algn="l" defTabSz="1463158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57893" algn="l" defTabSz="1463158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89472" algn="l" defTabSz="1463158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121049" algn="l" defTabSz="1463158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852628" algn="l" defTabSz="1463158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46315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880" b="0" i="0" normalizeH="0" noProof="0">
                <a:solidFill>
                  <a:srgbClr val="000000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Banking &amp; </a:t>
            </a:r>
            <a:b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</a:b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Capital Markets</a:t>
            </a:r>
          </a:p>
        </p:txBody>
      </p:sp>
      <p:grpSp>
        <p:nvGrpSpPr>
          <p:cNvPr id="236" name="Group 41">
            <a:extLst>
              <a:ext uri="{FF2B5EF4-FFF2-40B4-BE49-F238E27FC236}">
                <a16:creationId xmlns:a16="http://schemas.microsoft.com/office/drawing/2014/main" id="{2A6E3C91-E4D8-4120-8CBC-AA6B8173C58B}"/>
              </a:ext>
            </a:extLst>
          </p:cNvPr>
          <p:cNvGrpSpPr/>
          <p:nvPr>
            <p:custDataLst>
              <p:tags r:id="rId11"/>
            </p:custDataLst>
          </p:nvPr>
        </p:nvGrpSpPr>
        <p:grpSpPr>
          <a:xfrm>
            <a:off x="1161932" y="4616422"/>
            <a:ext cx="518266" cy="399399"/>
            <a:chOff x="3447954" y="2443164"/>
            <a:chExt cx="856944" cy="660400"/>
          </a:xfrm>
        </p:grpSpPr>
        <p:sp>
          <p:nvSpPr>
            <p:cNvPr id="237" name="Line 5">
              <a:extLst>
                <a:ext uri="{FF2B5EF4-FFF2-40B4-BE49-F238E27FC236}">
                  <a16:creationId xmlns:a16="http://schemas.microsoft.com/office/drawing/2014/main" id="{F0FB1BF7-7AA5-48BD-A4DF-3A0D963731F5}"/>
                </a:ext>
              </a:extLst>
            </p:cNvPr>
            <p:cNvSpPr>
              <a:spLocks noChangeShapeType="1"/>
            </p:cNvSpPr>
            <p:nvPr>
              <p:custDataLst>
                <p:tags r:id="rId73"/>
              </p:custDataLst>
            </p:nvPr>
          </p:nvSpPr>
          <p:spPr bwMode="auto">
            <a:xfrm flipH="1">
              <a:off x="3447954" y="2673351"/>
              <a:ext cx="292330" cy="0"/>
            </a:xfrm>
            <a:prstGeom prst="line">
              <a:avLst/>
            </a:prstGeom>
            <a:noFill/>
            <a:ln w="1651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</a:lstStyle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3456" b="0" i="0" u="none" strike="noStrike" kern="1200" cap="none" spc="0" normalizeH="0" baseline="0" noProof="0">
                <a:ln>
                  <a:noFill/>
                </a:ln>
                <a:solidFill>
                  <a:srgbClr val="5F249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38" name="Line 6">
              <a:extLst>
                <a:ext uri="{FF2B5EF4-FFF2-40B4-BE49-F238E27FC236}">
                  <a16:creationId xmlns:a16="http://schemas.microsoft.com/office/drawing/2014/main" id="{30BA3599-DC44-4319-B8C3-0E9F73A7F70C}"/>
                </a:ext>
              </a:extLst>
            </p:cNvPr>
            <p:cNvSpPr>
              <a:spLocks noChangeShapeType="1"/>
            </p:cNvSpPr>
            <p:nvPr>
              <p:custDataLst>
                <p:tags r:id="rId74"/>
              </p:custDataLst>
            </p:nvPr>
          </p:nvSpPr>
          <p:spPr bwMode="auto">
            <a:xfrm flipH="1">
              <a:off x="3609988" y="2773364"/>
              <a:ext cx="203796" cy="0"/>
            </a:xfrm>
            <a:prstGeom prst="line">
              <a:avLst/>
            </a:prstGeom>
            <a:noFill/>
            <a:ln w="1651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</a:lstStyle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3456" b="0" i="0" u="none" strike="noStrike" kern="1200" cap="none" spc="0" normalizeH="0" baseline="0" noProof="0">
                <a:ln>
                  <a:noFill/>
                </a:ln>
                <a:solidFill>
                  <a:srgbClr val="5F249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39" name="Line 7">
              <a:extLst>
                <a:ext uri="{FF2B5EF4-FFF2-40B4-BE49-F238E27FC236}">
                  <a16:creationId xmlns:a16="http://schemas.microsoft.com/office/drawing/2014/main" id="{D1027963-3457-4D93-B90A-556FDE6B8426}"/>
                </a:ext>
              </a:extLst>
            </p:cNvPr>
            <p:cNvSpPr>
              <a:spLocks noChangeShapeType="1"/>
            </p:cNvSpPr>
            <p:nvPr>
              <p:custDataLst>
                <p:tags r:id="rId75"/>
              </p:custDataLst>
            </p:nvPr>
          </p:nvSpPr>
          <p:spPr bwMode="auto">
            <a:xfrm flipH="1">
              <a:off x="3499738" y="2860676"/>
              <a:ext cx="277296" cy="0"/>
            </a:xfrm>
            <a:prstGeom prst="line">
              <a:avLst/>
            </a:prstGeom>
            <a:noFill/>
            <a:ln w="1651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</a:lstStyle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3456" b="0" i="0" u="none" strike="noStrike" kern="1200" cap="none" spc="0" normalizeH="0" baseline="0" noProof="0">
                <a:ln>
                  <a:noFill/>
                </a:ln>
                <a:solidFill>
                  <a:srgbClr val="5F249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40" name="Freeform 8">
              <a:extLst>
                <a:ext uri="{FF2B5EF4-FFF2-40B4-BE49-F238E27FC236}">
                  <a16:creationId xmlns:a16="http://schemas.microsoft.com/office/drawing/2014/main" id="{6B1D3B01-FB5A-4494-9A90-AEF0167FE9A2}"/>
                </a:ext>
              </a:extLst>
            </p:cNvPr>
            <p:cNvSpPr/>
            <p:nvPr>
              <p:custDataLst>
                <p:tags r:id="rId76"/>
              </p:custDataLst>
            </p:nvPr>
          </p:nvSpPr>
          <p:spPr bwMode="auto">
            <a:xfrm>
              <a:off x="3725250" y="2443164"/>
              <a:ext cx="579648" cy="660400"/>
            </a:xfrm>
            <a:custGeom>
              <a:avLst/>
              <a:gdLst>
                <a:gd name="T0" fmla="*/ 0 w 157"/>
                <a:gd name="T1" fmla="*/ 43 h 180"/>
                <a:gd name="T2" fmla="*/ 72 w 157"/>
                <a:gd name="T3" fmla="*/ 0 h 180"/>
                <a:gd name="T4" fmla="*/ 157 w 157"/>
                <a:gd name="T5" fmla="*/ 90 h 180"/>
                <a:gd name="T6" fmla="*/ 72 w 157"/>
                <a:gd name="T7" fmla="*/ 180 h 180"/>
                <a:gd name="T8" fmla="*/ 0 w 157"/>
                <a:gd name="T9" fmla="*/ 138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180">
                  <a:moveTo>
                    <a:pt x="0" y="43"/>
                  </a:moveTo>
                  <a:cubicBezTo>
                    <a:pt x="15" y="17"/>
                    <a:pt x="42" y="0"/>
                    <a:pt x="72" y="0"/>
                  </a:cubicBezTo>
                  <a:cubicBezTo>
                    <a:pt x="119" y="0"/>
                    <a:pt x="157" y="40"/>
                    <a:pt x="157" y="90"/>
                  </a:cubicBezTo>
                  <a:cubicBezTo>
                    <a:pt x="157" y="140"/>
                    <a:pt x="119" y="180"/>
                    <a:pt x="72" y="180"/>
                  </a:cubicBezTo>
                  <a:cubicBezTo>
                    <a:pt x="42" y="180"/>
                    <a:pt x="15" y="163"/>
                    <a:pt x="0" y="138"/>
                  </a:cubicBezTo>
                </a:path>
              </a:pathLst>
            </a:custGeom>
            <a:noFill/>
            <a:ln w="1651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</a:lstStyle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3456" b="0" i="0" u="none" strike="noStrike" kern="1200" cap="none" spc="0" normalizeH="0" baseline="0" noProof="0">
                <a:ln>
                  <a:noFill/>
                </a:ln>
                <a:solidFill>
                  <a:srgbClr val="5F249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41" name="Freeform 9">
              <a:extLst>
                <a:ext uri="{FF2B5EF4-FFF2-40B4-BE49-F238E27FC236}">
                  <a16:creationId xmlns:a16="http://schemas.microsoft.com/office/drawing/2014/main" id="{703345BF-AC0E-4FE8-AF08-4F26D866AD6D}"/>
                </a:ext>
              </a:extLst>
            </p:cNvPr>
            <p:cNvSpPr/>
            <p:nvPr>
              <p:custDataLst>
                <p:tags r:id="rId77"/>
              </p:custDataLst>
            </p:nvPr>
          </p:nvSpPr>
          <p:spPr bwMode="auto">
            <a:xfrm>
              <a:off x="3865568" y="2659064"/>
              <a:ext cx="85193" cy="88900"/>
            </a:xfrm>
            <a:custGeom>
              <a:avLst/>
              <a:gdLst>
                <a:gd name="T0" fmla="*/ 23 w 23"/>
                <a:gd name="T1" fmla="*/ 15 h 24"/>
                <a:gd name="T2" fmla="*/ 14 w 23"/>
                <a:gd name="T3" fmla="*/ 24 h 24"/>
                <a:gd name="T4" fmla="*/ 9 w 23"/>
                <a:gd name="T5" fmla="*/ 24 h 24"/>
                <a:gd name="T6" fmla="*/ 0 w 23"/>
                <a:gd name="T7" fmla="*/ 15 h 24"/>
                <a:gd name="T8" fmla="*/ 0 w 23"/>
                <a:gd name="T9" fmla="*/ 10 h 24"/>
                <a:gd name="T10" fmla="*/ 9 w 23"/>
                <a:gd name="T11" fmla="*/ 0 h 24"/>
                <a:gd name="T12" fmla="*/ 14 w 23"/>
                <a:gd name="T13" fmla="*/ 0 h 24"/>
                <a:gd name="T14" fmla="*/ 23 w 23"/>
                <a:gd name="T15" fmla="*/ 10 h 24"/>
                <a:gd name="T16" fmla="*/ 23 w 23"/>
                <a:gd name="T17" fmla="*/ 15 h 24"/>
                <a:gd name="T18" fmla="*/ 23 w 23"/>
                <a:gd name="T19" fmla="*/ 1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24">
                  <a:moveTo>
                    <a:pt x="23" y="15"/>
                  </a:moveTo>
                  <a:cubicBezTo>
                    <a:pt x="23" y="19"/>
                    <a:pt x="19" y="24"/>
                    <a:pt x="14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4" y="24"/>
                    <a:pt x="0" y="19"/>
                    <a:pt x="0" y="15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5"/>
                    <a:pt x="4" y="0"/>
                    <a:pt x="9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9" y="0"/>
                    <a:pt x="23" y="5"/>
                    <a:pt x="23" y="10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3" y="15"/>
                    <a:pt x="23" y="15"/>
                    <a:pt x="23" y="15"/>
                  </a:cubicBezTo>
                  <a:close/>
                </a:path>
              </a:pathLst>
            </a:custGeom>
            <a:noFill/>
            <a:ln w="1651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</a:lstStyle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3456" b="0" i="0" u="none" strike="noStrike" kern="1200" cap="none" spc="0" normalizeH="0" baseline="0" noProof="0">
                <a:ln>
                  <a:noFill/>
                </a:ln>
                <a:solidFill>
                  <a:srgbClr val="5F249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42" name="Line 10">
              <a:extLst>
                <a:ext uri="{FF2B5EF4-FFF2-40B4-BE49-F238E27FC236}">
                  <a16:creationId xmlns:a16="http://schemas.microsoft.com/office/drawing/2014/main" id="{CFAE8BE9-5423-4C3A-A899-627E312B74E7}"/>
                </a:ext>
              </a:extLst>
            </p:cNvPr>
            <p:cNvSpPr>
              <a:spLocks noChangeShapeType="1"/>
            </p:cNvSpPr>
            <p:nvPr>
              <p:custDataLst>
                <p:tags r:id="rId78"/>
              </p:custDataLst>
            </p:nvPr>
          </p:nvSpPr>
          <p:spPr bwMode="auto">
            <a:xfrm flipV="1">
              <a:off x="3912341" y="2633664"/>
              <a:ext cx="152012" cy="279400"/>
            </a:xfrm>
            <a:prstGeom prst="line">
              <a:avLst/>
            </a:prstGeom>
            <a:noFill/>
            <a:ln w="1651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</a:lstStyle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3456" b="0" i="0" u="none" strike="noStrike" kern="1200" cap="none" spc="0" normalizeH="0" baseline="0" noProof="0">
                <a:ln>
                  <a:noFill/>
                </a:ln>
                <a:solidFill>
                  <a:srgbClr val="5F249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43" name="Freeform 11">
              <a:extLst>
                <a:ext uri="{FF2B5EF4-FFF2-40B4-BE49-F238E27FC236}">
                  <a16:creationId xmlns:a16="http://schemas.microsoft.com/office/drawing/2014/main" id="{25E5F88E-0573-4B87-9301-CFF57985BF31}"/>
                </a:ext>
              </a:extLst>
            </p:cNvPr>
            <p:cNvSpPr/>
            <p:nvPr>
              <p:custDataLst>
                <p:tags r:id="rId79"/>
              </p:custDataLst>
            </p:nvPr>
          </p:nvSpPr>
          <p:spPr bwMode="auto">
            <a:xfrm>
              <a:off x="4027602" y="2787651"/>
              <a:ext cx="88534" cy="100013"/>
            </a:xfrm>
            <a:custGeom>
              <a:avLst/>
              <a:gdLst>
                <a:gd name="T0" fmla="*/ 24 w 24"/>
                <a:gd name="T1" fmla="*/ 16 h 27"/>
                <a:gd name="T2" fmla="*/ 14 w 24"/>
                <a:gd name="T3" fmla="*/ 27 h 27"/>
                <a:gd name="T4" fmla="*/ 9 w 24"/>
                <a:gd name="T5" fmla="*/ 27 h 27"/>
                <a:gd name="T6" fmla="*/ 0 w 24"/>
                <a:gd name="T7" fmla="*/ 16 h 27"/>
                <a:gd name="T8" fmla="*/ 0 w 24"/>
                <a:gd name="T9" fmla="*/ 11 h 27"/>
                <a:gd name="T10" fmla="*/ 9 w 24"/>
                <a:gd name="T11" fmla="*/ 0 h 27"/>
                <a:gd name="T12" fmla="*/ 14 w 24"/>
                <a:gd name="T13" fmla="*/ 0 h 27"/>
                <a:gd name="T14" fmla="*/ 24 w 24"/>
                <a:gd name="T15" fmla="*/ 11 h 27"/>
                <a:gd name="T16" fmla="*/ 24 w 24"/>
                <a:gd name="T17" fmla="*/ 16 h 27"/>
                <a:gd name="T18" fmla="*/ 24 w 24"/>
                <a:gd name="T19" fmla="*/ 1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7">
                  <a:moveTo>
                    <a:pt x="24" y="16"/>
                  </a:moveTo>
                  <a:cubicBezTo>
                    <a:pt x="24" y="22"/>
                    <a:pt x="19" y="27"/>
                    <a:pt x="14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5" y="27"/>
                    <a:pt x="0" y="22"/>
                    <a:pt x="0" y="16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5" y="0"/>
                    <a:pt x="9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9" y="0"/>
                    <a:pt x="24" y="5"/>
                    <a:pt x="24" y="11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24" y="16"/>
                    <a:pt x="24" y="16"/>
                    <a:pt x="24" y="16"/>
                  </a:cubicBezTo>
                  <a:close/>
                </a:path>
              </a:pathLst>
            </a:custGeom>
            <a:noFill/>
            <a:ln w="1651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</a:lstStyle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3456" b="0" i="0" u="none" strike="noStrike" kern="1200" cap="none" spc="0" normalizeH="0" baseline="0" noProof="0">
                <a:ln>
                  <a:noFill/>
                </a:ln>
                <a:solidFill>
                  <a:srgbClr val="5F249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44" name="Rectangle 29">
            <a:extLst>
              <a:ext uri="{FF2B5EF4-FFF2-40B4-BE49-F238E27FC236}">
                <a16:creationId xmlns:a16="http://schemas.microsoft.com/office/drawing/2014/main" id="{78851E26-6085-45AE-B136-E622A7E8040F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5341220" y="5079359"/>
            <a:ext cx="1168910" cy="307777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1463158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31579" algn="l" defTabSz="1463158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63158" algn="l" defTabSz="1463158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94735" algn="l" defTabSz="1463158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26314" algn="l" defTabSz="1463158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57893" algn="l" defTabSz="1463158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89472" algn="l" defTabSz="1463158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121049" algn="l" defTabSz="1463158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852628" algn="l" defTabSz="1463158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46315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880" b="0" i="0" normalizeH="0" noProof="0">
                <a:solidFill>
                  <a:srgbClr val="000000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utomotive</a:t>
            </a:r>
          </a:p>
        </p:txBody>
      </p:sp>
      <p:grpSp>
        <p:nvGrpSpPr>
          <p:cNvPr id="245" name="Group 49">
            <a:extLst>
              <a:ext uri="{FF2B5EF4-FFF2-40B4-BE49-F238E27FC236}">
                <a16:creationId xmlns:a16="http://schemas.microsoft.com/office/drawing/2014/main" id="{736019E7-A2A7-4DD4-8480-21B3CD3D9089}"/>
              </a:ext>
            </a:extLst>
          </p:cNvPr>
          <p:cNvGrpSpPr/>
          <p:nvPr>
            <p:custDataLst>
              <p:tags r:id="rId13"/>
            </p:custDataLst>
          </p:nvPr>
        </p:nvGrpSpPr>
        <p:grpSpPr>
          <a:xfrm>
            <a:off x="5697707" y="4587820"/>
            <a:ext cx="472589" cy="456605"/>
            <a:chOff x="4687433" y="2387601"/>
            <a:chExt cx="801819" cy="774700"/>
          </a:xfrm>
        </p:grpSpPr>
        <p:sp>
          <p:nvSpPr>
            <p:cNvPr id="246" name="Freeform 12">
              <a:extLst>
                <a:ext uri="{FF2B5EF4-FFF2-40B4-BE49-F238E27FC236}">
                  <a16:creationId xmlns:a16="http://schemas.microsoft.com/office/drawing/2014/main" id="{E8B38D51-DD4F-43F3-87A3-8A4AD458D626}"/>
                </a:ext>
              </a:extLst>
            </p:cNvPr>
            <p:cNvSpPr/>
            <p:nvPr>
              <p:custDataLst>
                <p:tags r:id="rId60"/>
              </p:custDataLst>
            </p:nvPr>
          </p:nvSpPr>
          <p:spPr bwMode="auto">
            <a:xfrm>
              <a:off x="4924638" y="2387601"/>
              <a:ext cx="168716" cy="774700"/>
            </a:xfrm>
            <a:custGeom>
              <a:avLst/>
              <a:gdLst>
                <a:gd name="T0" fmla="*/ 46 w 46"/>
                <a:gd name="T1" fmla="*/ 0 h 211"/>
                <a:gd name="T2" fmla="*/ 27 w 46"/>
                <a:gd name="T3" fmla="*/ 0 h 211"/>
                <a:gd name="T4" fmla="*/ 0 w 46"/>
                <a:gd name="T5" fmla="*/ 36 h 211"/>
                <a:gd name="T6" fmla="*/ 0 w 46"/>
                <a:gd name="T7" fmla="*/ 188 h 211"/>
                <a:gd name="T8" fmla="*/ 37 w 46"/>
                <a:gd name="T9" fmla="*/ 211 h 211"/>
                <a:gd name="T10" fmla="*/ 46 w 46"/>
                <a:gd name="T11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" h="211">
                  <a:moveTo>
                    <a:pt x="46" y="0"/>
                  </a:moveTo>
                  <a:cubicBezTo>
                    <a:pt x="46" y="0"/>
                    <a:pt x="37" y="0"/>
                    <a:pt x="27" y="0"/>
                  </a:cubicBezTo>
                  <a:cubicBezTo>
                    <a:pt x="11" y="0"/>
                    <a:pt x="0" y="15"/>
                    <a:pt x="0" y="36"/>
                  </a:cubicBezTo>
                  <a:cubicBezTo>
                    <a:pt x="0" y="36"/>
                    <a:pt x="0" y="178"/>
                    <a:pt x="0" y="188"/>
                  </a:cubicBezTo>
                  <a:cubicBezTo>
                    <a:pt x="0" y="197"/>
                    <a:pt x="11" y="211"/>
                    <a:pt x="37" y="211"/>
                  </a:cubicBezTo>
                  <a:cubicBezTo>
                    <a:pt x="46" y="211"/>
                    <a:pt x="46" y="211"/>
                    <a:pt x="46" y="211"/>
                  </a:cubicBezTo>
                </a:path>
              </a:pathLst>
            </a:custGeom>
            <a:noFill/>
            <a:ln w="1651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3456" b="0" i="0" u="none" strike="noStrike" kern="0" cap="none" spc="0" normalizeH="0" baseline="0" noProof="0">
                <a:ln>
                  <a:noFill/>
                </a:ln>
                <a:solidFill>
                  <a:srgbClr val="5F249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47" name="Freeform 13">
              <a:extLst>
                <a:ext uri="{FF2B5EF4-FFF2-40B4-BE49-F238E27FC236}">
                  <a16:creationId xmlns:a16="http://schemas.microsoft.com/office/drawing/2014/main" id="{EBCF84A2-64CA-40C2-9449-66CA494491D2}"/>
                </a:ext>
              </a:extLst>
            </p:cNvPr>
            <p:cNvSpPr/>
            <p:nvPr>
              <p:custDataLst>
                <p:tags r:id="rId61"/>
              </p:custDataLst>
            </p:nvPr>
          </p:nvSpPr>
          <p:spPr bwMode="auto">
            <a:xfrm>
              <a:off x="4976422" y="2919414"/>
              <a:ext cx="220500" cy="103188"/>
            </a:xfrm>
            <a:custGeom>
              <a:avLst/>
              <a:gdLst>
                <a:gd name="T0" fmla="*/ 56 w 60"/>
                <a:gd name="T1" fmla="*/ 0 h 28"/>
                <a:gd name="T2" fmla="*/ 30 w 60"/>
                <a:gd name="T3" fmla="*/ 5 h 28"/>
                <a:gd name="T4" fmla="*/ 4 w 60"/>
                <a:gd name="T5" fmla="*/ 0 h 28"/>
                <a:gd name="T6" fmla="*/ 0 w 60"/>
                <a:gd name="T7" fmla="*/ 23 h 28"/>
                <a:gd name="T8" fmla="*/ 30 w 60"/>
                <a:gd name="T9" fmla="*/ 28 h 28"/>
                <a:gd name="T10" fmla="*/ 60 w 60"/>
                <a:gd name="T11" fmla="*/ 23 h 28"/>
                <a:gd name="T12" fmla="*/ 56 w 60"/>
                <a:gd name="T1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28">
                  <a:moveTo>
                    <a:pt x="56" y="0"/>
                  </a:moveTo>
                  <a:cubicBezTo>
                    <a:pt x="52" y="2"/>
                    <a:pt x="42" y="5"/>
                    <a:pt x="30" y="5"/>
                  </a:cubicBezTo>
                  <a:cubicBezTo>
                    <a:pt x="19" y="5"/>
                    <a:pt x="9" y="2"/>
                    <a:pt x="4" y="0"/>
                  </a:cubicBezTo>
                  <a:cubicBezTo>
                    <a:pt x="1" y="7"/>
                    <a:pt x="0" y="17"/>
                    <a:pt x="0" y="23"/>
                  </a:cubicBezTo>
                  <a:cubicBezTo>
                    <a:pt x="4" y="25"/>
                    <a:pt x="16" y="28"/>
                    <a:pt x="30" y="28"/>
                  </a:cubicBezTo>
                  <a:cubicBezTo>
                    <a:pt x="44" y="28"/>
                    <a:pt x="56" y="25"/>
                    <a:pt x="60" y="23"/>
                  </a:cubicBezTo>
                  <a:cubicBezTo>
                    <a:pt x="59" y="17"/>
                    <a:pt x="59" y="7"/>
                    <a:pt x="56" y="0"/>
                  </a:cubicBezTo>
                  <a:close/>
                </a:path>
              </a:pathLst>
            </a:custGeom>
            <a:noFill/>
            <a:ln w="1651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3456" b="0" i="0" u="none" strike="noStrike" kern="0" cap="none" spc="0" normalizeH="0" baseline="0" noProof="0">
                <a:ln>
                  <a:noFill/>
                </a:ln>
                <a:solidFill>
                  <a:srgbClr val="5F249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48" name="Line 14">
              <a:extLst>
                <a:ext uri="{FF2B5EF4-FFF2-40B4-BE49-F238E27FC236}">
                  <a16:creationId xmlns:a16="http://schemas.microsoft.com/office/drawing/2014/main" id="{60B70ADE-44A0-4A93-B0DD-36B96811085D}"/>
                </a:ext>
              </a:extLst>
            </p:cNvPr>
            <p:cNvSpPr>
              <a:spLocks noChangeShapeType="1"/>
            </p:cNvSpPr>
            <p:nvPr>
              <p:custDataLst>
                <p:tags r:id="rId62"/>
              </p:custDataLst>
            </p:nvPr>
          </p:nvSpPr>
          <p:spPr bwMode="auto">
            <a:xfrm flipH="1">
              <a:off x="4857819" y="2603501"/>
              <a:ext cx="66818" cy="0"/>
            </a:xfrm>
            <a:prstGeom prst="line">
              <a:avLst/>
            </a:prstGeom>
            <a:noFill/>
            <a:ln w="1651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3456" b="0" i="0" u="none" strike="noStrike" kern="0" cap="none" spc="0" normalizeH="0" baseline="0" noProof="0">
                <a:ln>
                  <a:noFill/>
                </a:ln>
                <a:solidFill>
                  <a:srgbClr val="5F249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49" name="Freeform 15">
              <a:extLst>
                <a:ext uri="{FF2B5EF4-FFF2-40B4-BE49-F238E27FC236}">
                  <a16:creationId xmlns:a16="http://schemas.microsoft.com/office/drawing/2014/main" id="{28BC19E8-24FF-453C-8F53-C9399B01D6CA}"/>
                </a:ext>
              </a:extLst>
            </p:cNvPr>
            <p:cNvSpPr/>
            <p:nvPr>
              <p:custDataLst>
                <p:tags r:id="rId63"/>
              </p:custDataLst>
            </p:nvPr>
          </p:nvSpPr>
          <p:spPr bwMode="auto">
            <a:xfrm>
              <a:off x="5093354" y="2387601"/>
              <a:ext cx="158693" cy="774700"/>
            </a:xfrm>
            <a:custGeom>
              <a:avLst/>
              <a:gdLst>
                <a:gd name="T0" fmla="*/ 0 w 43"/>
                <a:gd name="T1" fmla="*/ 0 h 211"/>
                <a:gd name="T2" fmla="*/ 17 w 43"/>
                <a:gd name="T3" fmla="*/ 0 h 211"/>
                <a:gd name="T4" fmla="*/ 43 w 43"/>
                <a:gd name="T5" fmla="*/ 36 h 211"/>
                <a:gd name="T6" fmla="*/ 43 w 43"/>
                <a:gd name="T7" fmla="*/ 188 h 211"/>
                <a:gd name="T8" fmla="*/ 8 w 43"/>
                <a:gd name="T9" fmla="*/ 211 h 211"/>
                <a:gd name="T10" fmla="*/ 0 w 43"/>
                <a:gd name="T11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" h="211">
                  <a:moveTo>
                    <a:pt x="0" y="0"/>
                  </a:moveTo>
                  <a:cubicBezTo>
                    <a:pt x="0" y="0"/>
                    <a:pt x="8" y="0"/>
                    <a:pt x="17" y="0"/>
                  </a:cubicBezTo>
                  <a:cubicBezTo>
                    <a:pt x="32" y="0"/>
                    <a:pt x="43" y="15"/>
                    <a:pt x="43" y="36"/>
                  </a:cubicBezTo>
                  <a:cubicBezTo>
                    <a:pt x="43" y="36"/>
                    <a:pt x="43" y="178"/>
                    <a:pt x="43" y="188"/>
                  </a:cubicBezTo>
                  <a:cubicBezTo>
                    <a:pt x="43" y="197"/>
                    <a:pt x="32" y="211"/>
                    <a:pt x="8" y="211"/>
                  </a:cubicBezTo>
                  <a:cubicBezTo>
                    <a:pt x="0" y="211"/>
                    <a:pt x="0" y="211"/>
                    <a:pt x="0" y="211"/>
                  </a:cubicBezTo>
                </a:path>
              </a:pathLst>
            </a:custGeom>
            <a:noFill/>
            <a:ln w="1651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3456" b="0" i="0" u="none" strike="noStrike" kern="0" cap="none" spc="0" normalizeH="0" baseline="0" noProof="0">
                <a:ln>
                  <a:noFill/>
                </a:ln>
                <a:solidFill>
                  <a:srgbClr val="5F249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50" name="Freeform 16">
              <a:extLst>
                <a:ext uri="{FF2B5EF4-FFF2-40B4-BE49-F238E27FC236}">
                  <a16:creationId xmlns:a16="http://schemas.microsoft.com/office/drawing/2014/main" id="{C98ABE8A-2594-4076-A3D5-6DA988EE234E}"/>
                </a:ext>
              </a:extLst>
            </p:cNvPr>
            <p:cNvSpPr/>
            <p:nvPr>
              <p:custDataLst>
                <p:tags r:id="rId64"/>
              </p:custDataLst>
            </p:nvPr>
          </p:nvSpPr>
          <p:spPr bwMode="auto">
            <a:xfrm>
              <a:off x="5093354" y="2578101"/>
              <a:ext cx="158693" cy="125413"/>
            </a:xfrm>
            <a:custGeom>
              <a:avLst/>
              <a:gdLst>
                <a:gd name="T0" fmla="*/ 0 w 43"/>
                <a:gd name="T1" fmla="*/ 30 h 34"/>
                <a:gd name="T2" fmla="*/ 26 w 43"/>
                <a:gd name="T3" fmla="*/ 34 h 34"/>
                <a:gd name="T4" fmla="*/ 43 w 43"/>
                <a:gd name="T5" fmla="*/ 4 h 34"/>
                <a:gd name="T6" fmla="*/ 0 w 43"/>
                <a:gd name="T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" h="34">
                  <a:moveTo>
                    <a:pt x="0" y="30"/>
                  </a:moveTo>
                  <a:cubicBezTo>
                    <a:pt x="11" y="30"/>
                    <a:pt x="22" y="33"/>
                    <a:pt x="26" y="34"/>
                  </a:cubicBezTo>
                  <a:cubicBezTo>
                    <a:pt x="33" y="28"/>
                    <a:pt x="43" y="13"/>
                    <a:pt x="43" y="4"/>
                  </a:cubicBezTo>
                  <a:cubicBezTo>
                    <a:pt x="33" y="1"/>
                    <a:pt x="7" y="0"/>
                    <a:pt x="0" y="0"/>
                  </a:cubicBezTo>
                </a:path>
              </a:pathLst>
            </a:custGeom>
            <a:noFill/>
            <a:ln w="1651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3456" b="0" i="0" u="none" strike="noStrike" kern="0" cap="none" spc="0" normalizeH="0" baseline="0" noProof="0">
                <a:ln>
                  <a:noFill/>
                </a:ln>
                <a:solidFill>
                  <a:srgbClr val="5F249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51" name="Freeform 17">
              <a:extLst>
                <a:ext uri="{FF2B5EF4-FFF2-40B4-BE49-F238E27FC236}">
                  <a16:creationId xmlns:a16="http://schemas.microsoft.com/office/drawing/2014/main" id="{D278D269-B9DA-4FCF-B3AB-8350C7AD8433}"/>
                </a:ext>
              </a:extLst>
            </p:cNvPr>
            <p:cNvSpPr/>
            <p:nvPr>
              <p:custDataLst>
                <p:tags r:id="rId65"/>
              </p:custDataLst>
            </p:nvPr>
          </p:nvSpPr>
          <p:spPr bwMode="auto">
            <a:xfrm>
              <a:off x="4924638" y="2578101"/>
              <a:ext cx="168716" cy="125413"/>
            </a:xfrm>
            <a:custGeom>
              <a:avLst/>
              <a:gdLst>
                <a:gd name="T0" fmla="*/ 46 w 46"/>
                <a:gd name="T1" fmla="*/ 30 h 34"/>
                <a:gd name="T2" fmla="*/ 18 w 46"/>
                <a:gd name="T3" fmla="*/ 34 h 34"/>
                <a:gd name="T4" fmla="*/ 0 w 46"/>
                <a:gd name="T5" fmla="*/ 4 h 34"/>
                <a:gd name="T6" fmla="*/ 46 w 46"/>
                <a:gd name="T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6" h="34">
                  <a:moveTo>
                    <a:pt x="46" y="30"/>
                  </a:moveTo>
                  <a:cubicBezTo>
                    <a:pt x="34" y="30"/>
                    <a:pt x="22" y="33"/>
                    <a:pt x="18" y="34"/>
                  </a:cubicBezTo>
                  <a:cubicBezTo>
                    <a:pt x="10" y="28"/>
                    <a:pt x="0" y="13"/>
                    <a:pt x="0" y="4"/>
                  </a:cubicBezTo>
                  <a:cubicBezTo>
                    <a:pt x="10" y="1"/>
                    <a:pt x="38" y="0"/>
                    <a:pt x="46" y="0"/>
                  </a:cubicBezTo>
                </a:path>
              </a:pathLst>
            </a:custGeom>
            <a:noFill/>
            <a:ln w="1651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3456" b="0" i="0" u="none" strike="noStrike" kern="0" cap="none" spc="0" normalizeH="0" baseline="0" noProof="0">
                <a:ln>
                  <a:noFill/>
                </a:ln>
                <a:solidFill>
                  <a:srgbClr val="5F249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52" name="Line 18">
              <a:extLst>
                <a:ext uri="{FF2B5EF4-FFF2-40B4-BE49-F238E27FC236}">
                  <a16:creationId xmlns:a16="http://schemas.microsoft.com/office/drawing/2014/main" id="{37701CB8-21F7-48D2-8782-BA529AEFE20E}"/>
                </a:ext>
              </a:extLst>
            </p:cNvPr>
            <p:cNvSpPr>
              <a:spLocks noChangeShapeType="1"/>
            </p:cNvSpPr>
            <p:nvPr>
              <p:custDataLst>
                <p:tags r:id="rId66"/>
              </p:custDataLst>
            </p:nvPr>
          </p:nvSpPr>
          <p:spPr bwMode="auto">
            <a:xfrm>
              <a:off x="5252047" y="2603501"/>
              <a:ext cx="63477" cy="0"/>
            </a:xfrm>
            <a:prstGeom prst="line">
              <a:avLst/>
            </a:prstGeom>
            <a:noFill/>
            <a:ln w="1651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3456" b="0" i="0" u="none" strike="noStrike" kern="0" cap="none" spc="0" normalizeH="0" baseline="0" noProof="0">
                <a:ln>
                  <a:noFill/>
                </a:ln>
                <a:solidFill>
                  <a:srgbClr val="5F249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53" name="Line 19">
              <a:extLst>
                <a:ext uri="{FF2B5EF4-FFF2-40B4-BE49-F238E27FC236}">
                  <a16:creationId xmlns:a16="http://schemas.microsoft.com/office/drawing/2014/main" id="{BF9EE16D-6DE9-4B8A-B8A8-93A51F3B1584}"/>
                </a:ext>
              </a:extLst>
            </p:cNvPr>
            <p:cNvSpPr>
              <a:spLocks noChangeShapeType="1"/>
            </p:cNvSpPr>
            <p:nvPr>
              <p:custDataLst>
                <p:tags r:id="rId67"/>
              </p:custDataLst>
            </p:nvPr>
          </p:nvSpPr>
          <p:spPr bwMode="auto">
            <a:xfrm flipH="1">
              <a:off x="4986445" y="2703514"/>
              <a:ext cx="0" cy="215900"/>
            </a:xfrm>
            <a:prstGeom prst="line">
              <a:avLst/>
            </a:prstGeom>
            <a:noFill/>
            <a:ln w="1651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3456" b="0" i="0" u="none" strike="noStrike" kern="0" cap="none" spc="0" normalizeH="0" baseline="0" noProof="0">
                <a:ln>
                  <a:noFill/>
                </a:ln>
                <a:solidFill>
                  <a:srgbClr val="5F249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54" name="Line 20">
              <a:extLst>
                <a:ext uri="{FF2B5EF4-FFF2-40B4-BE49-F238E27FC236}">
                  <a16:creationId xmlns:a16="http://schemas.microsoft.com/office/drawing/2014/main" id="{67F2C698-CC38-4146-9D2B-64FA8F269FCF}"/>
                </a:ext>
              </a:extLst>
            </p:cNvPr>
            <p:cNvSpPr>
              <a:spLocks noChangeShapeType="1"/>
            </p:cNvSpPr>
            <p:nvPr>
              <p:custDataLst>
                <p:tags r:id="rId68"/>
              </p:custDataLst>
            </p:nvPr>
          </p:nvSpPr>
          <p:spPr bwMode="auto">
            <a:xfrm flipH="1">
              <a:off x="5186899" y="2703514"/>
              <a:ext cx="0" cy="215900"/>
            </a:xfrm>
            <a:prstGeom prst="line">
              <a:avLst/>
            </a:prstGeom>
            <a:noFill/>
            <a:ln w="1651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3456" b="0" i="0" u="none" strike="noStrike" kern="0" cap="none" spc="0" normalizeH="0" baseline="0" noProof="0">
                <a:ln>
                  <a:noFill/>
                </a:ln>
                <a:solidFill>
                  <a:srgbClr val="5F249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55" name="Freeform 21">
              <a:extLst>
                <a:ext uri="{FF2B5EF4-FFF2-40B4-BE49-F238E27FC236}">
                  <a16:creationId xmlns:a16="http://schemas.microsoft.com/office/drawing/2014/main" id="{75BC786D-B449-413E-AF0C-730823F4C397}"/>
                </a:ext>
              </a:extLst>
            </p:cNvPr>
            <p:cNvSpPr/>
            <p:nvPr>
              <p:custDataLst>
                <p:tags r:id="rId69"/>
              </p:custDataLst>
            </p:nvPr>
          </p:nvSpPr>
          <p:spPr bwMode="auto">
            <a:xfrm>
              <a:off x="5355616" y="2754314"/>
              <a:ext cx="40091" cy="165100"/>
            </a:xfrm>
            <a:custGeom>
              <a:avLst/>
              <a:gdLst>
                <a:gd name="T0" fmla="*/ 0 w 11"/>
                <a:gd name="T1" fmla="*/ 0 h 45"/>
                <a:gd name="T2" fmla="*/ 0 w 11"/>
                <a:gd name="T3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1" h="45">
                  <a:moveTo>
                    <a:pt x="0" y="0"/>
                  </a:moveTo>
                  <a:cubicBezTo>
                    <a:pt x="11" y="12"/>
                    <a:pt x="11" y="33"/>
                    <a:pt x="0" y="45"/>
                  </a:cubicBezTo>
                </a:path>
              </a:pathLst>
            </a:custGeom>
            <a:noFill/>
            <a:ln w="1651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3456" b="0" i="0" u="none" strike="noStrike" kern="0" cap="none" spc="0" normalizeH="0" baseline="0" noProof="0">
                <a:ln>
                  <a:noFill/>
                </a:ln>
                <a:solidFill>
                  <a:srgbClr val="5F249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56" name="Freeform 22">
              <a:extLst>
                <a:ext uri="{FF2B5EF4-FFF2-40B4-BE49-F238E27FC236}">
                  <a16:creationId xmlns:a16="http://schemas.microsoft.com/office/drawing/2014/main" id="{CDB7BB87-BCFE-4FAE-AE42-03C5685432AA}"/>
                </a:ext>
              </a:extLst>
            </p:cNvPr>
            <p:cNvSpPr/>
            <p:nvPr>
              <p:custDataLst>
                <p:tags r:id="rId70"/>
              </p:custDataLst>
            </p:nvPr>
          </p:nvSpPr>
          <p:spPr bwMode="auto">
            <a:xfrm>
              <a:off x="5407400" y="2692401"/>
              <a:ext cx="81852" cy="279400"/>
            </a:xfrm>
            <a:custGeom>
              <a:avLst/>
              <a:gdLst>
                <a:gd name="T0" fmla="*/ 0 w 22"/>
                <a:gd name="T1" fmla="*/ 0 h 76"/>
                <a:gd name="T2" fmla="*/ 0 w 22"/>
                <a:gd name="T3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2" h="76">
                  <a:moveTo>
                    <a:pt x="0" y="0"/>
                  </a:moveTo>
                  <a:cubicBezTo>
                    <a:pt x="22" y="21"/>
                    <a:pt x="22" y="54"/>
                    <a:pt x="0" y="76"/>
                  </a:cubicBezTo>
                </a:path>
              </a:pathLst>
            </a:custGeom>
            <a:noFill/>
            <a:ln w="1651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3456" b="0" i="0" u="none" strike="noStrike" kern="0" cap="none" spc="0" normalizeH="0" baseline="0" noProof="0">
                <a:ln>
                  <a:noFill/>
                </a:ln>
                <a:solidFill>
                  <a:srgbClr val="5F249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57" name="Freeform 23">
              <a:extLst>
                <a:ext uri="{FF2B5EF4-FFF2-40B4-BE49-F238E27FC236}">
                  <a16:creationId xmlns:a16="http://schemas.microsoft.com/office/drawing/2014/main" id="{9A160E30-3C80-4E05-9052-1F736B60E9FF}"/>
                </a:ext>
              </a:extLst>
            </p:cNvPr>
            <p:cNvSpPr/>
            <p:nvPr>
              <p:custDataLst>
                <p:tags r:id="rId71"/>
              </p:custDataLst>
            </p:nvPr>
          </p:nvSpPr>
          <p:spPr bwMode="auto">
            <a:xfrm>
              <a:off x="4775967" y="2754314"/>
              <a:ext cx="55125" cy="165100"/>
            </a:xfrm>
            <a:custGeom>
              <a:avLst/>
              <a:gdLst>
                <a:gd name="T0" fmla="*/ 15 w 15"/>
                <a:gd name="T1" fmla="*/ 0 h 45"/>
                <a:gd name="T2" fmla="*/ 15 w 15"/>
                <a:gd name="T3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45">
                  <a:moveTo>
                    <a:pt x="15" y="0"/>
                  </a:moveTo>
                  <a:cubicBezTo>
                    <a:pt x="0" y="12"/>
                    <a:pt x="0" y="33"/>
                    <a:pt x="15" y="45"/>
                  </a:cubicBezTo>
                </a:path>
              </a:pathLst>
            </a:custGeom>
            <a:noFill/>
            <a:ln w="1651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3456" b="0" i="0" u="none" strike="noStrike" kern="0" cap="none" spc="0" normalizeH="0" baseline="0" noProof="0">
                <a:ln>
                  <a:noFill/>
                </a:ln>
                <a:solidFill>
                  <a:srgbClr val="5F249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58" name="Freeform 24">
              <a:extLst>
                <a:ext uri="{FF2B5EF4-FFF2-40B4-BE49-F238E27FC236}">
                  <a16:creationId xmlns:a16="http://schemas.microsoft.com/office/drawing/2014/main" id="{631A4C33-BD9C-481C-8D1C-6EA96F6B9090}"/>
                </a:ext>
              </a:extLst>
            </p:cNvPr>
            <p:cNvSpPr/>
            <p:nvPr>
              <p:custDataLst>
                <p:tags r:id="rId72"/>
              </p:custDataLst>
            </p:nvPr>
          </p:nvSpPr>
          <p:spPr bwMode="auto">
            <a:xfrm>
              <a:off x="4687433" y="2692401"/>
              <a:ext cx="78511" cy="279400"/>
            </a:xfrm>
            <a:custGeom>
              <a:avLst/>
              <a:gdLst>
                <a:gd name="T0" fmla="*/ 21 w 21"/>
                <a:gd name="T1" fmla="*/ 0 h 76"/>
                <a:gd name="T2" fmla="*/ 21 w 21"/>
                <a:gd name="T3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1" h="76">
                  <a:moveTo>
                    <a:pt x="21" y="0"/>
                  </a:moveTo>
                  <a:cubicBezTo>
                    <a:pt x="0" y="21"/>
                    <a:pt x="0" y="54"/>
                    <a:pt x="21" y="76"/>
                  </a:cubicBezTo>
                </a:path>
              </a:pathLst>
            </a:custGeom>
            <a:noFill/>
            <a:ln w="1651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3456" b="0" i="0" u="none" strike="noStrike" kern="0" cap="none" spc="0" normalizeH="0" baseline="0" noProof="0">
                <a:ln>
                  <a:noFill/>
                </a:ln>
                <a:solidFill>
                  <a:srgbClr val="5F249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59" name="Rectangle 33">
            <a:extLst>
              <a:ext uri="{FF2B5EF4-FFF2-40B4-BE49-F238E27FC236}">
                <a16:creationId xmlns:a16="http://schemas.microsoft.com/office/drawing/2014/main" id="{1726FF11-B04E-4692-B105-F9FD0563D4FF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2615232" y="5071277"/>
            <a:ext cx="2382029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463158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31579" algn="l" defTabSz="1463158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63158" algn="l" defTabSz="1463158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94735" algn="l" defTabSz="1463158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26314" algn="l" defTabSz="1463158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57893" algn="l" defTabSz="1463158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89472" algn="l" defTabSz="1463158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121049" algn="l" defTabSz="1463158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852628" algn="l" defTabSz="1463158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46315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880" b="0" i="0" normalizeH="0" noProof="0">
                <a:solidFill>
                  <a:srgbClr val="000000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Technology,</a:t>
            </a:r>
            <a:b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</a:b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Media &amp; Telecoms</a:t>
            </a:r>
          </a:p>
        </p:txBody>
      </p:sp>
      <p:grpSp>
        <p:nvGrpSpPr>
          <p:cNvPr id="260" name="Group 63">
            <a:extLst>
              <a:ext uri="{FF2B5EF4-FFF2-40B4-BE49-F238E27FC236}">
                <a16:creationId xmlns:a16="http://schemas.microsoft.com/office/drawing/2014/main" id="{1BB1918D-2F83-42FC-B458-15A1A29D58B3}"/>
              </a:ext>
            </a:extLst>
          </p:cNvPr>
          <p:cNvGrpSpPr/>
          <p:nvPr>
            <p:custDataLst>
              <p:tags r:id="rId15"/>
            </p:custDataLst>
          </p:nvPr>
        </p:nvGrpSpPr>
        <p:grpSpPr>
          <a:xfrm>
            <a:off x="3646664" y="4583501"/>
            <a:ext cx="410574" cy="459754"/>
            <a:chOff x="5941946" y="2390776"/>
            <a:chExt cx="646467" cy="723901"/>
          </a:xfrm>
        </p:grpSpPr>
        <p:sp>
          <p:nvSpPr>
            <p:cNvPr id="261" name="Freeform 25">
              <a:extLst>
                <a:ext uri="{FF2B5EF4-FFF2-40B4-BE49-F238E27FC236}">
                  <a16:creationId xmlns:a16="http://schemas.microsoft.com/office/drawing/2014/main" id="{5BD62E94-DDB8-4F4B-910F-7393438A30F5}"/>
                </a:ext>
              </a:extLst>
            </p:cNvPr>
            <p:cNvSpPr/>
            <p:nvPr>
              <p:custDataLst>
                <p:tags r:id="rId54"/>
              </p:custDataLst>
            </p:nvPr>
          </p:nvSpPr>
          <p:spPr bwMode="auto">
            <a:xfrm>
              <a:off x="5941946" y="2468564"/>
              <a:ext cx="390887" cy="646113"/>
            </a:xfrm>
            <a:custGeom>
              <a:avLst/>
              <a:gdLst>
                <a:gd name="T0" fmla="*/ 106 w 106"/>
                <a:gd name="T1" fmla="*/ 95 h 176"/>
                <a:gd name="T2" fmla="*/ 106 w 106"/>
                <a:gd name="T3" fmla="*/ 164 h 176"/>
                <a:gd name="T4" fmla="*/ 93 w 106"/>
                <a:gd name="T5" fmla="*/ 176 h 176"/>
                <a:gd name="T6" fmla="*/ 12 w 106"/>
                <a:gd name="T7" fmla="*/ 176 h 176"/>
                <a:gd name="T8" fmla="*/ 0 w 106"/>
                <a:gd name="T9" fmla="*/ 164 h 176"/>
                <a:gd name="T10" fmla="*/ 0 w 106"/>
                <a:gd name="T11" fmla="*/ 13 h 176"/>
                <a:gd name="T12" fmla="*/ 12 w 106"/>
                <a:gd name="T13" fmla="*/ 0 h 176"/>
                <a:gd name="T14" fmla="*/ 53 w 106"/>
                <a:gd name="T15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5" h="176">
                  <a:moveTo>
                    <a:pt x="106" y="95"/>
                  </a:moveTo>
                  <a:cubicBezTo>
                    <a:pt x="106" y="164"/>
                    <a:pt x="106" y="164"/>
                    <a:pt x="106" y="164"/>
                  </a:cubicBezTo>
                  <a:cubicBezTo>
                    <a:pt x="106" y="171"/>
                    <a:pt x="101" y="176"/>
                    <a:pt x="93" y="176"/>
                  </a:cubicBezTo>
                  <a:cubicBezTo>
                    <a:pt x="12" y="176"/>
                    <a:pt x="12" y="176"/>
                    <a:pt x="12" y="176"/>
                  </a:cubicBezTo>
                  <a:cubicBezTo>
                    <a:pt x="5" y="176"/>
                    <a:pt x="0" y="171"/>
                    <a:pt x="0" y="164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53" y="0"/>
                    <a:pt x="53" y="0"/>
                    <a:pt x="53" y="0"/>
                  </a:cubicBezTo>
                </a:path>
              </a:pathLst>
            </a:custGeom>
            <a:noFill/>
            <a:ln w="1651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</a:lstStyle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3456" b="0" i="0" u="none" strike="noStrike" kern="1200" cap="none" spc="0" normalizeH="0" baseline="0" noProof="0">
                <a:ln>
                  <a:noFill/>
                </a:ln>
                <a:solidFill>
                  <a:srgbClr val="5F249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62" name="Freeform 26">
              <a:extLst>
                <a:ext uri="{FF2B5EF4-FFF2-40B4-BE49-F238E27FC236}">
                  <a16:creationId xmlns:a16="http://schemas.microsoft.com/office/drawing/2014/main" id="{8F823D71-FF12-4022-84A8-FB3922D43BF4}"/>
                </a:ext>
              </a:extLst>
            </p:cNvPr>
            <p:cNvSpPr/>
            <p:nvPr>
              <p:custDataLst>
                <p:tags r:id="rId55"/>
              </p:custDataLst>
            </p:nvPr>
          </p:nvSpPr>
          <p:spPr bwMode="auto">
            <a:xfrm>
              <a:off x="6271026" y="2432051"/>
              <a:ext cx="232193" cy="277813"/>
            </a:xfrm>
            <a:custGeom>
              <a:avLst/>
              <a:gdLst>
                <a:gd name="T0" fmla="*/ 28 w 63"/>
                <a:gd name="T1" fmla="*/ 58 h 76"/>
                <a:gd name="T2" fmla="*/ 39 w 63"/>
                <a:gd name="T3" fmla="*/ 36 h 76"/>
                <a:gd name="T4" fmla="*/ 39 w 63"/>
                <a:gd name="T5" fmla="*/ 31 h 76"/>
                <a:gd name="T6" fmla="*/ 41 w 63"/>
                <a:gd name="T7" fmla="*/ 18 h 76"/>
                <a:gd name="T8" fmla="*/ 28 w 63"/>
                <a:gd name="T9" fmla="*/ 4 h 76"/>
                <a:gd name="T10" fmla="*/ 28 w 63"/>
                <a:gd name="T11" fmla="*/ 9 h 76"/>
                <a:gd name="T12" fmla="*/ 11 w 63"/>
                <a:gd name="T13" fmla="*/ 31 h 76"/>
                <a:gd name="T14" fmla="*/ 0 w 63"/>
                <a:gd name="T15" fmla="*/ 31 h 76"/>
                <a:gd name="T16" fmla="*/ 0 w 63"/>
                <a:gd name="T17" fmla="*/ 71 h 76"/>
                <a:gd name="T18" fmla="*/ 12 w 63"/>
                <a:gd name="T19" fmla="*/ 71 h 76"/>
                <a:gd name="T20" fmla="*/ 24 w 63"/>
                <a:gd name="T21" fmla="*/ 76 h 76"/>
                <a:gd name="T22" fmla="*/ 53 w 63"/>
                <a:gd name="T23" fmla="*/ 76 h 76"/>
                <a:gd name="T24" fmla="*/ 58 w 63"/>
                <a:gd name="T25" fmla="*/ 69 h 76"/>
                <a:gd name="T26" fmla="*/ 62 w 63"/>
                <a:gd name="T27" fmla="*/ 42 h 76"/>
                <a:gd name="T28" fmla="*/ 54 w 63"/>
                <a:gd name="T29" fmla="*/ 31 h 76"/>
                <a:gd name="T30" fmla="*/ 47 w 63"/>
                <a:gd name="T31" fmla="*/ 31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2" h="76">
                  <a:moveTo>
                    <a:pt x="28" y="58"/>
                  </a:moveTo>
                  <a:cubicBezTo>
                    <a:pt x="35" y="52"/>
                    <a:pt x="39" y="45"/>
                    <a:pt x="39" y="36"/>
                  </a:cubicBezTo>
                  <a:cubicBezTo>
                    <a:pt x="39" y="36"/>
                    <a:pt x="39" y="32"/>
                    <a:pt x="39" y="31"/>
                  </a:cubicBezTo>
                  <a:cubicBezTo>
                    <a:pt x="39" y="30"/>
                    <a:pt x="41" y="24"/>
                    <a:pt x="41" y="18"/>
                  </a:cubicBezTo>
                  <a:cubicBezTo>
                    <a:pt x="41" y="1"/>
                    <a:pt x="28" y="0"/>
                    <a:pt x="28" y="4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19"/>
                    <a:pt x="15" y="31"/>
                    <a:pt x="11" y="31"/>
                  </a:cubicBezTo>
                  <a:cubicBezTo>
                    <a:pt x="9" y="31"/>
                    <a:pt x="0" y="31"/>
                    <a:pt x="0" y="31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12" y="71"/>
                    <a:pt x="12" y="71"/>
                    <a:pt x="12" y="71"/>
                  </a:cubicBezTo>
                  <a:cubicBezTo>
                    <a:pt x="18" y="71"/>
                    <a:pt x="16" y="76"/>
                    <a:pt x="24" y="76"/>
                  </a:cubicBezTo>
                  <a:cubicBezTo>
                    <a:pt x="26" y="76"/>
                    <a:pt x="53" y="76"/>
                    <a:pt x="53" y="76"/>
                  </a:cubicBezTo>
                  <a:cubicBezTo>
                    <a:pt x="55" y="76"/>
                    <a:pt x="58" y="73"/>
                    <a:pt x="58" y="69"/>
                  </a:cubicBezTo>
                  <a:cubicBezTo>
                    <a:pt x="62" y="42"/>
                    <a:pt x="62" y="42"/>
                    <a:pt x="62" y="42"/>
                  </a:cubicBezTo>
                  <a:cubicBezTo>
                    <a:pt x="63" y="37"/>
                    <a:pt x="59" y="31"/>
                    <a:pt x="54" y="31"/>
                  </a:cubicBezTo>
                  <a:cubicBezTo>
                    <a:pt x="47" y="31"/>
                    <a:pt x="47" y="31"/>
                    <a:pt x="47" y="31"/>
                  </a:cubicBezTo>
                </a:path>
              </a:pathLst>
            </a:custGeom>
            <a:noFill/>
            <a:ln w="1651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</a:lstStyle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3456" b="0" i="0" u="none" strike="noStrike" kern="1200" cap="none" spc="0" normalizeH="0" baseline="0" noProof="0">
                <a:ln>
                  <a:noFill/>
                </a:ln>
                <a:solidFill>
                  <a:srgbClr val="5F249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63" name="Freeform 27">
              <a:extLst>
                <a:ext uri="{FF2B5EF4-FFF2-40B4-BE49-F238E27FC236}">
                  <a16:creationId xmlns:a16="http://schemas.microsoft.com/office/drawing/2014/main" id="{91FE8519-EEE3-4549-A853-11E53F22A101}"/>
                </a:ext>
              </a:extLst>
            </p:cNvPr>
            <p:cNvSpPr/>
            <p:nvPr>
              <p:custDataLst>
                <p:tags r:id="rId56"/>
              </p:custDataLst>
            </p:nvPr>
          </p:nvSpPr>
          <p:spPr bwMode="auto">
            <a:xfrm>
              <a:off x="6160776" y="2390776"/>
              <a:ext cx="427637" cy="469900"/>
            </a:xfrm>
            <a:custGeom>
              <a:avLst/>
              <a:gdLst>
                <a:gd name="T0" fmla="*/ 104 w 116"/>
                <a:gd name="T1" fmla="*/ 107 h 128"/>
                <a:gd name="T2" fmla="*/ 20 w 116"/>
                <a:gd name="T3" fmla="*/ 107 h 128"/>
                <a:gd name="T4" fmla="*/ 0 w 116"/>
                <a:gd name="T5" fmla="*/ 128 h 128"/>
                <a:gd name="T6" fmla="*/ 0 w 116"/>
                <a:gd name="T7" fmla="*/ 13 h 128"/>
                <a:gd name="T8" fmla="*/ 12 w 116"/>
                <a:gd name="T9" fmla="*/ 0 h 128"/>
                <a:gd name="T10" fmla="*/ 104 w 116"/>
                <a:gd name="T11" fmla="*/ 0 h 128"/>
                <a:gd name="T12" fmla="*/ 116 w 116"/>
                <a:gd name="T13" fmla="*/ 13 h 128"/>
                <a:gd name="T14" fmla="*/ 116 w 116"/>
                <a:gd name="T15" fmla="*/ 94 h 128"/>
                <a:gd name="T16" fmla="*/ 104 w 116"/>
                <a:gd name="T17" fmla="*/ 107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5" h="128">
                  <a:moveTo>
                    <a:pt x="104" y="107"/>
                  </a:moveTo>
                  <a:cubicBezTo>
                    <a:pt x="20" y="107"/>
                    <a:pt x="20" y="107"/>
                    <a:pt x="20" y="107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11" y="0"/>
                    <a:pt x="116" y="6"/>
                    <a:pt x="116" y="13"/>
                  </a:cubicBezTo>
                  <a:cubicBezTo>
                    <a:pt x="116" y="94"/>
                    <a:pt x="116" y="94"/>
                    <a:pt x="116" y="94"/>
                  </a:cubicBezTo>
                  <a:cubicBezTo>
                    <a:pt x="116" y="102"/>
                    <a:pt x="111" y="107"/>
                    <a:pt x="104" y="107"/>
                  </a:cubicBezTo>
                  <a:close/>
                </a:path>
              </a:pathLst>
            </a:custGeom>
            <a:noFill/>
            <a:ln w="1651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</a:lstStyle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3456" b="0" i="0" u="none" strike="noStrike" kern="1200" cap="none" spc="0" normalizeH="0" baseline="0" noProof="0">
                <a:ln>
                  <a:noFill/>
                </a:ln>
                <a:solidFill>
                  <a:srgbClr val="5F249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64" name="Line 28">
              <a:extLst>
                <a:ext uri="{FF2B5EF4-FFF2-40B4-BE49-F238E27FC236}">
                  <a16:creationId xmlns:a16="http://schemas.microsoft.com/office/drawing/2014/main" id="{BBB05FC4-49A3-4F6B-A8B6-DD6E5F76A8AD}"/>
                </a:ext>
              </a:extLst>
            </p:cNvPr>
            <p:cNvSpPr>
              <a:spLocks noChangeShapeType="1"/>
            </p:cNvSpPr>
            <p:nvPr>
              <p:custDataLst>
                <p:tags r:id="rId57"/>
              </p:custDataLst>
            </p:nvPr>
          </p:nvSpPr>
          <p:spPr bwMode="auto">
            <a:xfrm>
              <a:off x="5941946" y="3027364"/>
              <a:ext cx="390887" cy="0"/>
            </a:xfrm>
            <a:prstGeom prst="line">
              <a:avLst/>
            </a:prstGeom>
            <a:noFill/>
            <a:ln w="1651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</a:lstStyle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3456" b="0" i="0" u="none" strike="noStrike" kern="1200" cap="none" spc="0" normalizeH="0" baseline="0" noProof="0">
                <a:ln>
                  <a:noFill/>
                </a:ln>
                <a:solidFill>
                  <a:srgbClr val="5F249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65" name="Line 29">
              <a:extLst>
                <a:ext uri="{FF2B5EF4-FFF2-40B4-BE49-F238E27FC236}">
                  <a16:creationId xmlns:a16="http://schemas.microsoft.com/office/drawing/2014/main" id="{4275BD19-01D3-4ACF-8C00-224E8BC0623C}"/>
                </a:ext>
              </a:extLst>
            </p:cNvPr>
            <p:cNvSpPr>
              <a:spLocks noChangeShapeType="1"/>
            </p:cNvSpPr>
            <p:nvPr>
              <p:custDataLst>
                <p:tags r:id="rId58"/>
              </p:custDataLst>
            </p:nvPr>
          </p:nvSpPr>
          <p:spPr bwMode="auto">
            <a:xfrm>
              <a:off x="6112333" y="3078164"/>
              <a:ext cx="48443" cy="0"/>
            </a:xfrm>
            <a:prstGeom prst="line">
              <a:avLst/>
            </a:prstGeom>
            <a:noFill/>
            <a:ln w="1651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</a:lstStyle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3456" b="0" i="0" u="none" strike="noStrike" kern="1200" cap="none" spc="0" normalizeH="0" baseline="0" noProof="0">
                <a:ln>
                  <a:noFill/>
                </a:ln>
                <a:solidFill>
                  <a:srgbClr val="5F249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66" name="Line 30">
              <a:extLst>
                <a:ext uri="{FF2B5EF4-FFF2-40B4-BE49-F238E27FC236}">
                  <a16:creationId xmlns:a16="http://schemas.microsoft.com/office/drawing/2014/main" id="{3B77B47C-DE7F-4611-BD8F-8143F52A4C5D}"/>
                </a:ext>
              </a:extLst>
            </p:cNvPr>
            <p:cNvSpPr>
              <a:spLocks noChangeShapeType="1"/>
            </p:cNvSpPr>
            <p:nvPr>
              <p:custDataLst>
                <p:tags r:id="rId59"/>
              </p:custDataLst>
            </p:nvPr>
          </p:nvSpPr>
          <p:spPr bwMode="auto">
            <a:xfrm>
              <a:off x="5941946" y="2544764"/>
              <a:ext cx="195443" cy="0"/>
            </a:xfrm>
            <a:prstGeom prst="line">
              <a:avLst/>
            </a:prstGeom>
            <a:noFill/>
            <a:ln w="1651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</a:lstStyle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3456" b="0" i="0" u="none" strike="noStrike" kern="1200" cap="none" spc="0" normalizeH="0" baseline="0" noProof="0">
                <a:ln>
                  <a:noFill/>
                </a:ln>
                <a:solidFill>
                  <a:srgbClr val="5F249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267" name="Group 70">
            <a:extLst>
              <a:ext uri="{FF2B5EF4-FFF2-40B4-BE49-F238E27FC236}">
                <a16:creationId xmlns:a16="http://schemas.microsoft.com/office/drawing/2014/main" id="{D8FFD3A4-BF18-4F55-95A4-4A06C32E4FC6}"/>
              </a:ext>
            </a:extLst>
          </p:cNvPr>
          <p:cNvGrpSpPr/>
          <p:nvPr>
            <p:custDataLst>
              <p:tags r:id="rId16"/>
            </p:custDataLst>
          </p:nvPr>
        </p:nvGrpSpPr>
        <p:grpSpPr>
          <a:xfrm>
            <a:off x="3564619" y="5738132"/>
            <a:ext cx="325518" cy="465937"/>
            <a:chOff x="6972618" y="2424114"/>
            <a:chExt cx="541228" cy="774700"/>
          </a:xfrm>
        </p:grpSpPr>
        <p:sp>
          <p:nvSpPr>
            <p:cNvPr id="268" name="Freeform 31">
              <a:extLst>
                <a:ext uri="{FF2B5EF4-FFF2-40B4-BE49-F238E27FC236}">
                  <a16:creationId xmlns:a16="http://schemas.microsoft.com/office/drawing/2014/main" id="{0AFD469F-255E-4F5D-B366-51B050365A53}"/>
                </a:ext>
              </a:extLst>
            </p:cNvPr>
            <p:cNvSpPr/>
            <p:nvPr>
              <p:custDataLst>
                <p:tags r:id="rId42"/>
              </p:custDataLst>
            </p:nvPr>
          </p:nvSpPr>
          <p:spPr bwMode="auto">
            <a:xfrm>
              <a:off x="7049459" y="2765426"/>
              <a:ext cx="106909" cy="103188"/>
            </a:xfrm>
            <a:custGeom>
              <a:avLst/>
              <a:gdLst>
                <a:gd name="T0" fmla="*/ 31 w 64"/>
                <a:gd name="T1" fmla="*/ 0 h 65"/>
                <a:gd name="T2" fmla="*/ 0 w 64"/>
                <a:gd name="T3" fmla="*/ 33 h 65"/>
                <a:gd name="T4" fmla="*/ 31 w 64"/>
                <a:gd name="T5" fmla="*/ 65 h 65"/>
                <a:gd name="T6" fmla="*/ 64 w 64"/>
                <a:gd name="T7" fmla="*/ 33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4" h="65">
                  <a:moveTo>
                    <a:pt x="31" y="0"/>
                  </a:moveTo>
                  <a:lnTo>
                    <a:pt x="0" y="33"/>
                  </a:lnTo>
                  <a:lnTo>
                    <a:pt x="31" y="65"/>
                  </a:lnTo>
                  <a:lnTo>
                    <a:pt x="64" y="33"/>
                  </a:lnTo>
                </a:path>
              </a:pathLst>
            </a:custGeom>
            <a:noFill/>
            <a:ln w="1651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</a:lstStyle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3456" b="0" i="0" u="none" strike="noStrike" kern="1200" cap="none" spc="0" normalizeH="0" baseline="0" noProof="0">
                <a:ln>
                  <a:noFill/>
                </a:ln>
                <a:solidFill>
                  <a:srgbClr val="5F249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69" name="Freeform 32">
              <a:extLst>
                <a:ext uri="{FF2B5EF4-FFF2-40B4-BE49-F238E27FC236}">
                  <a16:creationId xmlns:a16="http://schemas.microsoft.com/office/drawing/2014/main" id="{DFA56FAC-25AD-4DCD-AC11-C47CA0FA116B}"/>
                </a:ext>
              </a:extLst>
            </p:cNvPr>
            <p:cNvSpPr/>
            <p:nvPr>
              <p:custDataLst>
                <p:tags r:id="rId43"/>
              </p:custDataLst>
            </p:nvPr>
          </p:nvSpPr>
          <p:spPr bwMode="auto">
            <a:xfrm>
              <a:off x="7396914" y="2424114"/>
              <a:ext cx="101898" cy="103188"/>
            </a:xfrm>
            <a:custGeom>
              <a:avLst/>
              <a:gdLst>
                <a:gd name="T0" fmla="*/ 30 w 61"/>
                <a:gd name="T1" fmla="*/ 65 h 65"/>
                <a:gd name="T2" fmla="*/ 61 w 61"/>
                <a:gd name="T3" fmla="*/ 32 h 65"/>
                <a:gd name="T4" fmla="*/ 30 w 61"/>
                <a:gd name="T5" fmla="*/ 0 h 65"/>
                <a:gd name="T6" fmla="*/ 0 w 61"/>
                <a:gd name="T7" fmla="*/ 32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1" h="65">
                  <a:moveTo>
                    <a:pt x="30" y="65"/>
                  </a:moveTo>
                  <a:lnTo>
                    <a:pt x="61" y="32"/>
                  </a:lnTo>
                  <a:lnTo>
                    <a:pt x="30" y="0"/>
                  </a:lnTo>
                  <a:lnTo>
                    <a:pt x="0" y="32"/>
                  </a:lnTo>
                </a:path>
              </a:pathLst>
            </a:custGeom>
            <a:noFill/>
            <a:ln w="1651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</a:lstStyle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3456" b="0" i="0" u="none" strike="noStrike" kern="1200" cap="none" spc="0" normalizeH="0" baseline="0" noProof="0">
                <a:ln>
                  <a:noFill/>
                </a:ln>
                <a:solidFill>
                  <a:srgbClr val="5F249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0" name="Freeform 33">
              <a:extLst>
                <a:ext uri="{FF2B5EF4-FFF2-40B4-BE49-F238E27FC236}">
                  <a16:creationId xmlns:a16="http://schemas.microsoft.com/office/drawing/2014/main" id="{28AC56A3-3180-4F8C-9B01-EAB4B6479FEE}"/>
                </a:ext>
              </a:extLst>
            </p:cNvPr>
            <p:cNvSpPr/>
            <p:nvPr>
              <p:custDataLst>
                <p:tags r:id="rId44"/>
              </p:custDataLst>
            </p:nvPr>
          </p:nvSpPr>
          <p:spPr bwMode="auto">
            <a:xfrm>
              <a:off x="7064493" y="2678114"/>
              <a:ext cx="168716" cy="179388"/>
            </a:xfrm>
            <a:custGeom>
              <a:avLst/>
              <a:gdLst>
                <a:gd name="T0" fmla="*/ 101 w 101"/>
                <a:gd name="T1" fmla="*/ 78 h 113"/>
                <a:gd name="T2" fmla="*/ 31 w 101"/>
                <a:gd name="T3" fmla="*/ 0 h 113"/>
                <a:gd name="T4" fmla="*/ 0 w 101"/>
                <a:gd name="T5" fmla="*/ 34 h 113"/>
                <a:gd name="T6" fmla="*/ 70 w 101"/>
                <a:gd name="T7" fmla="*/ 113 h 113"/>
                <a:gd name="T8" fmla="*/ 101 w 101"/>
                <a:gd name="T9" fmla="*/ 78 h 113"/>
                <a:gd name="T10" fmla="*/ 101 w 101"/>
                <a:gd name="T11" fmla="*/ 78 h 113"/>
                <a:gd name="T12" fmla="*/ 101 w 101"/>
                <a:gd name="T13" fmla="*/ 78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0" h="113">
                  <a:moveTo>
                    <a:pt x="101" y="78"/>
                  </a:moveTo>
                  <a:lnTo>
                    <a:pt x="31" y="0"/>
                  </a:lnTo>
                  <a:lnTo>
                    <a:pt x="0" y="34"/>
                  </a:lnTo>
                  <a:lnTo>
                    <a:pt x="70" y="113"/>
                  </a:lnTo>
                  <a:lnTo>
                    <a:pt x="101" y="78"/>
                  </a:lnTo>
                  <a:lnTo>
                    <a:pt x="101" y="78"/>
                  </a:lnTo>
                  <a:lnTo>
                    <a:pt x="101" y="78"/>
                  </a:lnTo>
                  <a:close/>
                </a:path>
              </a:pathLst>
            </a:custGeom>
            <a:noFill/>
            <a:ln w="1651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</a:lstStyle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3456" b="0" i="0" u="none" strike="noStrike" kern="1200" cap="none" spc="0" normalizeH="0" baseline="0" noProof="0">
                <a:ln>
                  <a:noFill/>
                </a:ln>
                <a:solidFill>
                  <a:srgbClr val="5F249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1" name="Oval 34">
              <a:extLst>
                <a:ext uri="{FF2B5EF4-FFF2-40B4-BE49-F238E27FC236}">
                  <a16:creationId xmlns:a16="http://schemas.microsoft.com/office/drawing/2014/main" id="{BB284EAC-8E72-40A9-AFC8-9DC11FAEB991}"/>
                </a:ext>
              </a:extLst>
            </p:cNvPr>
            <p:cNvSpPr>
              <a:spLocks noChangeArrowheads="1"/>
            </p:cNvSpPr>
            <p:nvPr>
              <p:custDataLst>
                <p:tags r:id="rId45"/>
              </p:custDataLst>
            </p:nvPr>
          </p:nvSpPr>
          <p:spPr bwMode="auto">
            <a:xfrm>
              <a:off x="7263277" y="2614614"/>
              <a:ext cx="133637" cy="139700"/>
            </a:xfrm>
            <a:prstGeom prst="ellipse">
              <a:avLst/>
            </a:prstGeom>
            <a:noFill/>
            <a:ln w="1651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</a:lstStyle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3456" b="0" i="0" u="none" strike="noStrike" kern="1200" cap="none" spc="0" normalizeH="0" baseline="0" noProof="0">
                <a:ln>
                  <a:noFill/>
                </a:ln>
                <a:solidFill>
                  <a:srgbClr val="5F249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2" name="Freeform 35">
              <a:extLst>
                <a:ext uri="{FF2B5EF4-FFF2-40B4-BE49-F238E27FC236}">
                  <a16:creationId xmlns:a16="http://schemas.microsoft.com/office/drawing/2014/main" id="{48126AEC-BCF0-443B-A0B9-EC8BA105FF8B}"/>
                </a:ext>
              </a:extLst>
            </p:cNvPr>
            <p:cNvSpPr/>
            <p:nvPr>
              <p:custDataLst>
                <p:tags r:id="rId46"/>
              </p:custDataLst>
            </p:nvPr>
          </p:nvSpPr>
          <p:spPr bwMode="auto">
            <a:xfrm>
              <a:off x="6982640" y="3111501"/>
              <a:ext cx="531205" cy="87313"/>
            </a:xfrm>
            <a:custGeom>
              <a:avLst/>
              <a:gdLst>
                <a:gd name="T0" fmla="*/ 125 w 144"/>
                <a:gd name="T1" fmla="*/ 0 h 24"/>
                <a:gd name="T2" fmla="*/ 19 w 144"/>
                <a:gd name="T3" fmla="*/ 0 h 24"/>
                <a:gd name="T4" fmla="*/ 0 w 144"/>
                <a:gd name="T5" fmla="*/ 19 h 24"/>
                <a:gd name="T6" fmla="*/ 0 w 144"/>
                <a:gd name="T7" fmla="*/ 24 h 24"/>
                <a:gd name="T8" fmla="*/ 144 w 144"/>
                <a:gd name="T9" fmla="*/ 24 h 24"/>
                <a:gd name="T10" fmla="*/ 144 w 144"/>
                <a:gd name="T11" fmla="*/ 19 h 24"/>
                <a:gd name="T12" fmla="*/ 125 w 144"/>
                <a:gd name="T1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" h="24">
                  <a:moveTo>
                    <a:pt x="125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6" y="0"/>
                    <a:pt x="0" y="6"/>
                    <a:pt x="0" y="19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144" y="24"/>
                    <a:pt x="144" y="24"/>
                    <a:pt x="144" y="24"/>
                  </a:cubicBezTo>
                  <a:cubicBezTo>
                    <a:pt x="144" y="19"/>
                    <a:pt x="144" y="19"/>
                    <a:pt x="144" y="19"/>
                  </a:cubicBezTo>
                  <a:cubicBezTo>
                    <a:pt x="144" y="6"/>
                    <a:pt x="138" y="0"/>
                    <a:pt x="125" y="0"/>
                  </a:cubicBezTo>
                  <a:close/>
                </a:path>
              </a:pathLst>
            </a:custGeom>
            <a:noFill/>
            <a:ln w="1651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</a:lstStyle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3456" b="0" i="0" u="none" strike="noStrike" kern="1200" cap="none" spc="0" normalizeH="0" baseline="0" noProof="0">
                <a:ln>
                  <a:noFill/>
                </a:ln>
                <a:solidFill>
                  <a:srgbClr val="5F249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3" name="Line 36">
              <a:extLst>
                <a:ext uri="{FF2B5EF4-FFF2-40B4-BE49-F238E27FC236}">
                  <a16:creationId xmlns:a16="http://schemas.microsoft.com/office/drawing/2014/main" id="{780A8EC7-6390-4A2B-81F4-359BA92CB3D7}"/>
                </a:ext>
              </a:extLst>
            </p:cNvPr>
            <p:cNvSpPr>
              <a:spLocks noChangeShapeType="1"/>
            </p:cNvSpPr>
            <p:nvPr>
              <p:custDataLst>
                <p:tags r:id="rId47"/>
              </p:custDataLst>
            </p:nvPr>
          </p:nvSpPr>
          <p:spPr bwMode="auto">
            <a:xfrm>
              <a:off x="6972618" y="2971801"/>
              <a:ext cx="250569" cy="0"/>
            </a:xfrm>
            <a:prstGeom prst="line">
              <a:avLst/>
            </a:prstGeom>
            <a:noFill/>
            <a:ln w="1651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</a:lstStyle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3456" b="0" i="0" u="none" strike="noStrike" kern="1200" cap="none" spc="0" normalizeH="0" baseline="0" noProof="0">
                <a:ln>
                  <a:noFill/>
                </a:ln>
                <a:solidFill>
                  <a:srgbClr val="5F249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4" name="Freeform 37">
              <a:extLst>
                <a:ext uri="{FF2B5EF4-FFF2-40B4-BE49-F238E27FC236}">
                  <a16:creationId xmlns:a16="http://schemas.microsoft.com/office/drawing/2014/main" id="{68EA6672-DD54-4620-9528-F84263F8BAE5}"/>
                </a:ext>
              </a:extLst>
            </p:cNvPr>
            <p:cNvSpPr/>
            <p:nvPr>
              <p:custDataLst>
                <p:tags r:id="rId48"/>
              </p:custDataLst>
            </p:nvPr>
          </p:nvSpPr>
          <p:spPr bwMode="auto">
            <a:xfrm>
              <a:off x="7396914" y="2603501"/>
              <a:ext cx="116932" cy="441325"/>
            </a:xfrm>
            <a:custGeom>
              <a:avLst/>
              <a:gdLst>
                <a:gd name="T0" fmla="*/ 0 w 32"/>
                <a:gd name="T1" fmla="*/ 120 h 120"/>
                <a:gd name="T2" fmla="*/ 24 w 32"/>
                <a:gd name="T3" fmla="*/ 103 h 120"/>
                <a:gd name="T4" fmla="*/ 32 w 32"/>
                <a:gd name="T5" fmla="*/ 87 h 120"/>
                <a:gd name="T6" fmla="*/ 32 w 32"/>
                <a:gd name="T7" fmla="*/ 39 h 120"/>
                <a:gd name="T8" fmla="*/ 26 w 32"/>
                <a:gd name="T9" fmla="*/ 24 h 120"/>
                <a:gd name="T10" fmla="*/ 2 w 32"/>
                <a:gd name="T1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" h="120">
                  <a:moveTo>
                    <a:pt x="0" y="120"/>
                  </a:moveTo>
                  <a:cubicBezTo>
                    <a:pt x="24" y="103"/>
                    <a:pt x="24" y="103"/>
                    <a:pt x="24" y="103"/>
                  </a:cubicBezTo>
                  <a:cubicBezTo>
                    <a:pt x="30" y="99"/>
                    <a:pt x="32" y="93"/>
                    <a:pt x="32" y="87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3"/>
                    <a:pt x="30" y="28"/>
                    <a:pt x="26" y="24"/>
                  </a:cubicBezTo>
                  <a:cubicBezTo>
                    <a:pt x="20" y="18"/>
                    <a:pt x="11" y="9"/>
                    <a:pt x="2" y="0"/>
                  </a:cubicBezTo>
                </a:path>
              </a:pathLst>
            </a:custGeom>
            <a:noFill/>
            <a:ln w="1651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</a:lstStyle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3456" b="0" i="0" u="none" strike="noStrike" kern="1200" cap="none" spc="0" normalizeH="0" baseline="0" noProof="0">
                <a:ln>
                  <a:noFill/>
                </a:ln>
                <a:solidFill>
                  <a:srgbClr val="5F249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5" name="Freeform 38">
              <a:extLst>
                <a:ext uri="{FF2B5EF4-FFF2-40B4-BE49-F238E27FC236}">
                  <a16:creationId xmlns:a16="http://schemas.microsoft.com/office/drawing/2014/main" id="{69D5A083-8160-412E-9168-3C97A68CDDA1}"/>
                </a:ext>
              </a:extLst>
            </p:cNvPr>
            <p:cNvSpPr/>
            <p:nvPr>
              <p:custDataLst>
                <p:tags r:id="rId49"/>
              </p:custDataLst>
            </p:nvPr>
          </p:nvSpPr>
          <p:spPr bwMode="auto">
            <a:xfrm>
              <a:off x="7315061" y="2754314"/>
              <a:ext cx="81852" cy="165100"/>
            </a:xfrm>
            <a:custGeom>
              <a:avLst/>
              <a:gdLst>
                <a:gd name="T0" fmla="*/ 9 w 22"/>
                <a:gd name="T1" fmla="*/ 45 h 45"/>
                <a:gd name="T2" fmla="*/ 18 w 22"/>
                <a:gd name="T3" fmla="*/ 42 h 45"/>
                <a:gd name="T4" fmla="*/ 22 w 22"/>
                <a:gd name="T5" fmla="*/ 37 h 45"/>
                <a:gd name="T6" fmla="*/ 22 w 22"/>
                <a:gd name="T7" fmla="*/ 29 h 45"/>
                <a:gd name="T8" fmla="*/ 19 w 22"/>
                <a:gd name="T9" fmla="*/ 26 h 45"/>
                <a:gd name="T10" fmla="*/ 2 w 22"/>
                <a:gd name="T11" fmla="*/ 15 h 45"/>
                <a:gd name="T12" fmla="*/ 0 w 22"/>
                <a:gd name="T13" fmla="*/ 11 h 45"/>
                <a:gd name="T14" fmla="*/ 0 w 22"/>
                <a:gd name="T15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45">
                  <a:moveTo>
                    <a:pt x="9" y="45"/>
                  </a:moveTo>
                  <a:cubicBezTo>
                    <a:pt x="18" y="42"/>
                    <a:pt x="18" y="42"/>
                    <a:pt x="18" y="42"/>
                  </a:cubicBezTo>
                  <a:cubicBezTo>
                    <a:pt x="20" y="40"/>
                    <a:pt x="22" y="39"/>
                    <a:pt x="22" y="37"/>
                  </a:cubicBezTo>
                  <a:cubicBezTo>
                    <a:pt x="22" y="29"/>
                    <a:pt x="22" y="29"/>
                    <a:pt x="22" y="29"/>
                  </a:cubicBezTo>
                  <a:cubicBezTo>
                    <a:pt x="22" y="28"/>
                    <a:pt x="20" y="27"/>
                    <a:pt x="19" y="26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651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</a:lstStyle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3456" b="0" i="0" u="none" strike="noStrike" kern="1200" cap="none" spc="0" normalizeH="0" baseline="0" noProof="0">
                <a:ln>
                  <a:noFill/>
                </a:ln>
                <a:solidFill>
                  <a:srgbClr val="5F249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6" name="Freeform 39">
              <a:extLst>
                <a:ext uri="{FF2B5EF4-FFF2-40B4-BE49-F238E27FC236}">
                  <a16:creationId xmlns:a16="http://schemas.microsoft.com/office/drawing/2014/main" id="{FA438C51-C748-4064-BEF7-EA1D1B0D3E71}"/>
                </a:ext>
              </a:extLst>
            </p:cNvPr>
            <p:cNvSpPr/>
            <p:nvPr>
              <p:custDataLst>
                <p:tags r:id="rId50"/>
              </p:custDataLst>
            </p:nvPr>
          </p:nvSpPr>
          <p:spPr bwMode="auto">
            <a:xfrm>
              <a:off x="7141334" y="2460626"/>
              <a:ext cx="320728" cy="242888"/>
            </a:xfrm>
            <a:custGeom>
              <a:avLst/>
              <a:gdLst>
                <a:gd name="T0" fmla="*/ 0 w 192"/>
                <a:gd name="T1" fmla="*/ 153 h 153"/>
                <a:gd name="T2" fmla="*/ 141 w 192"/>
                <a:gd name="T3" fmla="*/ 0 h 153"/>
                <a:gd name="T4" fmla="*/ 192 w 192"/>
                <a:gd name="T5" fmla="*/ 56 h 153"/>
                <a:gd name="T6" fmla="*/ 137 w 192"/>
                <a:gd name="T7" fmla="*/ 114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2" h="153">
                  <a:moveTo>
                    <a:pt x="0" y="153"/>
                  </a:moveTo>
                  <a:lnTo>
                    <a:pt x="141" y="0"/>
                  </a:lnTo>
                  <a:lnTo>
                    <a:pt x="192" y="56"/>
                  </a:lnTo>
                  <a:lnTo>
                    <a:pt x="137" y="114"/>
                  </a:lnTo>
                </a:path>
              </a:pathLst>
            </a:custGeom>
            <a:noFill/>
            <a:ln w="1651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</a:lstStyle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3456" b="0" i="0" u="none" strike="noStrike" kern="1200" cap="none" spc="0" normalizeH="0" baseline="0" noProof="0">
                <a:ln>
                  <a:noFill/>
                </a:ln>
                <a:solidFill>
                  <a:srgbClr val="5F249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7" name="Line 40">
              <a:extLst>
                <a:ext uri="{FF2B5EF4-FFF2-40B4-BE49-F238E27FC236}">
                  <a16:creationId xmlns:a16="http://schemas.microsoft.com/office/drawing/2014/main" id="{C0746614-65B0-4FCD-A6CB-44FFE0B84A6C}"/>
                </a:ext>
              </a:extLst>
            </p:cNvPr>
            <p:cNvSpPr>
              <a:spLocks noChangeShapeType="1"/>
            </p:cNvSpPr>
            <p:nvPr>
              <p:custDataLst>
                <p:tags r:id="rId51"/>
              </p:custDataLst>
            </p:nvPr>
          </p:nvSpPr>
          <p:spPr bwMode="auto">
            <a:xfrm flipH="1">
              <a:off x="7223186" y="2728914"/>
              <a:ext cx="51784" cy="50800"/>
            </a:xfrm>
            <a:prstGeom prst="line">
              <a:avLst/>
            </a:prstGeom>
            <a:noFill/>
            <a:ln w="1651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</a:lstStyle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3456" b="0" i="0" u="none" strike="noStrike" kern="1200" cap="none" spc="0" normalizeH="0" baseline="0" noProof="0">
                <a:ln>
                  <a:noFill/>
                </a:ln>
                <a:solidFill>
                  <a:srgbClr val="5F249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8" name="Freeform 41">
              <a:extLst>
                <a:ext uri="{FF2B5EF4-FFF2-40B4-BE49-F238E27FC236}">
                  <a16:creationId xmlns:a16="http://schemas.microsoft.com/office/drawing/2014/main" id="{58DA067C-3FA6-4AF4-B307-2A9F0CB5028E}"/>
                </a:ext>
              </a:extLst>
            </p:cNvPr>
            <p:cNvSpPr/>
            <p:nvPr>
              <p:custDataLst>
                <p:tags r:id="rId52"/>
              </p:custDataLst>
            </p:nvPr>
          </p:nvSpPr>
          <p:spPr bwMode="auto">
            <a:xfrm>
              <a:off x="7223186" y="2894014"/>
              <a:ext cx="210478" cy="217488"/>
            </a:xfrm>
            <a:custGeom>
              <a:avLst/>
              <a:gdLst>
                <a:gd name="T0" fmla="*/ 57 w 57"/>
                <a:gd name="T1" fmla="*/ 59 h 59"/>
                <a:gd name="T2" fmla="*/ 38 w 57"/>
                <a:gd name="T3" fmla="*/ 18 h 59"/>
                <a:gd name="T4" fmla="*/ 19 w 57"/>
                <a:gd name="T5" fmla="*/ 0 h 59"/>
                <a:gd name="T6" fmla="*/ 0 w 57"/>
                <a:gd name="T7" fmla="*/ 18 h 59"/>
                <a:gd name="T8" fmla="*/ 0 w 57"/>
                <a:gd name="T9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59">
                  <a:moveTo>
                    <a:pt x="57" y="59"/>
                  </a:moveTo>
                  <a:cubicBezTo>
                    <a:pt x="57" y="59"/>
                    <a:pt x="42" y="27"/>
                    <a:pt x="38" y="18"/>
                  </a:cubicBezTo>
                  <a:cubicBezTo>
                    <a:pt x="35" y="9"/>
                    <a:pt x="29" y="0"/>
                    <a:pt x="19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59"/>
                    <a:pt x="0" y="59"/>
                    <a:pt x="0" y="59"/>
                  </a:cubicBezTo>
                </a:path>
              </a:pathLst>
            </a:custGeom>
            <a:noFill/>
            <a:ln w="1651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</a:lstStyle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3456" b="0" i="0" u="none" strike="noStrike" kern="1200" cap="none" spc="0" normalizeH="0" baseline="0" noProof="0">
                <a:ln>
                  <a:noFill/>
                </a:ln>
                <a:solidFill>
                  <a:srgbClr val="5F249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9" name="Freeform 42">
              <a:extLst>
                <a:ext uri="{FF2B5EF4-FFF2-40B4-BE49-F238E27FC236}">
                  <a16:creationId xmlns:a16="http://schemas.microsoft.com/office/drawing/2014/main" id="{A05A314D-A4E5-4F0A-A7E4-C0196658B703}"/>
                </a:ext>
              </a:extLst>
            </p:cNvPr>
            <p:cNvSpPr/>
            <p:nvPr>
              <p:custDataLst>
                <p:tags r:id="rId53"/>
              </p:custDataLst>
            </p:nvPr>
          </p:nvSpPr>
          <p:spPr bwMode="auto">
            <a:xfrm>
              <a:off x="7104584" y="2971801"/>
              <a:ext cx="118602" cy="73025"/>
            </a:xfrm>
            <a:custGeom>
              <a:avLst/>
              <a:gdLst>
                <a:gd name="T0" fmla="*/ 71 w 71"/>
                <a:gd name="T1" fmla="*/ 46 h 46"/>
                <a:gd name="T2" fmla="*/ 31 w 71"/>
                <a:gd name="T3" fmla="*/ 46 h 46"/>
                <a:gd name="T4" fmla="*/ 0 w 71"/>
                <a:gd name="T5" fmla="*/ 23 h 46"/>
                <a:gd name="T6" fmla="*/ 0 w 71"/>
                <a:gd name="T7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1" h="46">
                  <a:moveTo>
                    <a:pt x="71" y="46"/>
                  </a:moveTo>
                  <a:lnTo>
                    <a:pt x="31" y="46"/>
                  </a:lnTo>
                  <a:lnTo>
                    <a:pt x="0" y="23"/>
                  </a:lnTo>
                  <a:lnTo>
                    <a:pt x="0" y="0"/>
                  </a:lnTo>
                </a:path>
              </a:pathLst>
            </a:custGeom>
            <a:noFill/>
            <a:ln w="1651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</a:lstStyle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160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endParaRPr kumimoji="0" lang="en-US" sz="3456" b="0" i="0" u="none" strike="noStrike" kern="1200" cap="none" spc="0" normalizeH="0" baseline="0" noProof="0">
                <a:ln>
                  <a:noFill/>
                </a:ln>
                <a:solidFill>
                  <a:srgbClr val="5F249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80" name="Rectangle 38">
            <a:extLst>
              <a:ext uri="{FF2B5EF4-FFF2-40B4-BE49-F238E27FC236}">
                <a16:creationId xmlns:a16="http://schemas.microsoft.com/office/drawing/2014/main" id="{265DE431-1AF2-47ED-810A-601B0BF3B55E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2810875" y="6290357"/>
            <a:ext cx="1879355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463158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31579" algn="l" defTabSz="1463158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63158" algn="l" defTabSz="1463158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94735" algn="l" defTabSz="1463158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26314" algn="l" defTabSz="1463158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57893" algn="l" defTabSz="1463158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89472" algn="l" defTabSz="1463158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121049" algn="l" defTabSz="1463158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852628" algn="l" defTabSz="1463158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46315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880" b="0" i="0" normalizeH="0" noProof="0">
                <a:solidFill>
                  <a:srgbClr val="000000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Healthcare &amp; </a:t>
            </a:r>
            <a:b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</a:b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Life Sciences</a:t>
            </a:r>
          </a:p>
        </p:txBody>
      </p:sp>
      <p:sp>
        <p:nvSpPr>
          <p:cNvPr id="281" name="Rectangle 35">
            <a:extLst>
              <a:ext uri="{FF2B5EF4-FFF2-40B4-BE49-F238E27FC236}">
                <a16:creationId xmlns:a16="http://schemas.microsoft.com/office/drawing/2014/main" id="{8D06649B-34E6-4CF9-A395-E268DF1A6AFB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4968986" y="6295461"/>
            <a:ext cx="1879355" cy="73866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463158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31579" algn="l" defTabSz="1463158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63158" algn="l" defTabSz="1463158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94735" algn="l" defTabSz="1463158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26314" algn="l" defTabSz="1463158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57893" algn="l" defTabSz="1463158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89472" algn="l" defTabSz="1463158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121049" algn="l" defTabSz="1463158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852628" algn="l" defTabSz="1463158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46315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880" b="0" i="0" normalizeH="0" noProof="0">
                <a:solidFill>
                  <a:srgbClr val="000000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Energy, Manufacturing &amp;</a:t>
            </a:r>
            <a:b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</a:b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Utilities</a:t>
            </a:r>
          </a:p>
        </p:txBody>
      </p:sp>
      <p:sp>
        <p:nvSpPr>
          <p:cNvPr id="282" name="Freeform 65">
            <a:extLst>
              <a:ext uri="{FF2B5EF4-FFF2-40B4-BE49-F238E27FC236}">
                <a16:creationId xmlns:a16="http://schemas.microsoft.com/office/drawing/2014/main" id="{E56CC9DE-8686-43F2-BC2A-398536D7C255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5776083" y="5787778"/>
            <a:ext cx="261472" cy="432229"/>
          </a:xfrm>
          <a:custGeom>
            <a:avLst/>
            <a:gdLst>
              <a:gd name="T0" fmla="*/ 82 w 142"/>
              <a:gd name="T1" fmla="*/ 102 h 247"/>
              <a:gd name="T2" fmla="*/ 100 w 142"/>
              <a:gd name="T3" fmla="*/ 0 h 247"/>
              <a:gd name="T4" fmla="*/ 0 w 142"/>
              <a:gd name="T5" fmla="*/ 155 h 247"/>
              <a:gd name="T6" fmla="*/ 62 w 142"/>
              <a:gd name="T7" fmla="*/ 146 h 247"/>
              <a:gd name="T8" fmla="*/ 44 w 142"/>
              <a:gd name="T9" fmla="*/ 247 h 247"/>
              <a:gd name="T10" fmla="*/ 142 w 142"/>
              <a:gd name="T11" fmla="*/ 95 h 247"/>
              <a:gd name="T12" fmla="*/ 82 w 142"/>
              <a:gd name="T13" fmla="*/ 102 h 247"/>
              <a:gd name="T14" fmla="*/ 82 w 142"/>
              <a:gd name="T15" fmla="*/ 102 h 247"/>
              <a:gd name="T16" fmla="*/ 82 w 142"/>
              <a:gd name="T17" fmla="*/ 102 h 2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42" h="246">
                <a:moveTo>
                  <a:pt x="82" y="102"/>
                </a:moveTo>
                <a:lnTo>
                  <a:pt x="100" y="0"/>
                </a:lnTo>
                <a:lnTo>
                  <a:pt x="0" y="155"/>
                </a:lnTo>
                <a:lnTo>
                  <a:pt x="62" y="146"/>
                </a:lnTo>
                <a:lnTo>
                  <a:pt x="44" y="247"/>
                </a:lnTo>
                <a:lnTo>
                  <a:pt x="142" y="95"/>
                </a:lnTo>
                <a:lnTo>
                  <a:pt x="82" y="102"/>
                </a:lnTo>
                <a:lnTo>
                  <a:pt x="82" y="102"/>
                </a:lnTo>
                <a:lnTo>
                  <a:pt x="82" y="102"/>
                </a:lnTo>
                <a:close/>
              </a:path>
            </a:pathLst>
          </a:custGeom>
          <a:noFill/>
          <a:ln w="16510" cap="flat">
            <a:solidFill>
              <a:schemeClr val="accent1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09728" tIns="54864" rIns="109728" bIns="54864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</a:lstStyle>
          <a:p>
            <a:pPr marL="0" marR="0" lvl="0" indent="0" algn="l" defTabSz="146304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60" b="0" i="0" normalizeH="0" noProof="0">
                <a:solidFill>
                  <a:srgbClr val="000000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endParaRPr kumimoji="0" lang="en-US" sz="3456" b="0" i="0" u="none" strike="noStrike" kern="1200" cap="none" spc="0" normalizeH="0" baseline="0" noProof="0">
              <a:ln>
                <a:noFill/>
              </a:ln>
              <a:solidFill>
                <a:srgbClr val="5F249F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83" name="Rectangle 33">
            <a:extLst>
              <a:ext uri="{FF2B5EF4-FFF2-40B4-BE49-F238E27FC236}">
                <a16:creationId xmlns:a16="http://schemas.microsoft.com/office/drawing/2014/main" id="{244AD494-28EB-4329-A572-5D3D9BA74DF3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56309" y="3956151"/>
            <a:ext cx="2382029" cy="40011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463158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31579" algn="l" defTabSz="1463158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63158" algn="l" defTabSz="1463158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94735" algn="l" defTabSz="1463158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26314" algn="l" defTabSz="1463158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57893" algn="l" defTabSz="1463158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89472" algn="l" defTabSz="1463158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121049" algn="l" defTabSz="1463158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852628" algn="l" defTabSz="1463158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46315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880" b="0" i="0" normalizeH="0" noProof="0">
                <a:solidFill>
                  <a:srgbClr val="000000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F249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6 Core Verticals</a:t>
            </a:r>
          </a:p>
        </p:txBody>
      </p:sp>
      <p:sp>
        <p:nvSpPr>
          <p:cNvPr id="294" name="TextBox 293">
            <a:extLst>
              <a:ext uri="{FF2B5EF4-FFF2-40B4-BE49-F238E27FC236}">
                <a16:creationId xmlns:a16="http://schemas.microsoft.com/office/drawing/2014/main" id="{6D8F0835-707F-4F57-B151-C4C7D4930A5A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8325627" y="1798778"/>
            <a:ext cx="4856747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400" b="0" i="0" u="none" strike="noStrike" kern="1200" spc="0" normalizeH="0" baseline="0" noProof="0">
                <a:solidFill>
                  <a:sysClr val="windowText" lastClr="000000">
                    <a:lumMod val="65000"/>
                    <a:lumOff val="35000"/>
                  </a:sysClr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F249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Engineering Roles: Global Overview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400" b="0" i="0" u="none" strike="noStrike" kern="1200" spc="0" normalizeH="0" baseline="0" noProof="0">
                <a:solidFill>
                  <a:sysClr val="windowText" lastClr="000000">
                    <a:lumMod val="65000"/>
                    <a:lumOff val="35000"/>
                  </a:sysClr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295" name="Grafika 9">
            <a:extLst>
              <a:ext uri="{FF2B5EF4-FFF2-40B4-BE49-F238E27FC236}">
                <a16:creationId xmlns:a16="http://schemas.microsoft.com/office/drawing/2014/main" id="{F792C53D-1863-461F-A748-983A5DBE3110}"/>
              </a:ext>
            </a:extLst>
          </p:cNvPr>
          <p:cNvPicPr>
            <a:picLocks noChangeAspect="1"/>
          </p:cNvPicPr>
          <p:nvPr>
            <p:custDataLst>
              <p:tags r:id="rId22"/>
            </p:custDataLst>
          </p:nvPr>
        </p:nvPicPr>
        <p:blipFill>
          <a:blip r:embed="rId151">
            <a:extLst>
              <a:ext uri="{96DAC541-7B7A-43D3-8B79-37D633B846F1}">
                <asvg:svgBlip xmlns:asvg="http://schemas.microsoft.com/office/drawing/2016/SVG/main" r:embed="rId152"/>
              </a:ext>
            </a:extLst>
          </a:blip>
          <a:stretch>
            <a:fillRect/>
          </a:stretch>
        </p:blipFill>
        <p:spPr>
          <a:xfrm>
            <a:off x="1215480" y="5732605"/>
            <a:ext cx="526438" cy="459233"/>
          </a:xfrm>
          <a:prstGeom prst="rect">
            <a:avLst/>
          </a:prstGeom>
        </p:spPr>
      </p:pic>
      <p:sp>
        <p:nvSpPr>
          <p:cNvPr id="296" name="Rectangle 31">
            <a:extLst>
              <a:ext uri="{FF2B5EF4-FFF2-40B4-BE49-F238E27FC236}">
                <a16:creationId xmlns:a16="http://schemas.microsoft.com/office/drawing/2014/main" id="{8C64F894-7FD6-4D34-A3DF-C55F02CBFC5D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2705" y="6253589"/>
            <a:ext cx="1879355" cy="52322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463158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31579" algn="l" defTabSz="1463158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63158" algn="l" defTabSz="1463158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94735" algn="l" defTabSz="1463158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26314" algn="l" defTabSz="1463158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57893" algn="l" defTabSz="1463158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89472" algn="l" defTabSz="1463158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121049" algn="l" defTabSz="1463158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852628" algn="l" defTabSz="1463158" rtl="0" eaLnBrk="1" latinLnBrk="0" hangingPunct="1"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46315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880" b="0" i="0" normalizeH="0" noProof="0">
                <a:solidFill>
                  <a:srgbClr val="000000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Consumer </a:t>
            </a:r>
            <a:b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</a:b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&amp; Retail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B351B1C1-9BB4-7730-0BBE-855DD9AA97AA}"/>
              </a:ext>
            </a:extLst>
          </p:cNvPr>
          <p:cNvGraphicFramePr/>
          <p:nvPr>
            <p:custDataLst>
              <p:tags r:id="rId24"/>
            </p:custDataLst>
          </p:nvPr>
        </p:nvGraphicFramePr>
        <p:xfrm>
          <a:off x="8484334" y="2303653"/>
          <a:ext cx="5214826" cy="47651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3"/>
          </a:graphicData>
        </a:graphic>
      </p:graphicFrame>
      <p:grpSp>
        <p:nvGrpSpPr>
          <p:cNvPr id="23" name="Group 22">
            <a:extLst>
              <a:ext uri="{FF2B5EF4-FFF2-40B4-BE49-F238E27FC236}">
                <a16:creationId xmlns:a16="http://schemas.microsoft.com/office/drawing/2014/main" id="{7675E129-E5F6-E8D6-3FB3-160308C475B3}"/>
              </a:ext>
            </a:extLst>
          </p:cNvPr>
          <p:cNvGrpSpPr/>
          <p:nvPr>
            <p:custDataLst>
              <p:tags r:id="rId25"/>
            </p:custDataLst>
          </p:nvPr>
        </p:nvGrpSpPr>
        <p:grpSpPr>
          <a:xfrm>
            <a:off x="4837238" y="2472255"/>
            <a:ext cx="882495" cy="904574"/>
            <a:chOff x="4092174" y="2531199"/>
            <a:chExt cx="882495" cy="904574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06C0831D-520A-9977-51C2-2FEE368E0258}"/>
                </a:ext>
              </a:extLst>
            </p:cNvPr>
            <p:cNvGrpSpPr/>
            <p:nvPr>
              <p:custDataLst>
                <p:tags r:id="rId37"/>
              </p:custDataLst>
            </p:nvPr>
          </p:nvGrpSpPr>
          <p:grpSpPr>
            <a:xfrm>
              <a:off x="4285170" y="2531199"/>
              <a:ext cx="518400" cy="530937"/>
              <a:chOff x="4285170" y="2531199"/>
              <a:chExt cx="518400" cy="530937"/>
            </a:xfrm>
          </p:grpSpPr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1121E7FE-22D9-BAD8-C105-C191454CCC6A}"/>
                  </a:ext>
                </a:extLst>
              </p:cNvPr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>
              <a:xfrm>
                <a:off x="4289226" y="2539417"/>
                <a:ext cx="506966" cy="5184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1pPr>
                <a:lvl2pPr marL="658368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2pPr>
                <a:lvl3pPr marL="1316736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3pPr>
                <a:lvl4pPr marL="1975104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4pPr>
                <a:lvl5pPr marL="2633472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5pPr>
                <a:lvl6pPr marL="3291840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6pPr>
                <a:lvl7pPr marL="3950208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7pPr>
                <a:lvl8pPr marL="4608576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8pPr>
                <a:lvl9pPr marL="5266944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9pPr>
              </a:lstStyle>
              <a:p>
                <a:pPr marL="0" marR="0" lvl="0" indent="0" algn="ctr" defTabSz="10972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cap="none" spc="0" normalizeH="0" baseline="0" noProof="0">
                    <a:solidFill>
                      <a:srgbClr val="FFFFFF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pPr>
                <a:endParaRPr kumimoji="0" lang="en-US" sz="16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  <a:sym typeface="Wingdings" charset="2"/>
                </a:endParaRPr>
              </a:p>
            </p:txBody>
          </p:sp>
          <p:pic>
            <p:nvPicPr>
              <p:cNvPr id="14" name="Picture 88">
                <a:extLst>
                  <a:ext uri="{FF2B5EF4-FFF2-40B4-BE49-F238E27FC236}">
                    <a16:creationId xmlns:a16="http://schemas.microsoft.com/office/drawing/2014/main" id="{3BCF9842-0E7B-0419-8272-B090BEFD8190}"/>
                  </a:ext>
                </a:extLst>
              </p:cNvPr>
              <p:cNvPicPr/>
              <p:nvPr>
                <p:custDataLst>
                  <p:tags r:id="rId40"/>
                </p:custDataLst>
              </p:nvPr>
            </p:nvPicPr>
            <p:blipFill>
              <a:blip r:embed="rId15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286793" y="2531199"/>
                <a:ext cx="514880" cy="530937"/>
              </a:xfrm>
              <a:prstGeom prst="rect">
                <a:avLst/>
              </a:prstGeom>
              <a:effectLst/>
            </p:spPr>
          </p:pic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FEC5D632-890C-2059-60F0-BF5FD8F90077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4285170" y="2539417"/>
                <a:ext cx="518400" cy="518400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1pPr>
                <a:lvl2pPr marL="658368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2pPr>
                <a:lvl3pPr marL="1316736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3pPr>
                <a:lvl4pPr marL="1975104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4pPr>
                <a:lvl5pPr marL="2633472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5pPr>
                <a:lvl6pPr marL="3291840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6pPr>
                <a:lvl7pPr marL="3950208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7pPr>
                <a:lvl8pPr marL="4608576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8pPr>
                <a:lvl9pPr marL="5266944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9pPr>
              </a:lstStyle>
              <a:p>
                <a:pPr marL="0" marR="0" lvl="0" indent="0" algn="ctr" defTabSz="10972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cap="none" spc="0" normalizeH="0" baseline="0" noProof="0">
                    <a:solidFill>
                      <a:srgbClr val="FFFFFF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pPr>
                <a:endParaRPr kumimoji="0" lang="en-US" sz="216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  <a:sym typeface="Wingdings" charset="2"/>
                </a:endParaRPr>
              </a:p>
            </p:txBody>
          </p:sp>
        </p:grp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0CDD0F70-1652-67E9-A8D9-D93A9613E555}"/>
                </a:ext>
              </a:extLst>
            </p:cNvPr>
            <p:cNvSpPr/>
            <p:nvPr>
              <p:custDataLst>
                <p:tags r:id="rId38"/>
              </p:custDataLst>
            </p:nvPr>
          </p:nvSpPr>
          <p:spPr>
            <a:xfrm>
              <a:off x="4092174" y="3149541"/>
              <a:ext cx="882495" cy="286232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US"/>
              </a:defPPr>
            </a:lstStyle>
            <a:p>
              <a:pPr marL="0" marR="0" lvl="0" indent="0" algn="ctr" defTabSz="1462952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kumimoji="0" lang="en-US" sz="126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Germany</a:t>
              </a: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350ADA48-3DA8-87C9-0222-4250378E6AF7}"/>
              </a:ext>
            </a:extLst>
          </p:cNvPr>
          <p:cNvGrpSpPr/>
          <p:nvPr>
            <p:custDataLst>
              <p:tags r:id="rId26"/>
            </p:custDataLst>
          </p:nvPr>
        </p:nvGrpSpPr>
        <p:grpSpPr>
          <a:xfrm>
            <a:off x="3997489" y="2472255"/>
            <a:ext cx="830280" cy="903684"/>
            <a:chOff x="4173852" y="2472255"/>
            <a:chExt cx="830280" cy="903684"/>
          </a:xfrm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AC29010A-656F-69AD-291E-309C3E5F242D}"/>
                </a:ext>
              </a:extLst>
            </p:cNvPr>
            <p:cNvSpPr/>
            <p:nvPr>
              <p:custDataLst>
                <p:tags r:id="rId33"/>
              </p:custDataLst>
            </p:nvPr>
          </p:nvSpPr>
          <p:spPr>
            <a:xfrm>
              <a:off x="4323382" y="2472255"/>
              <a:ext cx="518400" cy="518400"/>
            </a:xfrm>
            <a:prstGeom prst="ellipse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marR="0" indent="0" algn="l" defTabSz="131673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658368" marR="0" indent="0" algn="l" defTabSz="131673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1316736" marR="0" indent="0" algn="l" defTabSz="131673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975104" marR="0" indent="0" algn="l" defTabSz="131673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2633472" marR="0" indent="0" algn="l" defTabSz="131673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3291840" marR="0" indent="0" algn="l" defTabSz="131673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3950208" marR="0" indent="0" algn="l" defTabSz="131673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4608576" marR="0" indent="0" algn="l" defTabSz="131673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5266944" marR="0" indent="0" algn="l" defTabSz="131673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marL="0" marR="0" lvl="0" indent="0" algn="ctr" defTabSz="109723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u="none" strike="noStrike" cap="none" spc="0" normalizeH="0" baseline="0" noProof="0">
                  <a:solidFill>
                    <a:srgbClr val="FFFFFF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pPr>
              <a:endParaRPr kumimoji="0" lang="en-US" sz="216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  <a:sym typeface="Wingdings" charset="2"/>
              </a:endParaRP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4D3C0A21-1A8B-43DC-35CA-0308C5362A26}"/>
                </a:ext>
              </a:extLst>
            </p:cNvPr>
            <p:cNvGrpSpPr/>
            <p:nvPr>
              <p:custDataLst>
                <p:tags r:id="rId34"/>
              </p:custDataLst>
            </p:nvPr>
          </p:nvGrpSpPr>
          <p:grpSpPr>
            <a:xfrm>
              <a:off x="4173852" y="2472255"/>
              <a:ext cx="830280" cy="903684"/>
              <a:chOff x="4173852" y="2529929"/>
              <a:chExt cx="830280" cy="903684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5DEE4D4A-91F2-E681-EE9E-3573A4204704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4326152" y="2529929"/>
                <a:ext cx="513209" cy="513209"/>
              </a:xfrm>
              <a:prstGeom prst="ellipse">
                <a:avLst/>
              </a:prstGeom>
              <a:blipFill dpi="0" rotWithShape="1">
                <a:blip r:embed="rId155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156"/>
                    </a:ext>
                  </a:extLst>
                </a:blip>
                <a:stretch>
                  <a:fillRect l="-22000" r="-29000" b="-1000"/>
                </a:stretch>
              </a:blipFill>
              <a:ln>
                <a:noFill/>
              </a:ln>
              <a:effectLst>
                <a:outerShdw blurRad="130175" dist="38100" dir="2700000" algn="tl" rotWithShape="0">
                  <a:prstClr val="black">
                    <a:alpha val="15124"/>
                  </a:prstClr>
                </a:outerShdw>
              </a:effectLst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1pPr>
                <a:lvl2pPr marL="5486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2pPr>
                <a:lvl3pPr marL="10972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3pPr>
                <a:lvl4pPr marL="16459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4pPr>
                <a:lvl5pPr marL="219456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5pPr>
                <a:lvl6pPr marL="274320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6pPr>
                <a:lvl7pPr marL="329184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7pPr>
                <a:lvl8pPr marL="384048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8pPr>
                <a:lvl9pPr marL="4389120" marR="0" indent="0" algn="l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9pPr>
              </a:lstStyle>
              <a:p>
                <a:pPr marL="0" marR="0" lvl="0" indent="0" algn="ctr" defTabSz="109728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160" b="0" i="0" u="none" strike="noStrike" cap="none" spc="0" normalizeH="0" baseline="0" noProof="0">
                    <a:solidFill>
                      <a:srgbClr val="FFFFFF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pPr>
                <a:endParaRPr kumimoji="0" lang="en-RU" sz="216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  <a:sym typeface="Wingdings" charset="2"/>
                </a:endParaRP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17BB1E8D-6531-7393-5D75-5A98F80912CE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4173852" y="3147381"/>
                <a:ext cx="830280" cy="2862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>
                <a:defPPr>
                  <a:defRPr lang="en-US"/>
                </a:defPPr>
              </a:lstStyle>
              <a:p>
                <a:pPr marL="0" marR="0" lvl="0" indent="0" algn="ctr" defTabSz="1462952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normalizeH="0" noProof="0">
                    <a:solidFill>
                      <a:srgbClr val="000000"/>
                    </a:solidFill>
                    <a:uLnTx/>
                    <a:uFillTx/>
                    <a:latin typeface="+mn-lt"/>
                    <a:ea typeface="+mn-ea"/>
                    <a:cs typeface="+mn-cs"/>
                  </a:defRPr>
                </a:pPr>
                <a:r>
                  <a:rPr kumimoji="0" lang="en-US" sz="126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rPr>
                  <a:t>Serbia</a:t>
                </a:r>
              </a:p>
            </p:txBody>
          </p:sp>
        </p:grp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219BA4F3-1D41-C383-73E7-FED34A9D3983}"/>
              </a:ext>
            </a:extLst>
          </p:cNvPr>
          <p:cNvGrpSpPr/>
          <p:nvPr>
            <p:custDataLst>
              <p:tags r:id="rId27"/>
            </p:custDataLst>
          </p:nvPr>
        </p:nvGrpSpPr>
        <p:grpSpPr>
          <a:xfrm>
            <a:off x="6436033" y="2472255"/>
            <a:ext cx="882495" cy="920121"/>
            <a:chOff x="6076424" y="2475194"/>
            <a:chExt cx="882495" cy="920121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4B99909E-B76C-DAF1-7EAB-963199E57CB5}"/>
                </a:ext>
              </a:extLst>
            </p:cNvPr>
            <p:cNvGrpSpPr/>
            <p:nvPr>
              <p:custDataLst>
                <p:tags r:id="rId28"/>
              </p:custDataLst>
            </p:nvPr>
          </p:nvGrpSpPr>
          <p:grpSpPr>
            <a:xfrm>
              <a:off x="6258472" y="2475194"/>
              <a:ext cx="524676" cy="527811"/>
              <a:chOff x="6258472" y="2475194"/>
              <a:chExt cx="524676" cy="527811"/>
            </a:xfrm>
          </p:grpSpPr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90B23E2B-DC2E-4AAD-494B-39AB6FFDCE9C}"/>
                  </a:ext>
                </a:extLst>
              </p:cNvPr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>
              <a:xfrm>
                <a:off x="6262528" y="2476915"/>
                <a:ext cx="506966" cy="5184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1pPr>
                <a:lvl2pPr marL="658368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2pPr>
                <a:lvl3pPr marL="1316736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3pPr>
                <a:lvl4pPr marL="1975104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4pPr>
                <a:lvl5pPr marL="2633472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5pPr>
                <a:lvl6pPr marL="3291840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6pPr>
                <a:lvl7pPr marL="3950208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7pPr>
                <a:lvl8pPr marL="4608576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8pPr>
                <a:lvl9pPr marL="5266944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9pPr>
              </a:lstStyle>
              <a:p>
                <a:pPr marL="0" marR="0" lvl="0" indent="0" algn="ctr" defTabSz="10972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cap="none" spc="0" normalizeH="0" baseline="0" noProof="0">
                    <a:solidFill>
                      <a:srgbClr val="FFFFFF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pPr>
                <a:endParaRPr kumimoji="0" lang="en-US" sz="168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  <a:sym typeface="Wingdings" charset="2"/>
                </a:endParaRPr>
              </a:p>
            </p:txBody>
          </p:sp>
          <p:pic>
            <p:nvPicPr>
              <p:cNvPr id="27" name="Picture 26">
                <a:extLst>
                  <a:ext uri="{FF2B5EF4-FFF2-40B4-BE49-F238E27FC236}">
                    <a16:creationId xmlns:a16="http://schemas.microsoft.com/office/drawing/2014/main" id="{8142187B-7186-501C-01EF-B0475AC0D918}"/>
                  </a:ext>
                </a:extLst>
              </p:cNvPr>
              <p:cNvPicPr>
                <a:picLocks noChangeAspect="1"/>
              </p:cNvPicPr>
              <p:nvPr>
                <p:custDataLst>
                  <p:tags r:id="rId31"/>
                </p:custDataLst>
              </p:nvPr>
            </p:nvPicPr>
            <p:blipFill>
              <a:blip r:embed="rId157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261074" y="2475194"/>
                <a:ext cx="522074" cy="527811"/>
              </a:xfrm>
              <a:prstGeom prst="rect">
                <a:avLst/>
              </a:prstGeom>
              <a:effectLst/>
            </p:spPr>
          </p:pic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059149EE-C312-84A2-D386-9A66AB33354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6258472" y="2476915"/>
                <a:ext cx="518400" cy="518400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1pPr>
                <a:lvl2pPr marL="658368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2pPr>
                <a:lvl3pPr marL="1316736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3pPr>
                <a:lvl4pPr marL="1975104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4pPr>
                <a:lvl5pPr marL="2633472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5pPr>
                <a:lvl6pPr marL="3291840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6pPr>
                <a:lvl7pPr marL="3950208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7pPr>
                <a:lvl8pPr marL="4608576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8pPr>
                <a:lvl9pPr marL="5266944" marR="0" indent="0" algn="l" defTabSz="13167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kern="1200" cap="none" spc="0" normalizeH="0" baseline="0" noProof="0">
                    <a:solidFill>
                      <a:schemeClr val="lt1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lvl9pPr>
              </a:lstStyle>
              <a:p>
                <a:pPr marL="0" marR="0" lvl="0" indent="0" algn="ctr" defTabSz="1097236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2592" b="0" i="0" u="none" strike="noStrike" cap="none" spc="0" normalizeH="0" baseline="0" noProof="0">
                    <a:solidFill>
                      <a:srgbClr val="FFFFFF"/>
                    </a:solidFill>
                    <a:uLnTx/>
                    <a:uFillTx/>
                    <a:latin typeface="Arial" pitchFamily="34" charset="0"/>
                    <a:ea typeface="Arial" pitchFamily="34" charset="0"/>
                    <a:cs typeface="Arial" pitchFamily="34" charset="0"/>
                    <a:sym typeface="Wingdings" charset="2"/>
                  </a:defRPr>
                </a:pPr>
                <a:endParaRPr kumimoji="0" lang="en-US" sz="216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  <a:sym typeface="Wingdings" charset="2"/>
                </a:endParaRPr>
              </a:p>
            </p:txBody>
          </p:sp>
        </p:grp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843561DF-45E3-0CEC-44AD-272F7B8DC3DF}"/>
                </a:ext>
              </a:extLst>
            </p:cNvPr>
            <p:cNvSpPr/>
            <p:nvPr>
              <p:custDataLst>
                <p:tags r:id="rId29"/>
              </p:custDataLst>
            </p:nvPr>
          </p:nvSpPr>
          <p:spPr>
            <a:xfrm>
              <a:off x="6076424" y="3109083"/>
              <a:ext cx="882495" cy="286232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US"/>
              </a:defPPr>
            </a:lstStyle>
            <a:p>
              <a:pPr marL="0" marR="0" lvl="0" indent="0" algn="ctr" defTabSz="1462952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2592" b="0" i="0" normalizeH="0" noProof="0">
                  <a:solidFill>
                    <a:srgbClr val="000000"/>
                  </a:solidFill>
                  <a:uLnTx/>
                  <a:uFillTx/>
                  <a:latin typeface="+mn-lt"/>
                  <a:ea typeface="+mn-ea"/>
                  <a:cs typeface="+mn-cs"/>
                </a:defRPr>
              </a:pPr>
              <a:r>
                <a:rPr kumimoji="0" lang="en-US" sz="126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Mexic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899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63764F-97E7-5BC4-2A3A-D29F218DBE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259FC0B-0A0A-C858-E292-6E4C62463D4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-320217"/>
            <a:ext cx="14622469" cy="7010384"/>
          </a:xfrm>
          <a:prstGeom prst="rect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6350">
            <a:noFill/>
          </a:ln>
        </p:spPr>
        <p:txBody>
          <a:bodyPr vert="horz" wrap="square" lIns="131674" tIns="65837" rIns="131674" bIns="65837" rtlCol="0" anchor="ctr">
            <a:noAutofit/>
          </a:bodyPr>
          <a:lstStyle>
            <a:defPPr>
              <a:defRPr lang="en-FR"/>
            </a:defPPr>
            <a:lvl1pPr marL="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75529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4147" b="0" i="0" u="none" strike="noStrike" kern="1200" cap="none" spc="0" normalizeH="0" baseline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Titre 2">
            <a:extLst>
              <a:ext uri="{FF2B5EF4-FFF2-40B4-BE49-F238E27FC236}">
                <a16:creationId xmlns:a16="http://schemas.microsoft.com/office/drawing/2014/main" id="{A1519ADC-3C47-7E64-4EB8-8447A6C33172}"/>
              </a:ext>
            </a:extLst>
          </p:cNvPr>
          <p:cNvSpPr txBox="1">
            <a:spLocks/>
          </p:cNvSpPr>
          <p:nvPr/>
        </p:nvSpPr>
        <p:spPr>
          <a:xfrm>
            <a:off x="1168401" y="2057400"/>
            <a:ext cx="9931400" cy="32004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1462981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6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/>
              <a:t>01. Projets</a:t>
            </a:r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D47F72FE-45EB-7A4D-1580-409C46D0304C}"/>
              </a:ext>
            </a:extLst>
          </p:cNvPr>
          <p:cNvSpPr txBox="1">
            <a:spLocks/>
          </p:cNvSpPr>
          <p:nvPr/>
        </p:nvSpPr>
        <p:spPr>
          <a:xfrm>
            <a:off x="1168400" y="2057400"/>
            <a:ext cx="9931400" cy="32004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146304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6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DXC Overview</a:t>
            </a:r>
            <a:endParaRPr lang="en-GB"/>
          </a:p>
        </p:txBody>
      </p:sp>
      <p:sp>
        <p:nvSpPr>
          <p:cNvPr id="3" name="Rectangle: Single Corner Rounded 2">
            <a:extLst>
              <a:ext uri="{FF2B5EF4-FFF2-40B4-BE49-F238E27FC236}">
                <a16:creationId xmlns:a16="http://schemas.microsoft.com/office/drawing/2014/main" id="{545DDE74-DD7D-DB09-9DBF-1BFE1A2114BA}"/>
              </a:ext>
            </a:extLst>
          </p:cNvPr>
          <p:cNvSpPr/>
          <p:nvPr/>
        </p:nvSpPr>
        <p:spPr>
          <a:xfrm>
            <a:off x="695326" y="2057398"/>
            <a:ext cx="11201400" cy="3200400"/>
          </a:xfrm>
          <a:prstGeom prst="round1Rect">
            <a:avLst>
              <a:gd name="adj" fmla="val 24915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5400" b="1"/>
              <a:t>4 - Talent Building</a:t>
            </a:r>
            <a:endParaRPr lang="en-US" sz="5400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7824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7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17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81"/>
</p:tagLst>
</file>

<file path=ppt/tags/tag1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400"/>
</p:tagLst>
</file>

<file path=ppt/tags/tag1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7"/>
</p:tagLst>
</file>

<file path=ppt/tags/tag1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400"/>
</p:tagLst>
</file>

<file path=ppt/tags/tag1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97"/>
</p:tagLst>
</file>

<file path=ppt/tags/tag1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98"/>
</p:tagLst>
</file>

<file path=ppt/tags/tag1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99"/>
</p:tagLst>
</file>

<file path=ppt/tags/tag1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900"/>
</p:tagLst>
</file>

<file path=ppt/tags/tag1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901"/>
</p:tagLst>
</file>

<file path=ppt/tags/tag1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902"/>
</p:tagLst>
</file>

<file path=ppt/tags/tag1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903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82"/>
</p:tagLst>
</file>

<file path=ppt/tags/tag1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904"/>
</p:tagLst>
</file>

<file path=ppt/tags/tag1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905"/>
</p:tagLst>
</file>

<file path=ppt/tags/tag1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906"/>
</p:tagLst>
</file>

<file path=ppt/tags/tag1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907"/>
</p:tagLst>
</file>

<file path=ppt/tags/tag1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908"/>
</p:tagLst>
</file>

<file path=ppt/tags/tag1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909"/>
</p:tagLst>
</file>

<file path=ppt/tags/tag1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910"/>
</p:tagLst>
</file>

<file path=ppt/tags/tag1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911"/>
</p:tagLst>
</file>

<file path=ppt/tags/tag1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912"/>
</p:tagLst>
</file>

<file path=ppt/tags/tag1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3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83"/>
</p:tagLst>
</file>

<file path=ppt/tags/tag1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95"/>
</p:tagLst>
</file>

<file path=ppt/tags/tag1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40"/>
</p:tagLst>
</file>

<file path=ppt/tags/tag1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41"/>
</p:tagLst>
</file>

<file path=ppt/tags/tag1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11"/>
</p:tagLst>
</file>

<file path=ppt/tags/tag1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12"/>
</p:tagLst>
</file>

<file path=ppt/tags/tag1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13"/>
</p:tagLst>
</file>

<file path=ppt/tags/tag1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14"/>
</p:tagLst>
</file>

<file path=ppt/tags/tag10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15"/>
</p:tagLst>
</file>

<file path=ppt/tags/tag10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16"/>
</p:tagLst>
</file>

<file path=ppt/tags/tag10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17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84"/>
</p:tagLst>
</file>

<file path=ppt/tags/tag10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18"/>
</p:tagLst>
</file>

<file path=ppt/tags/tag10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19"/>
</p:tagLst>
</file>

<file path=ppt/tags/tag10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20"/>
</p:tagLst>
</file>

<file path=ppt/tags/tag10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21"/>
</p:tagLst>
</file>

<file path=ppt/tags/tag10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01"/>
</p:tagLst>
</file>

<file path=ppt/tags/tag10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02"/>
</p:tagLst>
</file>

<file path=ppt/tags/tag10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03"/>
</p:tagLst>
</file>

<file path=ppt/tags/tag10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282"/>
</p:tagLst>
</file>

<file path=ppt/tags/tag10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96"/>
</p:tagLst>
</file>

<file path=ppt/tags/tag10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817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85"/>
</p:tagLst>
</file>

<file path=ppt/tags/tag10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820"/>
</p:tagLst>
</file>

<file path=ppt/tags/tag10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824"/>
</p:tagLst>
</file>

<file path=ppt/tags/tag10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826"/>
</p:tagLst>
</file>

<file path=ppt/tags/tag10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828"/>
</p:tagLst>
</file>

<file path=ppt/tags/tag10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830"/>
</p:tagLst>
</file>

<file path=ppt/tags/tag10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045"/>
</p:tagLst>
</file>

<file path=ppt/tags/tag10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046"/>
</p:tagLst>
</file>

<file path=ppt/tags/tag10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047"/>
</p:tagLst>
</file>

<file path=ppt/tags/tag10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055"/>
</p:tagLst>
</file>

<file path=ppt/tags/tag10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056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86"/>
</p:tagLst>
</file>

<file path=ppt/tags/tag10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070"/>
</p:tagLst>
</file>

<file path=ppt/tags/tag10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071"/>
</p:tagLst>
</file>

<file path=ppt/tags/tag10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078"/>
</p:tagLst>
</file>

<file path=ppt/tags/tag10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091"/>
</p:tagLst>
</file>

<file path=ppt/tags/tag10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092"/>
</p:tagLst>
</file>

<file path=ppt/tags/tag10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093"/>
</p:tagLst>
</file>

<file path=ppt/tags/tag10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094"/>
</p:tagLst>
</file>

<file path=ppt/tags/tag10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095"/>
</p:tagLst>
</file>

<file path=ppt/tags/tag10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096"/>
</p:tagLst>
</file>

<file path=ppt/tags/tag10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097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87"/>
</p:tagLst>
</file>

<file path=ppt/tags/tag10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1414"/>
</p:tagLst>
</file>

<file path=ppt/tags/tag10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098"/>
</p:tagLst>
</file>

<file path=ppt/tags/tag10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100"/>
</p:tagLst>
</file>

<file path=ppt/tags/tag10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102"/>
</p:tagLst>
</file>

<file path=ppt/tags/tag10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103"/>
</p:tagLst>
</file>

<file path=ppt/tags/tag10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02"/>
</p:tagLst>
</file>

<file path=ppt/tags/tag10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33"/>
</p:tagLst>
</file>

<file path=ppt/tags/tag10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104"/>
</p:tagLst>
</file>

<file path=ppt/tags/tag10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827"/>
</p:tagLst>
</file>

<file path=ppt/tags/tag10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827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88"/>
</p:tagLst>
</file>

<file path=ppt/tags/tag10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101"/>
</p:tagLst>
</file>

<file path=ppt/tags/tag10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494"/>
</p:tagLst>
</file>

<file path=ppt/tags/tag10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02"/>
</p:tagLst>
</file>

<file path=ppt/tags/tag10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099"/>
</p:tagLst>
</file>

<file path=ppt/tags/tag10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02"/>
</p:tagLst>
</file>

<file path=ppt/tags/tag10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33"/>
</p:tagLst>
</file>

<file path=ppt/tags/tag10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350"/>
</p:tagLst>
</file>

<file path=ppt/tags/tag10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827"/>
</p:tagLst>
</file>

<file path=ppt/tags/tag10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079"/>
</p:tagLst>
</file>

<file path=ppt/tags/tag10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080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89"/>
</p:tagLst>
</file>

<file path=ppt/tags/tag10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081"/>
</p:tagLst>
</file>

<file path=ppt/tags/tag10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082"/>
</p:tagLst>
</file>

<file path=ppt/tags/tag10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083"/>
</p:tagLst>
</file>

<file path=ppt/tags/tag10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084"/>
</p:tagLst>
</file>

<file path=ppt/tags/tag10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085"/>
</p:tagLst>
</file>

<file path=ppt/tags/tag10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086"/>
</p:tagLst>
</file>

<file path=ppt/tags/tag10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087"/>
</p:tagLst>
</file>

<file path=ppt/tags/tag10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088"/>
</p:tagLst>
</file>

<file path=ppt/tags/tag10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089"/>
</p:tagLst>
</file>

<file path=ppt/tags/tag10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090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90"/>
</p:tagLst>
</file>

<file path=ppt/tags/tag10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072"/>
</p:tagLst>
</file>

<file path=ppt/tags/tag10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073"/>
</p:tagLst>
</file>

<file path=ppt/tags/tag10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074"/>
</p:tagLst>
</file>

<file path=ppt/tags/tag10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075"/>
</p:tagLst>
</file>

<file path=ppt/tags/tag10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076"/>
</p:tagLst>
</file>

<file path=ppt/tags/tag10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077"/>
</p:tagLst>
</file>

<file path=ppt/tags/tag10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057"/>
</p:tagLst>
</file>

<file path=ppt/tags/tag10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058"/>
</p:tagLst>
</file>

<file path=ppt/tags/tag10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059"/>
</p:tagLst>
</file>

<file path=ppt/tags/tag10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06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18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91"/>
</p:tagLst>
</file>

<file path=ppt/tags/tag1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061"/>
</p:tagLst>
</file>

<file path=ppt/tags/tag1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062"/>
</p:tagLst>
</file>

<file path=ppt/tags/tag1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063"/>
</p:tagLst>
</file>

<file path=ppt/tags/tag1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064"/>
</p:tagLst>
</file>

<file path=ppt/tags/tag1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065"/>
</p:tagLst>
</file>

<file path=ppt/tags/tag1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066"/>
</p:tagLst>
</file>

<file path=ppt/tags/tag1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067"/>
</p:tagLst>
</file>

<file path=ppt/tags/tag1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068"/>
</p:tagLst>
</file>

<file path=ppt/tags/tag1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069"/>
</p:tagLst>
</file>

<file path=ppt/tags/tag1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048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92"/>
</p:tagLst>
</file>

<file path=ppt/tags/tag1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049"/>
</p:tagLst>
</file>

<file path=ppt/tags/tag1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050"/>
</p:tagLst>
</file>

<file path=ppt/tags/tag1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051"/>
</p:tagLst>
</file>

<file path=ppt/tags/tag1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052"/>
</p:tagLst>
</file>

<file path=ppt/tags/tag1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053"/>
</p:tagLst>
</file>

<file path=ppt/tags/tag1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054"/>
</p:tagLst>
</file>

<file path=ppt/tags/tag1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04"/>
</p:tagLst>
</file>

<file path=ppt/tags/tag1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32"/>
</p:tagLst>
</file>

<file path=ppt/tags/tag1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831"/>
</p:tagLst>
</file>

<file path=ppt/tags/tag1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33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93"/>
</p:tagLst>
</file>

<file path=ppt/tags/tag1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34"/>
</p:tagLst>
</file>

<file path=ppt/tags/tag1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35"/>
</p:tagLst>
</file>

<file path=ppt/tags/tag1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36"/>
</p:tagLst>
</file>

<file path=ppt/tags/tag1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37"/>
</p:tagLst>
</file>

<file path=ppt/tags/tag1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38"/>
</p:tagLst>
</file>

<file path=ppt/tags/tag1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39"/>
</p:tagLst>
</file>

<file path=ppt/tags/tag1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40"/>
</p:tagLst>
</file>

<file path=ppt/tags/tag1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41"/>
</p:tagLst>
</file>

<file path=ppt/tags/tag1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42"/>
</p:tagLst>
</file>

<file path=ppt/tags/tag1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43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94"/>
</p:tagLst>
</file>

<file path=ppt/tags/tag1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44"/>
</p:tagLst>
</file>

<file path=ppt/tags/tag1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45"/>
</p:tagLst>
</file>

<file path=ppt/tags/tag1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46"/>
</p:tagLst>
</file>

<file path=ppt/tags/tag1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47"/>
</p:tagLst>
</file>

<file path=ppt/tags/tag1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48"/>
</p:tagLst>
</file>

<file path=ppt/tags/tag1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49"/>
</p:tagLst>
</file>

<file path=ppt/tags/tag1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50"/>
</p:tagLst>
</file>

<file path=ppt/tags/tag1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51"/>
</p:tagLst>
</file>

<file path=ppt/tags/tag1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52"/>
</p:tagLst>
</file>

<file path=ppt/tags/tag1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53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95"/>
</p:tagLst>
</file>

<file path=ppt/tags/tag1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54"/>
</p:tagLst>
</file>

<file path=ppt/tags/tag1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55"/>
</p:tagLst>
</file>

<file path=ppt/tags/tag1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56"/>
</p:tagLst>
</file>

<file path=ppt/tags/tag1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57"/>
</p:tagLst>
</file>

<file path=ppt/tags/tag1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58"/>
</p:tagLst>
</file>

<file path=ppt/tags/tag1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59"/>
</p:tagLst>
</file>

<file path=ppt/tags/tag1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60"/>
</p:tagLst>
</file>

<file path=ppt/tags/tag1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61"/>
</p:tagLst>
</file>

<file path=ppt/tags/tag1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62"/>
</p:tagLst>
</file>

<file path=ppt/tags/tag1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63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96"/>
</p:tagLst>
</file>

<file path=ppt/tags/tag1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64"/>
</p:tagLst>
</file>

<file path=ppt/tags/tag1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65"/>
</p:tagLst>
</file>

<file path=ppt/tags/tag1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03"/>
</p:tagLst>
</file>

<file path=ppt/tags/tag1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17"/>
</p:tagLst>
</file>

<file path=ppt/tags/tag1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829"/>
</p:tagLst>
</file>

<file path=ppt/tags/tag1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18"/>
</p:tagLst>
</file>

<file path=ppt/tags/tag1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19"/>
</p:tagLst>
</file>

<file path=ppt/tags/tag1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20"/>
</p:tagLst>
</file>

<file path=ppt/tags/tag1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24"/>
</p:tagLst>
</file>

<file path=ppt/tags/tag1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25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97"/>
</p:tagLst>
</file>

<file path=ppt/tags/tag1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26"/>
</p:tagLst>
</file>

<file path=ppt/tags/tag1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21"/>
</p:tagLst>
</file>

<file path=ppt/tags/tag1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22"/>
</p:tagLst>
</file>

<file path=ppt/tags/tag1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23"/>
</p:tagLst>
</file>

<file path=ppt/tags/tag1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02"/>
</p:tagLst>
</file>

<file path=ppt/tags/tag1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05"/>
</p:tagLst>
</file>

<file path=ppt/tags/tag1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827"/>
</p:tagLst>
</file>

<file path=ppt/tags/tag1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06"/>
</p:tagLst>
</file>

<file path=ppt/tags/tag1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07"/>
</p:tagLst>
</file>

<file path=ppt/tags/tag1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01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00"/>
</p:tagLst>
</file>

<file path=ppt/tags/tag1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27"/>
</p:tagLst>
</file>

<file path=ppt/tags/tag1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825"/>
</p:tagLst>
</file>

<file path=ppt/tags/tag1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28"/>
</p:tagLst>
</file>

<file path=ppt/tags/tag1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29"/>
</p:tagLst>
</file>

<file path=ppt/tags/tag1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30"/>
</p:tagLst>
</file>

<file path=ppt/tags/tag1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31"/>
</p:tagLst>
</file>

<file path=ppt/tags/tag1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99"/>
</p:tagLst>
</file>

<file path=ppt/tags/tag1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08"/>
</p:tagLst>
</file>

<file path=ppt/tags/tag1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821"/>
</p:tagLst>
</file>

<file path=ppt/tags/tag1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09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01"/>
</p:tagLst>
</file>

<file path=ppt/tags/tag1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10"/>
</p:tagLst>
</file>

<file path=ppt/tags/tag1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76"/>
</p:tagLst>
</file>

<file path=ppt/tags/tag1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818"/>
</p:tagLst>
</file>

<file path=ppt/tags/tag1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66"/>
</p:tagLst>
</file>

<file path=ppt/tags/tag1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73"/>
</p:tagLst>
</file>

<file path=ppt/tags/tag1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66"/>
</p:tagLst>
</file>

<file path=ppt/tags/tag1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67"/>
</p:tagLst>
</file>

<file path=ppt/tags/tag1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68"/>
</p:tagLst>
</file>

<file path=ppt/tags/tag1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772"/>
</p:tagLst>
</file>

<file path=ppt/tags/tag1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768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02"/>
</p:tagLst>
</file>

<file path=ppt/tags/tag1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769"/>
</p:tagLst>
</file>

<file path=ppt/tags/tag1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770"/>
</p:tagLst>
</file>

<file path=ppt/tags/tag1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568"/>
</p:tagLst>
</file>

<file path=ppt/tags/tag1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825"/>
</p:tagLst>
</file>

<file path=ppt/tags/tag1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569"/>
</p:tagLst>
</file>

<file path=ppt/tags/tag1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826"/>
</p:tagLst>
</file>

<file path=ppt/tags/tag1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832"/>
</p:tagLst>
</file>

<file path=ppt/tags/tag1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833"/>
</p:tagLst>
</file>

<file path=ppt/tags/tag1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834"/>
</p:tagLst>
</file>

<file path=ppt/tags/tag1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83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19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03"/>
</p:tagLst>
</file>

<file path=ppt/tags/tag1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836"/>
</p:tagLst>
</file>

<file path=ppt/tags/tag1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837"/>
</p:tagLst>
</file>

<file path=ppt/tags/tag1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838"/>
</p:tagLst>
</file>

<file path=ppt/tags/tag1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840"/>
</p:tagLst>
</file>

<file path=ppt/tags/tag1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841"/>
</p:tagLst>
</file>

<file path=ppt/tags/tag1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842"/>
</p:tagLst>
</file>

<file path=ppt/tags/tag1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844"/>
</p:tagLst>
</file>

<file path=ppt/tags/tag1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833"/>
</p:tagLst>
</file>

<file path=ppt/tags/tag1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570"/>
</p:tagLst>
</file>

<file path=ppt/tags/tag1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571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04"/>
</p:tagLst>
</file>

<file path=ppt/tags/tag1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8572"/>
</p:tagLst>
</file>

<file path=ppt/tags/tag1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828"/>
</p:tagLst>
</file>

<file path=ppt/tags/tag1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827"/>
</p:tagLst>
</file>

<file path=ppt/tags/tag1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828"/>
</p:tagLst>
</file>

<file path=ppt/tags/tag1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829"/>
</p:tagLst>
</file>

<file path=ppt/tags/tag1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830"/>
</p:tagLst>
</file>

<file path=ppt/tags/tag1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831"/>
</p:tagLst>
</file>

<file path=ppt/tags/tag1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822"/>
</p:tagLst>
</file>

<file path=ppt/tags/tag1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823"/>
</p:tagLst>
</file>

<file path=ppt/tags/tag1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82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05"/>
</p:tagLst>
</file>

<file path=ppt/tags/tag1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74"/>
</p:tagLst>
</file>

<file path=ppt/tags/tag1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44"/>
</p:tagLst>
</file>

<file path=ppt/tags/tag1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74"/>
</p:tagLst>
</file>

<file path=ppt/tags/tag1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2796"/>
</p:tagLst>
</file>

<file path=ppt/tags/tag1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88"/>
</p:tagLst>
</file>

<file path=ppt/tags/tag1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2798"/>
</p:tagLst>
</file>

<file path=ppt/tags/tag1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2799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06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07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08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09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10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11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1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20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13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16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17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18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21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22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25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28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29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3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21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33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3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35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38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39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42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43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46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47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48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2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49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50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53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5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57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59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61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62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65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66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23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67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68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69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70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73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75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77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78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79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8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2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81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85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88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89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92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93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94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95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96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99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25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400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401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402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97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98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90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91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86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87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8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26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83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71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72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63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64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55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56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51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52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4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38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27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45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40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41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36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37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30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31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26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27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23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28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24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19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20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14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15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98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99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882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883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88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29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885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886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887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888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889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890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891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892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893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89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30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895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896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897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898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899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00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01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02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03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0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31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05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06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09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10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33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76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79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80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81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8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32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83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84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85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86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89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90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93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94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97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98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33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01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04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07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08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09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10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11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12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13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1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34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15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79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80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81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86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87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88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89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90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9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35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92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93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94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95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96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97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98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99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00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0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36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02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03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04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05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06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07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08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09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10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1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39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37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17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18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19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20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21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22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23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24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25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27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38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28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29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30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31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34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35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36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39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40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43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39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46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47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50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51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54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55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56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59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60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6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40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62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63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64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65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66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67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68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69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70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7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41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74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75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76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77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78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79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80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81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82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8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42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407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408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411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414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12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12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62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13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13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1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547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08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62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59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59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79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49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59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79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00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41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548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413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409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410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84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46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47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48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49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50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5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549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52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53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56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61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62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54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55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85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86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87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40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88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89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90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91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92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93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94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95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96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9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69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41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98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99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00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01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02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03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04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05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06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07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42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08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09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10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11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12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13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14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15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16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17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43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18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19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20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21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22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23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24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25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26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27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44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28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29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30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31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32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33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34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35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36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37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45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38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39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40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41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42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43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44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45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57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58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46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52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53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48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49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44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45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41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42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37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38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47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32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33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12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13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14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15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16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82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83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8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48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85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16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63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64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65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66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67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68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69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7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49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71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72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17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18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19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20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21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22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23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2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50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25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26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27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28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29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30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31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32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33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3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70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51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35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36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37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38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39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40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41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42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43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4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52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45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46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47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48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49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50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51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52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53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5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53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55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56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57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58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59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60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61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62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05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06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54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02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03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99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00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95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96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91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92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87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88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55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77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78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34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35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36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37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38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39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40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4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56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42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43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44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45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46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47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48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49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50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5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57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52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53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54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55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56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57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58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59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60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6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58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62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63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66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67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68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69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70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71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72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73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59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74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75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64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65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11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12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13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14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15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16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60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17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18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19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20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21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22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23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24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25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2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546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61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27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28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29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30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31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32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07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908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405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7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62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76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77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78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835"/>
  <p:tag name="THINKCELLSHAPEDONOTDELETE" val="thinkcellActiveDocDoNotDelete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784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836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837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838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466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487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63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13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839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840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841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40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842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843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844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845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846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64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20"/>
  <p:tag name="THINKCELLSHAPEDONOTDELETE" val="tcj04t9IqaUZRcjsPjxmvmQ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20"/>
  <p:tag name="THINKCELLSHAPEDONOTDELETE" val="tcj04t9IqaUZRcjsPjxmvmQ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847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130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107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129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37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848"/>
  <p:tag name="THINKCELLSHAPEDONOTDELETE" val="t1fqvMOKlmskTLvk4ypahjA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849"/>
  <p:tag name="THINKCELLSHAPEDONOTDELETE" val="tY_ieetIk9XFvH23HEHNXTQ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850"/>
  <p:tag name="THINKCELLSHAPEDONOTDELETE" val="ta.7cSFclVT_JmbrXfoG7g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65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851"/>
  <p:tag name="THINKCELLSHAPEDONOTDELETE" val="t0eQxxTxoTh0toSLS37rkbg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852"/>
  <p:tag name="THINKCELLSHAPEDONOTDELETE" val="t99_72WsjsVtN2YNLETr69A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853"/>
  <p:tag name="THINKCELLSHAPEDONOTDELETE" val="t4I2fGavPrmKeky13KnVTJA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854"/>
  <p:tag name="THINKCELLSHAPEDONOTDELETE" val="tIKhIQROBxJ0WAr_Dw564WA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855"/>
  <p:tag name="THINKCELLSHAPEDONOTDELETE" val="t_SbHI3ezEJSL3FK5xb4F1Q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856"/>
  <p:tag name="THINKCELLSHAPEDONOTDELETE" val="tZsE3AC6FXabl.8UVmoHUgw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857"/>
  <p:tag name="THINKCELLSHAPEDONOTDELETE" val="tyq3Cw.Q0Wop0sACxM.om3g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858"/>
  <p:tag name="THINKCELLSHAPEDONOTDELETE" val="txnENHJ5jV9N0myi2Wd2z9g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859"/>
  <p:tag name="THINKCELLSHAPEDONOTDELETE" val="te4.p0lxrQkJEDo9QSnZaEw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3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66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860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861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862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020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021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37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022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023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024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025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67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026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027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028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029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42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43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49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40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863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019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93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62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36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59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40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40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40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40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40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40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254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123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53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40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56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55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61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55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864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40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865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866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29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867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868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869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870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871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872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873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874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875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876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849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012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877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878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879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880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881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882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883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884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885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886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99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887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888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889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890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891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892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893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894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895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896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37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897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898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899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00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01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02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03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04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05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06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72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07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08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09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10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11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12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13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14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15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16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63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17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18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19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20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21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22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23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24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25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26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400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27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28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29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30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31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32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33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34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35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36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99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37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38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39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40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41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42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43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44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45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46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99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47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48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49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50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51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52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53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54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55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56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66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57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58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59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60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61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62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63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64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65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66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63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67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68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69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70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71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72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73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74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75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7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15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66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77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78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79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80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81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82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83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84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85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86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357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87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88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89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90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91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92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93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94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95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96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65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97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98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99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000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001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002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003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004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005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006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66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007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008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009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010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011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012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013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014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015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016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403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017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018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31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40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108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109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110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111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112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113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404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114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115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116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131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132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31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32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47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40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26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67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29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30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51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40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44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45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65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40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24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3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68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35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48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40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40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41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50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66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40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01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69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69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70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02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03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04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05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06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07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08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09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1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70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11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12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468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469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67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68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25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38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39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5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16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71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488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489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490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491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492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493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494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495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496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497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72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498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462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463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464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841"/>
  <p:tag name="THINKCELLSHAPEDONOTDELETE" val="thinkcellActiveDocDoNotDelete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842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05"/>
</p:tagLst>
</file>

<file path=ppt/tags/tag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06"/>
</p:tagLst>
</file>

<file path=ppt/tags/tag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10"/>
</p:tagLst>
</file>

<file path=ppt/tags/tag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38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73"/>
</p:tagLst>
</file>

<file path=ppt/tags/tag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39"/>
</p:tagLst>
</file>

<file path=ppt/tags/tag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46"/>
</p:tagLst>
</file>

<file path=ppt/tags/tag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47"/>
</p:tagLst>
</file>

<file path=ppt/tags/tag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48"/>
</p:tagLst>
</file>

<file path=ppt/tags/tag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4"/>
</p:tagLst>
</file>

<file path=ppt/tags/tag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843"/>
</p:tagLst>
</file>

<file path=ppt/tags/tag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96"/>
</p:tagLst>
</file>

<file path=ppt/tags/tag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844"/>
</p:tagLst>
</file>

<file path=ppt/tags/tag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845"/>
</p:tagLst>
</file>

<file path=ppt/tags/tag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846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74"/>
</p:tagLst>
</file>

<file path=ppt/tags/tag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400"/>
</p:tagLst>
</file>

<file path=ppt/tags/tag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848"/>
</p:tagLst>
</file>

<file path=ppt/tags/tag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851"/>
</p:tagLst>
</file>

<file path=ppt/tags/tag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866"/>
</p:tagLst>
</file>

<file path=ppt/tags/tag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867"/>
</p:tagLst>
</file>

<file path=ppt/tags/tag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868"/>
</p:tagLst>
</file>

<file path=ppt/tags/tag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869"/>
</p:tagLst>
</file>

<file path=ppt/tags/tag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870"/>
</p:tagLst>
</file>

<file path=ppt/tags/tag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871"/>
</p:tagLst>
</file>

<file path=ppt/tags/tag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872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75"/>
</p:tagLst>
</file>

<file path=ppt/tags/tag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873"/>
</p:tagLst>
</file>

<file path=ppt/tags/tag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874"/>
</p:tagLst>
</file>

<file path=ppt/tags/tag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883"/>
</p:tagLst>
</file>

<file path=ppt/tags/tag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43"/>
</p:tagLst>
</file>

<file path=ppt/tags/tag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884"/>
</p:tagLst>
</file>

<file path=ppt/tags/tag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885"/>
</p:tagLst>
</file>

<file path=ppt/tags/tag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886"/>
</p:tagLst>
</file>

<file path=ppt/tags/tag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49"/>
</p:tagLst>
</file>

<file path=ppt/tags/tag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887"/>
</p:tagLst>
</file>

<file path=ppt/tags/tag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37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76"/>
</p:tagLst>
</file>

<file path=ppt/tags/tag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891"/>
</p:tagLst>
</file>

<file path=ppt/tags/tag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892"/>
</p:tagLst>
</file>

<file path=ppt/tags/tag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01"/>
</p:tagLst>
</file>

<file path=ppt/tags/tag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898"/>
</p:tagLst>
</file>

<file path=ppt/tags/tag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899"/>
</p:tagLst>
</file>

<file path=ppt/tags/tag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893"/>
</p:tagLst>
</file>

<file path=ppt/tags/tag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894"/>
</p:tagLst>
</file>

<file path=ppt/tags/tag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895"/>
</p:tagLst>
</file>

<file path=ppt/tags/tag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896"/>
</p:tagLst>
</file>

<file path=ppt/tags/tag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897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77"/>
</p:tagLst>
</file>

<file path=ppt/tags/tag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69"/>
</p:tagLst>
</file>

<file path=ppt/tags/tag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5"/>
</p:tagLst>
</file>

<file path=ppt/tags/tag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6"/>
</p:tagLst>
</file>

<file path=ppt/tags/tag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84"/>
</p:tagLst>
</file>

<file path=ppt/tags/tag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400"/>
</p:tagLst>
</file>

<file path=ppt/tags/tag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400"/>
</p:tagLst>
</file>

<file path=ppt/tags/tag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400"/>
</p:tagLst>
</file>

<file path=ppt/tags/tag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400"/>
</p:tagLst>
</file>

<file path=ppt/tags/tag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5"/>
</p:tagLst>
</file>

<file path=ppt/tags/tag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0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78"/>
</p:tagLst>
</file>

<file path=ppt/tags/tag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1"/>
</p:tagLst>
</file>

<file path=ppt/tags/tag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888"/>
</p:tagLst>
</file>

<file path=ppt/tags/tag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889"/>
</p:tagLst>
</file>

<file path=ppt/tags/tag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875"/>
</p:tagLst>
</file>

<file path=ppt/tags/tag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876"/>
</p:tagLst>
</file>

<file path=ppt/tags/tag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877"/>
</p:tagLst>
</file>

<file path=ppt/tags/tag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878"/>
</p:tagLst>
</file>

<file path=ppt/tags/tag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879"/>
</p:tagLst>
</file>

<file path=ppt/tags/tag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880"/>
</p:tagLst>
</file>

<file path=ppt/tags/tag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881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79"/>
</p:tagLst>
</file>

<file path=ppt/tags/tag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882"/>
</p:tagLst>
</file>

<file path=ppt/tags/tag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852"/>
</p:tagLst>
</file>

<file path=ppt/tags/tag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853"/>
</p:tagLst>
</file>

<file path=ppt/tags/tag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854"/>
</p:tagLst>
</file>

<file path=ppt/tags/tag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855"/>
</p:tagLst>
</file>

<file path=ppt/tags/tag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856"/>
</p:tagLst>
</file>

<file path=ppt/tags/tag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857"/>
</p:tagLst>
</file>

<file path=ppt/tags/tag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858"/>
</p:tagLst>
</file>

<file path=ppt/tags/tag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859"/>
</p:tagLst>
</file>

<file path=ppt/tags/tag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86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280"/>
</p:tagLst>
</file>

<file path=ppt/tags/tag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861"/>
</p:tagLst>
</file>

<file path=ppt/tags/tag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862"/>
</p:tagLst>
</file>

<file path=ppt/tags/tag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863"/>
</p:tagLst>
</file>

<file path=ppt/tags/tag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864"/>
</p:tagLst>
</file>

<file path=ppt/tags/tag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865"/>
</p:tagLst>
</file>

<file path=ppt/tags/tag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849"/>
</p:tagLst>
</file>

<file path=ppt/tags/tag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850"/>
</p:tagLst>
</file>

<file path=ppt/tags/tag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847"/>
</p:tagLst>
</file>

<file path=ppt/tags/tag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400"/>
</p:tagLst>
</file>

<file path=ppt/tags/tag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878"/>
</p:tagLst>
</file>

<file path=ppt/theme/theme1.xml><?xml version="1.0" encoding="utf-8"?>
<a:theme xmlns:a="http://schemas.openxmlformats.org/drawingml/2006/main" name="DXC">
  <a:themeElements>
    <a:clrScheme name="DXC New Brand Palette">
      <a:dk1>
        <a:srgbClr val="000000"/>
      </a:dk1>
      <a:lt1>
        <a:srgbClr val="FFFFFF"/>
      </a:lt1>
      <a:dk2>
        <a:srgbClr val="D9D9D6"/>
      </a:dk2>
      <a:lt2>
        <a:srgbClr val="FFCD00"/>
      </a:lt2>
      <a:accent1>
        <a:srgbClr val="5F249F"/>
      </a:accent1>
      <a:accent2>
        <a:srgbClr val="00968F"/>
      </a:accent2>
      <a:accent3>
        <a:srgbClr val="00A3E1"/>
      </a:accent3>
      <a:accent4>
        <a:srgbClr val="006975"/>
      </a:accent4>
      <a:accent5>
        <a:srgbClr val="6CC24A"/>
      </a:accent5>
      <a:accent6>
        <a:srgbClr val="ED9B33"/>
      </a:accent6>
      <a:hlink>
        <a:srgbClr val="000000"/>
      </a:hlink>
      <a:folHlink>
        <a:srgbClr val="666666"/>
      </a:folHlink>
    </a:clrScheme>
    <a:fontScheme name="DXC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DXC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sq" cmpd="sng" algn="ctr">
          <a:solidFill>
            <a:schemeClr val="phClr"/>
          </a:solidFill>
          <a:prstDash val="solid"/>
        </a:ln>
        <a:ln w="6350" cap="sq" cmpd="sng" algn="ctr">
          <a:solidFill>
            <a:schemeClr val="phClr"/>
          </a:solidFill>
          <a:prstDash val="solid"/>
        </a:ln>
        <a:ln w="635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/>
      <a:style>
        <a:lnRef idx="0">
          <a:schemeClr val="accent1"/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>
        <a:noFill/>
      </a:spPr>
      <a:bodyPr wrap="square" rtlCol="0">
        <a:spAutoFit/>
      </a:bodyPr>
      <a:lstStyle>
        <a:defPPr algn="l">
          <a:lnSpc>
            <a:spcPct val="90000"/>
          </a:lnSpc>
          <a:spcAft>
            <a:spcPts val="400"/>
          </a:spcAft>
          <a:defRPr sz="2000" dirty="0"/>
        </a:defPPr>
      </a:lstStyle>
    </a:txDef>
  </a:objectDefaults>
  <a:extraClrSchemeLst/>
  <a:custClrLst>
    <a:custClr name="DXC Bright Purple">
      <a:srgbClr val="5F249F"/>
    </a:custClr>
    <a:custClr name="White">
      <a:srgbClr val="FFFFFF"/>
    </a:custClr>
    <a:custClr name="DXC Light Gray">
      <a:srgbClr val="D9D9D6"/>
    </a:custClr>
    <a:custClr name="DXC Medium Gray">
      <a:srgbClr val="969696"/>
    </a:custClr>
    <a:custClr name="DXC Dark Gray">
      <a:srgbClr val="63666A"/>
    </a:custClr>
    <a:custClr name="Black">
      <a:srgbClr val="000000"/>
    </a:custClr>
    <a:custClr name="DXC Bright Teal">
      <a:srgbClr val="00968F"/>
    </a:custClr>
    <a:custClr name="DXC Blue">
      <a:srgbClr val="00A3E1"/>
    </a:custClr>
    <a:custClr name="DXC Dark Teal">
      <a:srgbClr val="006975"/>
    </a:custClr>
    <a:custClr name="DXC Green">
      <a:srgbClr val="6CC24A"/>
    </a:custClr>
    <a:custClr name="DXC Orange">
      <a:srgbClr val="ED9B33"/>
    </a:custClr>
    <a:custClr name="DXC Gold">
      <a:srgbClr val="FFCD00"/>
    </a:custClr>
    <a:custClr name="DXC Dark Purple">
      <a:srgbClr val="330072"/>
    </a:custClr>
    <a:custClr name="DXC Yellow">
      <a:srgbClr val="F9F048"/>
    </a:custClr>
  </a:custClrLst>
  <a:extLst>
    <a:ext uri="{05A4C25C-085E-4340-85A3-A5531E510DB2}">
      <thm15:themeFamily xmlns:thm15="http://schemas.microsoft.com/office/thememl/2012/main" name="Presentation title.pptx" id="{1DE708D4-4D0B-41B3-9BBD-01CCCC042BA2}" vid="{1F2FABB9-ABA0-4D41-82CD-9F39D7B2FCF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XC_Presentation Template_DXC Internal</Template>
  <TotalTime>5868</TotalTime>
  <Words>2374</Words>
  <Application>Microsoft Office PowerPoint</Application>
  <PresentationFormat>Custom</PresentationFormat>
  <Paragraphs>591</Paragraphs>
  <Slides>17</Slides>
  <Notes>9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18" baseType="lpstr">
      <vt:lpstr>DXC</vt:lpstr>
      <vt:lpstr>DXC Luxoft India An Overview</vt:lpstr>
      <vt:lpstr>Our Purpose, Mission and Values Strategy</vt:lpstr>
      <vt:lpstr>DXC Technology Company History DXC Technology has over 60 years of service and track record, integrated with service division of HP / DEC / COMPAQ / TANDEM / EDS / EDS / CSC</vt:lpstr>
      <vt:lpstr>Serving customers around the world in diverse industries </vt:lpstr>
      <vt:lpstr>DXC and Luxoft Footprint Global</vt:lpstr>
      <vt:lpstr>Luxoft APAC</vt:lpstr>
      <vt:lpstr>India: Location Key Facts</vt:lpstr>
      <vt:lpstr>Luxoft Global Capabilities</vt:lpstr>
      <vt:lpstr>PowerPoint Presentation</vt:lpstr>
      <vt:lpstr>Our Resourcing Capability Helps to Provide Scalability</vt:lpstr>
      <vt:lpstr>DXC Recruitment Machinery</vt:lpstr>
      <vt:lpstr>Employee Cycle at DXC &amp; Talent Retention</vt:lpstr>
      <vt:lpstr>Luxoft APAC – Best Employer Brand &amp; GPTW® Certified in 2024</vt:lpstr>
      <vt:lpstr>Luxoft India: Certification &amp; Awards</vt:lpstr>
      <vt:lpstr>Luxoft global- Awards and Achievements</vt:lpstr>
      <vt:lpstr>Luxoft India - Recognitions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Pekala, Joanna (DXC Luxoft)</dc:creator>
  <cp:keywords/>
  <dc:description/>
  <cp:lastModifiedBy>Bharadwaj, Ramya</cp:lastModifiedBy>
  <cp:revision>199</cp:revision>
  <dcterms:created xsi:type="dcterms:W3CDTF">2025-05-30T13:08:34Z</dcterms:created>
  <dcterms:modified xsi:type="dcterms:W3CDTF">2026-02-03T13:45:33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5394ae5-69af-439d-af88-cb521c31c0c5_Enabled">
    <vt:lpwstr>true</vt:lpwstr>
  </property>
  <property fmtid="{D5CDD505-2E9C-101B-9397-08002B2CF9AE}" pid="3" name="MSIP_Label_15394ae5-69af-439d-af88-cb521c31c0c5_SetDate">
    <vt:lpwstr>2024-03-27T17:08:11Z</vt:lpwstr>
  </property>
  <property fmtid="{D5CDD505-2E9C-101B-9397-08002B2CF9AE}" pid="4" name="MSIP_Label_15394ae5-69af-439d-af88-cb521c31c0c5_Method">
    <vt:lpwstr>Privileged</vt:lpwstr>
  </property>
  <property fmtid="{D5CDD505-2E9C-101B-9397-08002B2CF9AE}" pid="5" name="MSIP_Label_15394ae5-69af-439d-af88-cb521c31c0c5_Name">
    <vt:lpwstr>DXC Internal</vt:lpwstr>
  </property>
  <property fmtid="{D5CDD505-2E9C-101B-9397-08002B2CF9AE}" pid="6" name="MSIP_Label_15394ae5-69af-439d-af88-cb521c31c0c5_SiteId">
    <vt:lpwstr>93f33571-550f-43cf-b09f-cd331338d086</vt:lpwstr>
  </property>
  <property fmtid="{D5CDD505-2E9C-101B-9397-08002B2CF9AE}" pid="7" name="MSIP_Label_15394ae5-69af-439d-af88-cb521c31c0c5_ActionId">
    <vt:lpwstr>91325a4f-8911-43d3-bbfb-645713383bb2</vt:lpwstr>
  </property>
  <property fmtid="{D5CDD505-2E9C-101B-9397-08002B2CF9AE}" pid="8" name="MSIP_Label_15394ae5-69af-439d-af88-cb521c31c0c5_ContentBits">
    <vt:lpwstr>0</vt:lpwstr>
  </property>
</Properties>
</file>